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charts/chart1.xml" ContentType="application/vnd.openxmlformats-officedocument.drawingml.chart+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2.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6" r:id="rId5"/>
    <p:sldId id="257" r:id="rId6"/>
    <p:sldId id="258" r:id="rId7"/>
    <p:sldId id="259" r:id="rId8"/>
    <p:sldId id="279" r:id="rId9"/>
    <p:sldId id="264" r:id="rId10"/>
    <p:sldId id="280" r:id="rId11"/>
    <p:sldId id="260" r:id="rId12"/>
    <p:sldId id="281" r:id="rId13"/>
    <p:sldId id="266" r:id="rId14"/>
    <p:sldId id="282" r:id="rId15"/>
    <p:sldId id="283" r:id="rId16"/>
    <p:sldId id="261" r:id="rId17"/>
    <p:sldId id="270" r:id="rId18"/>
    <p:sldId id="284" r:id="rId19"/>
    <p:sldId id="273" r:id="rId20"/>
    <p:sldId id="276" r:id="rId21"/>
    <p:sldId id="277" r:id="rId22"/>
    <p:sldId id="278"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484A20-6CEC-574F-21B5-5D3A0DBFC185}" name="Martin Berlin (MiddleEast)" initials="MB(" userId="S::martin.berlin@pwc.com::d44c5633-e869-497a-9ee1-36e7b7dd6d13" providerId="AD"/>
  <p188:author id="{4960E28F-2151-0F14-CED1-DAACA0A29885}" name="Chaza Chouman (MiddleEast)" initials="CC(" userId="S::chaza.chouman@pwc.com::c7c160ab-e686-4e2f-9a78-29fd6eb74be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51" d="100"/>
          <a:sy n="151" d="100"/>
        </p:scale>
        <p:origin x="564" y="100"/>
      </p:cViewPr>
      <p:guideLst/>
    </p:cSldViewPr>
  </p:slideViewPr>
  <p:notesTextViewPr>
    <p:cViewPr>
      <p:scale>
        <a:sx n="1" d="1"/>
        <a:sy n="1" d="1"/>
      </p:scale>
      <p:origin x="0" y="0"/>
    </p:cViewPr>
  </p:notesTextViewPr>
  <p:notesViewPr>
    <p:cSldViewPr snapToGrid="0">
      <p:cViewPr varScale="1">
        <p:scale>
          <a:sx n="58" d="100"/>
          <a:sy n="58" d="100"/>
        </p:scale>
        <p:origin x="3024"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362318840579709E-3"/>
          <c:y val="7.8651685393258425E-2"/>
          <c:w val="0.984927536231884"/>
          <c:h val="0.84269662921348309"/>
        </c:manualLayout>
      </c:layout>
      <c:barChart>
        <c:barDir val="col"/>
        <c:grouping val="stacked"/>
        <c:varyColors val="0"/>
        <c:ser>
          <c:idx val="0"/>
          <c:order val="0"/>
          <c:spPr>
            <a:solidFill>
              <a:schemeClr val="accent6"/>
            </a:solidFill>
            <a:ln w="9525" cmpd="sng" algn="ctr">
              <a:solidFill>
                <a:srgbClr val="FFFFFF"/>
              </a:solidFill>
              <a:prstDash val="solid"/>
            </a:ln>
          </c:spPr>
          <c:invertIfNegative val="0"/>
          <c:dLbls>
            <c:dLbl>
              <c:idx val="0"/>
              <c:layout>
                <c:manualLayout>
                  <c:x val="0"/>
                  <c:y val="-1.8726591760299626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1F-4C24-93EA-57462D315E6A}"/>
                </c:ext>
              </c:extLst>
            </c:dLbl>
            <c:dLbl>
              <c:idx val="1"/>
              <c:layout>
                <c:manualLayout>
                  <c:x val="0"/>
                  <c:y val="-1.8726591760299626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1F-4C24-93EA-57462D315E6A}"/>
                </c:ext>
              </c:extLst>
            </c:dLbl>
            <c:dLbl>
              <c:idx val="2"/>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1F-4C24-93EA-57462D315E6A}"/>
                </c:ext>
              </c:extLst>
            </c:dLbl>
            <c:dLbl>
              <c:idx val="3"/>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1F-4C24-93EA-57462D315E6A}"/>
                </c:ext>
              </c:extLst>
            </c:dLbl>
            <c:dLbl>
              <c:idx val="4"/>
              <c:layout>
                <c:manualLayout>
                  <c:x val="0"/>
                  <c:y val="-1.8726591760299626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1F-4C24-93EA-57462D315E6A}"/>
                </c:ext>
              </c:extLst>
            </c:dLbl>
            <c:dLbl>
              <c:idx val="5"/>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1F-4C24-93EA-57462D315E6A}"/>
                </c:ext>
              </c:extLst>
            </c:dLbl>
            <c:dLbl>
              <c:idx val="6"/>
              <c:layout>
                <c:manualLayout>
                  <c:x val="0"/>
                  <c:y val="-1.8726591760299626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1F-4C24-93EA-57462D315E6A}"/>
                </c:ext>
              </c:extLst>
            </c:dLbl>
            <c:dLbl>
              <c:idx val="7"/>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1F-4C24-93EA-57462D315E6A}"/>
                </c:ext>
              </c:extLst>
            </c:dLbl>
            <c:dLbl>
              <c:idx val="8"/>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1F-4C24-93EA-57462D315E6A}"/>
                </c:ext>
              </c:extLst>
            </c:dLbl>
            <c:dLbl>
              <c:idx val="9"/>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1F-4C24-93EA-57462D315E6A}"/>
                </c:ext>
              </c:extLst>
            </c:dLbl>
            <c:dLbl>
              <c:idx val="12"/>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1F-4C24-93EA-57462D315E6A}"/>
                </c:ext>
              </c:extLst>
            </c:dLbl>
            <c:dLbl>
              <c:idx val="13"/>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1F-4C24-93EA-57462D315E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1.799601</c:v>
                </c:pt>
                <c:pt idx="1">
                  <c:v>1.828195</c:v>
                </c:pt>
                <c:pt idx="2">
                  <c:v>1.7529319999999999</c:v>
                </c:pt>
                <c:pt idx="3">
                  <c:v>1.3795310000000001</c:v>
                </c:pt>
                <c:pt idx="4">
                  <c:v>1.3890530000000001</c:v>
                </c:pt>
                <c:pt idx="5">
                  <c:v>1.384941</c:v>
                </c:pt>
                <c:pt idx="6">
                  <c:v>1.325372</c:v>
                </c:pt>
                <c:pt idx="7">
                  <c:v>1.752014</c:v>
                </c:pt>
                <c:pt idx="8">
                  <c:v>1.7587219999999999</c:v>
                </c:pt>
                <c:pt idx="9">
                  <c:v>1.855027</c:v>
                </c:pt>
                <c:pt idx="10">
                  <c:v>8.9899999999999995E-4</c:v>
                </c:pt>
                <c:pt idx="11">
                  <c:v>4.4999999999999998E-2</c:v>
                </c:pt>
                <c:pt idx="12">
                  <c:v>0.69450000000000001</c:v>
                </c:pt>
                <c:pt idx="13">
                  <c:v>1.845045</c:v>
                </c:pt>
              </c:numCache>
            </c:numRef>
          </c:val>
          <c:extLst>
            <c:ext xmlns:c16="http://schemas.microsoft.com/office/drawing/2014/chart" uri="{C3380CC4-5D6E-409C-BE32-E72D297353CC}">
              <c16:uniqueId val="{0000000C-F51F-4C24-93EA-57462D315E6A}"/>
            </c:ext>
          </c:extLst>
        </c:ser>
        <c:ser>
          <c:idx val="1"/>
          <c:order val="1"/>
          <c:spPr>
            <a:solidFill>
              <a:schemeClr val="accent4"/>
            </a:solidFill>
            <a:ln w="9525" cmpd="sng" algn="ctr">
              <a:solidFill>
                <a:srgbClr val="FFFFFF"/>
              </a:solidFill>
              <a:prstDash val="solid"/>
            </a:ln>
          </c:spPr>
          <c:invertIfNegative val="0"/>
          <c:dLbls>
            <c:dLbl>
              <c:idx val="0"/>
              <c:layout>
                <c:manualLayout>
                  <c:x val="0"/>
                  <c:y val="-1.8726591760299626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1F-4C24-93EA-57462D315E6A}"/>
                </c:ext>
              </c:extLst>
            </c:dLbl>
            <c:dLbl>
              <c:idx val="1"/>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1F-4C24-93EA-57462D315E6A}"/>
                </c:ext>
              </c:extLst>
            </c:dLbl>
            <c:dLbl>
              <c:idx val="2"/>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1F-4C24-93EA-57462D315E6A}"/>
                </c:ext>
              </c:extLst>
            </c:dLbl>
            <c:dLbl>
              <c:idx val="3"/>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1F-4C24-93EA-57462D315E6A}"/>
                </c:ext>
              </c:extLst>
            </c:dLbl>
            <c:dLbl>
              <c:idx val="4"/>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1F-4C24-93EA-57462D315E6A}"/>
                </c:ext>
              </c:extLst>
            </c:dLbl>
            <c:dLbl>
              <c:idx val="5"/>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51F-4C24-93EA-57462D315E6A}"/>
                </c:ext>
              </c:extLst>
            </c:dLbl>
            <c:dLbl>
              <c:idx val="6"/>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51F-4C24-93EA-57462D315E6A}"/>
                </c:ext>
              </c:extLst>
            </c:dLbl>
            <c:dLbl>
              <c:idx val="7"/>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51F-4C24-93EA-57462D315E6A}"/>
                </c:ext>
              </c:extLst>
            </c:dLbl>
            <c:dLbl>
              <c:idx val="8"/>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51F-4C24-93EA-57462D315E6A}"/>
                </c:ext>
              </c:extLst>
            </c:dLbl>
            <c:dLbl>
              <c:idx val="9"/>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51F-4C24-93EA-57462D315E6A}"/>
                </c:ext>
              </c:extLst>
            </c:dLbl>
            <c:dLbl>
              <c:idx val="11"/>
              <c:layout>
                <c:manualLayout>
                  <c:x val="3.2898550724637682E-2"/>
                  <c:y val="-1.9194756554307114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1F-4C24-93EA-57462D315E6A}"/>
                </c:ext>
              </c:extLst>
            </c:dLbl>
            <c:dLbl>
              <c:idx val="12"/>
              <c:layout>
                <c:manualLayout>
                  <c:x val="0"/>
                  <c:y val="-1.4044943820224719E-3"/>
                </c:manualLayout>
              </c:layout>
              <c:numFmt formatCode="#,##0.0;&quot;-&quot;#,##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1F-4C24-93EA-57462D315E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0.98979799999999996</c:v>
                </c:pt>
                <c:pt idx="1">
                  <c:v>1.0995220000000003</c:v>
                </c:pt>
                <c:pt idx="2">
                  <c:v>1.4086409999999998</c:v>
                </c:pt>
                <c:pt idx="3">
                  <c:v>0.60071800000000009</c:v>
                </c:pt>
                <c:pt idx="4">
                  <c:v>0.69618500000000028</c:v>
                </c:pt>
                <c:pt idx="5">
                  <c:v>0.56787600000000005</c:v>
                </c:pt>
                <c:pt idx="6">
                  <c:v>0.53753700000000015</c:v>
                </c:pt>
                <c:pt idx="7">
                  <c:v>0.60010800000000009</c:v>
                </c:pt>
                <c:pt idx="8">
                  <c:v>0.61295299999999986</c:v>
                </c:pt>
                <c:pt idx="9">
                  <c:v>0.6343789999999998</c:v>
                </c:pt>
                <c:pt idx="10">
                  <c:v>7.0000000000000001E-3</c:v>
                </c:pt>
                <c:pt idx="11">
                  <c:v>1.4999999999999999E-2</c:v>
                </c:pt>
                <c:pt idx="12">
                  <c:v>0.23150000000000004</c:v>
                </c:pt>
                <c:pt idx="13">
                  <c:v>6.0813000000000006E-2</c:v>
                </c:pt>
              </c:numCache>
            </c:numRef>
          </c:val>
          <c:extLst>
            <c:ext xmlns:c16="http://schemas.microsoft.com/office/drawing/2014/chart" uri="{C3380CC4-5D6E-409C-BE32-E72D297353CC}">
              <c16:uniqueId val="{00000019-F51F-4C24-93EA-57462D315E6A}"/>
            </c:ext>
          </c:extLst>
        </c:ser>
        <c:dLbls>
          <c:showLegendKey val="0"/>
          <c:showVal val="0"/>
          <c:showCatName val="0"/>
          <c:showSerName val="0"/>
          <c:showPercent val="0"/>
          <c:showBubbleSize val="0"/>
        </c:dLbls>
        <c:gapWidth val="80"/>
        <c:overlap val="100"/>
        <c:axId val="2005956207"/>
        <c:axId val="1"/>
      </c:barChart>
      <c:catAx>
        <c:axId val="200595620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1615729999999997"/>
          <c:min val="0"/>
        </c:scaling>
        <c:delete val="1"/>
        <c:axPos val="l"/>
        <c:numFmt formatCode="General" sourceLinked="1"/>
        <c:majorTickMark val="out"/>
        <c:minorTickMark val="none"/>
        <c:tickLblPos val="nextTo"/>
        <c:crossAx val="200595620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62492133417242E-2"/>
          <c:y val="0.14328960645812311"/>
          <c:w val="0.96727501573316554"/>
          <c:h val="0.77194752774974773"/>
        </c:manualLayout>
      </c:layout>
      <c:barChart>
        <c:barDir val="col"/>
        <c:grouping val="stacked"/>
        <c:varyColors val="0"/>
        <c:ser>
          <c:idx val="0"/>
          <c:order val="0"/>
          <c:spPr>
            <a:solidFill>
              <a:schemeClr val="accent4"/>
            </a:solidFill>
            <a:ln w="9525" cmpd="sng" algn="ctr">
              <a:solidFill>
                <a:srgbClr val="FFFFFF"/>
              </a:solidFill>
              <a:prstDash val="solid"/>
            </a:ln>
          </c:spPr>
          <c:invertIfNegative val="0"/>
          <c:dLbls>
            <c:dLbl>
              <c:idx val="0"/>
              <c:layout>
                <c:manualLayout>
                  <c:x val="0"/>
                  <c:y val="-6.9122098890010086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E4-4421-ABE7-692DB6BE4C91}"/>
                </c:ext>
              </c:extLst>
            </c:dLbl>
            <c:dLbl>
              <c:idx val="1"/>
              <c:layout>
                <c:manualLayout>
                  <c:x val="0"/>
                  <c:y val="-8.6781029263370335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E4-4421-ABE7-692DB6BE4C91}"/>
                </c:ext>
              </c:extLst>
            </c:dLbl>
            <c:dLbl>
              <c:idx val="2"/>
              <c:layout>
                <c:manualLayout>
                  <c:x val="0"/>
                  <c:y val="-0.22603430877901109"/>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E4-4421-ABE7-692DB6BE4C91}"/>
                </c:ext>
              </c:extLst>
            </c:dLbl>
            <c:dLbl>
              <c:idx val="3"/>
              <c:layout>
                <c:manualLayout>
                  <c:x val="0"/>
                  <c:y val="-0.12563067608476286"/>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9E4-4421-ABE7-692DB6BE4C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4</c:v>
                </c:pt>
                <c:pt idx="1">
                  <c:v>99</c:v>
                </c:pt>
                <c:pt idx="2">
                  <c:v>369</c:v>
                </c:pt>
                <c:pt idx="3">
                  <c:v>98</c:v>
                </c:pt>
              </c:numCache>
            </c:numRef>
          </c:val>
          <c:extLst>
            <c:ext xmlns:c16="http://schemas.microsoft.com/office/drawing/2014/chart" uri="{C3380CC4-5D6E-409C-BE32-E72D297353CC}">
              <c16:uniqueId val="{00000004-69E4-4421-ABE7-692DB6BE4C91}"/>
            </c:ext>
          </c:extLst>
        </c:ser>
        <c:dLbls>
          <c:showLegendKey val="0"/>
          <c:showVal val="0"/>
          <c:showCatName val="0"/>
          <c:showSerName val="0"/>
          <c:showPercent val="0"/>
          <c:showBubbleSize val="0"/>
        </c:dLbls>
        <c:gapWidth val="80"/>
        <c:overlap val="100"/>
        <c:axId val="2006122783"/>
        <c:axId val="1"/>
      </c:barChart>
      <c:lineChart>
        <c:grouping val="standard"/>
        <c:varyColors val="0"/>
        <c:ser>
          <c:idx val="1"/>
          <c:order val="1"/>
          <c:spPr>
            <a:ln w="19050" cmpd="sng" algn="ctr">
              <a:solidFill>
                <a:srgbClr val="EB8C00"/>
              </a:solidFill>
              <a:prstDash val="solid"/>
            </a:ln>
          </c:spPr>
          <c:marker>
            <c:symbol val="none"/>
          </c:marker>
          <c:dPt>
            <c:idx val="0"/>
            <c:marker>
              <c:symbol val="circle"/>
              <c:size val="6"/>
              <c:spPr>
                <a:solidFill>
                  <a:srgbClr val="E36A00"/>
                </a:solidFill>
                <a:ln w="9525" cmpd="sng" algn="ctr">
                  <a:solidFill>
                    <a:srgbClr val="E36A00"/>
                  </a:solidFill>
                  <a:prstDash val="solid"/>
                </a:ln>
              </c:spPr>
            </c:marker>
            <c:bubble3D val="0"/>
            <c:extLst>
              <c:ext xmlns:c16="http://schemas.microsoft.com/office/drawing/2014/chart" uri="{C3380CC4-5D6E-409C-BE32-E72D297353CC}">
                <c16:uniqueId val="{00000005-69E4-4421-ABE7-692DB6BE4C91}"/>
              </c:ext>
            </c:extLst>
          </c:dPt>
          <c:dPt>
            <c:idx val="1"/>
            <c:marker>
              <c:symbol val="circle"/>
              <c:size val="6"/>
              <c:spPr>
                <a:solidFill>
                  <a:srgbClr val="E36A00"/>
                </a:solidFill>
                <a:ln w="9525" cmpd="sng" algn="ctr">
                  <a:solidFill>
                    <a:srgbClr val="E36A00"/>
                  </a:solidFill>
                  <a:prstDash val="solid"/>
                </a:ln>
              </c:spPr>
            </c:marker>
            <c:bubble3D val="0"/>
            <c:extLst>
              <c:ext xmlns:c16="http://schemas.microsoft.com/office/drawing/2014/chart" uri="{C3380CC4-5D6E-409C-BE32-E72D297353CC}">
                <c16:uniqueId val="{00000006-69E4-4421-ABE7-692DB6BE4C91}"/>
              </c:ext>
            </c:extLst>
          </c:dPt>
          <c:dPt>
            <c:idx val="2"/>
            <c:marker>
              <c:symbol val="circle"/>
              <c:size val="6"/>
              <c:spPr>
                <a:solidFill>
                  <a:srgbClr val="E36A00"/>
                </a:solidFill>
                <a:ln w="9525" cmpd="sng" algn="ctr">
                  <a:solidFill>
                    <a:srgbClr val="E36A00"/>
                  </a:solidFill>
                  <a:prstDash val="solid"/>
                </a:ln>
              </c:spPr>
            </c:marker>
            <c:bubble3D val="0"/>
            <c:extLst>
              <c:ext xmlns:c16="http://schemas.microsoft.com/office/drawing/2014/chart" uri="{C3380CC4-5D6E-409C-BE32-E72D297353CC}">
                <c16:uniqueId val="{00000007-69E4-4421-ABE7-692DB6BE4C91}"/>
              </c:ext>
            </c:extLst>
          </c:dPt>
          <c:dPt>
            <c:idx val="3"/>
            <c:marker>
              <c:symbol val="circle"/>
              <c:size val="6"/>
              <c:spPr>
                <a:solidFill>
                  <a:srgbClr val="E36A00"/>
                </a:solidFill>
                <a:ln w="9525" cmpd="sng" algn="ctr">
                  <a:solidFill>
                    <a:srgbClr val="E36A00"/>
                  </a:solidFill>
                  <a:prstDash val="solid"/>
                </a:ln>
              </c:spPr>
            </c:marker>
            <c:bubble3D val="0"/>
            <c:extLst>
              <c:ext xmlns:c16="http://schemas.microsoft.com/office/drawing/2014/chart" uri="{C3380CC4-5D6E-409C-BE32-E72D297353CC}">
                <c16:uniqueId val="{00000008-69E4-4421-ABE7-692DB6BE4C91}"/>
              </c:ext>
            </c:extLst>
          </c:dPt>
          <c:dLbls>
            <c:dLbl>
              <c:idx val="0"/>
              <c:layout>
                <c:manualLayout>
                  <c:x val="0"/>
                  <c:y val="-5.9031281533804235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E4-4421-ABE7-692DB6BE4C91}"/>
                </c:ext>
              </c:extLst>
            </c:dLbl>
            <c:dLbl>
              <c:idx val="2"/>
              <c:layout>
                <c:manualLayout>
                  <c:x val="0"/>
                  <c:y val="-5.9031281533804235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9E4-4421-ABE7-692DB6BE4C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6697</c:v>
                </c:pt>
                <c:pt idx="1">
                  <c:v>25254</c:v>
                </c:pt>
                <c:pt idx="2">
                  <c:v>70188</c:v>
                </c:pt>
                <c:pt idx="3">
                  <c:v>5882</c:v>
                </c:pt>
              </c:numCache>
            </c:numRef>
          </c:val>
          <c:smooth val="0"/>
          <c:extLst>
            <c:ext xmlns:c16="http://schemas.microsoft.com/office/drawing/2014/chart" uri="{C3380CC4-5D6E-409C-BE32-E72D297353CC}">
              <c16:uniqueId val="{00000009-69E4-4421-ABE7-692DB6BE4C91}"/>
            </c:ext>
          </c:extLst>
        </c:ser>
        <c:dLbls>
          <c:showLegendKey val="0"/>
          <c:showVal val="0"/>
          <c:showCatName val="0"/>
          <c:showSerName val="0"/>
          <c:showPercent val="0"/>
          <c:showBubbleSize val="0"/>
        </c:dLbls>
        <c:marker val="1"/>
        <c:smooth val="0"/>
        <c:axId val="2"/>
        <c:axId val="3"/>
      </c:lineChart>
      <c:catAx>
        <c:axId val="20061227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75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06122783"/>
        <c:crosses val="min"/>
        <c:crossBetween val="between"/>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70188"/>
          <c:min val="0"/>
        </c:scaling>
        <c:delete val="0"/>
        <c:axPos val="r"/>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
        <c:crosses val="max"/>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1B237C2-15C6-76FC-78D3-B6EF5B09D3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E"/>
          </a:p>
        </p:txBody>
      </p:sp>
      <p:sp>
        <p:nvSpPr>
          <p:cNvPr id="3" name="Date Placeholder 2">
            <a:extLst>
              <a:ext uri="{FF2B5EF4-FFF2-40B4-BE49-F238E27FC236}">
                <a16:creationId xmlns:a16="http://schemas.microsoft.com/office/drawing/2014/main" id="{DE183C74-F49B-A957-02A8-121EAD340A9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87FF4A0-B4E7-4A9E-9882-697C8B0D9FD4}" type="datetimeFigureOut">
              <a:rPr lang="en-AE" smtClean="0"/>
              <a:t>22/04/2024</a:t>
            </a:fld>
            <a:endParaRPr lang="en-AE"/>
          </a:p>
        </p:txBody>
      </p:sp>
      <p:sp>
        <p:nvSpPr>
          <p:cNvPr id="4" name="Footer Placeholder 3">
            <a:extLst>
              <a:ext uri="{FF2B5EF4-FFF2-40B4-BE49-F238E27FC236}">
                <a16:creationId xmlns:a16="http://schemas.microsoft.com/office/drawing/2014/main" id="{3C14534D-1845-365B-E3E4-6CD9176EBD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E"/>
          </a:p>
        </p:txBody>
      </p:sp>
      <p:sp>
        <p:nvSpPr>
          <p:cNvPr id="5" name="Slide Number Placeholder 4">
            <a:extLst>
              <a:ext uri="{FF2B5EF4-FFF2-40B4-BE49-F238E27FC236}">
                <a16:creationId xmlns:a16="http://schemas.microsoft.com/office/drawing/2014/main" id="{BD274734-2EAA-DDEA-13C9-FF3AD4243AC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DD2D5D-D64C-4185-AF7D-E73B59EE446A}" type="slidenum">
              <a:rPr lang="en-AE" smtClean="0"/>
              <a:t>‹#›</a:t>
            </a:fld>
            <a:endParaRPr lang="en-AE"/>
          </a:p>
        </p:txBody>
      </p:sp>
    </p:spTree>
    <p:extLst>
      <p:ext uri="{BB962C8B-B14F-4D97-AF65-F5344CB8AC3E}">
        <p14:creationId xmlns:p14="http://schemas.microsoft.com/office/powerpoint/2010/main" val="2503743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766F25-CCCF-4173-A068-017CF54712CC}" type="datetimeFigureOut">
              <a:rPr lang="en-US" smtClean="0"/>
              <a:t>4/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FE9767-EE1A-417E-BF3B-FB8AF49F7B31}" type="slidenum">
              <a:rPr lang="en-US" smtClean="0"/>
              <a:t>‹#›</a:t>
            </a:fld>
            <a:endParaRPr lang="en-US"/>
          </a:p>
        </p:txBody>
      </p:sp>
    </p:spTree>
    <p:extLst>
      <p:ext uri="{BB962C8B-B14F-4D97-AF65-F5344CB8AC3E}">
        <p14:creationId xmlns:p14="http://schemas.microsoft.com/office/powerpoint/2010/main" val="31118804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FE9767-EE1A-417E-BF3B-FB8AF49F7B31}" type="slidenum">
              <a:rPr lang="en-US" smtClean="0"/>
              <a:t>6</a:t>
            </a:fld>
            <a:endParaRPr lang="en-US"/>
          </a:p>
        </p:txBody>
      </p:sp>
    </p:spTree>
    <p:extLst>
      <p:ext uri="{BB962C8B-B14F-4D97-AF65-F5344CB8AC3E}">
        <p14:creationId xmlns:p14="http://schemas.microsoft.com/office/powerpoint/2010/main" val="4156907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91457D-2B93-F4DD-3625-45786A6713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E"/>
          </a:p>
        </p:txBody>
      </p:sp>
      <p:sp>
        <p:nvSpPr>
          <p:cNvPr id="3" name="Subtitle 2">
            <a:extLst>
              <a:ext uri="{FF2B5EF4-FFF2-40B4-BE49-F238E27FC236}">
                <a16:creationId xmlns:a16="http://schemas.microsoft.com/office/drawing/2014/main" id="{38DCEA4B-E34C-39AE-53CF-0698B6DD55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DF095FC3-2317-3DF5-FAE4-121FE90A9E2B}"/>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F236CF9F-5705-2ACC-76CA-631FB4072151}"/>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AF6E4450-4475-B9E6-98CD-6D2189797AE8}"/>
              </a:ext>
            </a:extLst>
          </p:cNvPr>
          <p:cNvSpPr>
            <a:spLocks noGrp="1"/>
          </p:cNvSpPr>
          <p:nvPr>
            <p:ph type="sldNum" sz="quarter" idx="12"/>
          </p:nvPr>
        </p:nvSpPr>
        <p:spPr/>
        <p:txBody>
          <a:bodyPr/>
          <a:lstStyle/>
          <a:p>
            <a:fld id="{F9B5922C-FDE6-4E52-9FAD-7443E37D87F6}" type="slidenum">
              <a:rPr lang="en-AE" smtClean="0"/>
              <a:t>‹#›</a:t>
            </a:fld>
            <a:endParaRPr lang="en-AE"/>
          </a:p>
        </p:txBody>
      </p:sp>
      <p:pic>
        <p:nvPicPr>
          <p:cNvPr id="10" name="Picture 9">
            <a:extLst>
              <a:ext uri="{FF2B5EF4-FFF2-40B4-BE49-F238E27FC236}">
                <a16:creationId xmlns:a16="http://schemas.microsoft.com/office/drawing/2014/main" id="{2204CEDA-00D5-9C14-2772-2824CDC9512C}"/>
              </a:ext>
            </a:extLst>
          </p:cNvPr>
          <p:cNvPicPr>
            <a:picLocks noChangeAspect="1"/>
          </p:cNvPicPr>
          <p:nvPr userDrawn="1"/>
        </p:nvPicPr>
        <p:blipFill rotWithShape="1">
          <a:blip r:embed="rId2">
            <a:alphaModFix amt="43000"/>
          </a:blip>
          <a:srcRect l="56009" t="14688" r="-1" b="28099"/>
          <a:stretch/>
        </p:blipFill>
        <p:spPr>
          <a:xfrm rot="10800000" flipH="1">
            <a:off x="0" y="13128"/>
            <a:ext cx="4650154" cy="6844872"/>
          </a:xfrm>
          <a:prstGeom prst="rect">
            <a:avLst/>
          </a:prstGeom>
        </p:spPr>
      </p:pic>
    </p:spTree>
    <p:extLst>
      <p:ext uri="{BB962C8B-B14F-4D97-AF65-F5344CB8AC3E}">
        <p14:creationId xmlns:p14="http://schemas.microsoft.com/office/powerpoint/2010/main" val="1061768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49FB0-881C-FF3C-D768-6216D209AB2D}"/>
              </a:ext>
            </a:extLst>
          </p:cNvPr>
          <p:cNvSpPr>
            <a:spLocks noGrp="1"/>
          </p:cNvSpPr>
          <p:nvPr>
            <p:ph type="title"/>
          </p:nvPr>
        </p:nvSpPr>
        <p:spPr/>
        <p:txBody>
          <a:body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E4B9F890-AB96-6550-1868-60488430B1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726E937D-8F52-DD3B-6534-1936D5B1BCE0}"/>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4F380F95-CC8D-D2CD-0501-B01D2E343892}"/>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94EBE88F-8CA5-2A02-DE85-658ACA9208A6}"/>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36807816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AA2F67-9F92-7C38-39A2-8998E325B59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D81E5D46-BA23-B556-BE46-92C900B201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088352B9-4C66-25F4-9850-CDC8B7465FD5}"/>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033711F4-3A25-682F-8E76-0D7DEE8F431E}"/>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3B0845D-91B9-1143-2947-A100F5B745A5}"/>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4102896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5239F-35DF-F4EA-137D-B8ED4E9C7D9A}"/>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AFF236A1-20EB-AB78-F38E-AAA02BC0DF3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909D3E96-E633-C690-CFAD-2CA6BD7E18D2}"/>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961BF3A2-5E48-1722-46FD-210BC425A2D5}"/>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95D286E4-F8A5-CA76-1A1E-751FD1E2CA81}"/>
              </a:ext>
            </a:extLst>
          </p:cNvPr>
          <p:cNvSpPr>
            <a:spLocks noGrp="1"/>
          </p:cNvSpPr>
          <p:nvPr>
            <p:ph type="sldNum" sz="quarter" idx="12"/>
          </p:nvPr>
        </p:nvSpPr>
        <p:spPr/>
        <p:txBody>
          <a:bodyPr/>
          <a:lstStyle/>
          <a:p>
            <a:fld id="{F9B5922C-FDE6-4E52-9FAD-7443E37D87F6}" type="slidenum">
              <a:rPr lang="en-AE" smtClean="0"/>
              <a:t>‹#›</a:t>
            </a:fld>
            <a:endParaRPr lang="en-AE"/>
          </a:p>
        </p:txBody>
      </p:sp>
      <p:pic>
        <p:nvPicPr>
          <p:cNvPr id="11" name="Picture 10">
            <a:extLst>
              <a:ext uri="{FF2B5EF4-FFF2-40B4-BE49-F238E27FC236}">
                <a16:creationId xmlns:a16="http://schemas.microsoft.com/office/drawing/2014/main" id="{C6BAC657-4FC6-1078-F73C-DA3F7C57C0E6}"/>
              </a:ext>
            </a:extLst>
          </p:cNvPr>
          <p:cNvPicPr>
            <a:picLocks noChangeAspect="1"/>
          </p:cNvPicPr>
          <p:nvPr userDrawn="1"/>
        </p:nvPicPr>
        <p:blipFill rotWithShape="1">
          <a:blip r:embed="rId2">
            <a:alphaModFix amt="46000"/>
          </a:blip>
          <a:srcRect l="1056" r="55511"/>
          <a:stretch/>
        </p:blipFill>
        <p:spPr>
          <a:xfrm rot="10800000">
            <a:off x="0" y="273089"/>
            <a:ext cx="563719" cy="1297899"/>
          </a:xfrm>
          <a:prstGeom prst="rect">
            <a:avLst/>
          </a:prstGeom>
        </p:spPr>
      </p:pic>
    </p:spTree>
    <p:extLst>
      <p:ext uri="{BB962C8B-B14F-4D97-AF65-F5344CB8AC3E}">
        <p14:creationId xmlns:p14="http://schemas.microsoft.com/office/powerpoint/2010/main" val="3968661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BF2F8-2F33-5195-0C1F-0249D0060C0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BA653B16-2BC0-2158-29ED-408882E3A08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51D3C66-B638-D3EE-26A9-2492E0F55B1A}"/>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746E29FC-BEA4-B070-6DD5-12A962197142}"/>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B9838A66-1A54-5340-EDBD-0C49C5DEAE0B}"/>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2265994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286E-19A1-952B-C2B8-94F96E6C9BA8}"/>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D7D85659-AEB9-A6D1-BB64-A695F2DD6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Content Placeholder 3">
            <a:extLst>
              <a:ext uri="{FF2B5EF4-FFF2-40B4-BE49-F238E27FC236}">
                <a16:creationId xmlns:a16="http://schemas.microsoft.com/office/drawing/2014/main" id="{B145305D-F15B-BE34-6632-B143D5A0887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Date Placeholder 4">
            <a:extLst>
              <a:ext uri="{FF2B5EF4-FFF2-40B4-BE49-F238E27FC236}">
                <a16:creationId xmlns:a16="http://schemas.microsoft.com/office/drawing/2014/main" id="{697C2F56-085A-C9B2-1C2A-C97EA9504287}"/>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6" name="Footer Placeholder 5">
            <a:extLst>
              <a:ext uri="{FF2B5EF4-FFF2-40B4-BE49-F238E27FC236}">
                <a16:creationId xmlns:a16="http://schemas.microsoft.com/office/drawing/2014/main" id="{F03BD655-14A5-1E0A-0785-1A023AE73247}"/>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F8A96669-C3C7-6A2F-521A-60C0370A0FB9}"/>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423282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B0B3F-3C3E-EBF6-1C51-7D0886F22B1F}"/>
              </a:ext>
            </a:extLst>
          </p:cNvPr>
          <p:cNvSpPr>
            <a:spLocks noGrp="1"/>
          </p:cNvSpPr>
          <p:nvPr>
            <p:ph type="title"/>
          </p:nvPr>
        </p:nvSpPr>
        <p:spPr>
          <a:xfrm>
            <a:off x="839788" y="365125"/>
            <a:ext cx="10515600" cy="1325563"/>
          </a:xfrm>
        </p:spPr>
        <p:txBody>
          <a:bodyPr/>
          <a:lstStyle/>
          <a:p>
            <a:r>
              <a:rPr lang="en-US"/>
              <a:t>Click to edit Master title style</a:t>
            </a:r>
            <a:endParaRPr lang="en-AE"/>
          </a:p>
        </p:txBody>
      </p:sp>
      <p:sp>
        <p:nvSpPr>
          <p:cNvPr id="3" name="Text Placeholder 2">
            <a:extLst>
              <a:ext uri="{FF2B5EF4-FFF2-40B4-BE49-F238E27FC236}">
                <a16:creationId xmlns:a16="http://schemas.microsoft.com/office/drawing/2014/main" id="{4A1D2CE7-09A5-6BB7-5B7D-5288219E02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DBDCAB-547F-4618-F8C3-6F8DF95BA0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Text Placeholder 4">
            <a:extLst>
              <a:ext uri="{FF2B5EF4-FFF2-40B4-BE49-F238E27FC236}">
                <a16:creationId xmlns:a16="http://schemas.microsoft.com/office/drawing/2014/main" id="{D0651C55-87EE-6B5D-E3D8-01E57FCE3D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3ED7795-5CFD-E962-BCD5-C0D5D24110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7" name="Date Placeholder 6">
            <a:extLst>
              <a:ext uri="{FF2B5EF4-FFF2-40B4-BE49-F238E27FC236}">
                <a16:creationId xmlns:a16="http://schemas.microsoft.com/office/drawing/2014/main" id="{13AB087C-814C-274B-EFA9-9A67D56AA1C3}"/>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8" name="Footer Placeholder 7">
            <a:extLst>
              <a:ext uri="{FF2B5EF4-FFF2-40B4-BE49-F238E27FC236}">
                <a16:creationId xmlns:a16="http://schemas.microsoft.com/office/drawing/2014/main" id="{D4B60B9B-DA9F-FCE1-5AF9-7FEAEA887EED}"/>
              </a:ext>
            </a:extLst>
          </p:cNvPr>
          <p:cNvSpPr>
            <a:spLocks noGrp="1"/>
          </p:cNvSpPr>
          <p:nvPr>
            <p:ph type="ftr" sz="quarter" idx="11"/>
          </p:nvPr>
        </p:nvSpPr>
        <p:spPr/>
        <p:txBody>
          <a:bodyPr/>
          <a:lstStyle/>
          <a:p>
            <a:endParaRPr lang="en-AE"/>
          </a:p>
        </p:txBody>
      </p:sp>
      <p:sp>
        <p:nvSpPr>
          <p:cNvPr id="9" name="Slide Number Placeholder 8">
            <a:extLst>
              <a:ext uri="{FF2B5EF4-FFF2-40B4-BE49-F238E27FC236}">
                <a16:creationId xmlns:a16="http://schemas.microsoft.com/office/drawing/2014/main" id="{9267FC71-CED6-3C9F-AB4C-E9305C3CA7B0}"/>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3462170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E2DFF-77B1-A2A9-7F16-C060BA5CCCA3}"/>
              </a:ext>
            </a:extLst>
          </p:cNvPr>
          <p:cNvSpPr>
            <a:spLocks noGrp="1"/>
          </p:cNvSpPr>
          <p:nvPr>
            <p:ph type="title"/>
          </p:nvPr>
        </p:nvSpPr>
        <p:spPr/>
        <p:txBody>
          <a:bodyPr/>
          <a:lstStyle/>
          <a:p>
            <a:r>
              <a:rPr lang="en-US"/>
              <a:t>Click to edit Master title style</a:t>
            </a:r>
            <a:endParaRPr lang="en-AE"/>
          </a:p>
        </p:txBody>
      </p:sp>
      <p:sp>
        <p:nvSpPr>
          <p:cNvPr id="3" name="Date Placeholder 2">
            <a:extLst>
              <a:ext uri="{FF2B5EF4-FFF2-40B4-BE49-F238E27FC236}">
                <a16:creationId xmlns:a16="http://schemas.microsoft.com/office/drawing/2014/main" id="{92EC10EB-69F6-6476-B1B9-CF5210733974}"/>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4" name="Footer Placeholder 3">
            <a:extLst>
              <a:ext uri="{FF2B5EF4-FFF2-40B4-BE49-F238E27FC236}">
                <a16:creationId xmlns:a16="http://schemas.microsoft.com/office/drawing/2014/main" id="{F18D5F50-63CA-513D-793D-068CA4AEC0CD}"/>
              </a:ext>
            </a:extLst>
          </p:cNvPr>
          <p:cNvSpPr>
            <a:spLocks noGrp="1"/>
          </p:cNvSpPr>
          <p:nvPr>
            <p:ph type="ftr" sz="quarter" idx="11"/>
          </p:nvPr>
        </p:nvSpPr>
        <p:spPr/>
        <p:txBody>
          <a:bodyPr/>
          <a:lstStyle/>
          <a:p>
            <a:endParaRPr lang="en-AE"/>
          </a:p>
        </p:txBody>
      </p:sp>
      <p:sp>
        <p:nvSpPr>
          <p:cNvPr id="5" name="Slide Number Placeholder 4">
            <a:extLst>
              <a:ext uri="{FF2B5EF4-FFF2-40B4-BE49-F238E27FC236}">
                <a16:creationId xmlns:a16="http://schemas.microsoft.com/office/drawing/2014/main" id="{E683A7A5-B58B-FE20-56BF-BDE4F4EE0193}"/>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1804066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AD533E-655C-D1EB-5D31-954B35B48878}"/>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3" name="Footer Placeholder 2">
            <a:extLst>
              <a:ext uri="{FF2B5EF4-FFF2-40B4-BE49-F238E27FC236}">
                <a16:creationId xmlns:a16="http://schemas.microsoft.com/office/drawing/2014/main" id="{D8572D4F-79CF-1589-ECCB-DC7B31BA5269}"/>
              </a:ext>
            </a:extLst>
          </p:cNvPr>
          <p:cNvSpPr>
            <a:spLocks noGrp="1"/>
          </p:cNvSpPr>
          <p:nvPr>
            <p:ph type="ftr" sz="quarter" idx="11"/>
          </p:nvPr>
        </p:nvSpPr>
        <p:spPr/>
        <p:txBody>
          <a:bodyPr/>
          <a:lstStyle/>
          <a:p>
            <a:endParaRPr lang="en-AE"/>
          </a:p>
        </p:txBody>
      </p:sp>
      <p:sp>
        <p:nvSpPr>
          <p:cNvPr id="4" name="Slide Number Placeholder 3">
            <a:extLst>
              <a:ext uri="{FF2B5EF4-FFF2-40B4-BE49-F238E27FC236}">
                <a16:creationId xmlns:a16="http://schemas.microsoft.com/office/drawing/2014/main" id="{58C7B848-97E6-2676-A757-40ED9727A1A2}"/>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2053648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5577D-9120-682F-8D68-27F7D9DA6B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55C1EE2F-E159-F9C2-522F-F57F4CA928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A6A6BE11-B6CD-61C5-4573-57B537638A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11FE34-181D-598C-3EE7-9AEDBCFDF9C3}"/>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6" name="Footer Placeholder 5">
            <a:extLst>
              <a:ext uri="{FF2B5EF4-FFF2-40B4-BE49-F238E27FC236}">
                <a16:creationId xmlns:a16="http://schemas.microsoft.com/office/drawing/2014/main" id="{3777A590-5BBA-9C76-1700-67E59845C5F4}"/>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4195CA20-8EF7-1368-7EFF-7EF90E4E8607}"/>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20359117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28BA1-97AB-D856-9BD5-B2138B67A7C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25C1C085-D076-7A02-382C-258EC775A0F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E"/>
          </a:p>
        </p:txBody>
      </p:sp>
      <p:sp>
        <p:nvSpPr>
          <p:cNvPr id="4" name="Text Placeholder 3">
            <a:extLst>
              <a:ext uri="{FF2B5EF4-FFF2-40B4-BE49-F238E27FC236}">
                <a16:creationId xmlns:a16="http://schemas.microsoft.com/office/drawing/2014/main" id="{A8A88730-C851-3CCF-65C0-96E3FE0368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56BDC4-F99A-DB73-79B4-F9C3EA7B7DE1}"/>
              </a:ext>
            </a:extLst>
          </p:cNvPr>
          <p:cNvSpPr>
            <a:spLocks noGrp="1"/>
          </p:cNvSpPr>
          <p:nvPr>
            <p:ph type="dt" sz="half" idx="10"/>
          </p:nvPr>
        </p:nvSpPr>
        <p:spPr/>
        <p:txBody>
          <a:bodyPr/>
          <a:lstStyle/>
          <a:p>
            <a:fld id="{34CCC85E-9673-4313-B54B-2D4DE3FDC008}" type="datetimeFigureOut">
              <a:rPr lang="en-AE" smtClean="0"/>
              <a:t>22/04/2024</a:t>
            </a:fld>
            <a:endParaRPr lang="en-AE"/>
          </a:p>
        </p:txBody>
      </p:sp>
      <p:sp>
        <p:nvSpPr>
          <p:cNvPr id="6" name="Footer Placeholder 5">
            <a:extLst>
              <a:ext uri="{FF2B5EF4-FFF2-40B4-BE49-F238E27FC236}">
                <a16:creationId xmlns:a16="http://schemas.microsoft.com/office/drawing/2014/main" id="{A950A9AF-5E6A-531C-5FAD-A9A245F79D5D}"/>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5B1297E9-9F67-77DC-74EA-90EB3540C220}"/>
              </a:ext>
            </a:extLst>
          </p:cNvPr>
          <p:cNvSpPr>
            <a:spLocks noGrp="1"/>
          </p:cNvSpPr>
          <p:nvPr>
            <p:ph type="sldNum" sz="quarter" idx="12"/>
          </p:nvPr>
        </p:nvSpPr>
        <p:spPr/>
        <p:txBody>
          <a:bodyPr/>
          <a:lstStyle/>
          <a:p>
            <a:fld id="{F9B5922C-FDE6-4E52-9FAD-7443E37D87F6}" type="slidenum">
              <a:rPr lang="en-AE" smtClean="0"/>
              <a:t>‹#›</a:t>
            </a:fld>
            <a:endParaRPr lang="en-AE"/>
          </a:p>
        </p:txBody>
      </p:sp>
    </p:spTree>
    <p:extLst>
      <p:ext uri="{BB962C8B-B14F-4D97-AF65-F5344CB8AC3E}">
        <p14:creationId xmlns:p14="http://schemas.microsoft.com/office/powerpoint/2010/main" val="240131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502202D-B1CD-F4B4-A784-C6D042C6EB76}"/>
              </a:ext>
            </a:extLst>
          </p:cNvPr>
          <p:cNvGraphicFramePr>
            <a:graphicFrameLocks noChangeAspect="1"/>
          </p:cNvGraphicFramePr>
          <p:nvPr userDrawn="1">
            <p:custDataLst>
              <p:tags r:id="rId13"/>
            </p:custDataLst>
            <p:extLst>
              <p:ext uri="{D42A27DB-BD31-4B8C-83A1-F6EECF244321}">
                <p14:modId xmlns:p14="http://schemas.microsoft.com/office/powerpoint/2010/main" val="4233187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1" name="think-cell data - do not delete" hidden="1">
                        <a:extLst>
                          <a:ext uri="{FF2B5EF4-FFF2-40B4-BE49-F238E27FC236}">
                            <a16:creationId xmlns:a16="http://schemas.microsoft.com/office/drawing/2014/main" id="{3502202D-B1CD-F4B4-A784-C6D042C6EB7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DD0F05F-8CF0-A580-6147-09FAE1FCAE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E"/>
          </a:p>
        </p:txBody>
      </p:sp>
      <p:sp>
        <p:nvSpPr>
          <p:cNvPr id="3" name="Text Placeholder 2">
            <a:extLst>
              <a:ext uri="{FF2B5EF4-FFF2-40B4-BE49-F238E27FC236}">
                <a16:creationId xmlns:a16="http://schemas.microsoft.com/office/drawing/2014/main" id="{76E3E4B2-3155-C3C0-9A2A-BADFF1D3D8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5797D1D6-FC96-FACB-F424-D39E11D790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4CCC85E-9673-4313-B54B-2D4DE3FDC008}" type="datetimeFigureOut">
              <a:rPr lang="en-AE" smtClean="0"/>
              <a:t>22/04/2024</a:t>
            </a:fld>
            <a:endParaRPr lang="en-AE"/>
          </a:p>
        </p:txBody>
      </p:sp>
      <p:sp>
        <p:nvSpPr>
          <p:cNvPr id="5" name="Footer Placeholder 4">
            <a:extLst>
              <a:ext uri="{FF2B5EF4-FFF2-40B4-BE49-F238E27FC236}">
                <a16:creationId xmlns:a16="http://schemas.microsoft.com/office/drawing/2014/main" id="{E02104F3-157E-A1BC-D551-D1D6EB02AA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AE"/>
          </a:p>
        </p:txBody>
      </p:sp>
      <p:sp>
        <p:nvSpPr>
          <p:cNvPr id="6" name="Slide Number Placeholder 5">
            <a:extLst>
              <a:ext uri="{FF2B5EF4-FFF2-40B4-BE49-F238E27FC236}">
                <a16:creationId xmlns:a16="http://schemas.microsoft.com/office/drawing/2014/main" id="{0F2429C9-2CC4-5844-BC4E-6E86321A57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9B5922C-FDE6-4E52-9FAD-7443E37D87F6}" type="slidenum">
              <a:rPr lang="en-AE" smtClean="0"/>
              <a:t>‹#›</a:t>
            </a:fld>
            <a:endParaRPr lang="en-AE"/>
          </a:p>
        </p:txBody>
      </p:sp>
      <p:pic>
        <p:nvPicPr>
          <p:cNvPr id="7" name="Picture 6" descr="A black background with blue dots&#10;&#10;Description automatically generated">
            <a:extLst>
              <a:ext uri="{FF2B5EF4-FFF2-40B4-BE49-F238E27FC236}">
                <a16:creationId xmlns:a16="http://schemas.microsoft.com/office/drawing/2014/main" id="{B8463DE9-C03F-183B-92DE-F8864A76A571}"/>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l="1592" t="2978" r="27115" b="25730"/>
          <a:stretch/>
        </p:blipFill>
        <p:spPr>
          <a:xfrm>
            <a:off x="0" y="1"/>
            <a:ext cx="12192000" cy="6858000"/>
          </a:xfrm>
          <a:prstGeom prst="rect">
            <a:avLst/>
          </a:prstGeom>
        </p:spPr>
      </p:pic>
    </p:spTree>
    <p:extLst>
      <p:ext uri="{BB962C8B-B14F-4D97-AF65-F5344CB8AC3E}">
        <p14:creationId xmlns:p14="http://schemas.microsoft.com/office/powerpoint/2010/main" val="22162359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image" Target="../media/image1.emf"/><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slideLayout" Target="../slideLayouts/slideLayout2.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chart" Target="../charts/chart1.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image" Target="../media/image5.png"/><Relationship Id="rId8" Type="http://schemas.openxmlformats.org/officeDocument/2006/relationships/tags" Target="../tags/tag14.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oleObject" Target="../embeddings/oleObject6.bin"/><Relationship Id="rId20" Type="http://schemas.openxmlformats.org/officeDocument/2006/relationships/tags" Target="../tags/tag26.xml"/><Relationship Id="rId41" Type="http://schemas.openxmlformats.org/officeDocument/2006/relationships/tags" Target="../tags/tag47.xml"/><Relationship Id="rId1" Type="http://schemas.openxmlformats.org/officeDocument/2006/relationships/tags" Target="../tags/tag7.xml"/><Relationship Id="rId6" Type="http://schemas.openxmlformats.org/officeDocument/2006/relationships/tags" Target="../tags/tag12.xml"/></Relationships>
</file>

<file path=ppt/slides/_rels/slide12.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tags" Target="../tags/tag63.xml"/><Relationship Id="rId18" Type="http://schemas.openxmlformats.org/officeDocument/2006/relationships/chart" Target="../charts/chart2.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tags" Target="../tags/tag62.xml"/><Relationship Id="rId17" Type="http://schemas.openxmlformats.org/officeDocument/2006/relationships/image" Target="../media/image5.png"/><Relationship Id="rId2" Type="http://schemas.openxmlformats.org/officeDocument/2006/relationships/tags" Target="../tags/tag52.xml"/><Relationship Id="rId16" Type="http://schemas.openxmlformats.org/officeDocument/2006/relationships/image" Target="../media/image1.emf"/><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oleObject" Target="../embeddings/oleObject7.bin"/><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3" Type="http://schemas.openxmlformats.org/officeDocument/2006/relationships/oleObject" Target="../embeddings/oleObject9.bin"/><Relationship Id="rId7" Type="http://schemas.openxmlformats.org/officeDocument/2006/relationships/image" Target="../media/image17.png"/><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jpeg"/><Relationship Id="rId10" Type="http://schemas.openxmlformats.org/officeDocument/2006/relationships/image" Target="../media/image19.png"/><Relationship Id="rId4" Type="http://schemas.openxmlformats.org/officeDocument/2006/relationships/image" Target="../media/image1.emf"/><Relationship Id="rId9" Type="http://schemas.openxmlformats.org/officeDocument/2006/relationships/image" Target="../media/image5.png"/></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0.bin"/><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5.png"/><Relationship Id="rId10" Type="http://schemas.openxmlformats.org/officeDocument/2006/relationships/image" Target="../media/image27.png"/><Relationship Id="rId4" Type="http://schemas.openxmlformats.org/officeDocument/2006/relationships/image" Target="../media/image1.emf"/><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oleObject" Target="../embeddings/oleObject11.bin"/><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67.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1.emf"/><Relationship Id="rId9"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68.xml"/><Relationship Id="rId5" Type="http://schemas.openxmlformats.org/officeDocument/2006/relationships/image" Target="../media/image5.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black background with green lines&#10;&#10;Description automatically generated">
            <a:extLst>
              <a:ext uri="{FF2B5EF4-FFF2-40B4-BE49-F238E27FC236}">
                <a16:creationId xmlns:a16="http://schemas.microsoft.com/office/drawing/2014/main" id="{631D49DA-584C-52F3-D7E8-7B7885DE8D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8" name="LOREM IPSUM">
            <a:extLst>
              <a:ext uri="{FF2B5EF4-FFF2-40B4-BE49-F238E27FC236}">
                <a16:creationId xmlns:a16="http://schemas.microsoft.com/office/drawing/2014/main" id="{04A8D26F-59F7-626F-2A20-A22FD91CD3B3}"/>
              </a:ext>
            </a:extLst>
          </p:cNvPr>
          <p:cNvSpPr txBox="1"/>
          <p:nvPr/>
        </p:nvSpPr>
        <p:spPr>
          <a:xfrm>
            <a:off x="0" y="2404118"/>
            <a:ext cx="12192000" cy="12105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pPr algn="ctr"/>
            <a:r>
              <a:rPr lang="en-US" sz="3600" dirty="0">
                <a:solidFill>
                  <a:schemeClr val="tx1">
                    <a:lumMod val="50000"/>
                  </a:schemeClr>
                </a:solidFill>
                <a:latin typeface="SUISSEINTL-BOLD" panose="020B0804000000000000" pitchFamily="34" charset="77"/>
              </a:rPr>
              <a:t>SAUDI ARABIA</a:t>
            </a:r>
          </a:p>
          <a:p>
            <a:pPr algn="ctr"/>
            <a:r>
              <a:rPr lang="en-US" sz="3600" dirty="0">
                <a:solidFill>
                  <a:schemeClr val="tx1">
                    <a:lumMod val="50000"/>
                  </a:schemeClr>
                </a:solidFill>
                <a:latin typeface="SUISSEINTL-BOLD" panose="020B0804000000000000" pitchFamily="34" charset="77"/>
              </a:rPr>
              <a:t>HOSPITALITY &amp; TOURISM CONSIDERATIONS</a:t>
            </a:r>
          </a:p>
        </p:txBody>
      </p:sp>
      <p:sp>
        <p:nvSpPr>
          <p:cNvPr id="9" name="Lorem Ipsum is simply dummy text of the printing and typesetting industry. Lorem Ipsum has been the industry's standard dummy text ever since the 1500s, when an unknown printer took a galley of type and scrambled it to make a type specimen book. It has s">
            <a:extLst>
              <a:ext uri="{FF2B5EF4-FFF2-40B4-BE49-F238E27FC236}">
                <a16:creationId xmlns:a16="http://schemas.microsoft.com/office/drawing/2014/main" id="{01DEB969-E057-3CF0-BFEA-4D9BB52D00FE}"/>
              </a:ext>
            </a:extLst>
          </p:cNvPr>
          <p:cNvSpPr txBox="1"/>
          <p:nvPr/>
        </p:nvSpPr>
        <p:spPr>
          <a:xfrm>
            <a:off x="2775779" y="3611361"/>
            <a:ext cx="6545504" cy="318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spAutoFit/>
          </a:bodyPr>
          <a:lstStyle/>
          <a:p>
            <a:pPr marR="0" algn="ctr" defTabSz="2438337" rtl="0" fontAlgn="auto" latinLnBrk="0" hangingPunct="0">
              <a:lnSpc>
                <a:spcPct val="100000"/>
              </a:lnSpc>
              <a:spcBef>
                <a:spcPts val="0"/>
              </a:spcBef>
              <a:spcAft>
                <a:spcPts val="0"/>
              </a:spcAft>
              <a:buClrTx/>
              <a:buSzTx/>
              <a:tabLst/>
            </a:pPr>
            <a:r>
              <a:rPr kumimoji="0" lang="en-GB" sz="1400" b="0" i="0" u="none" strike="noStrike" cap="none" spc="0" normalizeH="0" baseline="0" dirty="0">
                <a:ln>
                  <a:noFill/>
                </a:ln>
                <a:solidFill>
                  <a:srgbClr val="5E5E5E"/>
                </a:solidFill>
                <a:effectLst/>
                <a:uFillTx/>
                <a:latin typeface="Arial" panose="020B0604020202020204" pitchFamily="34" charset="0"/>
                <a:cs typeface="Arial" panose="020B0604020202020204" pitchFamily="34" charset="0"/>
                <a:sym typeface="Helvetica Neue"/>
              </a:rPr>
              <a:t>DR. MARTIN BERLIN, HOSPITALITY &amp; LEISURE LEAD, PWC MIDDLE EAST</a:t>
            </a:r>
          </a:p>
        </p:txBody>
      </p:sp>
    </p:spTree>
    <p:extLst>
      <p:ext uri="{BB962C8B-B14F-4D97-AF65-F5344CB8AC3E}">
        <p14:creationId xmlns:p14="http://schemas.microsoft.com/office/powerpoint/2010/main" val="1742024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60" y="537415"/>
            <a:ext cx="8389364" cy="6565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SAUDI TOURISTS BY PURPOSE</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19" name="Google Shape;2556;p24">
            <a:extLst>
              <a:ext uri="{FF2B5EF4-FFF2-40B4-BE49-F238E27FC236}">
                <a16:creationId xmlns:a16="http://schemas.microsoft.com/office/drawing/2014/main" id="{F91ADE8E-34B2-15F8-2734-00102C4DCFC3}"/>
              </a:ext>
            </a:extLst>
          </p:cNvPr>
          <p:cNvSpPr/>
          <p:nvPr/>
        </p:nvSpPr>
        <p:spPr>
          <a:xfrm>
            <a:off x="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Inbound Tourism</a:t>
            </a:r>
            <a:endParaRPr b="0" i="1" u="none" strike="noStrike" cap="none" dirty="0">
              <a:solidFill>
                <a:schemeClr val="lt1"/>
              </a:solidFill>
              <a:latin typeface="Arial"/>
              <a:ea typeface="Arial"/>
              <a:cs typeface="Arial"/>
              <a:sym typeface="Arial"/>
            </a:endParaRPr>
          </a:p>
        </p:txBody>
      </p:sp>
      <p:sp>
        <p:nvSpPr>
          <p:cNvPr id="20" name="Google Shape;2556;p24">
            <a:extLst>
              <a:ext uri="{FF2B5EF4-FFF2-40B4-BE49-F238E27FC236}">
                <a16:creationId xmlns:a16="http://schemas.microsoft.com/office/drawing/2014/main" id="{1CFA0D18-B7CB-8F57-91A1-AF4D3366817F}"/>
              </a:ext>
            </a:extLst>
          </p:cNvPr>
          <p:cNvSpPr/>
          <p:nvPr/>
        </p:nvSpPr>
        <p:spPr>
          <a:xfrm>
            <a:off x="1" y="4102422"/>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Domestic Tourism</a:t>
            </a:r>
            <a:endParaRPr b="0" i="1" u="none" strike="noStrike" cap="none" dirty="0">
              <a:solidFill>
                <a:schemeClr val="lt1"/>
              </a:solidFill>
              <a:latin typeface="Arial"/>
              <a:ea typeface="Arial"/>
              <a:cs typeface="Arial"/>
              <a:sym typeface="Arial"/>
            </a:endParaRPr>
          </a:p>
        </p:txBody>
      </p:sp>
      <p:sp>
        <p:nvSpPr>
          <p:cNvPr id="21" name="Google Shape;2630;g209c871e1c9_0_1743">
            <a:extLst>
              <a:ext uri="{FF2B5EF4-FFF2-40B4-BE49-F238E27FC236}">
                <a16:creationId xmlns:a16="http://schemas.microsoft.com/office/drawing/2014/main" id="{E296D2DA-EADA-B3BD-B417-35F2A26C8240}"/>
              </a:ext>
            </a:extLst>
          </p:cNvPr>
          <p:cNvSpPr txBox="1"/>
          <p:nvPr/>
        </p:nvSpPr>
        <p:spPr>
          <a:xfrm>
            <a:off x="3603233" y="1770694"/>
            <a:ext cx="1479129" cy="656590"/>
          </a:xfrm>
          <a:prstGeom prst="rect">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VISITING FRIENDS </a:t>
            </a:r>
          </a:p>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amp; FAMILY</a:t>
            </a:r>
            <a:endParaRPr sz="300" i="1" dirty="0">
              <a:solidFill>
                <a:schemeClr val="lt1"/>
              </a:solidFill>
              <a:latin typeface="Arial" panose="020B0604020202020204" pitchFamily="34" charset="0"/>
              <a:cs typeface="Arial" panose="020B0604020202020204" pitchFamily="34" charset="0"/>
            </a:endParaRPr>
          </a:p>
        </p:txBody>
      </p:sp>
      <p:sp>
        <p:nvSpPr>
          <p:cNvPr id="22" name="Google Shape;2630;g209c871e1c9_0_1743">
            <a:extLst>
              <a:ext uri="{FF2B5EF4-FFF2-40B4-BE49-F238E27FC236}">
                <a16:creationId xmlns:a16="http://schemas.microsoft.com/office/drawing/2014/main" id="{C149BFC3-2132-DE80-CB95-7C0031B20FF0}"/>
              </a:ext>
            </a:extLst>
          </p:cNvPr>
          <p:cNvSpPr txBox="1"/>
          <p:nvPr/>
        </p:nvSpPr>
        <p:spPr>
          <a:xfrm>
            <a:off x="5270243" y="1770694"/>
            <a:ext cx="1479129" cy="65659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BUSINESS</a:t>
            </a:r>
            <a:endParaRPr sz="1200" i="1" dirty="0">
              <a:solidFill>
                <a:schemeClr val="lt1"/>
              </a:solidFill>
              <a:latin typeface="Arial" panose="020B0604020202020204" pitchFamily="34" charset="0"/>
              <a:cs typeface="Arial" panose="020B0604020202020204" pitchFamily="34" charset="0"/>
            </a:endParaRPr>
          </a:p>
        </p:txBody>
      </p:sp>
      <p:sp>
        <p:nvSpPr>
          <p:cNvPr id="23" name="Google Shape;2630;g209c871e1c9_0_1743">
            <a:extLst>
              <a:ext uri="{FF2B5EF4-FFF2-40B4-BE49-F238E27FC236}">
                <a16:creationId xmlns:a16="http://schemas.microsoft.com/office/drawing/2014/main" id="{569EFBE2-26AE-83FF-63EE-8D402CEE5976}"/>
              </a:ext>
            </a:extLst>
          </p:cNvPr>
          <p:cNvSpPr txBox="1"/>
          <p:nvPr/>
        </p:nvSpPr>
        <p:spPr>
          <a:xfrm>
            <a:off x="6937253" y="1770694"/>
            <a:ext cx="1479129" cy="65659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LEISURE</a:t>
            </a:r>
            <a:endParaRPr sz="1200" b="1" i="1" dirty="0">
              <a:solidFill>
                <a:schemeClr val="lt1"/>
              </a:solidFill>
              <a:latin typeface="Arial" panose="020B0604020202020204" pitchFamily="34" charset="0"/>
              <a:cs typeface="Arial" panose="020B0604020202020204" pitchFamily="34" charset="0"/>
            </a:endParaRPr>
          </a:p>
        </p:txBody>
      </p:sp>
      <p:sp>
        <p:nvSpPr>
          <p:cNvPr id="24" name="Google Shape;2630;g209c871e1c9_0_1743">
            <a:extLst>
              <a:ext uri="{FF2B5EF4-FFF2-40B4-BE49-F238E27FC236}">
                <a16:creationId xmlns:a16="http://schemas.microsoft.com/office/drawing/2014/main" id="{FA2CB3FD-3B77-3B6C-EDE9-2F3AA5B6F48F}"/>
              </a:ext>
            </a:extLst>
          </p:cNvPr>
          <p:cNvSpPr txBox="1"/>
          <p:nvPr/>
        </p:nvSpPr>
        <p:spPr>
          <a:xfrm>
            <a:off x="8604263" y="1770694"/>
            <a:ext cx="1479129" cy="656590"/>
          </a:xfrm>
          <a:prstGeom prst="rect">
            <a:avLst/>
          </a:prstGeom>
          <a:solidFill>
            <a:schemeClr val="accent5"/>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RELIGIOUS</a:t>
            </a:r>
            <a:endParaRPr sz="1200" b="1" i="1" dirty="0">
              <a:solidFill>
                <a:schemeClr val="lt1"/>
              </a:solidFill>
              <a:latin typeface="Arial" panose="020B0604020202020204" pitchFamily="34" charset="0"/>
              <a:cs typeface="Arial" panose="020B0604020202020204" pitchFamily="34" charset="0"/>
            </a:endParaRPr>
          </a:p>
        </p:txBody>
      </p:sp>
      <p:sp>
        <p:nvSpPr>
          <p:cNvPr id="25" name="Google Shape;2630;g209c871e1c9_0_1743">
            <a:extLst>
              <a:ext uri="{FF2B5EF4-FFF2-40B4-BE49-F238E27FC236}">
                <a16:creationId xmlns:a16="http://schemas.microsoft.com/office/drawing/2014/main" id="{23DB20DB-9A26-C9F5-4E86-546D662EB9B3}"/>
              </a:ext>
            </a:extLst>
          </p:cNvPr>
          <p:cNvSpPr txBox="1"/>
          <p:nvPr/>
        </p:nvSpPr>
        <p:spPr>
          <a:xfrm>
            <a:off x="10271275" y="1770694"/>
            <a:ext cx="1479129" cy="656590"/>
          </a:xfrm>
          <a:prstGeom prst="rect">
            <a:avLst/>
          </a:prstGeom>
          <a:solidFill>
            <a:schemeClr val="bg1">
              <a:lumMod val="50000"/>
            </a:schemeClr>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sz="1200" b="1" dirty="0">
                <a:solidFill>
                  <a:schemeClr val="lt1"/>
                </a:solidFill>
                <a:latin typeface="Arial" panose="020B0604020202020204" pitchFamily="34" charset="0"/>
                <a:cs typeface="Arial" panose="020B0604020202020204" pitchFamily="34" charset="0"/>
              </a:rPr>
              <a:t>OTHER</a:t>
            </a:r>
          </a:p>
          <a:p>
            <a:pPr marL="0" lvl="0" indent="0" algn="ctr" rtl="0">
              <a:spcBef>
                <a:spcPts val="0"/>
              </a:spcBef>
              <a:spcAft>
                <a:spcPts val="0"/>
              </a:spcAft>
              <a:buNone/>
            </a:pPr>
            <a:r>
              <a:rPr lang="en-US" sz="1000" i="1" dirty="0">
                <a:solidFill>
                  <a:schemeClr val="lt1"/>
                </a:solidFill>
                <a:latin typeface="Arial" panose="020B0604020202020204" pitchFamily="34" charset="0"/>
                <a:cs typeface="Arial" panose="020B0604020202020204" pitchFamily="34" charset="0"/>
              </a:rPr>
              <a:t>(Medical, transit etc.)</a:t>
            </a:r>
            <a:endParaRPr sz="1000" i="1" dirty="0">
              <a:solidFill>
                <a:schemeClr val="lt1"/>
              </a:solidFill>
              <a:latin typeface="Arial" panose="020B0604020202020204" pitchFamily="34" charset="0"/>
              <a:cs typeface="Arial" panose="020B0604020202020204" pitchFamily="34" charset="0"/>
            </a:endParaRPr>
          </a:p>
        </p:txBody>
      </p:sp>
      <p:sp>
        <p:nvSpPr>
          <p:cNvPr id="26" name="Google Shape;2631;g209c871e1c9_0_1743">
            <a:extLst>
              <a:ext uri="{FF2B5EF4-FFF2-40B4-BE49-F238E27FC236}">
                <a16:creationId xmlns:a16="http://schemas.microsoft.com/office/drawing/2014/main" id="{8BD266EE-A17C-66CF-D4EF-211FD5224AFF}"/>
              </a:ext>
            </a:extLst>
          </p:cNvPr>
          <p:cNvSpPr txBox="1"/>
          <p:nvPr/>
        </p:nvSpPr>
        <p:spPr>
          <a:xfrm>
            <a:off x="3598730" y="2648938"/>
            <a:ext cx="1479129" cy="497975"/>
          </a:xfrm>
          <a:prstGeom prst="rect">
            <a:avLst/>
          </a:pr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15%</a:t>
            </a:r>
            <a:endParaRPr sz="1400" b="1" dirty="0">
              <a:solidFill>
                <a:srgbClr val="3F3F3F"/>
              </a:solidFill>
              <a:latin typeface="Arial" panose="020B0604020202020204" pitchFamily="34" charset="0"/>
              <a:cs typeface="Arial" panose="020B0604020202020204" pitchFamily="34" charset="0"/>
            </a:endParaRPr>
          </a:p>
        </p:txBody>
      </p:sp>
      <p:sp>
        <p:nvSpPr>
          <p:cNvPr id="27" name="Google Shape;2631;g209c871e1c9_0_1743">
            <a:extLst>
              <a:ext uri="{FF2B5EF4-FFF2-40B4-BE49-F238E27FC236}">
                <a16:creationId xmlns:a16="http://schemas.microsoft.com/office/drawing/2014/main" id="{379D1632-3A07-0B08-36CF-DC12B2CE72CC}"/>
              </a:ext>
            </a:extLst>
          </p:cNvPr>
          <p:cNvSpPr txBox="1"/>
          <p:nvPr/>
        </p:nvSpPr>
        <p:spPr>
          <a:xfrm>
            <a:off x="3598729" y="3368567"/>
            <a:ext cx="1479129" cy="497975"/>
          </a:xfrm>
          <a:prstGeom prst="rect">
            <a:avLst/>
          </a:pr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32%</a:t>
            </a:r>
            <a:endParaRPr sz="1400" b="1" dirty="0">
              <a:solidFill>
                <a:srgbClr val="3F3F3F"/>
              </a:solidFill>
              <a:latin typeface="Arial" panose="020B0604020202020204" pitchFamily="34" charset="0"/>
              <a:cs typeface="Arial" panose="020B0604020202020204" pitchFamily="34" charset="0"/>
            </a:endParaRPr>
          </a:p>
        </p:txBody>
      </p:sp>
      <p:sp>
        <p:nvSpPr>
          <p:cNvPr id="28" name="Google Shape;2631;g209c871e1c9_0_1743">
            <a:extLst>
              <a:ext uri="{FF2B5EF4-FFF2-40B4-BE49-F238E27FC236}">
                <a16:creationId xmlns:a16="http://schemas.microsoft.com/office/drawing/2014/main" id="{5F7BBFBD-4B5E-BD06-741C-B88176CBD32E}"/>
              </a:ext>
            </a:extLst>
          </p:cNvPr>
          <p:cNvSpPr txBox="1"/>
          <p:nvPr/>
        </p:nvSpPr>
        <p:spPr>
          <a:xfrm>
            <a:off x="5270244" y="2648938"/>
            <a:ext cx="1479129" cy="497975"/>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18%</a:t>
            </a:r>
            <a:endParaRPr sz="1400" b="1" dirty="0">
              <a:solidFill>
                <a:srgbClr val="3F3F3F"/>
              </a:solidFill>
              <a:latin typeface="Arial" panose="020B0604020202020204" pitchFamily="34" charset="0"/>
              <a:cs typeface="Arial" panose="020B0604020202020204" pitchFamily="34" charset="0"/>
            </a:endParaRPr>
          </a:p>
        </p:txBody>
      </p:sp>
      <p:sp>
        <p:nvSpPr>
          <p:cNvPr id="29" name="Google Shape;2631;g209c871e1c9_0_1743">
            <a:extLst>
              <a:ext uri="{FF2B5EF4-FFF2-40B4-BE49-F238E27FC236}">
                <a16:creationId xmlns:a16="http://schemas.microsoft.com/office/drawing/2014/main" id="{888D47DF-1FBD-6F23-D46C-74758D2973DD}"/>
              </a:ext>
            </a:extLst>
          </p:cNvPr>
          <p:cNvSpPr txBox="1"/>
          <p:nvPr/>
        </p:nvSpPr>
        <p:spPr>
          <a:xfrm>
            <a:off x="5270243" y="3368567"/>
            <a:ext cx="1479129" cy="497975"/>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10%</a:t>
            </a:r>
            <a:endParaRPr sz="1400" b="1" dirty="0">
              <a:solidFill>
                <a:srgbClr val="3F3F3F"/>
              </a:solidFill>
              <a:latin typeface="Arial" panose="020B0604020202020204" pitchFamily="34" charset="0"/>
              <a:cs typeface="Arial" panose="020B0604020202020204" pitchFamily="34" charset="0"/>
            </a:endParaRPr>
          </a:p>
        </p:txBody>
      </p:sp>
      <p:sp>
        <p:nvSpPr>
          <p:cNvPr id="30" name="Google Shape;2631;g209c871e1c9_0_1743">
            <a:extLst>
              <a:ext uri="{FF2B5EF4-FFF2-40B4-BE49-F238E27FC236}">
                <a16:creationId xmlns:a16="http://schemas.microsoft.com/office/drawing/2014/main" id="{7366EE72-EF36-1488-A3A0-6F009CC6C395}"/>
              </a:ext>
            </a:extLst>
          </p:cNvPr>
          <p:cNvSpPr txBox="1"/>
          <p:nvPr/>
        </p:nvSpPr>
        <p:spPr>
          <a:xfrm>
            <a:off x="6932749" y="2648938"/>
            <a:ext cx="1479129" cy="497975"/>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6%</a:t>
            </a:r>
            <a:endParaRPr sz="1400" b="1" dirty="0">
              <a:solidFill>
                <a:srgbClr val="3F3F3F"/>
              </a:solidFill>
              <a:latin typeface="Arial" panose="020B0604020202020204" pitchFamily="34" charset="0"/>
              <a:cs typeface="Arial" panose="020B0604020202020204" pitchFamily="34" charset="0"/>
            </a:endParaRPr>
          </a:p>
        </p:txBody>
      </p:sp>
      <p:sp>
        <p:nvSpPr>
          <p:cNvPr id="31" name="Google Shape;2631;g209c871e1c9_0_1743">
            <a:extLst>
              <a:ext uri="{FF2B5EF4-FFF2-40B4-BE49-F238E27FC236}">
                <a16:creationId xmlns:a16="http://schemas.microsoft.com/office/drawing/2014/main" id="{C5461FEB-AA75-EDAD-C89A-FBC6799CF359}"/>
              </a:ext>
            </a:extLst>
          </p:cNvPr>
          <p:cNvSpPr txBox="1"/>
          <p:nvPr/>
        </p:nvSpPr>
        <p:spPr>
          <a:xfrm>
            <a:off x="6932748" y="3368567"/>
            <a:ext cx="1479129" cy="497975"/>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15%</a:t>
            </a:r>
            <a:endParaRPr sz="1400" b="1" dirty="0">
              <a:solidFill>
                <a:srgbClr val="3F3F3F"/>
              </a:solidFill>
              <a:latin typeface="Arial" panose="020B0604020202020204" pitchFamily="34" charset="0"/>
              <a:cs typeface="Arial" panose="020B0604020202020204" pitchFamily="34" charset="0"/>
            </a:endParaRPr>
          </a:p>
        </p:txBody>
      </p:sp>
      <p:sp>
        <p:nvSpPr>
          <p:cNvPr id="32" name="Google Shape;2631;g209c871e1c9_0_1743">
            <a:extLst>
              <a:ext uri="{FF2B5EF4-FFF2-40B4-BE49-F238E27FC236}">
                <a16:creationId xmlns:a16="http://schemas.microsoft.com/office/drawing/2014/main" id="{DF28709D-52E4-7462-024F-0974670D5444}"/>
              </a:ext>
            </a:extLst>
          </p:cNvPr>
          <p:cNvSpPr txBox="1"/>
          <p:nvPr/>
        </p:nvSpPr>
        <p:spPr>
          <a:xfrm>
            <a:off x="8604263" y="2648938"/>
            <a:ext cx="1479129" cy="497975"/>
          </a:xfrm>
          <a:prstGeom prst="rect">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57%</a:t>
            </a:r>
            <a:endParaRPr sz="1400" b="1" dirty="0">
              <a:solidFill>
                <a:srgbClr val="3F3F3F"/>
              </a:solidFill>
              <a:latin typeface="Arial" panose="020B0604020202020204" pitchFamily="34" charset="0"/>
              <a:cs typeface="Arial" panose="020B0604020202020204" pitchFamily="34" charset="0"/>
            </a:endParaRPr>
          </a:p>
        </p:txBody>
      </p:sp>
      <p:sp>
        <p:nvSpPr>
          <p:cNvPr id="33" name="Google Shape;2631;g209c871e1c9_0_1743">
            <a:extLst>
              <a:ext uri="{FF2B5EF4-FFF2-40B4-BE49-F238E27FC236}">
                <a16:creationId xmlns:a16="http://schemas.microsoft.com/office/drawing/2014/main" id="{C3A3F764-CD60-8801-3701-0426B7C6C432}"/>
              </a:ext>
            </a:extLst>
          </p:cNvPr>
          <p:cNvSpPr txBox="1"/>
          <p:nvPr/>
        </p:nvSpPr>
        <p:spPr>
          <a:xfrm>
            <a:off x="8604262" y="3368567"/>
            <a:ext cx="1479129" cy="497975"/>
          </a:xfrm>
          <a:prstGeom prst="rect">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36%</a:t>
            </a:r>
            <a:endParaRPr sz="1400" b="1" dirty="0">
              <a:solidFill>
                <a:srgbClr val="3F3F3F"/>
              </a:solidFill>
              <a:latin typeface="Arial" panose="020B0604020202020204" pitchFamily="34" charset="0"/>
              <a:cs typeface="Arial" panose="020B0604020202020204" pitchFamily="34" charset="0"/>
            </a:endParaRPr>
          </a:p>
        </p:txBody>
      </p:sp>
      <p:sp>
        <p:nvSpPr>
          <p:cNvPr id="34" name="Google Shape;2631;g209c871e1c9_0_1743">
            <a:extLst>
              <a:ext uri="{FF2B5EF4-FFF2-40B4-BE49-F238E27FC236}">
                <a16:creationId xmlns:a16="http://schemas.microsoft.com/office/drawing/2014/main" id="{016FD790-C345-F604-80F5-2C27E21447E4}"/>
              </a:ext>
            </a:extLst>
          </p:cNvPr>
          <p:cNvSpPr txBox="1"/>
          <p:nvPr/>
        </p:nvSpPr>
        <p:spPr>
          <a:xfrm>
            <a:off x="10271276" y="2648938"/>
            <a:ext cx="1479129" cy="497975"/>
          </a:xfrm>
          <a:prstGeom prst="rect">
            <a:avLst/>
          </a:prstGeom>
          <a:noFill/>
          <a:ln w="9525" cap="flat" cmpd="sng">
            <a:solidFill>
              <a:srgbClr val="7F7F7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4%</a:t>
            </a:r>
            <a:endParaRPr sz="1400" b="1" dirty="0">
              <a:solidFill>
                <a:srgbClr val="3F3F3F"/>
              </a:solidFill>
              <a:latin typeface="Arial" panose="020B0604020202020204" pitchFamily="34" charset="0"/>
              <a:cs typeface="Arial" panose="020B0604020202020204" pitchFamily="34" charset="0"/>
            </a:endParaRPr>
          </a:p>
        </p:txBody>
      </p:sp>
      <p:sp>
        <p:nvSpPr>
          <p:cNvPr id="35" name="Google Shape;2631;g209c871e1c9_0_1743">
            <a:extLst>
              <a:ext uri="{FF2B5EF4-FFF2-40B4-BE49-F238E27FC236}">
                <a16:creationId xmlns:a16="http://schemas.microsoft.com/office/drawing/2014/main" id="{9A606BF6-FAB4-2EC6-EDFF-011ACA5BAF0E}"/>
              </a:ext>
            </a:extLst>
          </p:cNvPr>
          <p:cNvSpPr txBox="1"/>
          <p:nvPr/>
        </p:nvSpPr>
        <p:spPr>
          <a:xfrm>
            <a:off x="10271275" y="3368567"/>
            <a:ext cx="1479129" cy="497975"/>
          </a:xfrm>
          <a:prstGeom prst="rect">
            <a:avLst/>
          </a:prstGeom>
          <a:noFill/>
          <a:ln w="9525" cap="flat" cmpd="sng">
            <a:solidFill>
              <a:srgbClr val="7F7F7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7%</a:t>
            </a:r>
            <a:endParaRPr sz="1400" b="1" dirty="0">
              <a:solidFill>
                <a:srgbClr val="3F3F3F"/>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20879D68-0C6C-2161-F5A2-A92EAC7827B1}"/>
              </a:ext>
            </a:extLst>
          </p:cNvPr>
          <p:cNvSpPr txBox="1"/>
          <p:nvPr/>
        </p:nvSpPr>
        <p:spPr>
          <a:xfrm>
            <a:off x="1945758" y="2613232"/>
            <a:ext cx="1201480" cy="569387"/>
          </a:xfrm>
          <a:prstGeom prst="rect">
            <a:avLst/>
          </a:prstGeom>
          <a:noFill/>
        </p:spPr>
        <p:txBody>
          <a:bodyPr wrap="square" rtlCol="0" anchor="ctr">
            <a:spAutoFit/>
          </a:bodyPr>
          <a:lstStyle/>
          <a:p>
            <a:pPr algn="ctr"/>
            <a:r>
              <a:rPr lang="en-US" sz="2000" b="1" dirty="0"/>
              <a:t>2019</a:t>
            </a:r>
          </a:p>
          <a:p>
            <a:pPr algn="ctr"/>
            <a:r>
              <a:rPr lang="en-US" sz="1100" b="1" i="1" dirty="0"/>
              <a:t>Pre-COVID</a:t>
            </a:r>
          </a:p>
        </p:txBody>
      </p:sp>
      <p:sp>
        <p:nvSpPr>
          <p:cNvPr id="37" name="TextBox 36">
            <a:extLst>
              <a:ext uri="{FF2B5EF4-FFF2-40B4-BE49-F238E27FC236}">
                <a16:creationId xmlns:a16="http://schemas.microsoft.com/office/drawing/2014/main" id="{0AFB8074-C557-49F3-AE7F-A58A49568DD1}"/>
              </a:ext>
            </a:extLst>
          </p:cNvPr>
          <p:cNvSpPr txBox="1"/>
          <p:nvPr/>
        </p:nvSpPr>
        <p:spPr>
          <a:xfrm>
            <a:off x="1945758" y="3442465"/>
            <a:ext cx="1201480" cy="400110"/>
          </a:xfrm>
          <a:prstGeom prst="rect">
            <a:avLst/>
          </a:prstGeom>
          <a:noFill/>
        </p:spPr>
        <p:txBody>
          <a:bodyPr wrap="square" rtlCol="0" anchor="ctr">
            <a:spAutoFit/>
          </a:bodyPr>
          <a:lstStyle/>
          <a:p>
            <a:pPr algn="ctr"/>
            <a:r>
              <a:rPr lang="en-US" sz="2000" b="1" dirty="0"/>
              <a:t>2023</a:t>
            </a:r>
          </a:p>
        </p:txBody>
      </p:sp>
      <p:sp>
        <p:nvSpPr>
          <p:cNvPr id="38" name="Google Shape;2631;g209c871e1c9_0_1743">
            <a:extLst>
              <a:ext uri="{FF2B5EF4-FFF2-40B4-BE49-F238E27FC236}">
                <a16:creationId xmlns:a16="http://schemas.microsoft.com/office/drawing/2014/main" id="{CF4E4140-33DB-5FEB-D488-DF617BCC7AD5}"/>
              </a:ext>
            </a:extLst>
          </p:cNvPr>
          <p:cNvSpPr txBox="1"/>
          <p:nvPr/>
        </p:nvSpPr>
        <p:spPr>
          <a:xfrm>
            <a:off x="3598729" y="5072487"/>
            <a:ext cx="1479129" cy="497975"/>
          </a:xfrm>
          <a:prstGeom prst="rect">
            <a:avLst/>
          </a:pr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30%</a:t>
            </a:r>
            <a:endParaRPr sz="1400" b="1" dirty="0">
              <a:solidFill>
                <a:srgbClr val="3F3F3F"/>
              </a:solidFill>
              <a:latin typeface="Arial" panose="020B0604020202020204" pitchFamily="34" charset="0"/>
              <a:cs typeface="Arial" panose="020B0604020202020204" pitchFamily="34" charset="0"/>
            </a:endParaRPr>
          </a:p>
        </p:txBody>
      </p:sp>
      <p:sp>
        <p:nvSpPr>
          <p:cNvPr id="39" name="Google Shape;2631;g209c871e1c9_0_1743">
            <a:extLst>
              <a:ext uri="{FF2B5EF4-FFF2-40B4-BE49-F238E27FC236}">
                <a16:creationId xmlns:a16="http://schemas.microsoft.com/office/drawing/2014/main" id="{185D5AE6-AF9F-EA79-A56F-234F65292436}"/>
              </a:ext>
            </a:extLst>
          </p:cNvPr>
          <p:cNvSpPr txBox="1"/>
          <p:nvPr/>
        </p:nvSpPr>
        <p:spPr>
          <a:xfrm>
            <a:off x="3598728" y="5792116"/>
            <a:ext cx="1479129" cy="497975"/>
          </a:xfrm>
          <a:prstGeom prst="rect">
            <a:avLst/>
          </a:prstGeom>
          <a:noFill/>
          <a:ln w="952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40%</a:t>
            </a:r>
            <a:endParaRPr sz="1400" b="1" dirty="0">
              <a:solidFill>
                <a:srgbClr val="3F3F3F"/>
              </a:solidFill>
              <a:latin typeface="Arial" panose="020B0604020202020204" pitchFamily="34" charset="0"/>
              <a:cs typeface="Arial" panose="020B0604020202020204" pitchFamily="34" charset="0"/>
            </a:endParaRPr>
          </a:p>
        </p:txBody>
      </p:sp>
      <p:sp>
        <p:nvSpPr>
          <p:cNvPr id="40" name="Google Shape;2631;g209c871e1c9_0_1743">
            <a:extLst>
              <a:ext uri="{FF2B5EF4-FFF2-40B4-BE49-F238E27FC236}">
                <a16:creationId xmlns:a16="http://schemas.microsoft.com/office/drawing/2014/main" id="{147885E4-4C9F-E8FC-C575-65CBC272E8B7}"/>
              </a:ext>
            </a:extLst>
          </p:cNvPr>
          <p:cNvSpPr txBox="1"/>
          <p:nvPr/>
        </p:nvSpPr>
        <p:spPr>
          <a:xfrm>
            <a:off x="5270243" y="5072487"/>
            <a:ext cx="1479129" cy="497975"/>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3%</a:t>
            </a:r>
            <a:endParaRPr sz="1400" b="1" dirty="0">
              <a:solidFill>
                <a:srgbClr val="3F3F3F"/>
              </a:solidFill>
              <a:latin typeface="Arial" panose="020B0604020202020204" pitchFamily="34" charset="0"/>
              <a:cs typeface="Arial" panose="020B0604020202020204" pitchFamily="34" charset="0"/>
            </a:endParaRPr>
          </a:p>
        </p:txBody>
      </p:sp>
      <p:sp>
        <p:nvSpPr>
          <p:cNvPr id="41" name="Google Shape;2631;g209c871e1c9_0_1743">
            <a:extLst>
              <a:ext uri="{FF2B5EF4-FFF2-40B4-BE49-F238E27FC236}">
                <a16:creationId xmlns:a16="http://schemas.microsoft.com/office/drawing/2014/main" id="{AC6A3284-94CE-603D-F5CA-E06E38D850B1}"/>
              </a:ext>
            </a:extLst>
          </p:cNvPr>
          <p:cNvSpPr txBox="1"/>
          <p:nvPr/>
        </p:nvSpPr>
        <p:spPr>
          <a:xfrm>
            <a:off x="5270242" y="5792116"/>
            <a:ext cx="1479129" cy="497975"/>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6%</a:t>
            </a:r>
            <a:endParaRPr sz="1400" b="1" dirty="0">
              <a:solidFill>
                <a:srgbClr val="3F3F3F"/>
              </a:solidFill>
              <a:latin typeface="Arial" panose="020B0604020202020204" pitchFamily="34" charset="0"/>
              <a:cs typeface="Arial" panose="020B0604020202020204" pitchFamily="34" charset="0"/>
            </a:endParaRPr>
          </a:p>
        </p:txBody>
      </p:sp>
      <p:sp>
        <p:nvSpPr>
          <p:cNvPr id="42" name="Google Shape;2631;g209c871e1c9_0_1743">
            <a:extLst>
              <a:ext uri="{FF2B5EF4-FFF2-40B4-BE49-F238E27FC236}">
                <a16:creationId xmlns:a16="http://schemas.microsoft.com/office/drawing/2014/main" id="{128D5A34-3952-FA0E-BCC6-81221E780067}"/>
              </a:ext>
            </a:extLst>
          </p:cNvPr>
          <p:cNvSpPr txBox="1"/>
          <p:nvPr/>
        </p:nvSpPr>
        <p:spPr>
          <a:xfrm>
            <a:off x="6932748" y="5072487"/>
            <a:ext cx="1479129" cy="497975"/>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42%</a:t>
            </a:r>
            <a:endParaRPr sz="1400" b="1" dirty="0">
              <a:solidFill>
                <a:srgbClr val="3F3F3F"/>
              </a:solidFill>
              <a:latin typeface="Arial" panose="020B0604020202020204" pitchFamily="34" charset="0"/>
              <a:cs typeface="Arial" panose="020B0604020202020204" pitchFamily="34" charset="0"/>
            </a:endParaRPr>
          </a:p>
        </p:txBody>
      </p:sp>
      <p:sp>
        <p:nvSpPr>
          <p:cNvPr id="43" name="Google Shape;2631;g209c871e1c9_0_1743">
            <a:extLst>
              <a:ext uri="{FF2B5EF4-FFF2-40B4-BE49-F238E27FC236}">
                <a16:creationId xmlns:a16="http://schemas.microsoft.com/office/drawing/2014/main" id="{17EA15D4-FA1D-2A18-954D-26AECD03036F}"/>
              </a:ext>
            </a:extLst>
          </p:cNvPr>
          <p:cNvSpPr txBox="1"/>
          <p:nvPr/>
        </p:nvSpPr>
        <p:spPr>
          <a:xfrm>
            <a:off x="6932747" y="5792116"/>
            <a:ext cx="1479129" cy="497975"/>
          </a:xfrm>
          <a:prstGeom prst="rect">
            <a:avLst/>
          </a:prstGeom>
          <a:noFill/>
          <a:ln w="9525"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38%</a:t>
            </a:r>
            <a:endParaRPr sz="1400" b="1" dirty="0">
              <a:solidFill>
                <a:srgbClr val="3F3F3F"/>
              </a:solidFill>
              <a:latin typeface="Arial" panose="020B0604020202020204" pitchFamily="34" charset="0"/>
              <a:cs typeface="Arial" panose="020B0604020202020204" pitchFamily="34" charset="0"/>
            </a:endParaRPr>
          </a:p>
        </p:txBody>
      </p:sp>
      <p:sp>
        <p:nvSpPr>
          <p:cNvPr id="44" name="Google Shape;2631;g209c871e1c9_0_1743">
            <a:extLst>
              <a:ext uri="{FF2B5EF4-FFF2-40B4-BE49-F238E27FC236}">
                <a16:creationId xmlns:a16="http://schemas.microsoft.com/office/drawing/2014/main" id="{C55E42DE-67DD-9C1F-78D1-24C33D0D2CCE}"/>
              </a:ext>
            </a:extLst>
          </p:cNvPr>
          <p:cNvSpPr txBox="1"/>
          <p:nvPr/>
        </p:nvSpPr>
        <p:spPr>
          <a:xfrm>
            <a:off x="8604262" y="5072487"/>
            <a:ext cx="1479129" cy="497975"/>
          </a:xfrm>
          <a:prstGeom prst="rect">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23%</a:t>
            </a:r>
            <a:endParaRPr sz="1400" b="1" dirty="0">
              <a:solidFill>
                <a:srgbClr val="3F3F3F"/>
              </a:solidFill>
              <a:latin typeface="Arial" panose="020B0604020202020204" pitchFamily="34" charset="0"/>
              <a:cs typeface="Arial" panose="020B0604020202020204" pitchFamily="34" charset="0"/>
            </a:endParaRPr>
          </a:p>
        </p:txBody>
      </p:sp>
      <p:sp>
        <p:nvSpPr>
          <p:cNvPr id="45" name="Google Shape;2631;g209c871e1c9_0_1743">
            <a:extLst>
              <a:ext uri="{FF2B5EF4-FFF2-40B4-BE49-F238E27FC236}">
                <a16:creationId xmlns:a16="http://schemas.microsoft.com/office/drawing/2014/main" id="{6F4E7560-3413-0611-B3B2-C4D5464F1227}"/>
              </a:ext>
            </a:extLst>
          </p:cNvPr>
          <p:cNvSpPr txBox="1"/>
          <p:nvPr/>
        </p:nvSpPr>
        <p:spPr>
          <a:xfrm>
            <a:off x="8604261" y="5792116"/>
            <a:ext cx="1479129" cy="497975"/>
          </a:xfrm>
          <a:prstGeom prst="rect">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10%</a:t>
            </a:r>
            <a:endParaRPr sz="1400" b="1" dirty="0">
              <a:solidFill>
                <a:srgbClr val="3F3F3F"/>
              </a:solidFill>
              <a:latin typeface="Arial" panose="020B0604020202020204" pitchFamily="34" charset="0"/>
              <a:cs typeface="Arial" panose="020B0604020202020204" pitchFamily="34" charset="0"/>
            </a:endParaRPr>
          </a:p>
        </p:txBody>
      </p:sp>
      <p:sp>
        <p:nvSpPr>
          <p:cNvPr id="46" name="Google Shape;2631;g209c871e1c9_0_1743">
            <a:extLst>
              <a:ext uri="{FF2B5EF4-FFF2-40B4-BE49-F238E27FC236}">
                <a16:creationId xmlns:a16="http://schemas.microsoft.com/office/drawing/2014/main" id="{2246C0B2-08B0-CE24-4152-CBD09FFB0677}"/>
              </a:ext>
            </a:extLst>
          </p:cNvPr>
          <p:cNvSpPr txBox="1"/>
          <p:nvPr/>
        </p:nvSpPr>
        <p:spPr>
          <a:xfrm>
            <a:off x="10271275" y="5072487"/>
            <a:ext cx="1479129" cy="497975"/>
          </a:xfrm>
          <a:prstGeom prst="rect">
            <a:avLst/>
          </a:prstGeom>
          <a:noFill/>
          <a:ln w="9525" cap="flat" cmpd="sng">
            <a:solidFill>
              <a:srgbClr val="7F7F7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2%</a:t>
            </a:r>
            <a:endParaRPr sz="1400" b="1" dirty="0">
              <a:solidFill>
                <a:srgbClr val="3F3F3F"/>
              </a:solidFill>
              <a:latin typeface="Arial" panose="020B0604020202020204" pitchFamily="34" charset="0"/>
              <a:cs typeface="Arial" panose="020B0604020202020204" pitchFamily="34" charset="0"/>
            </a:endParaRPr>
          </a:p>
        </p:txBody>
      </p:sp>
      <p:sp>
        <p:nvSpPr>
          <p:cNvPr id="59" name="Google Shape;2631;g209c871e1c9_0_1743">
            <a:extLst>
              <a:ext uri="{FF2B5EF4-FFF2-40B4-BE49-F238E27FC236}">
                <a16:creationId xmlns:a16="http://schemas.microsoft.com/office/drawing/2014/main" id="{27282406-4401-78AB-F07D-F7656745AFA9}"/>
              </a:ext>
            </a:extLst>
          </p:cNvPr>
          <p:cNvSpPr txBox="1"/>
          <p:nvPr/>
        </p:nvSpPr>
        <p:spPr>
          <a:xfrm>
            <a:off x="10271274" y="5792116"/>
            <a:ext cx="1479129" cy="497975"/>
          </a:xfrm>
          <a:prstGeom prst="rect">
            <a:avLst/>
          </a:prstGeom>
          <a:noFill/>
          <a:ln w="9525" cap="flat" cmpd="sng">
            <a:solidFill>
              <a:srgbClr val="7F7F7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400" b="1" dirty="0">
                <a:solidFill>
                  <a:srgbClr val="3F3F3F"/>
                </a:solidFill>
                <a:latin typeface="Arial" panose="020B0604020202020204" pitchFamily="34" charset="0"/>
                <a:cs typeface="Arial" panose="020B0604020202020204" pitchFamily="34" charset="0"/>
              </a:rPr>
              <a:t>6%</a:t>
            </a:r>
            <a:endParaRPr sz="1400" b="1" dirty="0">
              <a:solidFill>
                <a:srgbClr val="3F3F3F"/>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C61F0F1F-2702-3F2B-636A-AA293258D995}"/>
              </a:ext>
            </a:extLst>
          </p:cNvPr>
          <p:cNvSpPr txBox="1"/>
          <p:nvPr/>
        </p:nvSpPr>
        <p:spPr>
          <a:xfrm>
            <a:off x="1945758" y="5027323"/>
            <a:ext cx="1201480" cy="569387"/>
          </a:xfrm>
          <a:prstGeom prst="rect">
            <a:avLst/>
          </a:prstGeom>
          <a:noFill/>
        </p:spPr>
        <p:txBody>
          <a:bodyPr wrap="square" rtlCol="0" anchor="ctr">
            <a:spAutoFit/>
          </a:bodyPr>
          <a:lstStyle/>
          <a:p>
            <a:pPr algn="ctr"/>
            <a:r>
              <a:rPr lang="en-US" sz="2000" b="1" dirty="0"/>
              <a:t>2019</a:t>
            </a:r>
          </a:p>
          <a:p>
            <a:pPr algn="ctr"/>
            <a:r>
              <a:rPr lang="en-US" sz="1100" b="1" i="1" dirty="0"/>
              <a:t>Pre-COVID</a:t>
            </a:r>
          </a:p>
        </p:txBody>
      </p:sp>
      <p:sp>
        <p:nvSpPr>
          <p:cNvPr id="61" name="TextBox 60">
            <a:extLst>
              <a:ext uri="{FF2B5EF4-FFF2-40B4-BE49-F238E27FC236}">
                <a16:creationId xmlns:a16="http://schemas.microsoft.com/office/drawing/2014/main" id="{492013BE-7F80-FD31-51F2-7A5E5C72D5DE}"/>
              </a:ext>
            </a:extLst>
          </p:cNvPr>
          <p:cNvSpPr txBox="1"/>
          <p:nvPr/>
        </p:nvSpPr>
        <p:spPr>
          <a:xfrm>
            <a:off x="1945758" y="5856556"/>
            <a:ext cx="1201480" cy="400110"/>
          </a:xfrm>
          <a:prstGeom prst="rect">
            <a:avLst/>
          </a:prstGeom>
          <a:noFill/>
        </p:spPr>
        <p:txBody>
          <a:bodyPr wrap="square" rtlCol="0" anchor="ctr">
            <a:spAutoFit/>
          </a:bodyPr>
          <a:lstStyle/>
          <a:p>
            <a:pPr algn="ctr"/>
            <a:r>
              <a:rPr lang="en-US" sz="2000" b="1" dirty="0"/>
              <a:t>2023</a:t>
            </a:r>
          </a:p>
        </p:txBody>
      </p:sp>
      <p:sp>
        <p:nvSpPr>
          <p:cNvPr id="62" name="Arrow: Down 61">
            <a:extLst>
              <a:ext uri="{FF2B5EF4-FFF2-40B4-BE49-F238E27FC236}">
                <a16:creationId xmlns:a16="http://schemas.microsoft.com/office/drawing/2014/main" id="{2EDFDAB3-E27D-6E96-6DE2-9BF395EAB486}"/>
              </a:ext>
            </a:extLst>
          </p:cNvPr>
          <p:cNvSpPr/>
          <p:nvPr/>
        </p:nvSpPr>
        <p:spPr>
          <a:xfrm rot="10800000">
            <a:off x="4624663" y="3511228"/>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3" name="Arrow: Down 62">
            <a:extLst>
              <a:ext uri="{FF2B5EF4-FFF2-40B4-BE49-F238E27FC236}">
                <a16:creationId xmlns:a16="http://schemas.microsoft.com/office/drawing/2014/main" id="{7A4EA451-36B0-82EF-4558-E435E466B1E5}"/>
              </a:ext>
            </a:extLst>
          </p:cNvPr>
          <p:cNvSpPr/>
          <p:nvPr/>
        </p:nvSpPr>
        <p:spPr>
          <a:xfrm rot="10800000">
            <a:off x="7934932" y="3511228"/>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4" name="Arrow: Down 63">
            <a:extLst>
              <a:ext uri="{FF2B5EF4-FFF2-40B4-BE49-F238E27FC236}">
                <a16:creationId xmlns:a16="http://schemas.microsoft.com/office/drawing/2014/main" id="{1CF2560F-9A04-A2DF-9C2E-16A1C28EDDC0}"/>
              </a:ext>
            </a:extLst>
          </p:cNvPr>
          <p:cNvSpPr/>
          <p:nvPr/>
        </p:nvSpPr>
        <p:spPr>
          <a:xfrm rot="10800000">
            <a:off x="11223936" y="3511228"/>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5" name="Arrow: Down 64">
            <a:extLst>
              <a:ext uri="{FF2B5EF4-FFF2-40B4-BE49-F238E27FC236}">
                <a16:creationId xmlns:a16="http://schemas.microsoft.com/office/drawing/2014/main" id="{958E8F58-69E3-EC69-C1EA-824817DF8079}"/>
              </a:ext>
            </a:extLst>
          </p:cNvPr>
          <p:cNvSpPr/>
          <p:nvPr/>
        </p:nvSpPr>
        <p:spPr>
          <a:xfrm rot="10800000">
            <a:off x="11223936" y="5934777"/>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6" name="Arrow: Down 65">
            <a:extLst>
              <a:ext uri="{FF2B5EF4-FFF2-40B4-BE49-F238E27FC236}">
                <a16:creationId xmlns:a16="http://schemas.microsoft.com/office/drawing/2014/main" id="{DEC5602C-765B-A80D-A0D7-92C48472A71D}"/>
              </a:ext>
            </a:extLst>
          </p:cNvPr>
          <p:cNvSpPr/>
          <p:nvPr/>
        </p:nvSpPr>
        <p:spPr>
          <a:xfrm rot="10800000">
            <a:off x="4608653" y="5931419"/>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7" name="Arrow: Down 66">
            <a:extLst>
              <a:ext uri="{FF2B5EF4-FFF2-40B4-BE49-F238E27FC236}">
                <a16:creationId xmlns:a16="http://schemas.microsoft.com/office/drawing/2014/main" id="{20E75D4B-F5DC-F433-E7A0-C0D3A25BB216}"/>
              </a:ext>
            </a:extLst>
          </p:cNvPr>
          <p:cNvSpPr/>
          <p:nvPr/>
        </p:nvSpPr>
        <p:spPr>
          <a:xfrm rot="10800000">
            <a:off x="6271158" y="5931419"/>
            <a:ext cx="185258" cy="212651"/>
          </a:xfrm>
          <a:prstGeom prst="downArrow">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68" name="TextBox 67">
            <a:extLst>
              <a:ext uri="{FF2B5EF4-FFF2-40B4-BE49-F238E27FC236}">
                <a16:creationId xmlns:a16="http://schemas.microsoft.com/office/drawing/2014/main" id="{0AC895F7-7970-3DC2-0781-32897D24F76E}"/>
              </a:ext>
            </a:extLst>
          </p:cNvPr>
          <p:cNvSpPr txBox="1"/>
          <p:nvPr/>
        </p:nvSpPr>
        <p:spPr>
          <a:xfrm>
            <a:off x="6932748" y="6506475"/>
            <a:ext cx="4888496" cy="246221"/>
          </a:xfrm>
          <a:prstGeom prst="rect">
            <a:avLst/>
          </a:prstGeom>
          <a:noFill/>
        </p:spPr>
        <p:txBody>
          <a:bodyPr wrap="square" rtlCol="0" anchor="ctr">
            <a:spAutoFit/>
          </a:bodyPr>
          <a:lstStyle/>
          <a:p>
            <a:pPr algn="r"/>
            <a:r>
              <a:rPr lang="en-US" sz="1000" i="1" dirty="0"/>
              <a:t>Source: MOT, STA</a:t>
            </a:r>
          </a:p>
        </p:txBody>
      </p:sp>
      <p:sp>
        <p:nvSpPr>
          <p:cNvPr id="2" name="Rectangle 1">
            <a:extLst>
              <a:ext uri="{FF2B5EF4-FFF2-40B4-BE49-F238E27FC236}">
                <a16:creationId xmlns:a16="http://schemas.microsoft.com/office/drawing/2014/main" id="{C6785541-21B3-AB34-1BE7-25130D292A07}"/>
              </a:ext>
            </a:extLst>
          </p:cNvPr>
          <p:cNvSpPr/>
          <p:nvPr/>
        </p:nvSpPr>
        <p:spPr>
          <a:xfrm>
            <a:off x="3526971" y="1632857"/>
            <a:ext cx="1642188" cy="4873618"/>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8F68D28-F321-E400-4954-A32270195E8A}"/>
              </a:ext>
            </a:extLst>
          </p:cNvPr>
          <p:cNvSpPr/>
          <p:nvPr/>
        </p:nvSpPr>
        <p:spPr>
          <a:xfrm>
            <a:off x="6848753" y="1632857"/>
            <a:ext cx="1642188" cy="4873618"/>
          </a:xfrm>
          <a:prstGeom prst="rect">
            <a:avLst/>
          </a:prstGeom>
          <a:noFill/>
          <a:ln>
            <a:solidFill>
              <a:srgbClr val="FF000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1315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B0F088B-91EB-6D99-1009-E6E0A58E2942}"/>
              </a:ext>
            </a:extLst>
          </p:cNvPr>
          <p:cNvGraphicFramePr>
            <a:graphicFrameLocks noChangeAspect="1"/>
          </p:cNvGraphicFramePr>
          <p:nvPr>
            <p:custDataLst>
              <p:tags r:id="rId1"/>
            </p:custDataLst>
            <p:extLst>
              <p:ext uri="{D42A27DB-BD31-4B8C-83A1-F6EECF244321}">
                <p14:modId xmlns:p14="http://schemas.microsoft.com/office/powerpoint/2010/main" val="155363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395" imgH="396" progId="TCLayout.ActiveDocument.1">
                  <p:embed/>
                </p:oleObj>
              </mc:Choice>
              <mc:Fallback>
                <p:oleObj name="think-cell Slide" r:id="rId46" imgW="395" imgH="396" progId="TCLayout.ActiveDocument.1">
                  <p:embed/>
                  <p:pic>
                    <p:nvPicPr>
                      <p:cNvPr id="17" name="think-cell data - do not delete" hidden="1">
                        <a:extLst>
                          <a:ext uri="{FF2B5EF4-FFF2-40B4-BE49-F238E27FC236}">
                            <a16:creationId xmlns:a16="http://schemas.microsoft.com/office/drawing/2014/main" id="{5B0F088B-91EB-6D99-1009-E6E0A58E2942}"/>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4" name="LOREM IPSUM">
            <a:extLst>
              <a:ext uri="{FF2B5EF4-FFF2-40B4-BE49-F238E27FC236}">
                <a16:creationId xmlns:a16="http://schemas.microsoft.com/office/drawing/2014/main" id="{7B805B00-7C01-55CE-8964-95CDF0B8BA2F}"/>
              </a:ext>
            </a:extLst>
          </p:cNvPr>
          <p:cNvSpPr txBox="1"/>
          <p:nvPr/>
        </p:nvSpPr>
        <p:spPr>
          <a:xfrm>
            <a:off x="958460" y="537415"/>
            <a:ext cx="8389364" cy="6565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RELIGIOUS TOURISM IN SAUDI</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2" name="Google Shape;2556;p24">
            <a:extLst>
              <a:ext uri="{FF2B5EF4-FFF2-40B4-BE49-F238E27FC236}">
                <a16:creationId xmlns:a16="http://schemas.microsoft.com/office/drawing/2014/main" id="{E722FFE4-DB58-4434-DB92-896572AAB084}"/>
              </a:ext>
            </a:extLst>
          </p:cNvPr>
          <p:cNvSpPr/>
          <p:nvPr/>
        </p:nvSpPr>
        <p:spPr>
          <a:xfrm>
            <a:off x="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PIGRIM (Hajj) DATA</a:t>
            </a:r>
            <a:endParaRPr b="0" i="1" u="none" strike="noStrike" cap="none" dirty="0">
              <a:solidFill>
                <a:schemeClr val="lt1"/>
              </a:solidFill>
              <a:latin typeface="Arial"/>
              <a:ea typeface="Arial"/>
              <a:cs typeface="Arial"/>
              <a:sym typeface="Arial"/>
            </a:endParaRPr>
          </a:p>
        </p:txBody>
      </p:sp>
      <p:graphicFrame>
        <p:nvGraphicFramePr>
          <p:cNvPr id="598" name="Chart 597">
            <a:extLst>
              <a:ext uri="{FF2B5EF4-FFF2-40B4-BE49-F238E27FC236}">
                <a16:creationId xmlns:a16="http://schemas.microsoft.com/office/drawing/2014/main" id="{F8E9A1B7-A84B-0820-B0D3-369325AE1773}"/>
              </a:ext>
            </a:extLst>
          </p:cNvPr>
          <p:cNvGraphicFramePr/>
          <p:nvPr>
            <p:custDataLst>
              <p:tags r:id="rId2"/>
            </p:custDataLst>
            <p:extLst>
              <p:ext uri="{D42A27DB-BD31-4B8C-83A1-F6EECF244321}">
                <p14:modId xmlns:p14="http://schemas.microsoft.com/office/powerpoint/2010/main" val="2682917793"/>
              </p:ext>
            </p:extLst>
          </p:nvPr>
        </p:nvGraphicFramePr>
        <p:xfrm>
          <a:off x="876300" y="2835275"/>
          <a:ext cx="10953750" cy="3390900"/>
        </p:xfrm>
        <a:graphic>
          <a:graphicData uri="http://schemas.openxmlformats.org/drawingml/2006/chart">
            <c:chart xmlns:c="http://schemas.openxmlformats.org/drawingml/2006/chart" xmlns:r="http://schemas.openxmlformats.org/officeDocument/2006/relationships" r:id="rId49"/>
          </a:graphicData>
        </a:graphic>
      </p:graphicFrame>
      <p:cxnSp>
        <p:nvCxnSpPr>
          <p:cNvPr id="588" name="Straight Connector 587">
            <a:extLst>
              <a:ext uri="{FF2B5EF4-FFF2-40B4-BE49-F238E27FC236}">
                <a16:creationId xmlns:a16="http://schemas.microsoft.com/office/drawing/2014/main" id="{605BC428-C8E5-D9B8-FF53-9E7838CFD5CF}"/>
              </a:ext>
            </a:extLst>
          </p:cNvPr>
          <p:cNvCxnSpPr/>
          <p:nvPr>
            <p:custDataLst>
              <p:tags r:id="rId3"/>
            </p:custDataLst>
          </p:nvPr>
        </p:nvCxnSpPr>
        <p:spPr bwMode="auto">
          <a:xfrm flipV="1">
            <a:off x="10591800" y="3822700"/>
            <a:ext cx="0" cy="10715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9" name="Straight Connector 588">
            <a:extLst>
              <a:ext uri="{FF2B5EF4-FFF2-40B4-BE49-F238E27FC236}">
                <a16:creationId xmlns:a16="http://schemas.microsoft.com/office/drawing/2014/main" id="{7B75E6F6-A2B0-23CC-67B5-6E04A466A3FD}"/>
              </a:ext>
            </a:extLst>
          </p:cNvPr>
          <p:cNvCxnSpPr/>
          <p:nvPr>
            <p:custDataLst>
              <p:tags r:id="rId4"/>
            </p:custDataLst>
          </p:nvPr>
        </p:nvCxnSpPr>
        <p:spPr bwMode="auto">
          <a:xfrm>
            <a:off x="10591799" y="3822700"/>
            <a:ext cx="76993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0" name="Straight Connector 589">
            <a:extLst>
              <a:ext uri="{FF2B5EF4-FFF2-40B4-BE49-F238E27FC236}">
                <a16:creationId xmlns:a16="http://schemas.microsoft.com/office/drawing/2014/main" id="{1D11E839-80E4-1B6E-9C8A-9E745FADB667}"/>
              </a:ext>
            </a:extLst>
          </p:cNvPr>
          <p:cNvCxnSpPr/>
          <p:nvPr>
            <p:custDataLst>
              <p:tags r:id="rId5"/>
            </p:custDataLst>
          </p:nvPr>
        </p:nvCxnSpPr>
        <p:spPr bwMode="auto">
          <a:xfrm>
            <a:off x="11361738" y="3822700"/>
            <a:ext cx="0" cy="155575"/>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1" name="Straight Connector 560">
            <a:extLst>
              <a:ext uri="{FF2B5EF4-FFF2-40B4-BE49-F238E27FC236}">
                <a16:creationId xmlns:a16="http://schemas.microsoft.com/office/drawing/2014/main" id="{C32F369C-54CB-EC02-D2B2-51B3238CB5B3}"/>
              </a:ext>
            </a:extLst>
          </p:cNvPr>
          <p:cNvCxnSpPr/>
          <p:nvPr>
            <p:custDataLst>
              <p:tags r:id="rId6"/>
            </p:custDataLst>
          </p:nvPr>
        </p:nvCxnSpPr>
        <p:spPr bwMode="auto">
          <a:xfrm flipH="1">
            <a:off x="9210675" y="5851525"/>
            <a:ext cx="73025" cy="1063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0" name="Straight Connector 569">
            <a:extLst>
              <a:ext uri="{FF2B5EF4-FFF2-40B4-BE49-F238E27FC236}">
                <a16:creationId xmlns:a16="http://schemas.microsoft.com/office/drawing/2014/main" id="{644419AF-EB62-341E-B35C-38C29ABF10C6}"/>
              </a:ext>
            </a:extLst>
          </p:cNvPr>
          <p:cNvCxnSpPr/>
          <p:nvPr>
            <p:custDataLst>
              <p:tags r:id="rId7"/>
            </p:custDataLst>
          </p:nvPr>
        </p:nvCxnSpPr>
        <p:spPr bwMode="auto">
          <a:xfrm flipH="1">
            <a:off x="9980613" y="5851525"/>
            <a:ext cx="73025" cy="6032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2" name="Text Placeholder 2">
            <a:extLst>
              <a:ext uri="{FF2B5EF4-FFF2-40B4-BE49-F238E27FC236}">
                <a16:creationId xmlns:a16="http://schemas.microsoft.com/office/drawing/2014/main" id="{B7C11910-0040-C2B4-EA72-98C2B55FC6C0}"/>
              </a:ext>
            </a:extLst>
          </p:cNvPr>
          <p:cNvSpPr>
            <a:spLocks noGrp="1"/>
          </p:cNvSpPr>
          <p:nvPr>
            <p:custDataLst>
              <p:tags r:id="rId8"/>
            </p:custDataLst>
          </p:nvPr>
        </p:nvSpPr>
        <p:spPr bwMode="auto">
          <a:xfrm>
            <a:off x="3487738"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666307-786F-406A-9E2A-1C287D13FB6C}" type="datetime'''''''''''''''''''''''2''''''''''''''''''''0''''1''3'''''''">
              <a:rPr lang="en-US" altLang="en-US" sz="1200" smtClean="0"/>
              <a:pPr/>
              <a:t>2013</a:t>
            </a:fld>
            <a:endParaRPr lang="en-US" sz="1200" dirty="0"/>
          </a:p>
        </p:txBody>
      </p:sp>
      <p:sp>
        <p:nvSpPr>
          <p:cNvPr id="173" name="Text Placeholder 2">
            <a:extLst>
              <a:ext uri="{FF2B5EF4-FFF2-40B4-BE49-F238E27FC236}">
                <a16:creationId xmlns:a16="http://schemas.microsoft.com/office/drawing/2014/main" id="{8488F98C-50FA-08C6-25E4-781DAB54222A}"/>
              </a:ext>
            </a:extLst>
          </p:cNvPr>
          <p:cNvSpPr>
            <a:spLocks noGrp="1"/>
          </p:cNvSpPr>
          <p:nvPr>
            <p:custDataLst>
              <p:tags r:id="rId9"/>
            </p:custDataLst>
          </p:nvPr>
        </p:nvSpPr>
        <p:spPr bwMode="auto">
          <a:xfrm>
            <a:off x="4257675"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FF77EF-F271-4977-A217-8A65F7629F00}" type="datetime'''''2''''''''''''''0''1''''''''''''4'''''''''''''''''''">
              <a:rPr lang="en-US" altLang="en-US" sz="1200" smtClean="0"/>
              <a:pPr/>
              <a:t>2014</a:t>
            </a:fld>
            <a:endParaRPr lang="en-US" sz="1200" dirty="0"/>
          </a:p>
        </p:txBody>
      </p:sp>
      <p:sp>
        <p:nvSpPr>
          <p:cNvPr id="174" name="Text Placeholder 2">
            <a:extLst>
              <a:ext uri="{FF2B5EF4-FFF2-40B4-BE49-F238E27FC236}">
                <a16:creationId xmlns:a16="http://schemas.microsoft.com/office/drawing/2014/main" id="{4E119196-3FAB-0DBC-E933-00EB5A7B967F}"/>
              </a:ext>
            </a:extLst>
          </p:cNvPr>
          <p:cNvSpPr>
            <a:spLocks noGrp="1"/>
          </p:cNvSpPr>
          <p:nvPr>
            <p:custDataLst>
              <p:tags r:id="rId10"/>
            </p:custDataLst>
          </p:nvPr>
        </p:nvSpPr>
        <p:spPr bwMode="auto">
          <a:xfrm>
            <a:off x="5029200"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7179AA-64AD-47E6-AA90-992C1FF752B9}" type="datetime'''2''''''''''''''''''''''''''01''''''''''''''''''''5'''''''''">
              <a:rPr lang="en-US" altLang="en-US" sz="1200" smtClean="0"/>
              <a:pPr/>
              <a:t>2015</a:t>
            </a:fld>
            <a:endParaRPr lang="en-US" sz="1200" dirty="0"/>
          </a:p>
        </p:txBody>
      </p:sp>
      <p:sp>
        <p:nvSpPr>
          <p:cNvPr id="175" name="Text Placeholder 2">
            <a:extLst>
              <a:ext uri="{FF2B5EF4-FFF2-40B4-BE49-F238E27FC236}">
                <a16:creationId xmlns:a16="http://schemas.microsoft.com/office/drawing/2014/main" id="{527B808C-31E4-9BB2-2A07-9030A8E49475}"/>
              </a:ext>
            </a:extLst>
          </p:cNvPr>
          <p:cNvSpPr>
            <a:spLocks noGrp="1"/>
          </p:cNvSpPr>
          <p:nvPr>
            <p:custDataLst>
              <p:tags r:id="rId11"/>
            </p:custDataLst>
          </p:nvPr>
        </p:nvSpPr>
        <p:spPr bwMode="auto">
          <a:xfrm>
            <a:off x="5799138"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C9CC13-3531-4B88-8638-155ECB0FE414}" type="datetime'''''''''''''''''''''''''2''0''''16'''''''''">
              <a:rPr lang="en-US" altLang="en-US" sz="1200" smtClean="0"/>
              <a:pPr/>
              <a:t>2016</a:t>
            </a:fld>
            <a:endParaRPr lang="en-US" sz="1200" dirty="0"/>
          </a:p>
        </p:txBody>
      </p:sp>
      <p:sp>
        <p:nvSpPr>
          <p:cNvPr id="176" name="Text Placeholder 2">
            <a:extLst>
              <a:ext uri="{FF2B5EF4-FFF2-40B4-BE49-F238E27FC236}">
                <a16:creationId xmlns:a16="http://schemas.microsoft.com/office/drawing/2014/main" id="{7A33DC4A-D5E9-A57E-C700-F178ADB45F77}"/>
              </a:ext>
            </a:extLst>
          </p:cNvPr>
          <p:cNvSpPr>
            <a:spLocks noGrp="1"/>
          </p:cNvSpPr>
          <p:nvPr>
            <p:custDataLst>
              <p:tags r:id="rId12"/>
            </p:custDataLst>
          </p:nvPr>
        </p:nvSpPr>
        <p:spPr bwMode="auto">
          <a:xfrm>
            <a:off x="6569075"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7414AB-03BE-4870-8F72-9E7512751A87}" type="datetime'2''''''''''''0''''1''''''''''''''''''''''''''7'''''''">
              <a:rPr lang="en-US" altLang="en-US" sz="1200" smtClean="0"/>
              <a:pPr/>
              <a:t>2017</a:t>
            </a:fld>
            <a:endParaRPr lang="en-US" sz="1200" dirty="0"/>
          </a:p>
        </p:txBody>
      </p:sp>
      <p:sp>
        <p:nvSpPr>
          <p:cNvPr id="177" name="Text Placeholder 2">
            <a:extLst>
              <a:ext uri="{FF2B5EF4-FFF2-40B4-BE49-F238E27FC236}">
                <a16:creationId xmlns:a16="http://schemas.microsoft.com/office/drawing/2014/main" id="{EB0123DB-CB3F-AB9F-105C-A3E67CDE61E2}"/>
              </a:ext>
            </a:extLst>
          </p:cNvPr>
          <p:cNvSpPr>
            <a:spLocks noGrp="1"/>
          </p:cNvSpPr>
          <p:nvPr>
            <p:custDataLst>
              <p:tags r:id="rId13"/>
            </p:custDataLst>
          </p:nvPr>
        </p:nvSpPr>
        <p:spPr bwMode="auto">
          <a:xfrm>
            <a:off x="7340600"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06814D-24A2-4DE8-8305-F6A8A6AFDC29}" type="datetime'''2''''''''''''0''''''''''1''''''''''''''8'''''''''''''''''''">
              <a:rPr lang="en-US" altLang="en-US" sz="1200" smtClean="0"/>
              <a:pPr/>
              <a:t>2018</a:t>
            </a:fld>
            <a:endParaRPr lang="en-US" sz="1200" dirty="0"/>
          </a:p>
        </p:txBody>
      </p:sp>
      <p:sp>
        <p:nvSpPr>
          <p:cNvPr id="178" name="Text Placeholder 2">
            <a:extLst>
              <a:ext uri="{FF2B5EF4-FFF2-40B4-BE49-F238E27FC236}">
                <a16:creationId xmlns:a16="http://schemas.microsoft.com/office/drawing/2014/main" id="{4F8E5EA9-384A-3057-B46F-615BB6CA518F}"/>
              </a:ext>
            </a:extLst>
          </p:cNvPr>
          <p:cNvSpPr>
            <a:spLocks noGrp="1"/>
          </p:cNvSpPr>
          <p:nvPr>
            <p:custDataLst>
              <p:tags r:id="rId14"/>
            </p:custDataLst>
          </p:nvPr>
        </p:nvSpPr>
        <p:spPr bwMode="auto">
          <a:xfrm>
            <a:off x="8110538"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0D89425-11A4-460B-8ECD-A12FAF11A348}" type="datetime'''''''''''201''''''''''''9'''''''''''''''''">
              <a:rPr lang="en-US" altLang="en-US" sz="1200" smtClean="0"/>
              <a:pPr/>
              <a:t>2019</a:t>
            </a:fld>
            <a:endParaRPr lang="en-US" sz="1200" dirty="0"/>
          </a:p>
        </p:txBody>
      </p:sp>
      <p:sp>
        <p:nvSpPr>
          <p:cNvPr id="179" name="Text Placeholder 2">
            <a:extLst>
              <a:ext uri="{FF2B5EF4-FFF2-40B4-BE49-F238E27FC236}">
                <a16:creationId xmlns:a16="http://schemas.microsoft.com/office/drawing/2014/main" id="{B9469BEE-FDCD-5638-EA85-AC5CF8E4A688}"/>
              </a:ext>
            </a:extLst>
          </p:cNvPr>
          <p:cNvSpPr>
            <a:spLocks noGrp="1"/>
          </p:cNvSpPr>
          <p:nvPr>
            <p:custDataLst>
              <p:tags r:id="rId15"/>
            </p:custDataLst>
          </p:nvPr>
        </p:nvSpPr>
        <p:spPr bwMode="auto">
          <a:xfrm>
            <a:off x="8882063"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AB2D93C-93EF-4A0B-90FC-7332BE57BD55}" type="datetime'''''''''''''''''2''''''0''''20'''''''''''''''''''''''''''''''">
              <a:rPr lang="en-US" altLang="en-US" sz="1200" smtClean="0"/>
              <a:pPr/>
              <a:t>2020</a:t>
            </a:fld>
            <a:endParaRPr lang="en-US" sz="1200" dirty="0"/>
          </a:p>
        </p:txBody>
      </p:sp>
      <p:sp>
        <p:nvSpPr>
          <p:cNvPr id="180" name="Text Placeholder 2">
            <a:extLst>
              <a:ext uri="{FF2B5EF4-FFF2-40B4-BE49-F238E27FC236}">
                <a16:creationId xmlns:a16="http://schemas.microsoft.com/office/drawing/2014/main" id="{BAEB62F2-BE13-A789-D0FF-BB680F6FDE11}"/>
              </a:ext>
            </a:extLst>
          </p:cNvPr>
          <p:cNvSpPr>
            <a:spLocks noGrp="1"/>
          </p:cNvSpPr>
          <p:nvPr>
            <p:custDataLst>
              <p:tags r:id="rId16"/>
            </p:custDataLst>
          </p:nvPr>
        </p:nvSpPr>
        <p:spPr bwMode="auto">
          <a:xfrm>
            <a:off x="9652000"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F3D26C-23FC-4909-806A-435B6DB0ECEE}" type="datetime'''''''2''''''''''''''0''''''''''''2''''''''''''1'''''''''''''">
              <a:rPr lang="en-US" altLang="en-US" sz="1200" smtClean="0"/>
              <a:pPr/>
              <a:t>2021</a:t>
            </a:fld>
            <a:endParaRPr lang="en-US" sz="1200" dirty="0"/>
          </a:p>
        </p:txBody>
      </p:sp>
      <p:sp>
        <p:nvSpPr>
          <p:cNvPr id="181" name="Text Placeholder 2">
            <a:extLst>
              <a:ext uri="{FF2B5EF4-FFF2-40B4-BE49-F238E27FC236}">
                <a16:creationId xmlns:a16="http://schemas.microsoft.com/office/drawing/2014/main" id="{E53B04DD-CCEB-ECD4-261F-2D211D86EA02}"/>
              </a:ext>
            </a:extLst>
          </p:cNvPr>
          <p:cNvSpPr>
            <a:spLocks noGrp="1"/>
          </p:cNvSpPr>
          <p:nvPr>
            <p:custDataLst>
              <p:tags r:id="rId17"/>
            </p:custDataLst>
          </p:nvPr>
        </p:nvSpPr>
        <p:spPr bwMode="auto">
          <a:xfrm>
            <a:off x="10423525"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A65A63F-E1A4-4D5D-8888-5A105A7DF5F3}" type="datetime'''''''''''''''2''0''''''''''2''''''''''''''''''''2'''''''''''">
              <a:rPr lang="en-US" altLang="en-US" sz="1200" smtClean="0"/>
              <a:pPr/>
              <a:t>2022</a:t>
            </a:fld>
            <a:endParaRPr lang="en-US" sz="1200" dirty="0"/>
          </a:p>
        </p:txBody>
      </p:sp>
      <p:sp>
        <p:nvSpPr>
          <p:cNvPr id="182" name="Text Placeholder 2">
            <a:extLst>
              <a:ext uri="{FF2B5EF4-FFF2-40B4-BE49-F238E27FC236}">
                <a16:creationId xmlns:a16="http://schemas.microsoft.com/office/drawing/2014/main" id="{205C96F1-1B9B-7D1A-B283-3A9F02F08FCF}"/>
              </a:ext>
            </a:extLst>
          </p:cNvPr>
          <p:cNvSpPr>
            <a:spLocks noGrp="1"/>
          </p:cNvSpPr>
          <p:nvPr>
            <p:custDataLst>
              <p:tags r:id="rId18"/>
            </p:custDataLst>
          </p:nvPr>
        </p:nvSpPr>
        <p:spPr bwMode="gray">
          <a:xfrm>
            <a:off x="3527425" y="3979863"/>
            <a:ext cx="2587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3A7F20-EFB0-4A99-B3B6-B438C7C3786E}" type="datetime'''''''2''''''''''''''''''''''''''''''.''''''''''''0'''''''''">
              <a:rPr lang="en-US" altLang="en-US" sz="1200" b="1" smtClean="0"/>
              <a:pPr/>
              <a:t>2.0</a:t>
            </a:fld>
            <a:endParaRPr lang="en-US" sz="1200" b="1" dirty="0"/>
          </a:p>
        </p:txBody>
      </p:sp>
      <p:sp>
        <p:nvSpPr>
          <p:cNvPr id="183" name="Text Placeholder 2">
            <a:extLst>
              <a:ext uri="{FF2B5EF4-FFF2-40B4-BE49-F238E27FC236}">
                <a16:creationId xmlns:a16="http://schemas.microsoft.com/office/drawing/2014/main" id="{3AF6A2BD-6584-C4A7-6619-33C7B1CFFE13}"/>
              </a:ext>
            </a:extLst>
          </p:cNvPr>
          <p:cNvSpPr>
            <a:spLocks noGrp="1"/>
          </p:cNvSpPr>
          <p:nvPr>
            <p:custDataLst>
              <p:tags r:id="rId19"/>
            </p:custDataLst>
          </p:nvPr>
        </p:nvSpPr>
        <p:spPr bwMode="gray">
          <a:xfrm>
            <a:off x="4297363" y="3884613"/>
            <a:ext cx="2587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821432A-615F-4267-92C0-CF4F5259FE34}" type="datetime'''''''''''''''''''''''''''''''''2''''''.''''''''1'">
              <a:rPr lang="en-US" altLang="en-US" sz="1200" b="1" smtClean="0"/>
              <a:pPr/>
              <a:t>2.1</a:t>
            </a:fld>
            <a:endParaRPr lang="en-US" sz="1200" b="1" dirty="0"/>
          </a:p>
        </p:txBody>
      </p:sp>
      <p:sp>
        <p:nvSpPr>
          <p:cNvPr id="184" name="Text Placeholder 2">
            <a:extLst>
              <a:ext uri="{FF2B5EF4-FFF2-40B4-BE49-F238E27FC236}">
                <a16:creationId xmlns:a16="http://schemas.microsoft.com/office/drawing/2014/main" id="{C7A2BEAA-98FC-903D-9ADF-686CBC117FE3}"/>
              </a:ext>
            </a:extLst>
          </p:cNvPr>
          <p:cNvSpPr>
            <a:spLocks noGrp="1"/>
          </p:cNvSpPr>
          <p:nvPr>
            <p:custDataLst>
              <p:tags r:id="rId20"/>
            </p:custDataLst>
          </p:nvPr>
        </p:nvSpPr>
        <p:spPr bwMode="gray">
          <a:xfrm>
            <a:off x="5068888" y="4003675"/>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7351C78-38B6-4F03-9167-A0DEB15F9408}" type="datetime'2''''''''''''''''''.''0'''''''''''''''''''''''''''">
              <a:rPr lang="en-US" altLang="en-US" sz="1200" b="1" smtClean="0"/>
              <a:pPr/>
              <a:t>2.0</a:t>
            </a:fld>
            <a:endParaRPr lang="en-US" sz="1200" b="1" dirty="0"/>
          </a:p>
        </p:txBody>
      </p:sp>
      <p:sp>
        <p:nvSpPr>
          <p:cNvPr id="18" name="Text Placeholder 2">
            <a:extLst>
              <a:ext uri="{FF2B5EF4-FFF2-40B4-BE49-F238E27FC236}">
                <a16:creationId xmlns:a16="http://schemas.microsoft.com/office/drawing/2014/main" id="{76E3E4B2-3155-C3C0-9A2A-BADFF1D3D8BC}"/>
              </a:ext>
            </a:extLst>
          </p:cNvPr>
          <p:cNvSpPr>
            <a:spLocks noGrp="1"/>
          </p:cNvSpPr>
          <p:nvPr>
            <p:custDataLst>
              <p:tags r:id="rId21"/>
            </p:custDataLst>
          </p:nvPr>
        </p:nvSpPr>
        <p:spPr bwMode="auto">
          <a:xfrm>
            <a:off x="1174750"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9A9F35-03A6-4645-B057-228CF391F0D2}" type="datetime'''''''''''''''''''2''''''''''''''''''01''''0'''''">
              <a:rPr lang="en-US" altLang="en-US" sz="1200" smtClean="0"/>
              <a:pPr/>
              <a:t>2010</a:t>
            </a:fld>
            <a:endParaRPr lang="en-US" sz="1200" dirty="0"/>
          </a:p>
        </p:txBody>
      </p:sp>
      <p:sp>
        <p:nvSpPr>
          <p:cNvPr id="186" name="Text Placeholder 2">
            <a:extLst>
              <a:ext uri="{FF2B5EF4-FFF2-40B4-BE49-F238E27FC236}">
                <a16:creationId xmlns:a16="http://schemas.microsoft.com/office/drawing/2014/main" id="{68019152-1F38-DA49-EA10-68F9B00CB2EB}"/>
              </a:ext>
            </a:extLst>
          </p:cNvPr>
          <p:cNvSpPr>
            <a:spLocks noGrp="1"/>
          </p:cNvSpPr>
          <p:nvPr>
            <p:custDataLst>
              <p:tags r:id="rId22"/>
            </p:custDataLst>
          </p:nvPr>
        </p:nvSpPr>
        <p:spPr bwMode="gray">
          <a:xfrm>
            <a:off x="6608763" y="3643313"/>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8921CE8-BB96-4FC0-929E-6251B59B5859}" type="datetime'''''''''''''''''''''2.4'''''">
              <a:rPr lang="en-US" altLang="en-US" sz="1200" b="1" smtClean="0"/>
              <a:pPr/>
              <a:t>2.4</a:t>
            </a:fld>
            <a:endParaRPr lang="en-US" sz="1200" b="1" dirty="0"/>
          </a:p>
        </p:txBody>
      </p:sp>
      <p:sp>
        <p:nvSpPr>
          <p:cNvPr id="187" name="Text Placeholder 2">
            <a:extLst>
              <a:ext uri="{FF2B5EF4-FFF2-40B4-BE49-F238E27FC236}">
                <a16:creationId xmlns:a16="http://schemas.microsoft.com/office/drawing/2014/main" id="{FED04433-8EDE-0156-F679-3264B8A28327}"/>
              </a:ext>
            </a:extLst>
          </p:cNvPr>
          <p:cNvSpPr>
            <a:spLocks noGrp="1"/>
          </p:cNvSpPr>
          <p:nvPr>
            <p:custDataLst>
              <p:tags r:id="rId23"/>
            </p:custDataLst>
          </p:nvPr>
        </p:nvSpPr>
        <p:spPr bwMode="gray">
          <a:xfrm>
            <a:off x="7380288" y="3625850"/>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33BD75-F9B4-4327-A1D6-DBD75FD14BBB}" type="datetime'''''''''2''''''''''''''.''''''''''''''''''4'''''''''''''''">
              <a:rPr lang="en-US" altLang="en-US" sz="1200" b="1" smtClean="0"/>
              <a:pPr/>
              <a:t>2.4</a:t>
            </a:fld>
            <a:endParaRPr lang="en-US" sz="1200" b="1" dirty="0"/>
          </a:p>
        </p:txBody>
      </p:sp>
      <p:sp>
        <p:nvSpPr>
          <p:cNvPr id="188" name="Text Placeholder 2">
            <a:extLst>
              <a:ext uri="{FF2B5EF4-FFF2-40B4-BE49-F238E27FC236}">
                <a16:creationId xmlns:a16="http://schemas.microsoft.com/office/drawing/2014/main" id="{18B75B8E-A6DD-A9B1-DAA9-DAB5BB909F9B}"/>
              </a:ext>
            </a:extLst>
          </p:cNvPr>
          <p:cNvSpPr>
            <a:spLocks noGrp="1"/>
          </p:cNvSpPr>
          <p:nvPr>
            <p:custDataLst>
              <p:tags r:id="rId24"/>
            </p:custDataLst>
          </p:nvPr>
        </p:nvSpPr>
        <p:spPr bwMode="gray">
          <a:xfrm>
            <a:off x="8150225" y="3519488"/>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845E94-9DFA-4C3F-9613-98D39B7F91C0}" type="datetime'''''''''2''''.''''''''5'''''''''''''''''''''''">
              <a:rPr lang="en-US" altLang="en-US" sz="1200" b="1" smtClean="0"/>
              <a:pPr/>
              <a:t>2.5</a:t>
            </a:fld>
            <a:endParaRPr lang="en-US" sz="1200" b="1" dirty="0"/>
          </a:p>
        </p:txBody>
      </p:sp>
      <p:sp>
        <p:nvSpPr>
          <p:cNvPr id="459" name="Text Placeholder 2">
            <a:extLst>
              <a:ext uri="{FF2B5EF4-FFF2-40B4-BE49-F238E27FC236}">
                <a16:creationId xmlns:a16="http://schemas.microsoft.com/office/drawing/2014/main" id="{248894D6-739F-4A04-FD04-6D0B5E2985C9}"/>
              </a:ext>
            </a:extLst>
          </p:cNvPr>
          <p:cNvSpPr>
            <a:spLocks noGrp="1"/>
          </p:cNvSpPr>
          <p:nvPr>
            <p:custDataLst>
              <p:tags r:id="rId25"/>
            </p:custDataLst>
          </p:nvPr>
        </p:nvSpPr>
        <p:spPr bwMode="auto">
          <a:xfrm>
            <a:off x="11193463"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3972BD1-24CA-4153-8545-590996F7B808}" type="datetime'''''''''''''''2''0''''2''''''3'">
              <a:rPr lang="en-US" altLang="en-US" sz="1200" smtClean="0"/>
              <a:pPr/>
              <a:t>2023</a:t>
            </a:fld>
            <a:endParaRPr lang="en-US" sz="1200" dirty="0"/>
          </a:p>
        </p:txBody>
      </p:sp>
      <p:sp>
        <p:nvSpPr>
          <p:cNvPr id="497" name="Text Placeholder 2">
            <a:extLst>
              <a:ext uri="{FF2B5EF4-FFF2-40B4-BE49-F238E27FC236}">
                <a16:creationId xmlns:a16="http://schemas.microsoft.com/office/drawing/2014/main" id="{76E3E4B2-3155-C3C0-9A2A-BADFF1D3D8BC}"/>
              </a:ext>
            </a:extLst>
          </p:cNvPr>
          <p:cNvSpPr>
            <a:spLocks noGrp="1"/>
          </p:cNvSpPr>
          <p:nvPr>
            <p:custDataLst>
              <p:tags r:id="rId26"/>
            </p:custDataLst>
          </p:nvPr>
        </p:nvSpPr>
        <p:spPr bwMode="gray">
          <a:xfrm>
            <a:off x="8921750" y="5707063"/>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19FF3C-4868-4095-AD39-4B89E16AC590}" type="datetime'''''''''''''''''''''0''''''''''.''''''''''0'">
              <a:rPr lang="en-US" altLang="en-US" sz="1200" b="1" smtClean="0">
                <a:effectLst/>
              </a:rPr>
              <a:pPr marL="0" lvl="0" indent="0" algn="ctr">
                <a:spcBef>
                  <a:spcPct val="0"/>
                </a:spcBef>
                <a:spcAft>
                  <a:spcPct val="0"/>
                </a:spcAft>
                <a:buNone/>
              </a:pPr>
              <a:t>0.0</a:t>
            </a:fld>
            <a:endParaRPr lang="en-US" sz="1200" b="1" dirty="0"/>
          </a:p>
        </p:txBody>
      </p:sp>
      <p:sp>
        <p:nvSpPr>
          <p:cNvPr id="501" name="Text Placeholder 2">
            <a:extLst>
              <a:ext uri="{FF2B5EF4-FFF2-40B4-BE49-F238E27FC236}">
                <a16:creationId xmlns:a16="http://schemas.microsoft.com/office/drawing/2014/main" id="{76E3E4B2-3155-C3C0-9A2A-BADFF1D3D8BC}"/>
              </a:ext>
            </a:extLst>
          </p:cNvPr>
          <p:cNvSpPr>
            <a:spLocks noGrp="1"/>
          </p:cNvSpPr>
          <p:nvPr>
            <p:custDataLst>
              <p:tags r:id="rId27"/>
            </p:custDataLst>
          </p:nvPr>
        </p:nvSpPr>
        <p:spPr bwMode="gray">
          <a:xfrm>
            <a:off x="9283700" y="5768975"/>
            <a:ext cx="255588" cy="165100"/>
          </a:xfrm>
          <a:prstGeom prst="rect">
            <a:avLst/>
          </a:prstGeom>
          <a:noFill/>
          <a:ln>
            <a:noFill/>
          </a:ln>
          <a:effectLst/>
          <a:extLst>
            <a:ext uri="{909E8E84-426E-40DD-AFC4-6F175D3DCCD1}">
              <a14:hiddenFill xmlns:a14="http://schemas.microsoft.com/office/drawing/2010/main">
                <a:solidFill>
                  <a:srgbClr val="A32020"/>
                </a:solidFill>
              </a14:hiddenFill>
            </a:ext>
          </a:ex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E493366-241F-4D85-BFEA-8C49F9C9B95F}" type="datetime'''''''''''''''''''''''0.''0'''''''''''">
              <a:rPr lang="en-US" altLang="en-US" sz="1200" smtClean="0">
                <a:effectLst/>
              </a:rPr>
              <a:pPr marL="0" lvl="0" indent="0">
                <a:spcBef>
                  <a:spcPct val="0"/>
                </a:spcBef>
                <a:spcAft>
                  <a:spcPct val="0"/>
                </a:spcAft>
                <a:buNone/>
              </a:pPr>
              <a:t>0.0</a:t>
            </a:fld>
            <a:endParaRPr lang="en-US" sz="1200" dirty="0"/>
          </a:p>
        </p:txBody>
      </p:sp>
      <p:sp>
        <p:nvSpPr>
          <p:cNvPr id="507" name="Text Placeholder 2">
            <a:extLst>
              <a:ext uri="{FF2B5EF4-FFF2-40B4-BE49-F238E27FC236}">
                <a16:creationId xmlns:a16="http://schemas.microsoft.com/office/drawing/2014/main" id="{76E3E4B2-3155-C3C0-9A2A-BADFF1D3D8BC}"/>
              </a:ext>
            </a:extLst>
          </p:cNvPr>
          <p:cNvSpPr>
            <a:spLocks noGrp="1"/>
          </p:cNvSpPr>
          <p:nvPr>
            <p:custDataLst>
              <p:tags r:id="rId28"/>
            </p:custDataLst>
          </p:nvPr>
        </p:nvSpPr>
        <p:spPr bwMode="gray">
          <a:xfrm>
            <a:off x="10463213" y="4932363"/>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7FE17E6-320C-42AD-971E-6743E156D494}" type="datetime'''0''''''''''''''''''.9'''''''''''''''">
              <a:rPr lang="en-US" altLang="en-US" sz="1200" b="1" smtClean="0"/>
              <a:pPr/>
              <a:t>0.9</a:t>
            </a:fld>
            <a:endParaRPr lang="en-US" sz="1200" b="1" dirty="0"/>
          </a:p>
        </p:txBody>
      </p:sp>
      <p:sp>
        <p:nvSpPr>
          <p:cNvPr id="523" name="Text Placeholder 2">
            <a:extLst>
              <a:ext uri="{FF2B5EF4-FFF2-40B4-BE49-F238E27FC236}">
                <a16:creationId xmlns:a16="http://schemas.microsoft.com/office/drawing/2014/main" id="{76E3E4B2-3155-C3C0-9A2A-BADFF1D3D8BC}"/>
              </a:ext>
            </a:extLst>
          </p:cNvPr>
          <p:cNvSpPr>
            <a:spLocks noGrp="1"/>
          </p:cNvSpPr>
          <p:nvPr>
            <p:custDataLst>
              <p:tags r:id="rId29"/>
            </p:custDataLst>
          </p:nvPr>
        </p:nvSpPr>
        <p:spPr bwMode="gray">
          <a:xfrm>
            <a:off x="8923338" y="5872163"/>
            <a:ext cx="255588" cy="165100"/>
          </a:xfrm>
          <a:prstGeom prst="rect">
            <a:avLst/>
          </a:prstGeom>
          <a:solidFill>
            <a:schemeClr val="accent4"/>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B3983B-5BFA-4365-AE1B-28F559A0B167}" type="datetime'''''''''''''''''''''0''''.''0'''''''''''''''">
              <a:rPr lang="en-US" altLang="en-US" sz="1200" smtClean="0">
                <a:solidFill>
                  <a:schemeClr val="bg1"/>
                </a:solidFill>
                <a:effectLst/>
              </a:rPr>
              <a:pPr marL="0" lvl="0" indent="0" algn="ctr">
                <a:spcBef>
                  <a:spcPct val="0"/>
                </a:spcBef>
                <a:spcAft>
                  <a:spcPct val="0"/>
                </a:spcAft>
                <a:buNone/>
              </a:pPr>
              <a:t>0.0</a:t>
            </a:fld>
            <a:endParaRPr lang="en-US" sz="1200" dirty="0">
              <a:solidFill>
                <a:schemeClr val="bg1"/>
              </a:solidFill>
            </a:endParaRPr>
          </a:p>
        </p:txBody>
      </p:sp>
      <p:sp>
        <p:nvSpPr>
          <p:cNvPr id="524" name="Text Placeholder 2">
            <a:extLst>
              <a:ext uri="{FF2B5EF4-FFF2-40B4-BE49-F238E27FC236}">
                <a16:creationId xmlns:a16="http://schemas.microsoft.com/office/drawing/2014/main" id="{76E3E4B2-3155-C3C0-9A2A-BADFF1D3D8BC}"/>
              </a:ext>
            </a:extLst>
          </p:cNvPr>
          <p:cNvSpPr>
            <a:spLocks noGrp="1"/>
          </p:cNvSpPr>
          <p:nvPr>
            <p:custDataLst>
              <p:tags r:id="rId30"/>
            </p:custDataLst>
          </p:nvPr>
        </p:nvSpPr>
        <p:spPr bwMode="gray">
          <a:xfrm>
            <a:off x="11233150" y="4016375"/>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7677574-70B3-4229-A190-9BE2499E7AC1}" type="datetime'''''1''''''''''''''''''''''''''''''.''''''''''''''''9'''''''">
              <a:rPr lang="en-US" altLang="en-US" sz="1200" b="1" smtClean="0"/>
              <a:pPr/>
              <a:t>1.9</a:t>
            </a:fld>
            <a:endParaRPr lang="en-US" sz="1200" b="1" dirty="0"/>
          </a:p>
        </p:txBody>
      </p:sp>
      <p:sp>
        <p:nvSpPr>
          <p:cNvPr id="546" name="Text Placeholder 2">
            <a:extLst>
              <a:ext uri="{FF2B5EF4-FFF2-40B4-BE49-F238E27FC236}">
                <a16:creationId xmlns:a16="http://schemas.microsoft.com/office/drawing/2014/main" id="{76E3E4B2-3155-C3C0-9A2A-BADFF1D3D8BC}"/>
              </a:ext>
            </a:extLst>
          </p:cNvPr>
          <p:cNvSpPr>
            <a:spLocks noGrp="1"/>
          </p:cNvSpPr>
          <p:nvPr>
            <p:custDataLst>
              <p:tags r:id="rId31"/>
            </p:custDataLst>
          </p:nvPr>
        </p:nvSpPr>
        <p:spPr bwMode="gray">
          <a:xfrm>
            <a:off x="11234738" y="4181475"/>
            <a:ext cx="255588" cy="165100"/>
          </a:xfrm>
          <a:prstGeom prst="rect">
            <a:avLst/>
          </a:prstGeom>
          <a:solidFill>
            <a:schemeClr val="accent4"/>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237B42-2FEB-4694-9215-5774116D91E4}" type="datetime'''''''''''0''''''''''''''.''''''1'''''''''''''''">
              <a:rPr lang="en-US" altLang="en-US" sz="1200" smtClean="0">
                <a:solidFill>
                  <a:schemeClr val="bg1"/>
                </a:solidFill>
                <a:effectLst/>
              </a:rPr>
              <a:pPr/>
              <a:t>0.1</a:t>
            </a:fld>
            <a:endParaRPr lang="en-US" sz="1200" dirty="0">
              <a:solidFill>
                <a:schemeClr val="bg1"/>
              </a:solidFill>
            </a:endParaRPr>
          </a:p>
        </p:txBody>
      </p:sp>
      <p:sp>
        <p:nvSpPr>
          <p:cNvPr id="161" name="Text Placeholder 2">
            <a:extLst>
              <a:ext uri="{FF2B5EF4-FFF2-40B4-BE49-F238E27FC236}">
                <a16:creationId xmlns:a16="http://schemas.microsoft.com/office/drawing/2014/main" id="{76E3E4B2-3155-C3C0-9A2A-BADFF1D3D8BC}"/>
              </a:ext>
            </a:extLst>
          </p:cNvPr>
          <p:cNvSpPr>
            <a:spLocks noGrp="1"/>
          </p:cNvSpPr>
          <p:nvPr>
            <p:custDataLst>
              <p:tags r:id="rId32"/>
            </p:custDataLst>
          </p:nvPr>
        </p:nvSpPr>
        <p:spPr bwMode="auto">
          <a:xfrm>
            <a:off x="1946275"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D86DED-14B1-4146-922C-EA25A615D6C6}" type="datetime'''2''''''''''''''''''''''''''0''''''''''1''''''1'''''">
              <a:rPr lang="en-US" altLang="en-US" sz="1200" smtClean="0"/>
              <a:pPr/>
              <a:t>2011</a:t>
            </a:fld>
            <a:endParaRPr lang="en-US" sz="1200" dirty="0"/>
          </a:p>
        </p:txBody>
      </p:sp>
      <p:sp>
        <p:nvSpPr>
          <p:cNvPr id="566" name="Text Placeholder 2">
            <a:extLst>
              <a:ext uri="{FF2B5EF4-FFF2-40B4-BE49-F238E27FC236}">
                <a16:creationId xmlns:a16="http://schemas.microsoft.com/office/drawing/2014/main" id="{8CD17363-32FC-FDF1-B73A-382E1FCEA357}"/>
              </a:ext>
            </a:extLst>
          </p:cNvPr>
          <p:cNvSpPr>
            <a:spLocks noGrp="1"/>
          </p:cNvSpPr>
          <p:nvPr>
            <p:custDataLst>
              <p:tags r:id="rId33"/>
            </p:custDataLst>
          </p:nvPr>
        </p:nvSpPr>
        <p:spPr bwMode="gray">
          <a:xfrm>
            <a:off x="9693275" y="5856288"/>
            <a:ext cx="255588" cy="165100"/>
          </a:xfrm>
          <a:prstGeom prst="rect">
            <a:avLst/>
          </a:prstGeom>
          <a:solidFill>
            <a:schemeClr val="accent6"/>
          </a:solidFill>
          <a:ln>
            <a:noFill/>
          </a:ln>
          <a:effectLst/>
        </p:spPr>
        <p:txBody>
          <a:bodyPr vert="horz" wrap="none" lIns="25400" tIns="0" rIns="2540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A7B4A-0D66-4C9D-A368-57E32983B4D6}" type="datetime'0.0'''''''''''''''''''''''''''''''''''''''''''''''''''''''">
              <a:rPr lang="en-US" altLang="en-US" sz="1200" smtClean="0">
                <a:solidFill>
                  <a:schemeClr val="bg1"/>
                </a:solidFill>
              </a:rPr>
              <a:pPr marL="0" lvl="0" indent="0" algn="ctr">
                <a:spcBef>
                  <a:spcPct val="0"/>
                </a:spcBef>
                <a:spcAft>
                  <a:spcPct val="0"/>
                </a:spcAft>
                <a:buNone/>
              </a:pPr>
              <a:t>0.0</a:t>
            </a:fld>
            <a:endParaRPr lang="en-US" sz="1200" dirty="0">
              <a:solidFill>
                <a:schemeClr val="bg1"/>
              </a:solidFill>
            </a:endParaRPr>
          </a:p>
        </p:txBody>
      </p:sp>
      <p:sp>
        <p:nvSpPr>
          <p:cNvPr id="569" name="Text Placeholder 2">
            <a:extLst>
              <a:ext uri="{FF2B5EF4-FFF2-40B4-BE49-F238E27FC236}">
                <a16:creationId xmlns:a16="http://schemas.microsoft.com/office/drawing/2014/main" id="{76E3E4B2-3155-C3C0-9A2A-BADFF1D3D8BC}"/>
              </a:ext>
            </a:extLst>
          </p:cNvPr>
          <p:cNvSpPr>
            <a:spLocks noGrp="1"/>
          </p:cNvSpPr>
          <p:nvPr>
            <p:custDataLst>
              <p:tags r:id="rId34"/>
            </p:custDataLst>
          </p:nvPr>
        </p:nvSpPr>
        <p:spPr bwMode="gray">
          <a:xfrm>
            <a:off x="9691688" y="5691188"/>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7CFAF69-E81B-4BFF-9CF5-1F989695A703}" type="datetime'''''''''''''''''''''''''''''''''0''''''''''''''.1'''''''''''''">
              <a:rPr lang="en-US" altLang="en-US" sz="1200" b="1" smtClean="0">
                <a:effectLst/>
              </a:rPr>
              <a:pPr marL="0" lvl="0" indent="0" algn="ctr">
                <a:spcBef>
                  <a:spcPct val="0"/>
                </a:spcBef>
                <a:spcAft>
                  <a:spcPct val="0"/>
                </a:spcAft>
                <a:buNone/>
              </a:pPr>
              <a:t>0.1</a:t>
            </a:fld>
            <a:endParaRPr lang="en-US" sz="1200" b="1" dirty="0"/>
          </a:p>
        </p:txBody>
      </p:sp>
      <p:sp>
        <p:nvSpPr>
          <p:cNvPr id="162" name="Text Placeholder 2">
            <a:extLst>
              <a:ext uri="{FF2B5EF4-FFF2-40B4-BE49-F238E27FC236}">
                <a16:creationId xmlns:a16="http://schemas.microsoft.com/office/drawing/2014/main" id="{76E3E4B2-3155-C3C0-9A2A-BADFF1D3D8BC}"/>
              </a:ext>
            </a:extLst>
          </p:cNvPr>
          <p:cNvSpPr>
            <a:spLocks noGrp="1"/>
          </p:cNvSpPr>
          <p:nvPr>
            <p:custDataLst>
              <p:tags r:id="rId35"/>
            </p:custDataLst>
          </p:nvPr>
        </p:nvSpPr>
        <p:spPr bwMode="auto">
          <a:xfrm>
            <a:off x="2716213" y="6088063"/>
            <a:ext cx="336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2B1B41A-CA4D-4ACB-8917-8972CE5DF7E6}" type="datetime'''''2''0''''''''''''''''''''1''''''''''2'''''''''''">
              <a:rPr lang="en-US" altLang="en-US" sz="1200" smtClean="0"/>
              <a:pPr/>
              <a:t>2012</a:t>
            </a:fld>
            <a:endParaRPr lang="en-US" sz="1200" dirty="0"/>
          </a:p>
        </p:txBody>
      </p:sp>
      <p:sp>
        <p:nvSpPr>
          <p:cNvPr id="166" name="Text Placeholder 2">
            <a:extLst>
              <a:ext uri="{FF2B5EF4-FFF2-40B4-BE49-F238E27FC236}">
                <a16:creationId xmlns:a16="http://schemas.microsoft.com/office/drawing/2014/main" id="{76E3E4B2-3155-C3C0-9A2A-BADFF1D3D8BC}"/>
              </a:ext>
            </a:extLst>
          </p:cNvPr>
          <p:cNvSpPr>
            <a:spLocks noGrp="1"/>
          </p:cNvSpPr>
          <p:nvPr>
            <p:custDataLst>
              <p:tags r:id="rId36"/>
            </p:custDataLst>
          </p:nvPr>
        </p:nvSpPr>
        <p:spPr bwMode="gray">
          <a:xfrm>
            <a:off x="1214438" y="3248025"/>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015E6-FEC1-4DE3-8632-AFCDB805BD94}" type="datetime'2''''''''.''8'''''''''''''''''''''''''''''">
              <a:rPr lang="en-US" altLang="en-US" sz="1200" b="1" smtClean="0"/>
              <a:pPr/>
              <a:t>2.8</a:t>
            </a:fld>
            <a:endParaRPr lang="en-US" sz="1200" b="1" dirty="0"/>
          </a:p>
        </p:txBody>
      </p:sp>
      <p:sp>
        <p:nvSpPr>
          <p:cNvPr id="167" name="Text Placeholder 2">
            <a:extLst>
              <a:ext uri="{FF2B5EF4-FFF2-40B4-BE49-F238E27FC236}">
                <a16:creationId xmlns:a16="http://schemas.microsoft.com/office/drawing/2014/main" id="{76E3E4B2-3155-C3C0-9A2A-BADFF1D3D8BC}"/>
              </a:ext>
            </a:extLst>
          </p:cNvPr>
          <p:cNvSpPr>
            <a:spLocks noGrp="1"/>
          </p:cNvSpPr>
          <p:nvPr>
            <p:custDataLst>
              <p:tags r:id="rId37"/>
            </p:custDataLst>
          </p:nvPr>
        </p:nvSpPr>
        <p:spPr bwMode="gray">
          <a:xfrm>
            <a:off x="1985963" y="3122613"/>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992224C-4399-493F-B364-81367E0C1F51}" type="datetime'''''''''''''2''''''''''''''''''.''''''''''''''''''9'''">
              <a:rPr lang="en-US" altLang="en-US" sz="1200" b="1" smtClean="0"/>
              <a:pPr/>
              <a:t>2.9</a:t>
            </a:fld>
            <a:endParaRPr lang="en-US" sz="1200" b="1" dirty="0"/>
          </a:p>
        </p:txBody>
      </p:sp>
      <p:sp>
        <p:nvSpPr>
          <p:cNvPr id="168" name="Text Placeholder 2">
            <a:extLst>
              <a:ext uri="{FF2B5EF4-FFF2-40B4-BE49-F238E27FC236}">
                <a16:creationId xmlns:a16="http://schemas.microsoft.com/office/drawing/2014/main" id="{76E3E4B2-3155-C3C0-9A2A-BADFF1D3D8BC}"/>
              </a:ext>
            </a:extLst>
          </p:cNvPr>
          <p:cNvSpPr>
            <a:spLocks noGrp="1"/>
          </p:cNvSpPr>
          <p:nvPr>
            <p:custDataLst>
              <p:tags r:id="rId38"/>
            </p:custDataLst>
          </p:nvPr>
        </p:nvSpPr>
        <p:spPr bwMode="gray">
          <a:xfrm>
            <a:off x="2755900" y="2911475"/>
            <a:ext cx="2587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AD618A-E6BC-473D-A8E0-B73A75C3D5F8}" type="datetime'''''''3''''''''''''''''''''''''''''''.''''''''2'''''''''''''''">
              <a:rPr lang="en-US" altLang="en-US" sz="1200" b="1" smtClean="0"/>
              <a:pPr/>
              <a:t>3.2</a:t>
            </a:fld>
            <a:endParaRPr lang="en-US" sz="1200" b="1" dirty="0"/>
          </a:p>
        </p:txBody>
      </p:sp>
      <p:sp>
        <p:nvSpPr>
          <p:cNvPr id="185" name="Text Placeholder 2">
            <a:extLst>
              <a:ext uri="{FF2B5EF4-FFF2-40B4-BE49-F238E27FC236}">
                <a16:creationId xmlns:a16="http://schemas.microsoft.com/office/drawing/2014/main" id="{ED1B9AD7-073D-A0CF-E7FE-2D0AC164DF08}"/>
              </a:ext>
            </a:extLst>
          </p:cNvPr>
          <p:cNvSpPr>
            <a:spLocks noGrp="1"/>
          </p:cNvSpPr>
          <p:nvPr>
            <p:custDataLst>
              <p:tags r:id="rId39"/>
            </p:custDataLst>
          </p:nvPr>
        </p:nvSpPr>
        <p:spPr bwMode="gray">
          <a:xfrm>
            <a:off x="5838825" y="4084638"/>
            <a:ext cx="2587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574165-2254-4584-95F3-486B7FD4B841}" type="datetime'''''1''''''''''.''''''''''''''''''''''''''''9'''''''">
              <a:rPr lang="en-US" altLang="en-US" sz="1200" b="1" smtClean="0"/>
              <a:pPr/>
              <a:t>1.9</a:t>
            </a:fld>
            <a:endParaRPr lang="en-US" sz="1200" b="1" dirty="0"/>
          </a:p>
        </p:txBody>
      </p:sp>
      <p:sp>
        <p:nvSpPr>
          <p:cNvPr id="586" name="Text Placeholder 2">
            <a:extLst>
              <a:ext uri="{FF2B5EF4-FFF2-40B4-BE49-F238E27FC236}">
                <a16:creationId xmlns:a16="http://schemas.microsoft.com/office/drawing/2014/main" id="{76E3E4B2-3155-C3C0-9A2A-BADFF1D3D8BC}"/>
              </a:ext>
            </a:extLst>
          </p:cNvPr>
          <p:cNvSpPr>
            <a:spLocks noGrp="1"/>
          </p:cNvSpPr>
          <p:nvPr>
            <p:custDataLst>
              <p:tags r:id="rId40"/>
            </p:custDataLst>
          </p:nvPr>
        </p:nvSpPr>
        <p:spPr bwMode="auto">
          <a:xfrm>
            <a:off x="10655300" y="3705225"/>
            <a:ext cx="641350" cy="234950"/>
          </a:xfrm>
          <a:prstGeom prst="ellipse">
            <a:avLst/>
          </a:prstGeom>
          <a:solidFill>
            <a:srgbClr val="FFFFFF"/>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428E49-647C-46C6-B7A1-C4C72915D111}" type="datetime'+''''1''''0''''''''''''''''6''''''%'''''''''''''''''''''''">
              <a:rPr lang="en-US" altLang="en-US" sz="1200" b="1" smtClean="0">
                <a:effectLst/>
              </a:rPr>
              <a:pPr/>
              <a:t>+106%</a:t>
            </a:fld>
            <a:endParaRPr lang="en-US" sz="1200" b="1" dirty="0"/>
          </a:p>
        </p:txBody>
      </p:sp>
      <p:sp>
        <p:nvSpPr>
          <p:cNvPr id="579" name="Rectangle 578">
            <a:extLst>
              <a:ext uri="{FF2B5EF4-FFF2-40B4-BE49-F238E27FC236}">
                <a16:creationId xmlns:a16="http://schemas.microsoft.com/office/drawing/2014/main" id="{F7D321E0-460A-4B56-8714-7FE1CED35E83}"/>
              </a:ext>
            </a:extLst>
          </p:cNvPr>
          <p:cNvSpPr/>
          <p:nvPr>
            <p:custDataLst>
              <p:tags r:id="rId41"/>
            </p:custDataLst>
          </p:nvPr>
        </p:nvSpPr>
        <p:spPr bwMode="auto">
          <a:xfrm>
            <a:off x="3517900" y="1963738"/>
            <a:ext cx="179388" cy="133350"/>
          </a:xfrm>
          <a:prstGeom prst="rect">
            <a:avLst/>
          </a:prstGeom>
          <a:solidFill>
            <a:schemeClr val="accent4"/>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0" name="Rectangle 579">
            <a:extLst>
              <a:ext uri="{FF2B5EF4-FFF2-40B4-BE49-F238E27FC236}">
                <a16:creationId xmlns:a16="http://schemas.microsoft.com/office/drawing/2014/main" id="{ED21A50B-8B52-6AA7-62BD-F666B3470E7D}"/>
              </a:ext>
            </a:extLst>
          </p:cNvPr>
          <p:cNvSpPr/>
          <p:nvPr>
            <p:custDataLst>
              <p:tags r:id="rId42"/>
            </p:custDataLst>
          </p:nvPr>
        </p:nvSpPr>
        <p:spPr bwMode="auto">
          <a:xfrm>
            <a:off x="3517900" y="2159000"/>
            <a:ext cx="179388" cy="133350"/>
          </a:xfrm>
          <a:prstGeom prst="rect">
            <a:avLst/>
          </a:prstGeom>
          <a:solidFill>
            <a:schemeClr val="accent6"/>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Text Placeholder 2">
            <a:extLst>
              <a:ext uri="{FF2B5EF4-FFF2-40B4-BE49-F238E27FC236}">
                <a16:creationId xmlns:a16="http://schemas.microsoft.com/office/drawing/2014/main" id="{76E3E4B2-3155-C3C0-9A2A-BADFF1D3D8BC}"/>
              </a:ext>
            </a:extLst>
          </p:cNvPr>
          <p:cNvSpPr>
            <a:spLocks noGrp="1"/>
          </p:cNvSpPr>
          <p:nvPr>
            <p:custDataLst>
              <p:tags r:id="rId43"/>
            </p:custDataLst>
          </p:nvPr>
        </p:nvSpPr>
        <p:spPr bwMode="auto">
          <a:xfrm>
            <a:off x="3748088" y="1971675"/>
            <a:ext cx="998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1755E4-964F-491A-8C9A-54EB2DE43897}" type="datetime'Do''''mes''''''t''''i''''''''c ''''P''''''il''g''rim''''s'''''">
              <a:rPr lang="en-US" altLang="en-US" sz="1100" smtClean="0">
                <a:effectLst/>
              </a:rPr>
              <a:pPr marL="0" lvl="0" indent="0">
                <a:spcBef>
                  <a:spcPct val="0"/>
                </a:spcBef>
                <a:spcAft>
                  <a:spcPct val="0"/>
                </a:spcAft>
                <a:buNone/>
              </a:pPr>
              <a:t>Domestic Pilgrims</a:t>
            </a:fld>
            <a:endParaRPr lang="en-US" sz="1100" dirty="0"/>
          </a:p>
        </p:txBody>
      </p:sp>
      <p:sp>
        <p:nvSpPr>
          <p:cNvPr id="577" name="Text Placeholder 2">
            <a:extLst>
              <a:ext uri="{FF2B5EF4-FFF2-40B4-BE49-F238E27FC236}">
                <a16:creationId xmlns:a16="http://schemas.microsoft.com/office/drawing/2014/main" id="{76E3E4B2-3155-C3C0-9A2A-BADFF1D3D8BC}"/>
              </a:ext>
            </a:extLst>
          </p:cNvPr>
          <p:cNvSpPr>
            <a:spLocks noGrp="1"/>
          </p:cNvSpPr>
          <p:nvPr>
            <p:custDataLst>
              <p:tags r:id="rId44"/>
            </p:custDataLst>
          </p:nvPr>
        </p:nvSpPr>
        <p:spPr bwMode="auto">
          <a:xfrm>
            <a:off x="3748088" y="2166938"/>
            <a:ext cx="11715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4B8F42-7A1A-4FE8-A060-EB6C7641EC82}" type="datetime'''Int''er''''n''ati''''onal'''' P''''''il''''gr''''''im''s'">
              <a:rPr lang="en-US" altLang="en-US" sz="1100" smtClean="0">
                <a:effectLst/>
              </a:rPr>
              <a:pPr marL="0" lvl="0" indent="0">
                <a:spcBef>
                  <a:spcPct val="0"/>
                </a:spcBef>
                <a:spcAft>
                  <a:spcPct val="0"/>
                </a:spcAft>
                <a:buNone/>
              </a:pPr>
              <a:t>International Pilgrims</a:t>
            </a:fld>
            <a:endParaRPr lang="en-US" sz="1100" dirty="0"/>
          </a:p>
        </p:txBody>
      </p:sp>
      <p:sp>
        <p:nvSpPr>
          <p:cNvPr id="583" name="Rectangle 582">
            <a:extLst>
              <a:ext uri="{FF2B5EF4-FFF2-40B4-BE49-F238E27FC236}">
                <a16:creationId xmlns:a16="http://schemas.microsoft.com/office/drawing/2014/main" id="{F1F32D94-EC67-47EA-471D-5CBE6107D8E5}"/>
              </a:ext>
            </a:extLst>
          </p:cNvPr>
          <p:cNvSpPr/>
          <p:nvPr/>
        </p:nvSpPr>
        <p:spPr>
          <a:xfrm>
            <a:off x="8846291" y="5091298"/>
            <a:ext cx="1467516" cy="1303338"/>
          </a:xfrm>
          <a:prstGeom prst="rect">
            <a:avLst/>
          </a:prstGeom>
          <a:noFill/>
          <a:ln>
            <a:solidFill>
              <a:schemeClr val="tx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4" name="TextBox 583">
            <a:extLst>
              <a:ext uri="{FF2B5EF4-FFF2-40B4-BE49-F238E27FC236}">
                <a16:creationId xmlns:a16="http://schemas.microsoft.com/office/drawing/2014/main" id="{4C1A0E2A-6DC2-8BDE-86DE-13D2DE8C6AA6}"/>
              </a:ext>
            </a:extLst>
          </p:cNvPr>
          <p:cNvSpPr txBox="1"/>
          <p:nvPr/>
        </p:nvSpPr>
        <p:spPr>
          <a:xfrm>
            <a:off x="8863807" y="4806574"/>
            <a:ext cx="1350961" cy="261610"/>
          </a:xfrm>
          <a:prstGeom prst="rect">
            <a:avLst/>
          </a:prstGeom>
          <a:noFill/>
        </p:spPr>
        <p:txBody>
          <a:bodyPr wrap="square" rtlCol="0">
            <a:spAutoFit/>
          </a:bodyPr>
          <a:lstStyle/>
          <a:p>
            <a:pPr algn="ctr"/>
            <a:r>
              <a:rPr lang="en-US" sz="1100" b="1" i="1" dirty="0"/>
              <a:t>COVID-19 effect</a:t>
            </a:r>
          </a:p>
        </p:txBody>
      </p:sp>
      <p:sp>
        <p:nvSpPr>
          <p:cNvPr id="599" name="TextBox 598">
            <a:extLst>
              <a:ext uri="{FF2B5EF4-FFF2-40B4-BE49-F238E27FC236}">
                <a16:creationId xmlns:a16="http://schemas.microsoft.com/office/drawing/2014/main" id="{3A19A7E4-743D-37C4-EDE2-4F75FEFBF2A9}"/>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GASTAT</a:t>
            </a:r>
          </a:p>
        </p:txBody>
      </p:sp>
      <p:sp>
        <p:nvSpPr>
          <p:cNvPr id="3" name="Speech Bubble: Rectangle with Corners Rounded 2">
            <a:extLst>
              <a:ext uri="{FF2B5EF4-FFF2-40B4-BE49-F238E27FC236}">
                <a16:creationId xmlns:a16="http://schemas.microsoft.com/office/drawing/2014/main" id="{D8E35A24-5DD0-4005-E528-F3A95F1240D1}"/>
              </a:ext>
            </a:extLst>
          </p:cNvPr>
          <p:cNvSpPr/>
          <p:nvPr/>
        </p:nvSpPr>
        <p:spPr>
          <a:xfrm>
            <a:off x="8551455" y="1695847"/>
            <a:ext cx="3147238" cy="1600438"/>
          </a:xfrm>
          <a:prstGeom prst="wedgeRoundRectCallout">
            <a:avLst>
              <a:gd name="adj1" fmla="val 36395"/>
              <a:gd name="adj2" fmla="val 70973"/>
              <a:gd name="adj3" fmla="val 16667"/>
            </a:avLst>
          </a:prstGeom>
          <a:solidFill>
            <a:schemeClr val="accent5"/>
          </a:solidFill>
          <a:ln>
            <a:noFill/>
          </a:ln>
        </p:spPr>
        <p:txBody>
          <a:bodyPr wrap="square">
            <a:spAutoFit/>
          </a:bodyPr>
          <a:lstStyle/>
          <a:p>
            <a:pPr algn="ctr"/>
            <a:r>
              <a:rPr lang="en-US" sz="1200" b="1" i="1" u="none" strike="noStrike" baseline="0" dirty="0">
                <a:solidFill>
                  <a:schemeClr val="bg1"/>
                </a:solidFill>
                <a:latin typeface="Arial,BoldItalic"/>
              </a:rPr>
              <a:t>Whilst Hajj pilgrims are slowly moving back to pre-COVID and historical levels, Makkah saw a record-breaking 13.5 million Umrah visitors in 2023 – bringing total pilgrim numbers to</a:t>
            </a:r>
            <a:br>
              <a:rPr lang="en-US" sz="1200" b="1" i="1" u="none" strike="noStrike" baseline="0" dirty="0">
                <a:solidFill>
                  <a:schemeClr val="bg1"/>
                </a:solidFill>
                <a:latin typeface="Arial,BoldItalic"/>
              </a:rPr>
            </a:br>
            <a:r>
              <a:rPr lang="en-US" sz="1200" b="1" i="1" u="none" strike="noStrike" baseline="0" dirty="0">
                <a:solidFill>
                  <a:schemeClr val="bg1"/>
                </a:solidFill>
                <a:latin typeface="Arial,BoldItalic"/>
              </a:rPr>
              <a:t> </a:t>
            </a:r>
            <a:br>
              <a:rPr lang="en-US" sz="1200" b="1" i="1" u="none" strike="noStrike" baseline="0" dirty="0">
                <a:solidFill>
                  <a:schemeClr val="bg1"/>
                </a:solidFill>
                <a:latin typeface="Arial,BoldItalic"/>
              </a:rPr>
            </a:br>
            <a:r>
              <a:rPr lang="en-US" sz="1600" b="1" i="1" u="none" strike="noStrike" baseline="0" dirty="0">
                <a:solidFill>
                  <a:schemeClr val="bg1"/>
                </a:solidFill>
                <a:latin typeface="Arial,BoldItalic"/>
              </a:rPr>
              <a:t>~15 million visitors</a:t>
            </a:r>
            <a:endParaRPr lang="en-US" sz="1200" dirty="0">
              <a:solidFill>
                <a:schemeClr val="bg1"/>
              </a:solidFill>
            </a:endParaRPr>
          </a:p>
        </p:txBody>
      </p:sp>
    </p:spTree>
    <p:extLst>
      <p:ext uri="{BB962C8B-B14F-4D97-AF65-F5344CB8AC3E}">
        <p14:creationId xmlns:p14="http://schemas.microsoft.com/office/powerpoint/2010/main" val="3659743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5B0F088B-91EB-6D99-1009-E6E0A58E2942}"/>
              </a:ext>
            </a:extLst>
          </p:cNvPr>
          <p:cNvGraphicFramePr>
            <a:graphicFrameLocks noChangeAspect="1"/>
          </p:cNvGraphicFramePr>
          <p:nvPr>
            <p:custDataLst>
              <p:tags r:id="rId1"/>
            </p:custDataLst>
            <p:extLst>
              <p:ext uri="{D42A27DB-BD31-4B8C-83A1-F6EECF244321}">
                <p14:modId xmlns:p14="http://schemas.microsoft.com/office/powerpoint/2010/main" val="27828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17" name="think-cell data - do not delete" hidden="1">
                        <a:extLst>
                          <a:ext uri="{FF2B5EF4-FFF2-40B4-BE49-F238E27FC236}">
                            <a16:creationId xmlns:a16="http://schemas.microsoft.com/office/drawing/2014/main" id="{5B0F088B-91EB-6D99-1009-E6E0A58E29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LOREM IPSUM">
            <a:extLst>
              <a:ext uri="{FF2B5EF4-FFF2-40B4-BE49-F238E27FC236}">
                <a16:creationId xmlns:a16="http://schemas.microsoft.com/office/drawing/2014/main" id="{7B805B00-7C01-55CE-8964-95CDF0B8BA2F}"/>
              </a:ext>
            </a:extLst>
          </p:cNvPr>
          <p:cNvSpPr txBox="1"/>
          <p:nvPr/>
        </p:nvSpPr>
        <p:spPr>
          <a:xfrm>
            <a:off x="958460" y="260416"/>
            <a:ext cx="8389364" cy="12105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HOSPITALITY MARKET SUPPLY &amp; PERFORMANCE</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2" name="Google Shape;2556;p24">
            <a:extLst>
              <a:ext uri="{FF2B5EF4-FFF2-40B4-BE49-F238E27FC236}">
                <a16:creationId xmlns:a16="http://schemas.microsoft.com/office/drawing/2014/main" id="{E722FFE4-DB58-4434-DB92-896572AAB084}"/>
              </a:ext>
            </a:extLst>
          </p:cNvPr>
          <p:cNvSpPr/>
          <p:nvPr/>
        </p:nvSpPr>
        <p:spPr>
          <a:xfrm>
            <a:off x="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HOSPITALITY STOCK &amp; SUPPLY</a:t>
            </a:r>
            <a:endParaRPr b="0" i="1" u="none" strike="noStrike" cap="none" dirty="0">
              <a:solidFill>
                <a:schemeClr val="lt1"/>
              </a:solidFill>
              <a:latin typeface="Arial"/>
              <a:ea typeface="Arial"/>
              <a:cs typeface="Arial"/>
              <a:sym typeface="Arial"/>
            </a:endParaRPr>
          </a:p>
        </p:txBody>
      </p:sp>
      <p:graphicFrame>
        <p:nvGraphicFramePr>
          <p:cNvPr id="602" name="Chart 601">
            <a:extLst>
              <a:ext uri="{FF2B5EF4-FFF2-40B4-BE49-F238E27FC236}">
                <a16:creationId xmlns:a16="http://schemas.microsoft.com/office/drawing/2014/main" id="{02AD12A8-9267-0924-3566-846C1A4DE6FD}"/>
              </a:ext>
            </a:extLst>
          </p:cNvPr>
          <p:cNvGraphicFramePr/>
          <p:nvPr>
            <p:custDataLst>
              <p:tags r:id="rId2"/>
            </p:custDataLst>
            <p:extLst>
              <p:ext uri="{D42A27DB-BD31-4B8C-83A1-F6EECF244321}">
                <p14:modId xmlns:p14="http://schemas.microsoft.com/office/powerpoint/2010/main" val="1647095977"/>
              </p:ext>
            </p:extLst>
          </p:nvPr>
        </p:nvGraphicFramePr>
        <p:xfrm>
          <a:off x="876300" y="3079750"/>
          <a:ext cx="5045075" cy="3146425"/>
        </p:xfrm>
        <a:graphic>
          <a:graphicData uri="http://schemas.openxmlformats.org/drawingml/2006/chart">
            <c:chart xmlns:c="http://schemas.openxmlformats.org/drawingml/2006/chart" xmlns:r="http://schemas.openxmlformats.org/officeDocument/2006/relationships" r:id="rId18"/>
          </a:graphicData>
        </a:graphic>
      </p:graphicFrame>
      <p:sp>
        <p:nvSpPr>
          <p:cNvPr id="18" name="Text Placeholder 2">
            <a:extLst>
              <a:ext uri="{FF2B5EF4-FFF2-40B4-BE49-F238E27FC236}">
                <a16:creationId xmlns:a16="http://schemas.microsoft.com/office/drawing/2014/main" id="{76E3E4B2-3155-C3C0-9A2A-BADFF1D3D8BC}"/>
              </a:ext>
            </a:extLst>
          </p:cNvPr>
          <p:cNvSpPr>
            <a:spLocks noGrp="1"/>
          </p:cNvSpPr>
          <p:nvPr>
            <p:custDataLst>
              <p:tags r:id="rId3"/>
            </p:custDataLst>
          </p:nvPr>
        </p:nvSpPr>
        <p:spPr bwMode="auto">
          <a:xfrm>
            <a:off x="1362075" y="6010275"/>
            <a:ext cx="412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95D1C92-CD79-43A3-85CE-D760308869CB}" type="datetime'''''''''5''-''S''t''''''''''''''a''r'''''''''''''''''">
              <a:rPr lang="en-US" altLang="en-US" sz="1200" smtClean="0"/>
              <a:pPr/>
              <a:t>5-Star</a:t>
            </a:fld>
            <a:endParaRPr lang="en-US" sz="1200" dirty="0"/>
          </a:p>
        </p:txBody>
      </p:sp>
      <p:sp useBgFill="1">
        <p:nvSpPr>
          <p:cNvPr id="572" name="Text Placeholder 2">
            <a:extLst>
              <a:ext uri="{FF2B5EF4-FFF2-40B4-BE49-F238E27FC236}">
                <a16:creationId xmlns:a16="http://schemas.microsoft.com/office/drawing/2014/main" id="{76E3E4B2-3155-C3C0-9A2A-BADFF1D3D8BC}"/>
              </a:ext>
            </a:extLst>
          </p:cNvPr>
          <p:cNvSpPr>
            <a:spLocks noGrp="1"/>
          </p:cNvSpPr>
          <p:nvPr>
            <p:custDataLst>
              <p:tags r:id="rId4"/>
            </p:custDataLst>
          </p:nvPr>
        </p:nvSpPr>
        <p:spPr bwMode="gray">
          <a:xfrm>
            <a:off x="2540000" y="4821238"/>
            <a:ext cx="498475" cy="165100"/>
          </a:xfrm>
          <a:prstGeom prst="rect">
            <a:avLst/>
          </a:prstGeom>
          <a:ln>
            <a:noFill/>
          </a:ln>
          <a:effec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C6A355-E148-43EB-A7C0-BEF7B834442C}" type="datetime'25'',''''''''''''''''''''''''2''''''''''''''54'''''''''">
              <a:rPr lang="en-US" altLang="en-US" sz="1200" smtClean="0">
                <a:effectLst/>
              </a:rPr>
              <a:pPr marL="0" lvl="0" indent="0" algn="ctr">
                <a:spcBef>
                  <a:spcPct val="0"/>
                </a:spcBef>
                <a:spcAft>
                  <a:spcPct val="0"/>
                </a:spcAft>
                <a:buNone/>
              </a:pPr>
              <a:t>25,254</a:t>
            </a:fld>
            <a:endParaRPr lang="en-US" sz="1200" dirty="0"/>
          </a:p>
        </p:txBody>
      </p:sp>
      <p:sp>
        <p:nvSpPr>
          <p:cNvPr id="161" name="Text Placeholder 2">
            <a:extLst>
              <a:ext uri="{FF2B5EF4-FFF2-40B4-BE49-F238E27FC236}">
                <a16:creationId xmlns:a16="http://schemas.microsoft.com/office/drawing/2014/main" id="{76E3E4B2-3155-C3C0-9A2A-BADFF1D3D8BC}"/>
              </a:ext>
            </a:extLst>
          </p:cNvPr>
          <p:cNvSpPr>
            <a:spLocks noGrp="1"/>
          </p:cNvSpPr>
          <p:nvPr>
            <p:custDataLst>
              <p:tags r:id="rId5"/>
            </p:custDataLst>
          </p:nvPr>
        </p:nvSpPr>
        <p:spPr bwMode="auto">
          <a:xfrm>
            <a:off x="2581275" y="6010275"/>
            <a:ext cx="412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870619E-A59E-4CD8-93E0-AD3374126E57}" type="datetime'''''''''4''''-''S''''''''t''''a''''''''''''''r'''''''''">
              <a:rPr lang="en-US" altLang="en-US" sz="1200" smtClean="0"/>
              <a:pPr/>
              <a:t>4-Star</a:t>
            </a:fld>
            <a:endParaRPr lang="en-US" sz="1200" dirty="0"/>
          </a:p>
        </p:txBody>
      </p:sp>
      <p:sp>
        <p:nvSpPr>
          <p:cNvPr id="9" name="Text Placeholder 2">
            <a:extLst>
              <a:ext uri="{FF2B5EF4-FFF2-40B4-BE49-F238E27FC236}">
                <a16:creationId xmlns:a16="http://schemas.microsoft.com/office/drawing/2014/main" id="{2B324883-01D2-C730-54C1-EB5BD19563F8}"/>
              </a:ext>
            </a:extLst>
          </p:cNvPr>
          <p:cNvSpPr>
            <a:spLocks noGrp="1"/>
          </p:cNvSpPr>
          <p:nvPr>
            <p:custDataLst>
              <p:tags r:id="rId6"/>
            </p:custDataLst>
          </p:nvPr>
        </p:nvSpPr>
        <p:spPr bwMode="auto">
          <a:xfrm>
            <a:off x="3522663" y="6010275"/>
            <a:ext cx="973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F48FCBF-C6BE-4FEC-A818-F4C5F659FC1B}" type="datetime'''3-''''''''Sta''r'' &amp;'''''''''''''''' b''''''e''''low'''''">
              <a:rPr lang="en-US" altLang="en-US" sz="1200" smtClean="0"/>
              <a:pPr/>
              <a:t>3-Star &amp; below</a:t>
            </a:fld>
            <a:endParaRPr lang="en-US" sz="1200" dirty="0"/>
          </a:p>
        </p:txBody>
      </p:sp>
      <p:sp useBgFill="1">
        <p:nvSpPr>
          <p:cNvPr id="573" name="Text Placeholder 2">
            <a:extLst>
              <a:ext uri="{FF2B5EF4-FFF2-40B4-BE49-F238E27FC236}">
                <a16:creationId xmlns:a16="http://schemas.microsoft.com/office/drawing/2014/main" id="{76E3E4B2-3155-C3C0-9A2A-BADFF1D3D8BC}"/>
              </a:ext>
            </a:extLst>
          </p:cNvPr>
          <p:cNvSpPr>
            <a:spLocks noGrp="1"/>
          </p:cNvSpPr>
          <p:nvPr>
            <p:custDataLst>
              <p:tags r:id="rId7"/>
            </p:custDataLst>
          </p:nvPr>
        </p:nvSpPr>
        <p:spPr bwMode="gray">
          <a:xfrm>
            <a:off x="5021263" y="5492750"/>
            <a:ext cx="417513" cy="165100"/>
          </a:xfrm>
          <a:prstGeom prst="rect">
            <a:avLst/>
          </a:prstGeom>
          <a:ln>
            <a:noFill/>
          </a:ln>
          <a:effec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9672F8-E0CF-414E-AE08-ED4AE128999C}" type="datetime'''''''''''''''''5'''',''''''''8''''''''''''82'''''''''''''">
              <a:rPr lang="en-US" altLang="en-US" sz="1200" smtClean="0">
                <a:effectLst/>
              </a:rPr>
              <a:pPr marL="0" lvl="0" indent="0" algn="ctr">
                <a:spcBef>
                  <a:spcPct val="0"/>
                </a:spcBef>
                <a:spcAft>
                  <a:spcPct val="0"/>
                </a:spcAft>
                <a:buNone/>
              </a:pPr>
              <a:t>5,882</a:t>
            </a:fld>
            <a:endParaRPr lang="en-US" sz="1200" dirty="0"/>
          </a:p>
        </p:txBody>
      </p:sp>
      <p:sp>
        <p:nvSpPr>
          <p:cNvPr id="12" name="Text Placeholder 2">
            <a:extLst>
              <a:ext uri="{FF2B5EF4-FFF2-40B4-BE49-F238E27FC236}">
                <a16:creationId xmlns:a16="http://schemas.microsoft.com/office/drawing/2014/main" id="{80F2F226-437D-9230-EB7B-2D4E3EE984B8}"/>
              </a:ext>
            </a:extLst>
          </p:cNvPr>
          <p:cNvSpPr>
            <a:spLocks noGrp="1"/>
          </p:cNvSpPr>
          <p:nvPr>
            <p:custDataLst>
              <p:tags r:id="rId8"/>
            </p:custDataLst>
          </p:nvPr>
        </p:nvSpPr>
        <p:spPr bwMode="auto">
          <a:xfrm>
            <a:off x="4637088" y="6010275"/>
            <a:ext cx="11826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11CEE46-D61F-43C5-A004-9DB1AEB0CE17}" type="datetime'Ho''''''t''''''e''''''''''''l A''''p''''artm''ent''''''s'">
              <a:rPr lang="en-US" altLang="en-US" sz="1200" smtClean="0"/>
              <a:pPr/>
              <a:t>Hotel Apartments</a:t>
            </a:fld>
            <a:endParaRPr lang="en-US" sz="1200" dirty="0"/>
          </a:p>
        </p:txBody>
      </p:sp>
      <p:sp>
        <p:nvSpPr>
          <p:cNvPr id="579" name="Rectangle 578">
            <a:extLst>
              <a:ext uri="{FF2B5EF4-FFF2-40B4-BE49-F238E27FC236}">
                <a16:creationId xmlns:a16="http://schemas.microsoft.com/office/drawing/2014/main" id="{F7D321E0-460A-4B56-8714-7FE1CED35E83}"/>
              </a:ext>
            </a:extLst>
          </p:cNvPr>
          <p:cNvSpPr/>
          <p:nvPr>
            <p:custDataLst>
              <p:tags r:id="rId9"/>
            </p:custDataLst>
          </p:nvPr>
        </p:nvSpPr>
        <p:spPr bwMode="auto">
          <a:xfrm>
            <a:off x="3603625" y="1963738"/>
            <a:ext cx="179388" cy="133350"/>
          </a:xfrm>
          <a:prstGeom prst="rect">
            <a:avLst/>
          </a:prstGeom>
          <a:solidFill>
            <a:schemeClr val="accent4"/>
          </a:solidFill>
          <a:ln w="9525" cap="flat" cmpd="sng" algn="ctr">
            <a:solidFill>
              <a:srgbClr val="FFFFFF"/>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91" name="Straight Connector 490">
            <a:extLst>
              <a:ext uri="{FF2B5EF4-FFF2-40B4-BE49-F238E27FC236}">
                <a16:creationId xmlns:a16="http://schemas.microsoft.com/office/drawing/2014/main" id="{FFB47192-118F-ACC2-FE23-479DEFD21FE2}"/>
              </a:ext>
            </a:extLst>
          </p:cNvPr>
          <p:cNvCxnSpPr/>
          <p:nvPr>
            <p:custDataLst>
              <p:tags r:id="rId10"/>
            </p:custDataLst>
          </p:nvPr>
        </p:nvCxnSpPr>
        <p:spPr bwMode="gray">
          <a:xfrm>
            <a:off x="3527425" y="2225675"/>
            <a:ext cx="246063" cy="0"/>
          </a:xfrm>
          <a:prstGeom prst="line">
            <a:avLst/>
          </a:prstGeom>
          <a:ln w="19050" cap="rnd" cmpd="sng" algn="ctr">
            <a:solidFill>
              <a:srgbClr val="EB8C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5" name="Oval 564">
            <a:extLst>
              <a:ext uri="{FF2B5EF4-FFF2-40B4-BE49-F238E27FC236}">
                <a16:creationId xmlns:a16="http://schemas.microsoft.com/office/drawing/2014/main" id="{B0E2012F-B3EA-CBAA-F94E-2AF50C08D22B}"/>
              </a:ext>
            </a:extLst>
          </p:cNvPr>
          <p:cNvSpPr/>
          <p:nvPr>
            <p:custDataLst>
              <p:tags r:id="rId11"/>
            </p:custDataLst>
          </p:nvPr>
        </p:nvSpPr>
        <p:spPr bwMode="auto">
          <a:xfrm>
            <a:off x="3611563" y="2187575"/>
            <a:ext cx="76200" cy="76200"/>
          </a:xfrm>
          <a:prstGeom prst="ellipse">
            <a:avLst/>
          </a:prstGeom>
          <a:solidFill>
            <a:srgbClr val="E36A00"/>
          </a:solidFill>
          <a:ln w="9525" cap="flat" cmpd="sng" algn="ctr">
            <a:solidFill>
              <a:srgbClr val="E36A00"/>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Text Placeholder 2">
            <a:extLst>
              <a:ext uri="{FF2B5EF4-FFF2-40B4-BE49-F238E27FC236}">
                <a16:creationId xmlns:a16="http://schemas.microsoft.com/office/drawing/2014/main" id="{76E3E4B2-3155-C3C0-9A2A-BADFF1D3D8BC}"/>
              </a:ext>
            </a:extLst>
          </p:cNvPr>
          <p:cNvSpPr>
            <a:spLocks noGrp="1"/>
          </p:cNvSpPr>
          <p:nvPr>
            <p:custDataLst>
              <p:tags r:id="rId12"/>
            </p:custDataLst>
          </p:nvPr>
        </p:nvSpPr>
        <p:spPr bwMode="auto">
          <a:xfrm>
            <a:off x="3833813" y="1971675"/>
            <a:ext cx="506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50" dirty="0"/>
              <a:t>Hotel Assets</a:t>
            </a:r>
            <a:endParaRPr lang="en-US" sz="1050" dirty="0"/>
          </a:p>
        </p:txBody>
      </p:sp>
      <p:sp>
        <p:nvSpPr>
          <p:cNvPr id="577" name="Text Placeholder 2">
            <a:extLst>
              <a:ext uri="{FF2B5EF4-FFF2-40B4-BE49-F238E27FC236}">
                <a16:creationId xmlns:a16="http://schemas.microsoft.com/office/drawing/2014/main" id="{76E3E4B2-3155-C3C0-9A2A-BADFF1D3D8BC}"/>
              </a:ext>
            </a:extLst>
          </p:cNvPr>
          <p:cNvSpPr>
            <a:spLocks noGrp="1"/>
          </p:cNvSpPr>
          <p:nvPr>
            <p:custDataLst>
              <p:tags r:id="rId13"/>
            </p:custDataLst>
          </p:nvPr>
        </p:nvSpPr>
        <p:spPr bwMode="auto">
          <a:xfrm>
            <a:off x="3833813" y="2166938"/>
            <a:ext cx="6858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C9F3492-2BD0-4690-9901-55E0CD897E7F}" type="datetime'''''''''''''K''''''ey''s''''/''''''Ro''''oms'''">
              <a:rPr lang="en-US" altLang="en-US" sz="1050" smtClean="0"/>
              <a:pPr/>
              <a:t>Keys/Rooms</a:t>
            </a:fld>
            <a:endParaRPr lang="en-US" sz="1050" dirty="0"/>
          </a:p>
        </p:txBody>
      </p:sp>
      <p:sp>
        <p:nvSpPr>
          <p:cNvPr id="597" name="TextBox 596">
            <a:extLst>
              <a:ext uri="{FF2B5EF4-FFF2-40B4-BE49-F238E27FC236}">
                <a16:creationId xmlns:a16="http://schemas.microsoft.com/office/drawing/2014/main" id="{BB01264F-9A5A-B37C-5179-1318C8C1C396}"/>
              </a:ext>
            </a:extLst>
          </p:cNvPr>
          <p:cNvSpPr txBox="1"/>
          <p:nvPr/>
        </p:nvSpPr>
        <p:spPr>
          <a:xfrm>
            <a:off x="0" y="2526655"/>
            <a:ext cx="5889208" cy="461665"/>
          </a:xfrm>
          <a:prstGeom prst="rect">
            <a:avLst/>
          </a:prstGeom>
          <a:solidFill>
            <a:schemeClr val="accent5"/>
          </a:solidFill>
          <a:ln>
            <a:noFill/>
          </a:ln>
        </p:spPr>
        <p:txBody>
          <a:bodyPr wrap="square">
            <a:spAutoFit/>
          </a:bodyPr>
          <a:lstStyle/>
          <a:p>
            <a:pPr algn="r"/>
            <a:r>
              <a:rPr lang="en-US" sz="1200" b="1" i="1" u="none" strike="noStrike" baseline="0" dirty="0">
                <a:solidFill>
                  <a:schemeClr val="bg1"/>
                </a:solidFill>
                <a:latin typeface="Arial,BoldItalic"/>
              </a:rPr>
              <a:t>There are 11 planned hotels and resorts across the Kingdom with a total of 1,563 upcoming keys which will be delivered between 2024 and 2025</a:t>
            </a:r>
            <a:endParaRPr lang="en-US" sz="1200" dirty="0">
              <a:solidFill>
                <a:schemeClr val="bg1"/>
              </a:solidFill>
            </a:endParaRPr>
          </a:p>
        </p:txBody>
      </p:sp>
      <p:sp>
        <p:nvSpPr>
          <p:cNvPr id="599" name="TextBox 598">
            <a:extLst>
              <a:ext uri="{FF2B5EF4-FFF2-40B4-BE49-F238E27FC236}">
                <a16:creationId xmlns:a16="http://schemas.microsoft.com/office/drawing/2014/main" id="{3A19A7E4-743D-37C4-EDE2-4F75FEFBF2A9}"/>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GASTAT, STR</a:t>
            </a:r>
          </a:p>
        </p:txBody>
      </p:sp>
      <p:sp>
        <p:nvSpPr>
          <p:cNvPr id="603" name="Google Shape;2556;p24">
            <a:extLst>
              <a:ext uri="{FF2B5EF4-FFF2-40B4-BE49-F238E27FC236}">
                <a16:creationId xmlns:a16="http://schemas.microsoft.com/office/drawing/2014/main" id="{17E87E5C-D09C-CA5C-995C-0ABCFA347919}"/>
              </a:ext>
            </a:extLst>
          </p:cNvPr>
          <p:cNvSpPr/>
          <p:nvPr/>
        </p:nvSpPr>
        <p:spPr>
          <a:xfrm>
            <a:off x="683537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HOSPITALITY</a:t>
            </a:r>
          </a:p>
          <a:p>
            <a:pPr marL="0" marR="0" lvl="0" indent="0" algn="ctr" rtl="0">
              <a:lnSpc>
                <a:spcPct val="100000"/>
              </a:lnSpc>
              <a:spcBef>
                <a:spcPts val="0"/>
              </a:spcBef>
              <a:spcAft>
                <a:spcPts val="0"/>
              </a:spcAft>
              <a:buClr>
                <a:srgbClr val="000000"/>
              </a:buClr>
              <a:buSzPts val="800"/>
              <a:buFont typeface="Arial"/>
              <a:buNone/>
            </a:pPr>
            <a:r>
              <a:rPr lang="en" b="1" dirty="0">
                <a:solidFill>
                  <a:schemeClr val="lt1"/>
                </a:solidFill>
                <a:latin typeface="Arial"/>
                <a:ea typeface="Arial"/>
                <a:cs typeface="Arial"/>
                <a:sym typeface="Arial"/>
              </a:rPr>
              <a:t>PERFORMANCE</a:t>
            </a:r>
            <a:endParaRPr b="0" i="1" u="none" strike="noStrike" cap="none" dirty="0">
              <a:solidFill>
                <a:schemeClr val="lt1"/>
              </a:solidFill>
              <a:latin typeface="Arial"/>
              <a:ea typeface="Arial"/>
              <a:cs typeface="Arial"/>
              <a:sym typeface="Arial"/>
            </a:endParaRPr>
          </a:p>
        </p:txBody>
      </p:sp>
      <p:sp>
        <p:nvSpPr>
          <p:cNvPr id="604" name="Oval 603">
            <a:extLst>
              <a:ext uri="{FF2B5EF4-FFF2-40B4-BE49-F238E27FC236}">
                <a16:creationId xmlns:a16="http://schemas.microsoft.com/office/drawing/2014/main" id="{9B0FEF7A-B596-228E-A680-CC3FBEEFA8F6}"/>
              </a:ext>
            </a:extLst>
          </p:cNvPr>
          <p:cNvSpPr/>
          <p:nvPr/>
        </p:nvSpPr>
        <p:spPr>
          <a:xfrm>
            <a:off x="8119239" y="3072827"/>
            <a:ext cx="656590" cy="6565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5" name="TextBox 604">
            <a:extLst>
              <a:ext uri="{FF2B5EF4-FFF2-40B4-BE49-F238E27FC236}">
                <a16:creationId xmlns:a16="http://schemas.microsoft.com/office/drawing/2014/main" id="{7B5E9129-501F-577C-7BFA-637C6551DD17}"/>
              </a:ext>
            </a:extLst>
          </p:cNvPr>
          <p:cNvSpPr txBox="1"/>
          <p:nvPr/>
        </p:nvSpPr>
        <p:spPr>
          <a:xfrm>
            <a:off x="7952320" y="2596167"/>
            <a:ext cx="990427" cy="307777"/>
          </a:xfrm>
          <a:prstGeom prst="rect">
            <a:avLst/>
          </a:prstGeom>
          <a:noFill/>
        </p:spPr>
        <p:txBody>
          <a:bodyPr wrap="square" rtlCol="0">
            <a:spAutoFit/>
          </a:bodyPr>
          <a:lstStyle/>
          <a:p>
            <a:pPr algn="ctr"/>
            <a:r>
              <a:rPr lang="en-US" sz="1400" b="1" u="sng" dirty="0"/>
              <a:t>RIYADH</a:t>
            </a:r>
          </a:p>
        </p:txBody>
      </p:sp>
      <p:sp>
        <p:nvSpPr>
          <p:cNvPr id="606" name="TextBox 605">
            <a:extLst>
              <a:ext uri="{FF2B5EF4-FFF2-40B4-BE49-F238E27FC236}">
                <a16:creationId xmlns:a16="http://schemas.microsoft.com/office/drawing/2014/main" id="{AF66146B-260D-FAE1-2283-672FBF980BC0}"/>
              </a:ext>
            </a:extLst>
          </p:cNvPr>
          <p:cNvSpPr txBox="1"/>
          <p:nvPr/>
        </p:nvSpPr>
        <p:spPr>
          <a:xfrm>
            <a:off x="8921731" y="2596168"/>
            <a:ext cx="990427" cy="307777"/>
          </a:xfrm>
          <a:prstGeom prst="rect">
            <a:avLst/>
          </a:prstGeom>
          <a:noFill/>
        </p:spPr>
        <p:txBody>
          <a:bodyPr wrap="square" rtlCol="0">
            <a:spAutoFit/>
          </a:bodyPr>
          <a:lstStyle/>
          <a:p>
            <a:pPr algn="ctr"/>
            <a:r>
              <a:rPr lang="en-US" sz="1400" b="1" u="sng" dirty="0"/>
              <a:t>JEDDAH</a:t>
            </a:r>
          </a:p>
        </p:txBody>
      </p:sp>
      <p:sp>
        <p:nvSpPr>
          <p:cNvPr id="607" name="TextBox 606">
            <a:extLst>
              <a:ext uri="{FF2B5EF4-FFF2-40B4-BE49-F238E27FC236}">
                <a16:creationId xmlns:a16="http://schemas.microsoft.com/office/drawing/2014/main" id="{5D4C974E-6D39-D72A-7658-9C2C79F2087A}"/>
              </a:ext>
            </a:extLst>
          </p:cNvPr>
          <p:cNvSpPr txBox="1"/>
          <p:nvPr/>
        </p:nvSpPr>
        <p:spPr>
          <a:xfrm>
            <a:off x="9891142" y="2596167"/>
            <a:ext cx="990427" cy="307777"/>
          </a:xfrm>
          <a:prstGeom prst="rect">
            <a:avLst/>
          </a:prstGeom>
          <a:noFill/>
        </p:spPr>
        <p:txBody>
          <a:bodyPr wrap="square" rtlCol="0">
            <a:spAutoFit/>
          </a:bodyPr>
          <a:lstStyle/>
          <a:p>
            <a:pPr algn="ctr"/>
            <a:r>
              <a:rPr lang="en-US" sz="1400" b="1" u="sng" dirty="0"/>
              <a:t>MAKKAH</a:t>
            </a:r>
          </a:p>
        </p:txBody>
      </p:sp>
      <p:sp>
        <p:nvSpPr>
          <p:cNvPr id="608" name="TextBox 607">
            <a:extLst>
              <a:ext uri="{FF2B5EF4-FFF2-40B4-BE49-F238E27FC236}">
                <a16:creationId xmlns:a16="http://schemas.microsoft.com/office/drawing/2014/main" id="{CFAFD4DD-E9B3-70A0-4E3E-22DC44F0AA5A}"/>
              </a:ext>
            </a:extLst>
          </p:cNvPr>
          <p:cNvSpPr txBox="1"/>
          <p:nvPr/>
        </p:nvSpPr>
        <p:spPr>
          <a:xfrm>
            <a:off x="10860552" y="2586790"/>
            <a:ext cx="990427" cy="307777"/>
          </a:xfrm>
          <a:prstGeom prst="rect">
            <a:avLst/>
          </a:prstGeom>
          <a:noFill/>
        </p:spPr>
        <p:txBody>
          <a:bodyPr wrap="square" rtlCol="0">
            <a:spAutoFit/>
          </a:bodyPr>
          <a:lstStyle/>
          <a:p>
            <a:pPr algn="ctr"/>
            <a:r>
              <a:rPr lang="en-US" sz="1400" b="1" u="sng" dirty="0"/>
              <a:t>DMA</a:t>
            </a:r>
          </a:p>
        </p:txBody>
      </p:sp>
      <p:sp>
        <p:nvSpPr>
          <p:cNvPr id="609" name="Oval 608">
            <a:extLst>
              <a:ext uri="{FF2B5EF4-FFF2-40B4-BE49-F238E27FC236}">
                <a16:creationId xmlns:a16="http://schemas.microsoft.com/office/drawing/2014/main" id="{A6089751-E918-1E0B-097D-BEF3F1A4417F}"/>
              </a:ext>
            </a:extLst>
          </p:cNvPr>
          <p:cNvSpPr/>
          <p:nvPr/>
        </p:nvSpPr>
        <p:spPr>
          <a:xfrm>
            <a:off x="9088649" y="3079750"/>
            <a:ext cx="656590" cy="6565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0" name="Oval 609">
            <a:extLst>
              <a:ext uri="{FF2B5EF4-FFF2-40B4-BE49-F238E27FC236}">
                <a16:creationId xmlns:a16="http://schemas.microsoft.com/office/drawing/2014/main" id="{8D895179-08C5-B870-94C2-5CE751E20AA6}"/>
              </a:ext>
            </a:extLst>
          </p:cNvPr>
          <p:cNvSpPr/>
          <p:nvPr/>
        </p:nvSpPr>
        <p:spPr>
          <a:xfrm>
            <a:off x="10058059" y="3072827"/>
            <a:ext cx="656590" cy="6565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1" name="Oval 610">
            <a:extLst>
              <a:ext uri="{FF2B5EF4-FFF2-40B4-BE49-F238E27FC236}">
                <a16:creationId xmlns:a16="http://schemas.microsoft.com/office/drawing/2014/main" id="{B857EC74-0906-7776-D96D-14829EAB58A1}"/>
              </a:ext>
            </a:extLst>
          </p:cNvPr>
          <p:cNvSpPr/>
          <p:nvPr/>
        </p:nvSpPr>
        <p:spPr>
          <a:xfrm>
            <a:off x="11027470" y="3079749"/>
            <a:ext cx="656590" cy="65659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2" name="TextBox 611">
            <a:extLst>
              <a:ext uri="{FF2B5EF4-FFF2-40B4-BE49-F238E27FC236}">
                <a16:creationId xmlns:a16="http://schemas.microsoft.com/office/drawing/2014/main" id="{A9485DB1-AAFC-5043-EE56-1567706228CC}"/>
              </a:ext>
            </a:extLst>
          </p:cNvPr>
          <p:cNvSpPr txBox="1"/>
          <p:nvPr/>
        </p:nvSpPr>
        <p:spPr>
          <a:xfrm>
            <a:off x="6753427" y="3090008"/>
            <a:ext cx="1198893" cy="646331"/>
          </a:xfrm>
          <a:prstGeom prst="rect">
            <a:avLst/>
          </a:prstGeom>
          <a:noFill/>
        </p:spPr>
        <p:txBody>
          <a:bodyPr wrap="square" rtlCol="0">
            <a:spAutoFit/>
          </a:bodyPr>
          <a:lstStyle/>
          <a:p>
            <a:pPr algn="ctr"/>
            <a:r>
              <a:rPr lang="en-US" sz="1200" b="1" dirty="0"/>
              <a:t>2023</a:t>
            </a:r>
          </a:p>
          <a:p>
            <a:pPr algn="ctr"/>
            <a:r>
              <a:rPr lang="en-US" sz="1200" b="1" dirty="0"/>
              <a:t>CITY-WIDE</a:t>
            </a:r>
          </a:p>
          <a:p>
            <a:pPr algn="ctr"/>
            <a:r>
              <a:rPr lang="en-US" sz="1200" b="1" dirty="0"/>
              <a:t>OCCUPANCY</a:t>
            </a:r>
          </a:p>
        </p:txBody>
      </p:sp>
      <p:sp>
        <p:nvSpPr>
          <p:cNvPr id="613" name="TextBox 612">
            <a:extLst>
              <a:ext uri="{FF2B5EF4-FFF2-40B4-BE49-F238E27FC236}">
                <a16:creationId xmlns:a16="http://schemas.microsoft.com/office/drawing/2014/main" id="{4E3F8DCA-F035-A4D8-7507-BCEC7D297F7C}"/>
              </a:ext>
            </a:extLst>
          </p:cNvPr>
          <p:cNvSpPr txBox="1"/>
          <p:nvPr/>
        </p:nvSpPr>
        <p:spPr>
          <a:xfrm>
            <a:off x="8132683" y="3254156"/>
            <a:ext cx="683479" cy="307777"/>
          </a:xfrm>
          <a:prstGeom prst="rect">
            <a:avLst/>
          </a:prstGeom>
          <a:noFill/>
        </p:spPr>
        <p:txBody>
          <a:bodyPr wrap="square" rtlCol="0" anchor="ctr">
            <a:spAutoFit/>
          </a:bodyPr>
          <a:lstStyle/>
          <a:p>
            <a:pPr algn="ctr"/>
            <a:r>
              <a:rPr lang="en-US" sz="1400" b="1" dirty="0">
                <a:solidFill>
                  <a:schemeClr val="bg1"/>
                </a:solidFill>
              </a:rPr>
              <a:t>77.5%</a:t>
            </a:r>
          </a:p>
        </p:txBody>
      </p:sp>
      <p:sp>
        <p:nvSpPr>
          <p:cNvPr id="614" name="TextBox 613">
            <a:extLst>
              <a:ext uri="{FF2B5EF4-FFF2-40B4-BE49-F238E27FC236}">
                <a16:creationId xmlns:a16="http://schemas.microsoft.com/office/drawing/2014/main" id="{37A644E4-3FFD-314B-F4E6-9346A3419CA3}"/>
              </a:ext>
            </a:extLst>
          </p:cNvPr>
          <p:cNvSpPr txBox="1"/>
          <p:nvPr/>
        </p:nvSpPr>
        <p:spPr>
          <a:xfrm>
            <a:off x="9092617" y="3254156"/>
            <a:ext cx="683479" cy="307777"/>
          </a:xfrm>
          <a:prstGeom prst="rect">
            <a:avLst/>
          </a:prstGeom>
          <a:noFill/>
        </p:spPr>
        <p:txBody>
          <a:bodyPr wrap="square" rtlCol="0" anchor="ctr">
            <a:spAutoFit/>
          </a:bodyPr>
          <a:lstStyle/>
          <a:p>
            <a:pPr algn="ctr"/>
            <a:r>
              <a:rPr lang="en-US" sz="1400" b="1" dirty="0">
                <a:solidFill>
                  <a:schemeClr val="bg1"/>
                </a:solidFill>
              </a:rPr>
              <a:t>79.9%</a:t>
            </a:r>
          </a:p>
        </p:txBody>
      </p:sp>
      <p:sp>
        <p:nvSpPr>
          <p:cNvPr id="615" name="TextBox 614">
            <a:extLst>
              <a:ext uri="{FF2B5EF4-FFF2-40B4-BE49-F238E27FC236}">
                <a16:creationId xmlns:a16="http://schemas.microsoft.com/office/drawing/2014/main" id="{07E915B3-9BDF-257D-A1BD-33718F80B36B}"/>
              </a:ext>
            </a:extLst>
          </p:cNvPr>
          <p:cNvSpPr txBox="1"/>
          <p:nvPr/>
        </p:nvSpPr>
        <p:spPr>
          <a:xfrm>
            <a:off x="10084098" y="3247233"/>
            <a:ext cx="683479" cy="307777"/>
          </a:xfrm>
          <a:prstGeom prst="rect">
            <a:avLst/>
          </a:prstGeom>
          <a:noFill/>
        </p:spPr>
        <p:txBody>
          <a:bodyPr wrap="square" rtlCol="0" anchor="ctr">
            <a:spAutoFit/>
          </a:bodyPr>
          <a:lstStyle/>
          <a:p>
            <a:pPr algn="ctr"/>
            <a:r>
              <a:rPr lang="en-US" sz="1400" b="1" dirty="0">
                <a:solidFill>
                  <a:schemeClr val="bg1"/>
                </a:solidFill>
              </a:rPr>
              <a:t>80.0%</a:t>
            </a:r>
          </a:p>
        </p:txBody>
      </p:sp>
      <p:sp>
        <p:nvSpPr>
          <p:cNvPr id="616" name="TextBox 615">
            <a:extLst>
              <a:ext uri="{FF2B5EF4-FFF2-40B4-BE49-F238E27FC236}">
                <a16:creationId xmlns:a16="http://schemas.microsoft.com/office/drawing/2014/main" id="{FF8F1BB8-D0FD-2B65-170D-CCA7701841BF}"/>
              </a:ext>
            </a:extLst>
          </p:cNvPr>
          <p:cNvSpPr txBox="1"/>
          <p:nvPr/>
        </p:nvSpPr>
        <p:spPr>
          <a:xfrm>
            <a:off x="11027469" y="3254156"/>
            <a:ext cx="683479" cy="307777"/>
          </a:xfrm>
          <a:prstGeom prst="rect">
            <a:avLst/>
          </a:prstGeom>
          <a:noFill/>
        </p:spPr>
        <p:txBody>
          <a:bodyPr wrap="square" rtlCol="0" anchor="ctr">
            <a:spAutoFit/>
          </a:bodyPr>
          <a:lstStyle/>
          <a:p>
            <a:pPr algn="ctr"/>
            <a:r>
              <a:rPr lang="en-US" sz="1400" b="1" dirty="0">
                <a:solidFill>
                  <a:schemeClr val="bg1"/>
                </a:solidFill>
              </a:rPr>
              <a:t>79.3%</a:t>
            </a:r>
          </a:p>
        </p:txBody>
      </p:sp>
      <p:sp>
        <p:nvSpPr>
          <p:cNvPr id="617" name="TextBox 616">
            <a:extLst>
              <a:ext uri="{FF2B5EF4-FFF2-40B4-BE49-F238E27FC236}">
                <a16:creationId xmlns:a16="http://schemas.microsoft.com/office/drawing/2014/main" id="{B02C5C83-252D-9856-B37D-B0DC20AC244C}"/>
              </a:ext>
            </a:extLst>
          </p:cNvPr>
          <p:cNvSpPr txBox="1"/>
          <p:nvPr/>
        </p:nvSpPr>
        <p:spPr>
          <a:xfrm>
            <a:off x="6758359" y="4138864"/>
            <a:ext cx="1198893" cy="646331"/>
          </a:xfrm>
          <a:prstGeom prst="rect">
            <a:avLst/>
          </a:prstGeom>
          <a:noFill/>
        </p:spPr>
        <p:txBody>
          <a:bodyPr wrap="square" rtlCol="0">
            <a:spAutoFit/>
          </a:bodyPr>
          <a:lstStyle/>
          <a:p>
            <a:pPr algn="ctr"/>
            <a:r>
              <a:rPr lang="en-US" sz="1200" b="1" dirty="0"/>
              <a:t>Y-O-Y ADR</a:t>
            </a:r>
          </a:p>
          <a:p>
            <a:pPr algn="ctr"/>
            <a:r>
              <a:rPr lang="en-US" sz="1200" b="1" dirty="0"/>
              <a:t>CHANGE (2022-2023)</a:t>
            </a:r>
          </a:p>
        </p:txBody>
      </p:sp>
      <p:sp>
        <p:nvSpPr>
          <p:cNvPr id="618" name="Rectangle 617">
            <a:extLst>
              <a:ext uri="{FF2B5EF4-FFF2-40B4-BE49-F238E27FC236}">
                <a16:creationId xmlns:a16="http://schemas.microsoft.com/office/drawing/2014/main" id="{3CFA8837-77F3-7D4D-9748-E3C2E7F0E94A}"/>
              </a:ext>
            </a:extLst>
          </p:cNvPr>
          <p:cNvSpPr/>
          <p:nvPr/>
        </p:nvSpPr>
        <p:spPr>
          <a:xfrm>
            <a:off x="8027581" y="4210249"/>
            <a:ext cx="894150" cy="53528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7.5%</a:t>
            </a:r>
          </a:p>
        </p:txBody>
      </p:sp>
      <p:sp>
        <p:nvSpPr>
          <p:cNvPr id="619" name="Rectangle 618">
            <a:extLst>
              <a:ext uri="{FF2B5EF4-FFF2-40B4-BE49-F238E27FC236}">
                <a16:creationId xmlns:a16="http://schemas.microsoft.com/office/drawing/2014/main" id="{AB719676-BA54-4667-E1ED-25149360A8BF}"/>
              </a:ext>
            </a:extLst>
          </p:cNvPr>
          <p:cNvSpPr/>
          <p:nvPr/>
        </p:nvSpPr>
        <p:spPr>
          <a:xfrm>
            <a:off x="8987281" y="4201146"/>
            <a:ext cx="894150" cy="53528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0.4%</a:t>
            </a:r>
          </a:p>
        </p:txBody>
      </p:sp>
      <p:sp>
        <p:nvSpPr>
          <p:cNvPr id="620" name="Rectangle 619">
            <a:extLst>
              <a:ext uri="{FF2B5EF4-FFF2-40B4-BE49-F238E27FC236}">
                <a16:creationId xmlns:a16="http://schemas.microsoft.com/office/drawing/2014/main" id="{BF3618EB-6C4E-F6A7-6429-4C036242EF0A}"/>
              </a:ext>
            </a:extLst>
          </p:cNvPr>
          <p:cNvSpPr/>
          <p:nvPr/>
        </p:nvSpPr>
        <p:spPr>
          <a:xfrm>
            <a:off x="9939279" y="4194384"/>
            <a:ext cx="894150" cy="53528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21.9%</a:t>
            </a:r>
          </a:p>
        </p:txBody>
      </p:sp>
      <p:sp>
        <p:nvSpPr>
          <p:cNvPr id="621" name="Rectangle 620">
            <a:extLst>
              <a:ext uri="{FF2B5EF4-FFF2-40B4-BE49-F238E27FC236}">
                <a16:creationId xmlns:a16="http://schemas.microsoft.com/office/drawing/2014/main" id="{303793ED-2DB6-88D4-2D53-6CB71EB5BC08}"/>
              </a:ext>
            </a:extLst>
          </p:cNvPr>
          <p:cNvSpPr/>
          <p:nvPr/>
        </p:nvSpPr>
        <p:spPr>
          <a:xfrm>
            <a:off x="10911460" y="4201034"/>
            <a:ext cx="894150" cy="53528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1.6%</a:t>
            </a:r>
          </a:p>
        </p:txBody>
      </p:sp>
      <p:sp>
        <p:nvSpPr>
          <p:cNvPr id="622" name="TextBox 621">
            <a:extLst>
              <a:ext uri="{FF2B5EF4-FFF2-40B4-BE49-F238E27FC236}">
                <a16:creationId xmlns:a16="http://schemas.microsoft.com/office/drawing/2014/main" id="{9B61EDBA-D3F3-53F3-2506-752E13DAAFCD}"/>
              </a:ext>
            </a:extLst>
          </p:cNvPr>
          <p:cNvSpPr txBox="1"/>
          <p:nvPr/>
        </p:nvSpPr>
        <p:spPr>
          <a:xfrm>
            <a:off x="6753427" y="5189974"/>
            <a:ext cx="1198893" cy="646331"/>
          </a:xfrm>
          <a:prstGeom prst="rect">
            <a:avLst/>
          </a:prstGeom>
          <a:noFill/>
        </p:spPr>
        <p:txBody>
          <a:bodyPr wrap="square" rtlCol="0">
            <a:spAutoFit/>
          </a:bodyPr>
          <a:lstStyle/>
          <a:p>
            <a:pPr algn="ctr"/>
            <a:r>
              <a:rPr lang="en-US" sz="1200" b="1" dirty="0"/>
              <a:t>Y-O-Y REVPAR</a:t>
            </a:r>
          </a:p>
          <a:p>
            <a:pPr algn="ctr"/>
            <a:r>
              <a:rPr lang="en-US" sz="1200" b="1" dirty="0"/>
              <a:t>CHANGE (2022-2023)</a:t>
            </a:r>
          </a:p>
        </p:txBody>
      </p:sp>
      <p:sp>
        <p:nvSpPr>
          <p:cNvPr id="623" name="Rectangle 622">
            <a:extLst>
              <a:ext uri="{FF2B5EF4-FFF2-40B4-BE49-F238E27FC236}">
                <a16:creationId xmlns:a16="http://schemas.microsoft.com/office/drawing/2014/main" id="{61AFF06D-0D7C-20E3-D6D0-69131C87E4E6}"/>
              </a:ext>
            </a:extLst>
          </p:cNvPr>
          <p:cNvSpPr/>
          <p:nvPr/>
        </p:nvSpPr>
        <p:spPr>
          <a:xfrm>
            <a:off x="8037066" y="5245496"/>
            <a:ext cx="894150" cy="535289"/>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23.5%</a:t>
            </a:r>
          </a:p>
        </p:txBody>
      </p:sp>
      <p:sp>
        <p:nvSpPr>
          <p:cNvPr id="624" name="Rectangle 623">
            <a:extLst>
              <a:ext uri="{FF2B5EF4-FFF2-40B4-BE49-F238E27FC236}">
                <a16:creationId xmlns:a16="http://schemas.microsoft.com/office/drawing/2014/main" id="{9EF018AC-D442-2F73-A5D9-1BB0ED78489E}"/>
              </a:ext>
            </a:extLst>
          </p:cNvPr>
          <p:cNvSpPr/>
          <p:nvPr/>
        </p:nvSpPr>
        <p:spPr>
          <a:xfrm>
            <a:off x="8996766" y="5236393"/>
            <a:ext cx="894150" cy="535289"/>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2.9%</a:t>
            </a:r>
          </a:p>
        </p:txBody>
      </p:sp>
      <p:sp>
        <p:nvSpPr>
          <p:cNvPr id="625" name="Rectangle 624">
            <a:extLst>
              <a:ext uri="{FF2B5EF4-FFF2-40B4-BE49-F238E27FC236}">
                <a16:creationId xmlns:a16="http://schemas.microsoft.com/office/drawing/2014/main" id="{A7FE96F0-8E20-26E1-0533-00FA417E858C}"/>
              </a:ext>
            </a:extLst>
          </p:cNvPr>
          <p:cNvSpPr/>
          <p:nvPr/>
        </p:nvSpPr>
        <p:spPr>
          <a:xfrm>
            <a:off x="9948764" y="5229631"/>
            <a:ext cx="894150" cy="535289"/>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29.8%</a:t>
            </a:r>
          </a:p>
        </p:txBody>
      </p:sp>
      <p:sp>
        <p:nvSpPr>
          <p:cNvPr id="626" name="Rectangle 625">
            <a:extLst>
              <a:ext uri="{FF2B5EF4-FFF2-40B4-BE49-F238E27FC236}">
                <a16:creationId xmlns:a16="http://schemas.microsoft.com/office/drawing/2014/main" id="{86E7440F-DDAA-1FCE-F7BD-CB459422C60E}"/>
              </a:ext>
            </a:extLst>
          </p:cNvPr>
          <p:cNvSpPr/>
          <p:nvPr/>
        </p:nvSpPr>
        <p:spPr>
          <a:xfrm>
            <a:off x="10920945" y="5236281"/>
            <a:ext cx="894150" cy="535289"/>
          </a:xfrm>
          <a:prstGeom prst="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13.1%</a:t>
            </a:r>
          </a:p>
        </p:txBody>
      </p:sp>
    </p:spTree>
    <p:extLst>
      <p:ext uri="{BB962C8B-B14F-4D97-AF65-F5344CB8AC3E}">
        <p14:creationId xmlns:p14="http://schemas.microsoft.com/office/powerpoint/2010/main" val="24199873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117FA3-93D4-E13F-B6AC-CB5C319F0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1117FA3-93D4-E13F-B6AC-CB5C319F0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7" name="Google Shape;2503;g228be8677e8_2_11">
            <a:extLst>
              <a:ext uri="{FF2B5EF4-FFF2-40B4-BE49-F238E27FC236}">
                <a16:creationId xmlns:a16="http://schemas.microsoft.com/office/drawing/2014/main" id="{D8418693-A555-2280-8BFD-5756D7C9D4FA}"/>
              </a:ext>
            </a:extLst>
          </p:cNvPr>
          <p:cNvSpPr txBox="1"/>
          <p:nvPr/>
        </p:nvSpPr>
        <p:spPr>
          <a:xfrm>
            <a:off x="691310" y="4299944"/>
            <a:ext cx="9187184" cy="707856"/>
          </a:xfrm>
          <a:prstGeom prst="rect">
            <a:avLst/>
          </a:prstGeom>
          <a:noFill/>
          <a:ln>
            <a:noFill/>
          </a:ln>
        </p:spPr>
        <p:txBody>
          <a:bodyPr spcFirstLastPara="1" wrap="square" lIns="91425" tIns="91425" rIns="91425" bIns="91425" anchor="t" anchorCtr="0">
            <a:spAutoFit/>
          </a:bodyPr>
          <a:lstStyle/>
          <a:p>
            <a:pPr marL="12700" marR="5080" lvl="0" indent="0" algn="l" rtl="0">
              <a:lnSpc>
                <a:spcPct val="100000"/>
              </a:lnSpc>
              <a:spcBef>
                <a:spcPts val="0"/>
              </a:spcBef>
              <a:spcAft>
                <a:spcPts val="0"/>
              </a:spcAft>
              <a:buClr>
                <a:srgbClr val="000000"/>
              </a:buClr>
              <a:buSzPts val="3600"/>
              <a:buFont typeface="Arial"/>
              <a:buNone/>
            </a:pPr>
            <a:r>
              <a:rPr lang="en-US" sz="3400" b="1" dirty="0">
                <a:latin typeface="+mj-lt"/>
                <a:ea typeface="Georgia"/>
                <a:cs typeface="Georgia"/>
                <a:sym typeface="Georgia"/>
              </a:rPr>
              <a:t>KSA Vision 2030 &amp; Government Initiatives</a:t>
            </a:r>
          </a:p>
        </p:txBody>
      </p:sp>
      <p:sp>
        <p:nvSpPr>
          <p:cNvPr id="8" name="Google Shape;2735;p8">
            <a:extLst>
              <a:ext uri="{FF2B5EF4-FFF2-40B4-BE49-F238E27FC236}">
                <a16:creationId xmlns:a16="http://schemas.microsoft.com/office/drawing/2014/main" id="{EC426728-1BE2-3F5D-D309-CA7DCBFFEC81}"/>
              </a:ext>
            </a:extLst>
          </p:cNvPr>
          <p:cNvSpPr txBox="1"/>
          <p:nvPr/>
        </p:nvSpPr>
        <p:spPr>
          <a:xfrm>
            <a:off x="338770" y="1564947"/>
            <a:ext cx="3208713" cy="3262401"/>
          </a:xfrm>
          <a:prstGeom prst="rect">
            <a:avLst/>
          </a:prstGeom>
          <a:noFill/>
          <a:ln>
            <a:noFill/>
          </a:ln>
        </p:spPr>
        <p:txBody>
          <a:bodyPr spcFirstLastPara="1" wrap="square" lIns="91425" tIns="91425" rIns="91425" bIns="91425" anchor="ctr" anchorCtr="0">
            <a:spAutoFit/>
          </a:bodyPr>
          <a:lstStyle/>
          <a:p>
            <a:pPr marL="0" marR="0" lvl="0" indent="0" algn="ctr" rtl="0">
              <a:lnSpc>
                <a:spcPct val="100000"/>
              </a:lnSpc>
              <a:spcBef>
                <a:spcPts val="0"/>
              </a:spcBef>
              <a:spcAft>
                <a:spcPts val="0"/>
              </a:spcAft>
              <a:buClr>
                <a:srgbClr val="000000"/>
              </a:buClr>
              <a:buSzPts val="20000"/>
              <a:buFont typeface="Arial"/>
              <a:buNone/>
            </a:pPr>
            <a:r>
              <a:rPr lang="en" sz="20000" b="0" i="0" u="none" strike="noStrike" cap="none" dirty="0">
                <a:solidFill>
                  <a:schemeClr val="accent1"/>
                </a:solidFill>
                <a:latin typeface="+mj-lt"/>
                <a:ea typeface="Georgia"/>
                <a:cs typeface="Georgia"/>
                <a:sym typeface="Georgia"/>
              </a:rPr>
              <a:t>03</a:t>
            </a:r>
          </a:p>
        </p:txBody>
      </p:sp>
    </p:spTree>
    <p:extLst>
      <p:ext uri="{BB962C8B-B14F-4D97-AF65-F5344CB8AC3E}">
        <p14:creationId xmlns:p14="http://schemas.microsoft.com/office/powerpoint/2010/main" val="10726190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64562CBB-DEF7-FC39-B0FB-FC871E57964B}"/>
              </a:ext>
            </a:extLst>
          </p:cNvPr>
          <p:cNvGraphicFramePr>
            <a:graphicFrameLocks noChangeAspect="1"/>
          </p:cNvGraphicFramePr>
          <p:nvPr>
            <p:custDataLst>
              <p:tags r:id="rId1"/>
            </p:custDataLst>
            <p:extLst>
              <p:ext uri="{D42A27DB-BD31-4B8C-83A1-F6EECF244321}">
                <p14:modId xmlns:p14="http://schemas.microsoft.com/office/powerpoint/2010/main" val="411079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2" name="think-cell data - do not delete" hidden="1">
                        <a:extLst>
                          <a:ext uri="{FF2B5EF4-FFF2-40B4-BE49-F238E27FC236}">
                            <a16:creationId xmlns:a16="http://schemas.microsoft.com/office/drawing/2014/main" id="{64562CBB-DEF7-FC39-B0FB-FC871E5796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0" name="Google Shape;2084;p161">
            <a:extLst>
              <a:ext uri="{FF2B5EF4-FFF2-40B4-BE49-F238E27FC236}">
                <a16:creationId xmlns:a16="http://schemas.microsoft.com/office/drawing/2014/main" id="{59AD2480-7BDC-EFD6-9361-53DB21638307}"/>
              </a:ext>
            </a:extLst>
          </p:cNvPr>
          <p:cNvPicPr preferRelativeResize="0">
            <a:picLocks/>
          </p:cNvPicPr>
          <p:nvPr/>
        </p:nvPicPr>
        <p:blipFill rotWithShape="1">
          <a:blip r:embed="rId5" cstate="email">
            <a:alphaModFix/>
            <a:extLst>
              <a:ext uri="{28A0092B-C50C-407E-A947-70E740481C1C}">
                <a14:useLocalDpi xmlns:a14="http://schemas.microsoft.com/office/drawing/2010/main"/>
              </a:ext>
            </a:extLst>
          </a:blip>
          <a:srcRect/>
          <a:stretch/>
        </p:blipFill>
        <p:spPr>
          <a:xfrm>
            <a:off x="7981604" y="2522975"/>
            <a:ext cx="3701100" cy="4050251"/>
          </a:xfrm>
          <a:prstGeom prst="rect">
            <a:avLst/>
          </a:prstGeom>
          <a:ln w="9525" cap="flat" cmpd="sng">
            <a:solidFill>
              <a:schemeClr val="lt1"/>
            </a:solidFill>
            <a:prstDash val="solid"/>
            <a:round/>
            <a:headEnd type="none" w="sm" len="sm"/>
            <a:tailEnd type="none" w="sm" len="sm"/>
          </a:ln>
        </p:spPr>
      </p:pic>
      <p:sp>
        <p:nvSpPr>
          <p:cNvPr id="71" name="Google Shape;2085;p161">
            <a:extLst>
              <a:ext uri="{FF2B5EF4-FFF2-40B4-BE49-F238E27FC236}">
                <a16:creationId xmlns:a16="http://schemas.microsoft.com/office/drawing/2014/main" id="{154C9894-E389-5C13-73A2-71FEBD410CC1}"/>
              </a:ext>
            </a:extLst>
          </p:cNvPr>
          <p:cNvSpPr/>
          <p:nvPr/>
        </p:nvSpPr>
        <p:spPr>
          <a:xfrm>
            <a:off x="6137956" y="6122637"/>
            <a:ext cx="1843648" cy="201325"/>
          </a:xfrm>
          <a:custGeom>
            <a:avLst/>
            <a:gdLst/>
            <a:ahLst/>
            <a:cxnLst/>
            <a:rect l="l" t="t" r="r" b="b"/>
            <a:pathLst>
              <a:path w="87787" h="8053" extrusionOk="0">
                <a:moveTo>
                  <a:pt x="87787" y="7242"/>
                </a:moveTo>
                <a:cubicBezTo>
                  <a:pt x="78549" y="7242"/>
                  <a:pt x="69105" y="9050"/>
                  <a:pt x="60072" y="7113"/>
                </a:cubicBezTo>
                <a:cubicBezTo>
                  <a:pt x="53596" y="5724"/>
                  <a:pt x="48124" y="354"/>
                  <a:pt x="41509" y="23"/>
                </a:cubicBezTo>
                <a:cubicBezTo>
                  <a:pt x="37851" y="-160"/>
                  <a:pt x="34916" y="3429"/>
                  <a:pt x="31325" y="4148"/>
                </a:cubicBezTo>
                <a:cubicBezTo>
                  <a:pt x="26956" y="5023"/>
                  <a:pt x="21699" y="48"/>
                  <a:pt x="18047" y="2601"/>
                </a:cubicBezTo>
                <a:cubicBezTo>
                  <a:pt x="16727" y="3524"/>
                  <a:pt x="16146" y="5637"/>
                  <a:pt x="14567" y="5952"/>
                </a:cubicBezTo>
                <a:cubicBezTo>
                  <a:pt x="9802" y="6903"/>
                  <a:pt x="4345" y="3262"/>
                  <a:pt x="0" y="5437"/>
                </a:cubicBezTo>
              </a:path>
            </a:pathLst>
          </a:custGeom>
          <a:noFill/>
          <a:ln w="19050" cap="flat" cmpd="sng">
            <a:solidFill>
              <a:srgbClr val="464646"/>
            </a:solidFill>
            <a:prstDash val="solid"/>
            <a:round/>
            <a:headEnd type="none" w="med" len="med"/>
            <a:tailEnd type="none" w="med" len="med"/>
          </a:ln>
        </p:spPr>
        <p:txBody>
          <a:bodyPr/>
          <a:lstStyle/>
          <a:p>
            <a:endParaRPr lang="en-US"/>
          </a:p>
        </p:txBody>
      </p:sp>
      <p:pic>
        <p:nvPicPr>
          <p:cNvPr id="63" name="Google Shape;2078;p161">
            <a:extLst>
              <a:ext uri="{FF2B5EF4-FFF2-40B4-BE49-F238E27FC236}">
                <a16:creationId xmlns:a16="http://schemas.microsoft.com/office/drawing/2014/main" id="{56B97104-342F-EC96-112C-DC86DCBA2CD5}"/>
              </a:ext>
            </a:extLst>
          </p:cNvPr>
          <p:cNvPicPr preferRelativeResize="0"/>
          <p:nvPr/>
        </p:nvPicPr>
        <p:blipFill>
          <a:blip r:embed="rId6" cstate="email">
            <a:alphaModFix/>
            <a:extLst>
              <a:ext uri="{28A0092B-C50C-407E-A947-70E740481C1C}">
                <a14:useLocalDpi xmlns:a14="http://schemas.microsoft.com/office/drawing/2010/main"/>
              </a:ext>
            </a:extLst>
          </a:blip>
          <a:stretch>
            <a:fillRect/>
          </a:stretch>
        </p:blipFill>
        <p:spPr>
          <a:xfrm>
            <a:off x="7739009" y="1513596"/>
            <a:ext cx="1361585" cy="1350828"/>
          </a:xfrm>
          <a:prstGeom prst="rect">
            <a:avLst/>
          </a:prstGeom>
          <a:noFill/>
          <a:ln>
            <a:noFill/>
          </a:ln>
        </p:spPr>
      </p:pic>
      <p:pic>
        <p:nvPicPr>
          <p:cNvPr id="64" name="Google Shape;2079;p161">
            <a:extLst>
              <a:ext uri="{FF2B5EF4-FFF2-40B4-BE49-F238E27FC236}">
                <a16:creationId xmlns:a16="http://schemas.microsoft.com/office/drawing/2014/main" id="{8DE407A8-FE23-FCF3-81CE-ADEA86E43676}"/>
              </a:ext>
            </a:extLst>
          </p:cNvPr>
          <p:cNvPicPr preferRelativeResize="0"/>
          <p:nvPr/>
        </p:nvPicPr>
        <p:blipFill>
          <a:blip r:embed="rId7" cstate="email">
            <a:alphaModFix/>
            <a:extLst>
              <a:ext uri="{28A0092B-C50C-407E-A947-70E740481C1C}">
                <a14:useLocalDpi xmlns:a14="http://schemas.microsoft.com/office/drawing/2010/main"/>
              </a:ext>
            </a:extLst>
          </a:blip>
          <a:stretch>
            <a:fillRect/>
          </a:stretch>
        </p:blipFill>
        <p:spPr>
          <a:xfrm>
            <a:off x="8851856" y="1513596"/>
            <a:ext cx="1361585" cy="1350828"/>
          </a:xfrm>
          <a:prstGeom prst="rect">
            <a:avLst/>
          </a:prstGeom>
          <a:noFill/>
          <a:ln>
            <a:noFill/>
          </a:ln>
        </p:spPr>
      </p:pic>
      <p:pic>
        <p:nvPicPr>
          <p:cNvPr id="65" name="Google Shape;2080;p161">
            <a:extLst>
              <a:ext uri="{FF2B5EF4-FFF2-40B4-BE49-F238E27FC236}">
                <a16:creationId xmlns:a16="http://schemas.microsoft.com/office/drawing/2014/main" id="{205A151A-24D1-4E9A-9C7A-5720E4C41E4B}"/>
              </a:ext>
            </a:extLst>
          </p:cNvPr>
          <p:cNvPicPr preferRelativeResize="0"/>
          <p:nvPr/>
        </p:nvPicPr>
        <p:blipFill>
          <a:blip r:embed="rId8" cstate="email">
            <a:alphaModFix/>
            <a:extLst>
              <a:ext uri="{28A0092B-C50C-407E-A947-70E740481C1C}">
                <a14:useLocalDpi xmlns:a14="http://schemas.microsoft.com/office/drawing/2010/main"/>
              </a:ext>
            </a:extLst>
          </a:blip>
          <a:stretch>
            <a:fillRect/>
          </a:stretch>
        </p:blipFill>
        <p:spPr>
          <a:xfrm>
            <a:off x="9970523" y="1513596"/>
            <a:ext cx="1361585" cy="1350828"/>
          </a:xfrm>
          <a:prstGeom prst="rect">
            <a:avLst/>
          </a:prstGeom>
          <a:noFill/>
          <a:ln>
            <a:noFill/>
          </a:ln>
        </p:spPr>
      </p:pic>
      <p:sp>
        <p:nvSpPr>
          <p:cNvPr id="66" name="Google Shape;2081;p161">
            <a:extLst>
              <a:ext uri="{FF2B5EF4-FFF2-40B4-BE49-F238E27FC236}">
                <a16:creationId xmlns:a16="http://schemas.microsoft.com/office/drawing/2014/main" id="{E089B87D-CEF1-5195-5B9E-B59230E46E3A}"/>
              </a:ext>
            </a:extLst>
          </p:cNvPr>
          <p:cNvSpPr txBox="1"/>
          <p:nvPr/>
        </p:nvSpPr>
        <p:spPr>
          <a:xfrm>
            <a:off x="8982959" y="1777523"/>
            <a:ext cx="1105200" cy="7965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 sz="900" b="1" i="0" u="none" strike="noStrike" cap="none">
                <a:solidFill>
                  <a:schemeClr val="dk1"/>
                </a:solidFill>
                <a:latin typeface="Tahoma"/>
                <a:ea typeface="Tahoma"/>
                <a:cs typeface="Tahoma"/>
                <a:sym typeface="Tahoma"/>
              </a:rPr>
              <a:t>A Vibrant </a:t>
            </a:r>
            <a:endParaRPr sz="900" b="1" i="0" u="none" strike="noStrike" cap="none">
              <a:solidFill>
                <a:schemeClr val="dk1"/>
              </a:solidFill>
              <a:latin typeface="Tahoma"/>
              <a:ea typeface="Tahoma"/>
              <a:cs typeface="Tahoma"/>
              <a:sym typeface="Tahoma"/>
            </a:endParaRPr>
          </a:p>
          <a:p>
            <a:pPr marL="0" marR="0" lvl="0" indent="0" algn="ctr" rtl="0">
              <a:lnSpc>
                <a:spcPct val="100000"/>
              </a:lnSpc>
              <a:spcBef>
                <a:spcPts val="0"/>
              </a:spcBef>
              <a:spcAft>
                <a:spcPts val="0"/>
              </a:spcAft>
              <a:buNone/>
            </a:pPr>
            <a:r>
              <a:rPr lang="en" sz="900" b="1" i="0" u="none" strike="noStrike" cap="none">
                <a:solidFill>
                  <a:schemeClr val="dk1"/>
                </a:solidFill>
                <a:latin typeface="Tahoma"/>
                <a:ea typeface="Tahoma"/>
                <a:cs typeface="Tahoma"/>
                <a:sym typeface="Tahoma"/>
              </a:rPr>
              <a:t>Society</a:t>
            </a:r>
            <a:endParaRPr sz="900">
              <a:solidFill>
                <a:schemeClr val="dk1"/>
              </a:solidFill>
              <a:latin typeface="Tahoma"/>
              <a:ea typeface="Tahoma"/>
              <a:cs typeface="Tahoma"/>
              <a:sym typeface="Tahoma"/>
            </a:endParaRPr>
          </a:p>
        </p:txBody>
      </p:sp>
      <p:sp>
        <p:nvSpPr>
          <p:cNvPr id="67" name="Google Shape;2082;p161">
            <a:extLst>
              <a:ext uri="{FF2B5EF4-FFF2-40B4-BE49-F238E27FC236}">
                <a16:creationId xmlns:a16="http://schemas.microsoft.com/office/drawing/2014/main" id="{8B2D156C-479C-2219-E271-ECE6505E6485}"/>
              </a:ext>
            </a:extLst>
          </p:cNvPr>
          <p:cNvSpPr txBox="1"/>
          <p:nvPr/>
        </p:nvSpPr>
        <p:spPr>
          <a:xfrm>
            <a:off x="7821892" y="1777523"/>
            <a:ext cx="1195800" cy="7965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r>
              <a:rPr lang="en" sz="900" b="1">
                <a:solidFill>
                  <a:schemeClr val="dk1"/>
                </a:solidFill>
                <a:latin typeface="Tahoma"/>
                <a:ea typeface="Tahoma"/>
                <a:cs typeface="Tahoma"/>
                <a:sym typeface="Tahoma"/>
              </a:rPr>
              <a:t>A Thriving </a:t>
            </a:r>
            <a:endParaRPr sz="900" b="1">
              <a:solidFill>
                <a:schemeClr val="dk1"/>
              </a:solidFill>
              <a:latin typeface="Tahoma"/>
              <a:ea typeface="Tahoma"/>
              <a:cs typeface="Tahoma"/>
              <a:sym typeface="Tahoma"/>
            </a:endParaRPr>
          </a:p>
          <a:p>
            <a:pPr marL="0" marR="0" lvl="0" indent="0" algn="ctr" rtl="0">
              <a:lnSpc>
                <a:spcPct val="100000"/>
              </a:lnSpc>
              <a:spcBef>
                <a:spcPts val="0"/>
              </a:spcBef>
              <a:spcAft>
                <a:spcPts val="0"/>
              </a:spcAft>
              <a:buNone/>
            </a:pPr>
            <a:r>
              <a:rPr lang="en" sz="900" b="1">
                <a:solidFill>
                  <a:schemeClr val="dk1"/>
                </a:solidFill>
                <a:latin typeface="Tahoma"/>
                <a:ea typeface="Tahoma"/>
                <a:cs typeface="Tahoma"/>
                <a:sym typeface="Tahoma"/>
              </a:rPr>
              <a:t>Economy</a:t>
            </a:r>
            <a:endParaRPr sz="900" b="1">
              <a:solidFill>
                <a:schemeClr val="dk1"/>
              </a:solidFill>
              <a:latin typeface="Tahoma"/>
              <a:ea typeface="Tahoma"/>
              <a:cs typeface="Tahoma"/>
              <a:sym typeface="Tahoma"/>
            </a:endParaRPr>
          </a:p>
        </p:txBody>
      </p:sp>
      <p:sp>
        <p:nvSpPr>
          <p:cNvPr id="68" name="Google Shape;2083;p161">
            <a:extLst>
              <a:ext uri="{FF2B5EF4-FFF2-40B4-BE49-F238E27FC236}">
                <a16:creationId xmlns:a16="http://schemas.microsoft.com/office/drawing/2014/main" id="{B453D8D2-DA8A-C02D-CD66-2D479DB4E890}"/>
              </a:ext>
            </a:extLst>
          </p:cNvPr>
          <p:cNvSpPr txBox="1"/>
          <p:nvPr/>
        </p:nvSpPr>
        <p:spPr>
          <a:xfrm>
            <a:off x="10098722" y="1777523"/>
            <a:ext cx="1105200" cy="796500"/>
          </a:xfrm>
          <a:prstGeom prst="rect">
            <a:avLst/>
          </a:prstGeom>
          <a:no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100"/>
              <a:buFont typeface="Arial"/>
              <a:buNone/>
            </a:pPr>
            <a:r>
              <a:rPr lang="en" sz="900" b="1">
                <a:solidFill>
                  <a:schemeClr val="dk1"/>
                </a:solidFill>
                <a:latin typeface="Tahoma"/>
                <a:ea typeface="Tahoma"/>
                <a:cs typeface="Tahoma"/>
                <a:sym typeface="Tahoma"/>
              </a:rPr>
              <a:t>An Ambitious</a:t>
            </a:r>
            <a:endParaRPr sz="900" b="1">
              <a:solidFill>
                <a:schemeClr val="dk1"/>
              </a:solidFill>
              <a:latin typeface="Tahoma"/>
              <a:ea typeface="Tahoma"/>
              <a:cs typeface="Tahoma"/>
              <a:sym typeface="Tahoma"/>
            </a:endParaRPr>
          </a:p>
          <a:p>
            <a:pPr marL="0" marR="0" lvl="0" indent="0" algn="ctr" rtl="0">
              <a:lnSpc>
                <a:spcPct val="100000"/>
              </a:lnSpc>
              <a:spcBef>
                <a:spcPts val="0"/>
              </a:spcBef>
              <a:spcAft>
                <a:spcPts val="0"/>
              </a:spcAft>
              <a:buSzPts val="1100"/>
              <a:buNone/>
            </a:pPr>
            <a:r>
              <a:rPr lang="en" sz="900" b="1">
                <a:solidFill>
                  <a:schemeClr val="dk1"/>
                </a:solidFill>
                <a:latin typeface="Tahoma"/>
                <a:ea typeface="Tahoma"/>
                <a:cs typeface="Tahoma"/>
                <a:sym typeface="Tahoma"/>
              </a:rPr>
              <a:t> Nation</a:t>
            </a:r>
            <a:endParaRPr sz="900" b="1">
              <a:solidFill>
                <a:schemeClr val="dk1"/>
              </a:solidFill>
              <a:latin typeface="Tahoma"/>
              <a:ea typeface="Tahoma"/>
              <a:cs typeface="Tahoma"/>
              <a:sym typeface="Tahoma"/>
            </a:endParaRPr>
          </a:p>
        </p:txBody>
      </p:sp>
      <p:sp>
        <p:nvSpPr>
          <p:cNvPr id="4" name="LOREM IPSUM">
            <a:extLst>
              <a:ext uri="{FF2B5EF4-FFF2-40B4-BE49-F238E27FC236}">
                <a16:creationId xmlns:a16="http://schemas.microsoft.com/office/drawing/2014/main" id="{7B805B00-7C01-55CE-8964-95CDF0B8BA2F}"/>
              </a:ext>
            </a:extLst>
          </p:cNvPr>
          <p:cNvSpPr txBox="1"/>
          <p:nvPr/>
        </p:nvSpPr>
        <p:spPr>
          <a:xfrm>
            <a:off x="958460" y="260416"/>
            <a:ext cx="8389364" cy="12105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VISION 2030 </a:t>
            </a:r>
          </a:p>
          <a:p>
            <a:r>
              <a:rPr lang="en-US" sz="3600" b="1" dirty="0">
                <a:solidFill>
                  <a:schemeClr val="tx1">
                    <a:lumMod val="50000"/>
                  </a:schemeClr>
                </a:solidFill>
                <a:latin typeface="Arial" panose="020B0604020202020204" pitchFamily="34" charset="0"/>
                <a:cs typeface="Arial" panose="020B0604020202020204" pitchFamily="34" charset="0"/>
              </a:rPr>
              <a:t>&amp; NATIONAL TOURISM STRATEGY</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61" name="TextBox 60">
            <a:extLst>
              <a:ext uri="{FF2B5EF4-FFF2-40B4-BE49-F238E27FC236}">
                <a16:creationId xmlns:a16="http://schemas.microsoft.com/office/drawing/2014/main" id="{72FE4377-2D8D-8D89-1AFA-7EF52D283925}"/>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Vision 2030, MT</a:t>
            </a:r>
          </a:p>
        </p:txBody>
      </p:sp>
      <p:sp>
        <p:nvSpPr>
          <p:cNvPr id="62" name="TextBox 61">
            <a:extLst>
              <a:ext uri="{FF2B5EF4-FFF2-40B4-BE49-F238E27FC236}">
                <a16:creationId xmlns:a16="http://schemas.microsoft.com/office/drawing/2014/main" id="{2FEB6F8C-1D8D-0792-173A-8E43440F3C28}"/>
              </a:ext>
            </a:extLst>
          </p:cNvPr>
          <p:cNvSpPr txBox="1"/>
          <p:nvPr/>
        </p:nvSpPr>
        <p:spPr>
          <a:xfrm>
            <a:off x="0" y="1710006"/>
            <a:ext cx="5889208" cy="461665"/>
          </a:xfrm>
          <a:prstGeom prst="rect">
            <a:avLst/>
          </a:prstGeom>
          <a:solidFill>
            <a:schemeClr val="accent5"/>
          </a:solidFill>
          <a:ln>
            <a:noFill/>
          </a:ln>
        </p:spPr>
        <p:txBody>
          <a:bodyPr wrap="square">
            <a:spAutoFit/>
          </a:bodyPr>
          <a:lstStyle/>
          <a:p>
            <a:pPr algn="r"/>
            <a:r>
              <a:rPr lang="en-US" sz="1200" b="1" i="1" u="none" strike="noStrike" baseline="0" dirty="0">
                <a:solidFill>
                  <a:schemeClr val="bg1"/>
                </a:solidFill>
                <a:latin typeface="Arial,BoldItalic"/>
              </a:rPr>
              <a:t>The Saudi Arabia Vision 2030 aims to follow pillars of the world’s top livable cities, including those that would boost tourism </a:t>
            </a:r>
          </a:p>
        </p:txBody>
      </p:sp>
      <p:sp>
        <p:nvSpPr>
          <p:cNvPr id="73" name="TextBox 72">
            <a:extLst>
              <a:ext uri="{FF2B5EF4-FFF2-40B4-BE49-F238E27FC236}">
                <a16:creationId xmlns:a16="http://schemas.microsoft.com/office/drawing/2014/main" id="{7F73E4AC-9E5F-0DA6-FB34-B0A2BB882400}"/>
              </a:ext>
            </a:extLst>
          </p:cNvPr>
          <p:cNvSpPr txBox="1"/>
          <p:nvPr/>
        </p:nvSpPr>
        <p:spPr>
          <a:xfrm>
            <a:off x="0" y="2234156"/>
            <a:ext cx="5889208" cy="461665"/>
          </a:xfrm>
          <a:prstGeom prst="rect">
            <a:avLst/>
          </a:prstGeom>
          <a:noFill/>
          <a:ln>
            <a:noFill/>
          </a:ln>
        </p:spPr>
        <p:txBody>
          <a:bodyPr wrap="square">
            <a:spAutoFit/>
          </a:bodyPr>
          <a:lstStyle/>
          <a:p>
            <a:pPr algn="r"/>
            <a:r>
              <a:rPr lang="en-US" sz="1200" b="1" i="1" u="none" strike="noStrike" baseline="0" dirty="0">
                <a:solidFill>
                  <a:schemeClr val="tx2"/>
                </a:solidFill>
                <a:latin typeface="Arial,BoldItalic"/>
              </a:rPr>
              <a:t>The National Tourism Strategy aims to contribute to Vision 2030 objectives by developing and enhancing 10 destinations across 35 sites</a:t>
            </a:r>
          </a:p>
        </p:txBody>
      </p:sp>
      <p:grpSp>
        <p:nvGrpSpPr>
          <p:cNvPr id="78" name="Group 77">
            <a:extLst>
              <a:ext uri="{FF2B5EF4-FFF2-40B4-BE49-F238E27FC236}">
                <a16:creationId xmlns:a16="http://schemas.microsoft.com/office/drawing/2014/main" id="{B5398F47-C9CA-87C2-B1A4-F9741BE37AD7}"/>
              </a:ext>
            </a:extLst>
          </p:cNvPr>
          <p:cNvGrpSpPr/>
          <p:nvPr/>
        </p:nvGrpSpPr>
        <p:grpSpPr>
          <a:xfrm>
            <a:off x="2638405" y="2907497"/>
            <a:ext cx="461665" cy="461665"/>
            <a:chOff x="958460" y="3176989"/>
            <a:chExt cx="656590" cy="656590"/>
          </a:xfrm>
        </p:grpSpPr>
        <p:sp>
          <p:nvSpPr>
            <p:cNvPr id="74" name="Oval 73">
              <a:extLst>
                <a:ext uri="{FF2B5EF4-FFF2-40B4-BE49-F238E27FC236}">
                  <a16:creationId xmlns:a16="http://schemas.microsoft.com/office/drawing/2014/main" id="{1EC146FC-0865-9FC2-FBFA-02BF0A7AE60D}"/>
                </a:ext>
              </a:extLst>
            </p:cNvPr>
            <p:cNvSpPr/>
            <p:nvPr/>
          </p:nvSpPr>
          <p:spPr>
            <a:xfrm>
              <a:off x="958460" y="3176989"/>
              <a:ext cx="656590" cy="65659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6" name="Picture 75" descr="A white airplane on a black background&#10;&#10;Description automatically generated">
              <a:extLst>
                <a:ext uri="{FF2B5EF4-FFF2-40B4-BE49-F238E27FC236}">
                  <a16:creationId xmlns:a16="http://schemas.microsoft.com/office/drawing/2014/main" id="{07BA8C0D-7EDD-A8C1-1AEB-E9BBA3F1C46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100723" y="3319252"/>
              <a:ext cx="372064" cy="372064"/>
            </a:xfrm>
            <a:prstGeom prst="rect">
              <a:avLst/>
            </a:prstGeom>
          </p:spPr>
        </p:pic>
      </p:grpSp>
      <p:sp>
        <p:nvSpPr>
          <p:cNvPr id="77" name="TextBox 76">
            <a:extLst>
              <a:ext uri="{FF2B5EF4-FFF2-40B4-BE49-F238E27FC236}">
                <a16:creationId xmlns:a16="http://schemas.microsoft.com/office/drawing/2014/main" id="{7A8C2928-9BC0-CB56-1ED1-D404438FCD49}"/>
              </a:ext>
            </a:extLst>
          </p:cNvPr>
          <p:cNvSpPr txBox="1"/>
          <p:nvPr/>
        </p:nvSpPr>
        <p:spPr>
          <a:xfrm>
            <a:off x="2269790" y="3417194"/>
            <a:ext cx="1198893" cy="276999"/>
          </a:xfrm>
          <a:prstGeom prst="rect">
            <a:avLst/>
          </a:prstGeom>
          <a:noFill/>
        </p:spPr>
        <p:txBody>
          <a:bodyPr wrap="square" rtlCol="0">
            <a:spAutoFit/>
          </a:bodyPr>
          <a:lstStyle/>
          <a:p>
            <a:pPr algn="ctr"/>
            <a:r>
              <a:rPr lang="en-US" sz="1200" b="1" dirty="0"/>
              <a:t>VISITS</a:t>
            </a:r>
          </a:p>
        </p:txBody>
      </p:sp>
      <p:sp>
        <p:nvSpPr>
          <p:cNvPr id="80" name="Oval 79">
            <a:extLst>
              <a:ext uri="{FF2B5EF4-FFF2-40B4-BE49-F238E27FC236}">
                <a16:creationId xmlns:a16="http://schemas.microsoft.com/office/drawing/2014/main" id="{EB037354-D5EA-A40B-926B-EFB7FD41A602}"/>
              </a:ext>
            </a:extLst>
          </p:cNvPr>
          <p:cNvSpPr/>
          <p:nvPr/>
        </p:nvSpPr>
        <p:spPr>
          <a:xfrm>
            <a:off x="2638405" y="3820694"/>
            <a:ext cx="461665" cy="4616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TextBox 81">
            <a:extLst>
              <a:ext uri="{FF2B5EF4-FFF2-40B4-BE49-F238E27FC236}">
                <a16:creationId xmlns:a16="http://schemas.microsoft.com/office/drawing/2014/main" id="{5C8E938F-A4B4-BADE-04F2-8192C4568683}"/>
              </a:ext>
            </a:extLst>
          </p:cNvPr>
          <p:cNvSpPr txBox="1"/>
          <p:nvPr/>
        </p:nvSpPr>
        <p:spPr>
          <a:xfrm>
            <a:off x="2269790" y="4330391"/>
            <a:ext cx="1198893" cy="276999"/>
          </a:xfrm>
          <a:prstGeom prst="rect">
            <a:avLst/>
          </a:prstGeom>
          <a:noFill/>
        </p:spPr>
        <p:txBody>
          <a:bodyPr wrap="square" rtlCol="0">
            <a:spAutoFit/>
          </a:bodyPr>
          <a:lstStyle/>
          <a:p>
            <a:pPr algn="ctr"/>
            <a:r>
              <a:rPr lang="en-US" sz="1200" b="1" dirty="0"/>
              <a:t>NEW JOBS</a:t>
            </a:r>
          </a:p>
        </p:txBody>
      </p:sp>
      <p:pic>
        <p:nvPicPr>
          <p:cNvPr id="84" name="Picture 83" descr="A white and black briefcase&#10;&#10;Description automatically generated">
            <a:extLst>
              <a:ext uri="{FF2B5EF4-FFF2-40B4-BE49-F238E27FC236}">
                <a16:creationId xmlns:a16="http://schemas.microsoft.com/office/drawing/2014/main" id="{889168B2-4914-D5AF-4EDD-EFC43FBF854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45513" y="3922466"/>
            <a:ext cx="247446" cy="247446"/>
          </a:xfrm>
          <a:prstGeom prst="rect">
            <a:avLst/>
          </a:prstGeom>
        </p:spPr>
      </p:pic>
      <p:cxnSp>
        <p:nvCxnSpPr>
          <p:cNvPr id="86" name="Straight Connector 85">
            <a:extLst>
              <a:ext uri="{FF2B5EF4-FFF2-40B4-BE49-F238E27FC236}">
                <a16:creationId xmlns:a16="http://schemas.microsoft.com/office/drawing/2014/main" id="{546E000F-23F2-EDE5-B349-FF378BD3803D}"/>
              </a:ext>
            </a:extLst>
          </p:cNvPr>
          <p:cNvCxnSpPr>
            <a:cxnSpLocks/>
          </p:cNvCxnSpPr>
          <p:nvPr/>
        </p:nvCxnSpPr>
        <p:spPr>
          <a:xfrm flipH="1">
            <a:off x="1509823" y="3154278"/>
            <a:ext cx="946298"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87" name="TextBox 86">
            <a:extLst>
              <a:ext uri="{FF2B5EF4-FFF2-40B4-BE49-F238E27FC236}">
                <a16:creationId xmlns:a16="http://schemas.microsoft.com/office/drawing/2014/main" id="{7270A837-7770-6336-95C2-8CB3EE158B7C}"/>
              </a:ext>
            </a:extLst>
          </p:cNvPr>
          <p:cNvSpPr txBox="1"/>
          <p:nvPr/>
        </p:nvSpPr>
        <p:spPr>
          <a:xfrm>
            <a:off x="313400" y="2924751"/>
            <a:ext cx="919978" cy="492443"/>
          </a:xfrm>
          <a:prstGeom prst="rect">
            <a:avLst/>
          </a:prstGeom>
          <a:noFill/>
        </p:spPr>
        <p:txBody>
          <a:bodyPr wrap="square" rtlCol="0">
            <a:spAutoFit/>
          </a:bodyPr>
          <a:lstStyle/>
          <a:p>
            <a:r>
              <a:rPr lang="en-US" sz="1400" b="1" dirty="0"/>
              <a:t>2023</a:t>
            </a:r>
            <a:r>
              <a:rPr lang="en-US" sz="1200" dirty="0"/>
              <a:t> </a:t>
            </a:r>
          </a:p>
          <a:p>
            <a:r>
              <a:rPr lang="en-US" sz="1200" dirty="0"/>
              <a:t>100 million</a:t>
            </a:r>
          </a:p>
        </p:txBody>
      </p:sp>
      <p:cxnSp>
        <p:nvCxnSpPr>
          <p:cNvPr id="88" name="Straight Connector 87">
            <a:extLst>
              <a:ext uri="{FF2B5EF4-FFF2-40B4-BE49-F238E27FC236}">
                <a16:creationId xmlns:a16="http://schemas.microsoft.com/office/drawing/2014/main" id="{30D7A2CC-1C18-7756-1A59-D98191577400}"/>
              </a:ext>
            </a:extLst>
          </p:cNvPr>
          <p:cNvCxnSpPr>
            <a:cxnSpLocks/>
          </p:cNvCxnSpPr>
          <p:nvPr/>
        </p:nvCxnSpPr>
        <p:spPr>
          <a:xfrm flipH="1">
            <a:off x="3225210" y="3154278"/>
            <a:ext cx="1803990"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92" name="TextBox 91">
            <a:extLst>
              <a:ext uri="{FF2B5EF4-FFF2-40B4-BE49-F238E27FC236}">
                <a16:creationId xmlns:a16="http://schemas.microsoft.com/office/drawing/2014/main" id="{3B9FE587-930E-9E93-D4DE-75F74C05CD06}"/>
              </a:ext>
            </a:extLst>
          </p:cNvPr>
          <p:cNvSpPr txBox="1"/>
          <p:nvPr/>
        </p:nvSpPr>
        <p:spPr>
          <a:xfrm>
            <a:off x="4795284" y="2901638"/>
            <a:ext cx="1093924" cy="492443"/>
          </a:xfrm>
          <a:prstGeom prst="rect">
            <a:avLst/>
          </a:prstGeom>
          <a:noFill/>
        </p:spPr>
        <p:txBody>
          <a:bodyPr wrap="square" rtlCol="0">
            <a:spAutoFit/>
          </a:bodyPr>
          <a:lstStyle/>
          <a:p>
            <a:pPr algn="r"/>
            <a:r>
              <a:rPr lang="en-US" sz="1400" b="1" dirty="0"/>
              <a:t>2030</a:t>
            </a:r>
          </a:p>
          <a:p>
            <a:pPr algn="r"/>
            <a:r>
              <a:rPr lang="en-US" sz="1200" dirty="0"/>
              <a:t>150 million</a:t>
            </a:r>
          </a:p>
        </p:txBody>
      </p:sp>
      <p:cxnSp>
        <p:nvCxnSpPr>
          <p:cNvPr id="95" name="Straight Connector 94">
            <a:extLst>
              <a:ext uri="{FF2B5EF4-FFF2-40B4-BE49-F238E27FC236}">
                <a16:creationId xmlns:a16="http://schemas.microsoft.com/office/drawing/2014/main" id="{8672F57C-8E41-EBFE-13F8-5C746F5D2B9E}"/>
              </a:ext>
            </a:extLst>
          </p:cNvPr>
          <p:cNvCxnSpPr>
            <a:cxnSpLocks/>
          </p:cNvCxnSpPr>
          <p:nvPr/>
        </p:nvCxnSpPr>
        <p:spPr>
          <a:xfrm flipH="1">
            <a:off x="1509823" y="4074175"/>
            <a:ext cx="946298"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1B252DEB-F74F-B71C-BD73-A37FE7FEB0B2}"/>
              </a:ext>
            </a:extLst>
          </p:cNvPr>
          <p:cNvSpPr txBox="1"/>
          <p:nvPr/>
        </p:nvSpPr>
        <p:spPr>
          <a:xfrm>
            <a:off x="313400" y="3844648"/>
            <a:ext cx="1096382" cy="492443"/>
          </a:xfrm>
          <a:prstGeom prst="rect">
            <a:avLst/>
          </a:prstGeom>
          <a:noFill/>
        </p:spPr>
        <p:txBody>
          <a:bodyPr wrap="square" rtlCol="0">
            <a:spAutoFit/>
          </a:bodyPr>
          <a:lstStyle/>
          <a:p>
            <a:r>
              <a:rPr lang="en-US" sz="1400" b="1" dirty="0"/>
              <a:t>2023</a:t>
            </a:r>
          </a:p>
          <a:p>
            <a:r>
              <a:rPr lang="en-US" sz="1200" dirty="0"/>
              <a:t>882 thousand</a:t>
            </a:r>
          </a:p>
        </p:txBody>
      </p:sp>
      <p:cxnSp>
        <p:nvCxnSpPr>
          <p:cNvPr id="97" name="Straight Connector 96">
            <a:extLst>
              <a:ext uri="{FF2B5EF4-FFF2-40B4-BE49-F238E27FC236}">
                <a16:creationId xmlns:a16="http://schemas.microsoft.com/office/drawing/2014/main" id="{3712BC92-4093-EC1A-5134-1DA37B071756}"/>
              </a:ext>
            </a:extLst>
          </p:cNvPr>
          <p:cNvCxnSpPr>
            <a:cxnSpLocks/>
          </p:cNvCxnSpPr>
          <p:nvPr/>
        </p:nvCxnSpPr>
        <p:spPr>
          <a:xfrm flipH="1">
            <a:off x="3225210" y="4074175"/>
            <a:ext cx="1803990"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98" name="TextBox 97">
            <a:extLst>
              <a:ext uri="{FF2B5EF4-FFF2-40B4-BE49-F238E27FC236}">
                <a16:creationId xmlns:a16="http://schemas.microsoft.com/office/drawing/2014/main" id="{48D10CDD-C356-5373-23D2-7D3ACDDC0CF0}"/>
              </a:ext>
            </a:extLst>
          </p:cNvPr>
          <p:cNvSpPr txBox="1"/>
          <p:nvPr/>
        </p:nvSpPr>
        <p:spPr>
          <a:xfrm>
            <a:off x="4795284" y="3821535"/>
            <a:ext cx="1093924" cy="492443"/>
          </a:xfrm>
          <a:prstGeom prst="rect">
            <a:avLst/>
          </a:prstGeom>
          <a:noFill/>
        </p:spPr>
        <p:txBody>
          <a:bodyPr wrap="square" rtlCol="0">
            <a:spAutoFit/>
          </a:bodyPr>
          <a:lstStyle/>
          <a:p>
            <a:pPr algn="r"/>
            <a:r>
              <a:rPr lang="en-US" sz="1400" b="1" dirty="0"/>
              <a:t>2030</a:t>
            </a:r>
          </a:p>
          <a:p>
            <a:pPr algn="r"/>
            <a:r>
              <a:rPr lang="en-US" sz="1200" dirty="0"/>
              <a:t>1 million</a:t>
            </a:r>
          </a:p>
        </p:txBody>
      </p:sp>
      <p:sp>
        <p:nvSpPr>
          <p:cNvPr id="109" name="Oval 108">
            <a:extLst>
              <a:ext uri="{FF2B5EF4-FFF2-40B4-BE49-F238E27FC236}">
                <a16:creationId xmlns:a16="http://schemas.microsoft.com/office/drawing/2014/main" id="{D0BA8C1F-5971-F5BD-6E17-8D535592ADE9}"/>
              </a:ext>
            </a:extLst>
          </p:cNvPr>
          <p:cNvSpPr/>
          <p:nvPr/>
        </p:nvSpPr>
        <p:spPr>
          <a:xfrm>
            <a:off x="2638405" y="4750747"/>
            <a:ext cx="461665" cy="4616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TextBox 109">
            <a:extLst>
              <a:ext uri="{FF2B5EF4-FFF2-40B4-BE49-F238E27FC236}">
                <a16:creationId xmlns:a16="http://schemas.microsoft.com/office/drawing/2014/main" id="{C3F72433-B9E1-4B00-DBF8-E739309D7DF8}"/>
              </a:ext>
            </a:extLst>
          </p:cNvPr>
          <p:cNvSpPr txBox="1"/>
          <p:nvPr/>
        </p:nvSpPr>
        <p:spPr>
          <a:xfrm>
            <a:off x="2137144" y="5285844"/>
            <a:ext cx="1446028" cy="461665"/>
          </a:xfrm>
          <a:prstGeom prst="rect">
            <a:avLst/>
          </a:prstGeom>
          <a:noFill/>
        </p:spPr>
        <p:txBody>
          <a:bodyPr wrap="square" rtlCol="0">
            <a:spAutoFit/>
          </a:bodyPr>
          <a:lstStyle/>
          <a:p>
            <a:pPr algn="ctr"/>
            <a:r>
              <a:rPr lang="en-US" sz="1200" b="1" dirty="0"/>
              <a:t>INTERNATIONAL VISITORS</a:t>
            </a:r>
          </a:p>
        </p:txBody>
      </p:sp>
      <p:cxnSp>
        <p:nvCxnSpPr>
          <p:cNvPr id="112" name="Straight Connector 111">
            <a:extLst>
              <a:ext uri="{FF2B5EF4-FFF2-40B4-BE49-F238E27FC236}">
                <a16:creationId xmlns:a16="http://schemas.microsoft.com/office/drawing/2014/main" id="{A1E9BF25-F10F-FF58-2842-4885572DC164}"/>
              </a:ext>
            </a:extLst>
          </p:cNvPr>
          <p:cNvCxnSpPr>
            <a:cxnSpLocks/>
          </p:cNvCxnSpPr>
          <p:nvPr/>
        </p:nvCxnSpPr>
        <p:spPr>
          <a:xfrm flipH="1">
            <a:off x="1509823" y="5004228"/>
            <a:ext cx="946298"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113" name="TextBox 112">
            <a:extLst>
              <a:ext uri="{FF2B5EF4-FFF2-40B4-BE49-F238E27FC236}">
                <a16:creationId xmlns:a16="http://schemas.microsoft.com/office/drawing/2014/main" id="{D571DAC9-D572-8396-9EA8-7B8B2D00E6E8}"/>
              </a:ext>
            </a:extLst>
          </p:cNvPr>
          <p:cNvSpPr txBox="1"/>
          <p:nvPr/>
        </p:nvSpPr>
        <p:spPr>
          <a:xfrm>
            <a:off x="313399" y="4774701"/>
            <a:ext cx="1071284" cy="492443"/>
          </a:xfrm>
          <a:prstGeom prst="rect">
            <a:avLst/>
          </a:prstGeom>
          <a:noFill/>
        </p:spPr>
        <p:txBody>
          <a:bodyPr wrap="square" rtlCol="0">
            <a:spAutoFit/>
          </a:bodyPr>
          <a:lstStyle/>
          <a:p>
            <a:r>
              <a:rPr lang="en-US" sz="1400" b="1" dirty="0"/>
              <a:t>2023</a:t>
            </a:r>
          </a:p>
          <a:p>
            <a:r>
              <a:rPr lang="en-US" sz="1200" dirty="0"/>
              <a:t>27.20 million</a:t>
            </a:r>
          </a:p>
        </p:txBody>
      </p:sp>
      <p:cxnSp>
        <p:nvCxnSpPr>
          <p:cNvPr id="114" name="Straight Connector 113">
            <a:extLst>
              <a:ext uri="{FF2B5EF4-FFF2-40B4-BE49-F238E27FC236}">
                <a16:creationId xmlns:a16="http://schemas.microsoft.com/office/drawing/2014/main" id="{916469FD-21B2-AB9F-9BE0-0AB9C43A79D5}"/>
              </a:ext>
            </a:extLst>
          </p:cNvPr>
          <p:cNvCxnSpPr>
            <a:cxnSpLocks/>
          </p:cNvCxnSpPr>
          <p:nvPr/>
        </p:nvCxnSpPr>
        <p:spPr>
          <a:xfrm flipH="1">
            <a:off x="3225210" y="5004228"/>
            <a:ext cx="1803990"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115" name="TextBox 114">
            <a:extLst>
              <a:ext uri="{FF2B5EF4-FFF2-40B4-BE49-F238E27FC236}">
                <a16:creationId xmlns:a16="http://schemas.microsoft.com/office/drawing/2014/main" id="{A5CFEB87-2C06-9722-68EA-75FD324EBCFC}"/>
              </a:ext>
            </a:extLst>
          </p:cNvPr>
          <p:cNvSpPr txBox="1"/>
          <p:nvPr/>
        </p:nvSpPr>
        <p:spPr>
          <a:xfrm>
            <a:off x="4795284" y="4751588"/>
            <a:ext cx="1093924" cy="492443"/>
          </a:xfrm>
          <a:prstGeom prst="rect">
            <a:avLst/>
          </a:prstGeom>
          <a:noFill/>
        </p:spPr>
        <p:txBody>
          <a:bodyPr wrap="square" rtlCol="0">
            <a:spAutoFit/>
          </a:bodyPr>
          <a:lstStyle/>
          <a:p>
            <a:pPr algn="r"/>
            <a:r>
              <a:rPr lang="en-US" sz="1400" b="1" dirty="0"/>
              <a:t>2030</a:t>
            </a:r>
          </a:p>
          <a:p>
            <a:pPr algn="r"/>
            <a:r>
              <a:rPr lang="en-US" sz="1200" dirty="0"/>
              <a:t>55 million</a:t>
            </a:r>
          </a:p>
        </p:txBody>
      </p:sp>
      <p:pic>
        <p:nvPicPr>
          <p:cNvPr id="117" name="Picture 116" descr="A white circle with black continents&#10;&#10;Description automatically generated with medium confidence">
            <a:extLst>
              <a:ext uri="{FF2B5EF4-FFF2-40B4-BE49-F238E27FC236}">
                <a16:creationId xmlns:a16="http://schemas.microsoft.com/office/drawing/2014/main" id="{23A651FD-F867-9CAF-804C-1363F6F0522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32566" y="4843079"/>
            <a:ext cx="276999" cy="276999"/>
          </a:xfrm>
          <a:prstGeom prst="rect">
            <a:avLst/>
          </a:prstGeom>
        </p:spPr>
      </p:pic>
      <p:sp>
        <p:nvSpPr>
          <p:cNvPr id="118" name="Oval 117">
            <a:extLst>
              <a:ext uri="{FF2B5EF4-FFF2-40B4-BE49-F238E27FC236}">
                <a16:creationId xmlns:a16="http://schemas.microsoft.com/office/drawing/2014/main" id="{02FCB0D4-0EB6-2FD3-957A-2E0E35ECB119}"/>
              </a:ext>
            </a:extLst>
          </p:cNvPr>
          <p:cNvSpPr/>
          <p:nvPr/>
        </p:nvSpPr>
        <p:spPr>
          <a:xfrm>
            <a:off x="2638405" y="5833067"/>
            <a:ext cx="461665" cy="461665"/>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TextBox 118">
            <a:extLst>
              <a:ext uri="{FF2B5EF4-FFF2-40B4-BE49-F238E27FC236}">
                <a16:creationId xmlns:a16="http://schemas.microsoft.com/office/drawing/2014/main" id="{3C5A10E0-80BB-2343-6C91-E76E88359B03}"/>
              </a:ext>
            </a:extLst>
          </p:cNvPr>
          <p:cNvSpPr txBox="1"/>
          <p:nvPr/>
        </p:nvSpPr>
        <p:spPr>
          <a:xfrm>
            <a:off x="2137144" y="6342764"/>
            <a:ext cx="1446028" cy="461665"/>
          </a:xfrm>
          <a:prstGeom prst="rect">
            <a:avLst/>
          </a:prstGeom>
          <a:noFill/>
        </p:spPr>
        <p:txBody>
          <a:bodyPr wrap="square" rtlCol="0">
            <a:spAutoFit/>
          </a:bodyPr>
          <a:lstStyle/>
          <a:p>
            <a:pPr algn="ctr"/>
            <a:r>
              <a:rPr lang="en-US" sz="1200" b="1" dirty="0"/>
              <a:t>CONTRIBUTION</a:t>
            </a:r>
          </a:p>
          <a:p>
            <a:pPr algn="ctr"/>
            <a:r>
              <a:rPr lang="en-US" sz="1200" b="1" dirty="0"/>
              <a:t>TO GDP</a:t>
            </a:r>
          </a:p>
        </p:txBody>
      </p:sp>
      <p:cxnSp>
        <p:nvCxnSpPr>
          <p:cNvPr id="120" name="Straight Connector 119">
            <a:extLst>
              <a:ext uri="{FF2B5EF4-FFF2-40B4-BE49-F238E27FC236}">
                <a16:creationId xmlns:a16="http://schemas.microsoft.com/office/drawing/2014/main" id="{98A35835-A65B-4B00-E419-CD7BA3FA281A}"/>
              </a:ext>
            </a:extLst>
          </p:cNvPr>
          <p:cNvCxnSpPr>
            <a:cxnSpLocks/>
          </p:cNvCxnSpPr>
          <p:nvPr/>
        </p:nvCxnSpPr>
        <p:spPr>
          <a:xfrm flipH="1">
            <a:off x="1509823" y="6086548"/>
            <a:ext cx="946298"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FC3BB56F-F564-1DC6-3691-37E6F9BA367D}"/>
              </a:ext>
            </a:extLst>
          </p:cNvPr>
          <p:cNvSpPr txBox="1"/>
          <p:nvPr/>
        </p:nvSpPr>
        <p:spPr>
          <a:xfrm>
            <a:off x="313399" y="5857021"/>
            <a:ext cx="1071284" cy="492443"/>
          </a:xfrm>
          <a:prstGeom prst="rect">
            <a:avLst/>
          </a:prstGeom>
          <a:noFill/>
        </p:spPr>
        <p:txBody>
          <a:bodyPr wrap="square" rtlCol="0">
            <a:spAutoFit/>
          </a:bodyPr>
          <a:lstStyle/>
          <a:p>
            <a:r>
              <a:rPr lang="en-US" sz="1400" b="1" dirty="0"/>
              <a:t>2023</a:t>
            </a:r>
          </a:p>
          <a:p>
            <a:r>
              <a:rPr lang="en-US" sz="1200" dirty="0"/>
              <a:t>4.5%</a:t>
            </a:r>
          </a:p>
        </p:txBody>
      </p:sp>
      <p:cxnSp>
        <p:nvCxnSpPr>
          <p:cNvPr id="122" name="Straight Connector 121">
            <a:extLst>
              <a:ext uri="{FF2B5EF4-FFF2-40B4-BE49-F238E27FC236}">
                <a16:creationId xmlns:a16="http://schemas.microsoft.com/office/drawing/2014/main" id="{77F5E1A4-50C0-065A-5926-D928DB659AB5}"/>
              </a:ext>
            </a:extLst>
          </p:cNvPr>
          <p:cNvCxnSpPr>
            <a:cxnSpLocks/>
          </p:cNvCxnSpPr>
          <p:nvPr/>
        </p:nvCxnSpPr>
        <p:spPr>
          <a:xfrm flipH="1">
            <a:off x="3225210" y="6086548"/>
            <a:ext cx="1803990" cy="0"/>
          </a:xfrm>
          <a:prstGeom prst="line">
            <a:avLst/>
          </a:prstGeom>
          <a:ln w="28575">
            <a:solidFill>
              <a:schemeClr val="accent3"/>
            </a:solidFill>
          </a:ln>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8016133F-9584-B8D1-5D33-125572166A3D}"/>
              </a:ext>
            </a:extLst>
          </p:cNvPr>
          <p:cNvSpPr txBox="1"/>
          <p:nvPr/>
        </p:nvSpPr>
        <p:spPr>
          <a:xfrm>
            <a:off x="4795284" y="5833908"/>
            <a:ext cx="1093924" cy="492443"/>
          </a:xfrm>
          <a:prstGeom prst="rect">
            <a:avLst/>
          </a:prstGeom>
          <a:noFill/>
        </p:spPr>
        <p:txBody>
          <a:bodyPr wrap="square" rtlCol="0">
            <a:spAutoFit/>
          </a:bodyPr>
          <a:lstStyle/>
          <a:p>
            <a:pPr algn="r"/>
            <a:r>
              <a:rPr lang="en-US" sz="1400" b="1" dirty="0"/>
              <a:t>2030</a:t>
            </a:r>
          </a:p>
          <a:p>
            <a:pPr algn="r"/>
            <a:r>
              <a:rPr lang="en-US" sz="1200" dirty="0"/>
              <a:t>+10%</a:t>
            </a:r>
          </a:p>
        </p:txBody>
      </p:sp>
      <p:pic>
        <p:nvPicPr>
          <p:cNvPr id="126" name="Picture 125" descr="A white graph with a arrow pointing up&#10;&#10;Description automatically generated">
            <a:extLst>
              <a:ext uri="{FF2B5EF4-FFF2-40B4-BE49-F238E27FC236}">
                <a16:creationId xmlns:a16="http://schemas.microsoft.com/office/drawing/2014/main" id="{4BEB3F9E-EA5B-1EB1-6C56-A6990748F4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07313" y="5883877"/>
            <a:ext cx="343480" cy="343480"/>
          </a:xfrm>
          <a:prstGeom prst="rect">
            <a:avLst/>
          </a:prstGeom>
        </p:spPr>
      </p:pic>
    </p:spTree>
    <p:extLst>
      <p:ext uri="{BB962C8B-B14F-4D97-AF65-F5344CB8AC3E}">
        <p14:creationId xmlns:p14="http://schemas.microsoft.com/office/powerpoint/2010/main" val="661105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 name="think-cell data - do not delete" hidden="1">
            <a:extLst>
              <a:ext uri="{FF2B5EF4-FFF2-40B4-BE49-F238E27FC236}">
                <a16:creationId xmlns:a16="http://schemas.microsoft.com/office/drawing/2014/main" id="{64562CBB-DEF7-FC39-B0FB-FC871E57964B}"/>
              </a:ext>
            </a:extLst>
          </p:cNvPr>
          <p:cNvGraphicFramePr>
            <a:graphicFrameLocks noChangeAspect="1"/>
          </p:cNvGraphicFramePr>
          <p:nvPr>
            <p:custDataLst>
              <p:tags r:id="rId1"/>
            </p:custDataLst>
            <p:extLst>
              <p:ext uri="{D42A27DB-BD31-4B8C-83A1-F6EECF244321}">
                <p14:modId xmlns:p14="http://schemas.microsoft.com/office/powerpoint/2010/main" val="578103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2" name="think-cell data - do not delete" hidden="1">
                        <a:extLst>
                          <a:ext uri="{FF2B5EF4-FFF2-40B4-BE49-F238E27FC236}">
                            <a16:creationId xmlns:a16="http://schemas.microsoft.com/office/drawing/2014/main" id="{64562CBB-DEF7-FC39-B0FB-FC871E5796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Google Shape;3068;g22b5d1b4ac3_1_499">
            <a:extLst>
              <a:ext uri="{FF2B5EF4-FFF2-40B4-BE49-F238E27FC236}">
                <a16:creationId xmlns:a16="http://schemas.microsoft.com/office/drawing/2014/main" id="{01F8520C-0A30-B5AA-8A1B-92312DDD3FCC}"/>
              </a:ext>
            </a:extLst>
          </p:cNvPr>
          <p:cNvSpPr/>
          <p:nvPr/>
        </p:nvSpPr>
        <p:spPr>
          <a:xfrm>
            <a:off x="1840875" y="5088535"/>
            <a:ext cx="3598857" cy="161650"/>
          </a:xfrm>
          <a:prstGeom prst="parallelogram">
            <a:avLst>
              <a:gd name="adj" fmla="val 112453"/>
            </a:avLst>
          </a:prstGeom>
          <a:solidFill>
            <a:schemeClr val="tx2">
              <a:lumMod val="10000"/>
              <a:lumOff val="9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27" name="Google Shape;3068;g22b5d1b4ac3_1_499">
            <a:extLst>
              <a:ext uri="{FF2B5EF4-FFF2-40B4-BE49-F238E27FC236}">
                <a16:creationId xmlns:a16="http://schemas.microsoft.com/office/drawing/2014/main" id="{E0CA926E-9971-FC78-F701-9BF50B8EA94D}"/>
              </a:ext>
            </a:extLst>
          </p:cNvPr>
          <p:cNvSpPr/>
          <p:nvPr/>
        </p:nvSpPr>
        <p:spPr>
          <a:xfrm>
            <a:off x="7749716" y="5075835"/>
            <a:ext cx="3598857" cy="161650"/>
          </a:xfrm>
          <a:prstGeom prst="parallelogram">
            <a:avLst>
              <a:gd name="adj" fmla="val 112453"/>
            </a:avLst>
          </a:prstGeom>
          <a:solidFill>
            <a:schemeClr val="tx2">
              <a:lumMod val="10000"/>
              <a:lumOff val="9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4" name="LOREM IPSUM">
            <a:extLst>
              <a:ext uri="{FF2B5EF4-FFF2-40B4-BE49-F238E27FC236}">
                <a16:creationId xmlns:a16="http://schemas.microsoft.com/office/drawing/2014/main" id="{7B805B00-7C01-55CE-8964-95CDF0B8BA2F}"/>
              </a:ext>
            </a:extLst>
          </p:cNvPr>
          <p:cNvSpPr txBox="1"/>
          <p:nvPr/>
        </p:nvSpPr>
        <p:spPr>
          <a:xfrm>
            <a:off x="958460" y="260416"/>
            <a:ext cx="8389364" cy="12105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KEY INITATIVES BOOSTING TOURISM IN THE KINGDOM</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61" name="TextBox 60">
            <a:extLst>
              <a:ext uri="{FF2B5EF4-FFF2-40B4-BE49-F238E27FC236}">
                <a16:creationId xmlns:a16="http://schemas.microsoft.com/office/drawing/2014/main" id="{72FE4377-2D8D-8D89-1AFA-7EF52D283925}"/>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Vision 2030, MT</a:t>
            </a:r>
          </a:p>
        </p:txBody>
      </p:sp>
      <p:sp>
        <p:nvSpPr>
          <p:cNvPr id="2" name="Google Shape;3057;g22b5d1b4ac3_1_499">
            <a:extLst>
              <a:ext uri="{FF2B5EF4-FFF2-40B4-BE49-F238E27FC236}">
                <a16:creationId xmlns:a16="http://schemas.microsoft.com/office/drawing/2014/main" id="{D34F97C3-6D69-5C99-39A7-92736893FB1D}"/>
              </a:ext>
            </a:extLst>
          </p:cNvPr>
          <p:cNvSpPr/>
          <p:nvPr/>
        </p:nvSpPr>
        <p:spPr>
          <a:xfrm>
            <a:off x="1834836" y="2614671"/>
            <a:ext cx="3598857" cy="302944"/>
          </a:xfrm>
          <a:prstGeom prst="parallelogram">
            <a:avLst>
              <a:gd name="adj" fmla="val 112453"/>
            </a:avLst>
          </a:prstGeom>
          <a:solidFill>
            <a:schemeClr val="accent1">
              <a:lumMod val="20000"/>
              <a:lumOff val="80000"/>
            </a:schemeClr>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3" name="Google Shape;3058;g22b5d1b4ac3_1_499">
            <a:extLst>
              <a:ext uri="{FF2B5EF4-FFF2-40B4-BE49-F238E27FC236}">
                <a16:creationId xmlns:a16="http://schemas.microsoft.com/office/drawing/2014/main" id="{C78AD287-BF39-5EFD-5C7F-F49957EFB8F4}"/>
              </a:ext>
            </a:extLst>
          </p:cNvPr>
          <p:cNvSpPr/>
          <p:nvPr/>
        </p:nvSpPr>
        <p:spPr>
          <a:xfrm>
            <a:off x="1834836" y="3778039"/>
            <a:ext cx="3598857" cy="302944"/>
          </a:xfrm>
          <a:prstGeom prst="parallelogram">
            <a:avLst>
              <a:gd name="adj" fmla="val 112453"/>
            </a:avLst>
          </a:prstGeom>
          <a:solidFill>
            <a:schemeClr val="accent6">
              <a:lumMod val="20000"/>
              <a:lumOff val="80000"/>
            </a:schemeClr>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5" name="Google Shape;3059;g22b5d1b4ac3_1_499">
            <a:extLst>
              <a:ext uri="{FF2B5EF4-FFF2-40B4-BE49-F238E27FC236}">
                <a16:creationId xmlns:a16="http://schemas.microsoft.com/office/drawing/2014/main" id="{E82628FB-B73E-3FE0-B344-3072DF1E10A4}"/>
              </a:ext>
            </a:extLst>
          </p:cNvPr>
          <p:cNvSpPr/>
          <p:nvPr/>
        </p:nvSpPr>
        <p:spPr>
          <a:xfrm>
            <a:off x="1834838" y="4680056"/>
            <a:ext cx="3598857" cy="302944"/>
          </a:xfrm>
          <a:prstGeom prst="parallelogram">
            <a:avLst>
              <a:gd name="adj" fmla="val 112453"/>
            </a:avLst>
          </a:prstGeom>
          <a:solidFill>
            <a:srgbClr val="E5E5E5"/>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7" name="Google Shape;3060;g22b5d1b4ac3_1_499">
            <a:extLst>
              <a:ext uri="{FF2B5EF4-FFF2-40B4-BE49-F238E27FC236}">
                <a16:creationId xmlns:a16="http://schemas.microsoft.com/office/drawing/2014/main" id="{77DF91DC-425F-A8DA-1C81-95D42EFE03E7}"/>
              </a:ext>
            </a:extLst>
          </p:cNvPr>
          <p:cNvSpPr/>
          <p:nvPr/>
        </p:nvSpPr>
        <p:spPr>
          <a:xfrm>
            <a:off x="1834838" y="1703072"/>
            <a:ext cx="3598857" cy="1026579"/>
          </a:xfrm>
          <a:prstGeom prst="rect">
            <a:avLst/>
          </a:prstGeom>
          <a:solidFill>
            <a:schemeClr val="accent1"/>
          </a:solidFill>
          <a:ln>
            <a:noFill/>
          </a:ln>
        </p:spPr>
        <p:txBody>
          <a:bodyPr spcFirstLastPara="1" wrap="square" lIns="45700" tIns="61550" rIns="45700" bIns="61550" anchor="ctr" anchorCtr="0">
            <a:noAutofit/>
          </a:bodyPr>
          <a:lstStyle/>
          <a:p>
            <a:pPr marL="0" marR="0" lvl="0" indent="0" algn="ctr" rtl="0">
              <a:spcBef>
                <a:spcPts val="0"/>
              </a:spcBef>
              <a:spcAft>
                <a:spcPts val="0"/>
              </a:spcAft>
              <a:buNone/>
            </a:pPr>
            <a:r>
              <a:rPr lang="en" sz="1600" b="1" dirty="0">
                <a:solidFill>
                  <a:schemeClr val="bg1"/>
                </a:solidFill>
              </a:rPr>
              <a:t>Tourist Visa</a:t>
            </a:r>
            <a:endParaRPr sz="1600" b="1" dirty="0">
              <a:solidFill>
                <a:schemeClr val="bg1"/>
              </a:solidFill>
            </a:endParaRPr>
          </a:p>
          <a:p>
            <a:pPr marL="0" marR="0" lvl="0" indent="0" algn="ctr" rtl="0">
              <a:spcBef>
                <a:spcPts val="0"/>
              </a:spcBef>
              <a:spcAft>
                <a:spcPts val="0"/>
              </a:spcAft>
              <a:buNone/>
            </a:pPr>
            <a:r>
              <a:rPr lang="en" sz="1200" dirty="0">
                <a:solidFill>
                  <a:schemeClr val="bg1"/>
                </a:solidFill>
              </a:rPr>
              <a:t>Tourists from EU countries, Asian countries, American countries, countries of Oceania can obtain visa</a:t>
            </a:r>
            <a:endParaRPr sz="1000" dirty="0">
              <a:solidFill>
                <a:schemeClr val="bg1"/>
              </a:solidFill>
            </a:endParaRPr>
          </a:p>
        </p:txBody>
      </p:sp>
      <p:sp>
        <p:nvSpPr>
          <p:cNvPr id="8" name="Google Shape;3061;g22b5d1b4ac3_1_499">
            <a:extLst>
              <a:ext uri="{FF2B5EF4-FFF2-40B4-BE49-F238E27FC236}">
                <a16:creationId xmlns:a16="http://schemas.microsoft.com/office/drawing/2014/main" id="{2E62654D-7128-222D-CBA6-F9490E183412}"/>
              </a:ext>
            </a:extLst>
          </p:cNvPr>
          <p:cNvSpPr/>
          <p:nvPr/>
        </p:nvSpPr>
        <p:spPr>
          <a:xfrm>
            <a:off x="1834837" y="4066300"/>
            <a:ext cx="3598857" cy="1026579"/>
          </a:xfrm>
          <a:prstGeom prst="rect">
            <a:avLst/>
          </a:prstGeom>
          <a:solidFill>
            <a:schemeClr val="tx2"/>
          </a:solidFill>
          <a:ln>
            <a:noFill/>
          </a:ln>
        </p:spPr>
        <p:txBody>
          <a:bodyPr spcFirstLastPara="1" wrap="square" lIns="45700" tIns="61550" rIns="45700" bIns="61550" anchor="ctr" anchorCtr="0">
            <a:noAutofit/>
          </a:bodyPr>
          <a:lstStyle/>
          <a:p>
            <a:pPr marL="0" marR="0" lvl="0" indent="0" algn="ctr" rtl="0">
              <a:spcBef>
                <a:spcPts val="0"/>
              </a:spcBef>
              <a:spcAft>
                <a:spcPts val="0"/>
              </a:spcAft>
              <a:buNone/>
            </a:pPr>
            <a:r>
              <a:rPr lang="en" sz="1600" b="1" dirty="0">
                <a:solidFill>
                  <a:srgbClr val="FFFFFF"/>
                </a:solidFill>
              </a:rPr>
              <a:t>New Tourism Law</a:t>
            </a:r>
            <a:endParaRPr sz="1600" dirty="0">
              <a:solidFill>
                <a:srgbClr val="FFFFFF"/>
              </a:solidFill>
            </a:endParaRPr>
          </a:p>
          <a:p>
            <a:pPr marL="0" marR="0" lvl="0" indent="0" algn="ctr" rtl="0">
              <a:spcBef>
                <a:spcPts val="0"/>
              </a:spcBef>
              <a:spcAft>
                <a:spcPts val="0"/>
              </a:spcAft>
              <a:buNone/>
            </a:pPr>
            <a:r>
              <a:rPr lang="en" sz="1200" dirty="0">
                <a:solidFill>
                  <a:srgbClr val="FFFFFF"/>
                </a:solidFill>
              </a:rPr>
              <a:t>Ten new regulations to develop the tourism sector to keep pace with Saudi Arabia’s renaissance</a:t>
            </a:r>
            <a:endParaRPr sz="1200" dirty="0">
              <a:solidFill>
                <a:srgbClr val="FFFFFF"/>
              </a:solidFill>
              <a:latin typeface="Arial"/>
              <a:ea typeface="Arial"/>
              <a:cs typeface="Arial"/>
              <a:sym typeface="Arial"/>
            </a:endParaRPr>
          </a:p>
        </p:txBody>
      </p:sp>
      <p:sp>
        <p:nvSpPr>
          <p:cNvPr id="9" name="Google Shape;3062;g22b5d1b4ac3_1_499">
            <a:extLst>
              <a:ext uri="{FF2B5EF4-FFF2-40B4-BE49-F238E27FC236}">
                <a16:creationId xmlns:a16="http://schemas.microsoft.com/office/drawing/2014/main" id="{21514193-068C-D332-1A04-23DFA7471008}"/>
              </a:ext>
            </a:extLst>
          </p:cNvPr>
          <p:cNvSpPr/>
          <p:nvPr/>
        </p:nvSpPr>
        <p:spPr>
          <a:xfrm>
            <a:off x="1834838" y="2884686"/>
            <a:ext cx="3598857" cy="1026579"/>
          </a:xfrm>
          <a:prstGeom prst="rect">
            <a:avLst/>
          </a:prstGeom>
          <a:solidFill>
            <a:schemeClr val="accent6"/>
          </a:solidFill>
          <a:ln>
            <a:noFill/>
          </a:ln>
        </p:spPr>
        <p:txBody>
          <a:bodyPr spcFirstLastPara="1" wrap="square" lIns="45700" tIns="61550" rIns="45700" bIns="61550" anchor="ctr" anchorCtr="0">
            <a:noAutofit/>
          </a:bodyPr>
          <a:lstStyle/>
          <a:p>
            <a:pPr marL="0" marR="0" lvl="0" indent="0" algn="ctr" rtl="0">
              <a:spcBef>
                <a:spcPts val="0"/>
              </a:spcBef>
              <a:spcAft>
                <a:spcPts val="0"/>
              </a:spcAft>
              <a:buNone/>
            </a:pPr>
            <a:r>
              <a:rPr lang="en" sz="1600" b="1" dirty="0">
                <a:solidFill>
                  <a:srgbClr val="FFFFFF"/>
                </a:solidFill>
              </a:rPr>
              <a:t>Umrah Plus Program</a:t>
            </a:r>
            <a:endParaRPr sz="1600" dirty="0">
              <a:solidFill>
                <a:srgbClr val="FFFFFF"/>
              </a:solidFill>
            </a:endParaRPr>
          </a:p>
          <a:p>
            <a:pPr marL="0" marR="0" lvl="0" indent="0" algn="ctr" rtl="0">
              <a:spcBef>
                <a:spcPts val="0"/>
              </a:spcBef>
              <a:spcAft>
                <a:spcPts val="0"/>
              </a:spcAft>
              <a:buNone/>
            </a:pPr>
            <a:r>
              <a:rPr lang="en" sz="1200" dirty="0">
                <a:solidFill>
                  <a:srgbClr val="FFFFFF"/>
                </a:solidFill>
              </a:rPr>
              <a:t>The Program includes tourist trips, besides the Umrah rituals </a:t>
            </a:r>
            <a:endParaRPr sz="1200" dirty="0">
              <a:solidFill>
                <a:srgbClr val="FFFFFF"/>
              </a:solidFill>
            </a:endParaRPr>
          </a:p>
        </p:txBody>
      </p:sp>
      <p:sp>
        <p:nvSpPr>
          <p:cNvPr id="10" name="Google Shape;3063;g22b5d1b4ac3_1_499">
            <a:extLst>
              <a:ext uri="{FF2B5EF4-FFF2-40B4-BE49-F238E27FC236}">
                <a16:creationId xmlns:a16="http://schemas.microsoft.com/office/drawing/2014/main" id="{23023E00-61BF-8C44-8C78-A5FF16A25AD1}"/>
              </a:ext>
            </a:extLst>
          </p:cNvPr>
          <p:cNvSpPr/>
          <p:nvPr/>
        </p:nvSpPr>
        <p:spPr>
          <a:xfrm>
            <a:off x="1834836" y="5247915"/>
            <a:ext cx="3598800" cy="1026395"/>
          </a:xfrm>
          <a:prstGeom prst="rect">
            <a:avLst/>
          </a:prstGeom>
          <a:solidFill>
            <a:srgbClr val="7D7D7D"/>
          </a:solidFill>
          <a:ln>
            <a:noFill/>
          </a:ln>
        </p:spPr>
        <p:txBody>
          <a:bodyPr spcFirstLastPara="1" wrap="square" lIns="45700" tIns="61550" rIns="45700" bIns="61550" anchor="ctr" anchorCtr="0">
            <a:noAutofit/>
          </a:bodyPr>
          <a:lstStyle/>
          <a:p>
            <a:pPr marL="0" lvl="0" indent="0" algn="ctr" rtl="0">
              <a:spcBef>
                <a:spcPts val="0"/>
              </a:spcBef>
              <a:spcAft>
                <a:spcPts val="0"/>
              </a:spcAft>
              <a:buClr>
                <a:schemeClr val="dk1"/>
              </a:buClr>
              <a:buFont typeface="Arial"/>
              <a:buNone/>
            </a:pPr>
            <a:r>
              <a:rPr lang="en" sz="1600" b="1" dirty="0">
                <a:solidFill>
                  <a:schemeClr val="lt1"/>
                </a:solidFill>
              </a:rPr>
              <a:t>Tourism Licenses</a:t>
            </a:r>
            <a:endParaRPr sz="1600" dirty="0">
              <a:solidFill>
                <a:schemeClr val="lt1"/>
              </a:solidFill>
            </a:endParaRPr>
          </a:p>
          <a:p>
            <a:pPr marL="0" lvl="0" indent="0" algn="ctr" rtl="0">
              <a:spcBef>
                <a:spcPts val="0"/>
              </a:spcBef>
              <a:spcAft>
                <a:spcPts val="0"/>
              </a:spcAft>
              <a:buClr>
                <a:schemeClr val="dk1"/>
              </a:buClr>
              <a:buFont typeface="Arial"/>
              <a:buNone/>
            </a:pPr>
            <a:r>
              <a:rPr lang="en" sz="1200" dirty="0">
                <a:solidFill>
                  <a:schemeClr val="lt1"/>
                </a:solidFill>
              </a:rPr>
              <a:t>As part of the digital transformation of e-government procedures, MoT provides electronic services related to tourism licenses</a:t>
            </a:r>
            <a:endParaRPr sz="1200" b="1" dirty="0">
              <a:solidFill>
                <a:srgbClr val="FFFFFF"/>
              </a:solidFill>
            </a:endParaRPr>
          </a:p>
        </p:txBody>
      </p:sp>
      <p:pic>
        <p:nvPicPr>
          <p:cNvPr id="11" name="Google Shape;3064;g22b5d1b4ac3_1_499">
            <a:extLst>
              <a:ext uri="{FF2B5EF4-FFF2-40B4-BE49-F238E27FC236}">
                <a16:creationId xmlns:a16="http://schemas.microsoft.com/office/drawing/2014/main" id="{02DD58B8-759C-EECB-04B2-CD8A693B849C}"/>
              </a:ext>
            </a:extLst>
          </p:cNvPr>
          <p:cNvPicPr preferRelativeResize="0"/>
          <p:nvPr/>
        </p:nvPicPr>
        <p:blipFill>
          <a:blip r:embed="rId6">
            <a:alphaModFix/>
          </a:blip>
          <a:stretch>
            <a:fillRect/>
          </a:stretch>
        </p:blipFill>
        <p:spPr>
          <a:xfrm>
            <a:off x="1053562" y="1955936"/>
            <a:ext cx="520850" cy="520850"/>
          </a:xfrm>
          <a:prstGeom prst="rect">
            <a:avLst/>
          </a:prstGeom>
          <a:noFill/>
          <a:ln>
            <a:noFill/>
          </a:ln>
        </p:spPr>
      </p:pic>
      <p:pic>
        <p:nvPicPr>
          <p:cNvPr id="12" name="Google Shape;3065;g22b5d1b4ac3_1_499">
            <a:extLst>
              <a:ext uri="{FF2B5EF4-FFF2-40B4-BE49-F238E27FC236}">
                <a16:creationId xmlns:a16="http://schemas.microsoft.com/office/drawing/2014/main" id="{ED506D88-F7D7-217A-6857-BF9B0A24CA4C}"/>
              </a:ext>
            </a:extLst>
          </p:cNvPr>
          <p:cNvPicPr preferRelativeResize="0"/>
          <p:nvPr/>
        </p:nvPicPr>
        <p:blipFill>
          <a:blip r:embed="rId7">
            <a:alphaModFix/>
          </a:blip>
          <a:stretch>
            <a:fillRect/>
          </a:stretch>
        </p:blipFill>
        <p:spPr>
          <a:xfrm>
            <a:off x="1083536" y="4356526"/>
            <a:ext cx="446125" cy="446125"/>
          </a:xfrm>
          <a:prstGeom prst="rect">
            <a:avLst/>
          </a:prstGeom>
          <a:noFill/>
          <a:ln>
            <a:noFill/>
          </a:ln>
        </p:spPr>
      </p:pic>
      <p:sp>
        <p:nvSpPr>
          <p:cNvPr id="14" name="Google Shape;3067;g22b5d1b4ac3_1_499">
            <a:extLst>
              <a:ext uri="{FF2B5EF4-FFF2-40B4-BE49-F238E27FC236}">
                <a16:creationId xmlns:a16="http://schemas.microsoft.com/office/drawing/2014/main" id="{1CA6B2C1-1224-C5BF-2411-FB4E640CD207}"/>
              </a:ext>
            </a:extLst>
          </p:cNvPr>
          <p:cNvSpPr/>
          <p:nvPr/>
        </p:nvSpPr>
        <p:spPr>
          <a:xfrm>
            <a:off x="7768455" y="2729651"/>
            <a:ext cx="3598857" cy="302944"/>
          </a:xfrm>
          <a:prstGeom prst="parallelogram">
            <a:avLst>
              <a:gd name="adj" fmla="val 112453"/>
            </a:avLst>
          </a:prstGeom>
          <a:solidFill>
            <a:schemeClr val="accent1">
              <a:lumMod val="20000"/>
              <a:lumOff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15" name="Google Shape;3068;g22b5d1b4ac3_1_499">
            <a:extLst>
              <a:ext uri="{FF2B5EF4-FFF2-40B4-BE49-F238E27FC236}">
                <a16:creationId xmlns:a16="http://schemas.microsoft.com/office/drawing/2014/main" id="{D1163268-B238-4042-D9A0-3D75259FE32A}"/>
              </a:ext>
            </a:extLst>
          </p:cNvPr>
          <p:cNvSpPr/>
          <p:nvPr/>
        </p:nvSpPr>
        <p:spPr>
          <a:xfrm>
            <a:off x="7768453" y="3780435"/>
            <a:ext cx="3598857" cy="302944"/>
          </a:xfrm>
          <a:prstGeom prst="parallelogram">
            <a:avLst>
              <a:gd name="adj" fmla="val 112453"/>
            </a:avLst>
          </a:prstGeom>
          <a:solidFill>
            <a:schemeClr val="accent6">
              <a:lumMod val="20000"/>
              <a:lumOff val="80000"/>
            </a:scheme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16" name="Google Shape;3069;g22b5d1b4ac3_1_499">
            <a:extLst>
              <a:ext uri="{FF2B5EF4-FFF2-40B4-BE49-F238E27FC236}">
                <a16:creationId xmlns:a16="http://schemas.microsoft.com/office/drawing/2014/main" id="{AABA65F1-6830-6B0B-4843-D7CCF2FE7B0D}"/>
              </a:ext>
            </a:extLst>
          </p:cNvPr>
          <p:cNvSpPr/>
          <p:nvPr/>
        </p:nvSpPr>
        <p:spPr>
          <a:xfrm>
            <a:off x="7768455" y="4680055"/>
            <a:ext cx="3598857" cy="302944"/>
          </a:xfrm>
          <a:prstGeom prst="parallelogram">
            <a:avLst>
              <a:gd name="adj" fmla="val 112453"/>
            </a:avLst>
          </a:prstGeom>
          <a:solidFill>
            <a:srgbClr val="E5E5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800">
              <a:solidFill>
                <a:srgbClr val="FFFFFF"/>
              </a:solidFill>
              <a:latin typeface="Arial"/>
              <a:ea typeface="Arial"/>
              <a:cs typeface="Arial"/>
              <a:sym typeface="Arial"/>
            </a:endParaRPr>
          </a:p>
        </p:txBody>
      </p:sp>
      <p:sp>
        <p:nvSpPr>
          <p:cNvPr id="17" name="Google Shape;3070;g22b5d1b4ac3_1_499">
            <a:extLst>
              <a:ext uri="{FF2B5EF4-FFF2-40B4-BE49-F238E27FC236}">
                <a16:creationId xmlns:a16="http://schemas.microsoft.com/office/drawing/2014/main" id="{85D6ACBB-0003-5933-66D8-C8E6AB19DC88}"/>
              </a:ext>
            </a:extLst>
          </p:cNvPr>
          <p:cNvSpPr/>
          <p:nvPr/>
        </p:nvSpPr>
        <p:spPr>
          <a:xfrm>
            <a:off x="7768455" y="1703072"/>
            <a:ext cx="3598857" cy="1026579"/>
          </a:xfrm>
          <a:prstGeom prst="rect">
            <a:avLst/>
          </a:prstGeom>
          <a:solidFill>
            <a:schemeClr val="accent1"/>
          </a:solidFill>
          <a:ln>
            <a:noFill/>
          </a:ln>
        </p:spPr>
        <p:txBody>
          <a:bodyPr spcFirstLastPara="1" wrap="square" lIns="91425" tIns="61550" rIns="91425" bIns="61550" anchor="ctr" anchorCtr="0">
            <a:noAutofit/>
          </a:bodyPr>
          <a:lstStyle/>
          <a:p>
            <a:pPr marL="0" marR="0" lvl="0" indent="0" algn="ctr" rtl="0">
              <a:spcBef>
                <a:spcPts val="0"/>
              </a:spcBef>
              <a:spcAft>
                <a:spcPts val="0"/>
              </a:spcAft>
              <a:buNone/>
            </a:pPr>
            <a:r>
              <a:rPr lang="en" sz="1600" b="1" dirty="0">
                <a:solidFill>
                  <a:schemeClr val="bg1"/>
                </a:solidFill>
              </a:rPr>
              <a:t>Tourism Development Fund</a:t>
            </a:r>
            <a:endParaRPr sz="1600" b="1" dirty="0">
              <a:solidFill>
                <a:schemeClr val="bg1"/>
              </a:solidFill>
            </a:endParaRPr>
          </a:p>
          <a:p>
            <a:pPr marL="0" marR="0" lvl="0" indent="0" algn="ctr" rtl="0">
              <a:spcBef>
                <a:spcPts val="0"/>
              </a:spcBef>
              <a:spcAft>
                <a:spcPts val="0"/>
              </a:spcAft>
              <a:buNone/>
            </a:pPr>
            <a:r>
              <a:rPr lang="en" sz="1200" dirty="0">
                <a:solidFill>
                  <a:schemeClr val="bg1"/>
                </a:solidFill>
              </a:rPr>
              <a:t>“Awn” Program supports the launch of existing &amp; new tourism establishments with financing support from 10K upto 1Mn SAR</a:t>
            </a:r>
            <a:endParaRPr sz="1200" dirty="0">
              <a:solidFill>
                <a:schemeClr val="bg1"/>
              </a:solidFill>
            </a:endParaRPr>
          </a:p>
        </p:txBody>
      </p:sp>
      <p:sp>
        <p:nvSpPr>
          <p:cNvPr id="18" name="Google Shape;3071;g22b5d1b4ac3_1_499">
            <a:extLst>
              <a:ext uri="{FF2B5EF4-FFF2-40B4-BE49-F238E27FC236}">
                <a16:creationId xmlns:a16="http://schemas.microsoft.com/office/drawing/2014/main" id="{265A2ECF-555F-088D-74CB-6F41AB740DF1}"/>
              </a:ext>
            </a:extLst>
          </p:cNvPr>
          <p:cNvSpPr/>
          <p:nvPr/>
        </p:nvSpPr>
        <p:spPr>
          <a:xfrm>
            <a:off x="7768454" y="4066318"/>
            <a:ext cx="3598857" cy="1026579"/>
          </a:xfrm>
          <a:prstGeom prst="rect">
            <a:avLst/>
          </a:prstGeom>
          <a:solidFill>
            <a:schemeClr val="tx2"/>
          </a:solidFill>
          <a:ln>
            <a:noFill/>
          </a:ln>
        </p:spPr>
        <p:txBody>
          <a:bodyPr spcFirstLastPara="1" wrap="square" lIns="91425" tIns="61550" rIns="91425" bIns="61550" anchor="ctr" anchorCtr="0">
            <a:noAutofit/>
          </a:bodyPr>
          <a:lstStyle/>
          <a:p>
            <a:pPr marL="0" marR="0" lvl="0" indent="0" algn="ctr" rtl="0">
              <a:spcBef>
                <a:spcPts val="0"/>
              </a:spcBef>
              <a:spcAft>
                <a:spcPts val="0"/>
              </a:spcAft>
              <a:buNone/>
            </a:pPr>
            <a:r>
              <a:rPr lang="en" sz="1600" b="1" dirty="0">
                <a:solidFill>
                  <a:srgbClr val="FFFFFF"/>
                </a:solidFill>
              </a:rPr>
              <a:t>Virtual Tourist sights &amp; landscaping</a:t>
            </a:r>
            <a:endParaRPr sz="1600" dirty="0">
              <a:solidFill>
                <a:srgbClr val="FFFFFF"/>
              </a:solidFill>
            </a:endParaRPr>
          </a:p>
          <a:p>
            <a:pPr marL="0" marR="0" lvl="0" indent="0" algn="ctr" rtl="0">
              <a:spcBef>
                <a:spcPts val="0"/>
              </a:spcBef>
              <a:spcAft>
                <a:spcPts val="0"/>
              </a:spcAft>
              <a:buNone/>
            </a:pPr>
            <a:r>
              <a:rPr lang="en" sz="1200" dirty="0">
                <a:solidFill>
                  <a:srgbClr val="FFFFFF"/>
                </a:solidFill>
              </a:rPr>
              <a:t>MoT is providing extended tourism reality applications, such as: Virtual 3D visits to the Holy mosques &amp; Virtual Al-Ula tours</a:t>
            </a:r>
            <a:endParaRPr sz="1200" dirty="0">
              <a:solidFill>
                <a:srgbClr val="FFFFFF"/>
              </a:solidFill>
            </a:endParaRPr>
          </a:p>
        </p:txBody>
      </p:sp>
      <p:sp>
        <p:nvSpPr>
          <p:cNvPr id="19" name="Google Shape;3072;g22b5d1b4ac3_1_499">
            <a:extLst>
              <a:ext uri="{FF2B5EF4-FFF2-40B4-BE49-F238E27FC236}">
                <a16:creationId xmlns:a16="http://schemas.microsoft.com/office/drawing/2014/main" id="{344D45E0-6CC3-9B6D-03EE-36EC4A009035}"/>
              </a:ext>
            </a:extLst>
          </p:cNvPr>
          <p:cNvSpPr/>
          <p:nvPr/>
        </p:nvSpPr>
        <p:spPr>
          <a:xfrm>
            <a:off x="7768455" y="2884695"/>
            <a:ext cx="3598857" cy="1026579"/>
          </a:xfrm>
          <a:prstGeom prst="rect">
            <a:avLst/>
          </a:prstGeom>
          <a:solidFill>
            <a:schemeClr val="accent6"/>
          </a:solidFill>
          <a:ln>
            <a:noFill/>
          </a:ln>
        </p:spPr>
        <p:txBody>
          <a:bodyPr spcFirstLastPara="1" wrap="square" lIns="91425" tIns="61550" rIns="91425" bIns="61550" anchor="ctr" anchorCtr="0">
            <a:noAutofit/>
          </a:bodyPr>
          <a:lstStyle/>
          <a:p>
            <a:pPr marL="0" marR="0" lvl="0" indent="0" algn="ctr" rtl="0">
              <a:spcBef>
                <a:spcPts val="0"/>
              </a:spcBef>
              <a:spcAft>
                <a:spcPts val="0"/>
              </a:spcAft>
              <a:buNone/>
            </a:pPr>
            <a:r>
              <a:rPr lang="en" sz="1600" b="1" dirty="0">
                <a:solidFill>
                  <a:srgbClr val="FFFFFF"/>
                </a:solidFill>
              </a:rPr>
              <a:t>Tourism Human Capital Development</a:t>
            </a:r>
            <a:endParaRPr sz="1600" dirty="0">
              <a:solidFill>
                <a:srgbClr val="FFFFFF"/>
              </a:solidFill>
            </a:endParaRPr>
          </a:p>
          <a:p>
            <a:pPr marL="0" marR="0" lvl="0" indent="0" algn="ctr" rtl="0">
              <a:spcBef>
                <a:spcPts val="0"/>
              </a:spcBef>
              <a:spcAft>
                <a:spcPts val="0"/>
              </a:spcAft>
              <a:buNone/>
            </a:pPr>
            <a:r>
              <a:rPr lang="en" sz="1200" dirty="0">
                <a:solidFill>
                  <a:srgbClr val="FFFFFF"/>
                </a:solidFill>
              </a:rPr>
              <a:t>Tourism Human Capital Development at MoT is offering a number of possible programs, which will contribute to achieve Vision 2030</a:t>
            </a:r>
            <a:endParaRPr sz="1200" dirty="0">
              <a:solidFill>
                <a:srgbClr val="FFFFFF"/>
              </a:solidFill>
            </a:endParaRPr>
          </a:p>
        </p:txBody>
      </p:sp>
      <p:pic>
        <p:nvPicPr>
          <p:cNvPr id="20" name="Google Shape;3074;g22b5d1b4ac3_1_499">
            <a:extLst>
              <a:ext uri="{FF2B5EF4-FFF2-40B4-BE49-F238E27FC236}">
                <a16:creationId xmlns:a16="http://schemas.microsoft.com/office/drawing/2014/main" id="{7EF9D6A4-589C-E3EC-2A8D-C17037EDCEF2}"/>
              </a:ext>
            </a:extLst>
          </p:cNvPr>
          <p:cNvPicPr preferRelativeResize="0"/>
          <p:nvPr/>
        </p:nvPicPr>
        <p:blipFill>
          <a:blip r:embed="rId8">
            <a:alphaModFix/>
          </a:blip>
          <a:stretch>
            <a:fillRect/>
          </a:stretch>
        </p:blipFill>
        <p:spPr>
          <a:xfrm>
            <a:off x="1053562" y="3140072"/>
            <a:ext cx="506075" cy="506075"/>
          </a:xfrm>
          <a:prstGeom prst="rect">
            <a:avLst/>
          </a:prstGeom>
          <a:noFill/>
          <a:ln>
            <a:noFill/>
          </a:ln>
        </p:spPr>
      </p:pic>
      <p:pic>
        <p:nvPicPr>
          <p:cNvPr id="21" name="Google Shape;3075;g22b5d1b4ac3_1_499">
            <a:extLst>
              <a:ext uri="{FF2B5EF4-FFF2-40B4-BE49-F238E27FC236}">
                <a16:creationId xmlns:a16="http://schemas.microsoft.com/office/drawing/2014/main" id="{49553C3A-0EBB-870C-1B1A-778394A82E3A}"/>
              </a:ext>
            </a:extLst>
          </p:cNvPr>
          <p:cNvPicPr preferRelativeResize="0"/>
          <p:nvPr/>
        </p:nvPicPr>
        <p:blipFill>
          <a:blip r:embed="rId9">
            <a:alphaModFix/>
          </a:blip>
          <a:stretch>
            <a:fillRect/>
          </a:stretch>
        </p:blipFill>
        <p:spPr>
          <a:xfrm>
            <a:off x="6769408" y="1974623"/>
            <a:ext cx="483475" cy="483475"/>
          </a:xfrm>
          <a:prstGeom prst="rect">
            <a:avLst/>
          </a:prstGeom>
          <a:noFill/>
          <a:ln>
            <a:noFill/>
          </a:ln>
        </p:spPr>
      </p:pic>
      <p:pic>
        <p:nvPicPr>
          <p:cNvPr id="22" name="Google Shape;3076;g22b5d1b4ac3_1_499">
            <a:extLst>
              <a:ext uri="{FF2B5EF4-FFF2-40B4-BE49-F238E27FC236}">
                <a16:creationId xmlns:a16="http://schemas.microsoft.com/office/drawing/2014/main" id="{0349902F-AA72-0422-7F5E-44A64A4A3A9A}"/>
              </a:ext>
            </a:extLst>
          </p:cNvPr>
          <p:cNvPicPr preferRelativeResize="0"/>
          <p:nvPr/>
        </p:nvPicPr>
        <p:blipFill>
          <a:blip r:embed="rId10">
            <a:alphaModFix/>
          </a:blip>
          <a:stretch>
            <a:fillRect/>
          </a:stretch>
        </p:blipFill>
        <p:spPr>
          <a:xfrm>
            <a:off x="6750732" y="3101972"/>
            <a:ext cx="520826" cy="520826"/>
          </a:xfrm>
          <a:prstGeom prst="rect">
            <a:avLst/>
          </a:prstGeom>
          <a:noFill/>
          <a:ln>
            <a:noFill/>
          </a:ln>
        </p:spPr>
      </p:pic>
      <p:pic>
        <p:nvPicPr>
          <p:cNvPr id="23" name="Google Shape;3077;g22b5d1b4ac3_1_499">
            <a:extLst>
              <a:ext uri="{FF2B5EF4-FFF2-40B4-BE49-F238E27FC236}">
                <a16:creationId xmlns:a16="http://schemas.microsoft.com/office/drawing/2014/main" id="{A5198EF1-B5C4-D1E4-50DA-E23396FB8AB6}"/>
              </a:ext>
            </a:extLst>
          </p:cNvPr>
          <p:cNvPicPr preferRelativeResize="0"/>
          <p:nvPr/>
        </p:nvPicPr>
        <p:blipFill>
          <a:blip r:embed="rId11">
            <a:alphaModFix/>
          </a:blip>
          <a:stretch>
            <a:fillRect/>
          </a:stretch>
        </p:blipFill>
        <p:spPr>
          <a:xfrm>
            <a:off x="6785401" y="4376982"/>
            <a:ext cx="446125" cy="446125"/>
          </a:xfrm>
          <a:prstGeom prst="rect">
            <a:avLst/>
          </a:prstGeom>
          <a:noFill/>
          <a:ln>
            <a:noFill/>
          </a:ln>
        </p:spPr>
      </p:pic>
      <p:pic>
        <p:nvPicPr>
          <p:cNvPr id="24" name="Google Shape;3078;g22b5d1b4ac3_1_499">
            <a:extLst>
              <a:ext uri="{FF2B5EF4-FFF2-40B4-BE49-F238E27FC236}">
                <a16:creationId xmlns:a16="http://schemas.microsoft.com/office/drawing/2014/main" id="{6C09E1E8-9AED-765D-72C8-B919E41FD1D3}"/>
              </a:ext>
            </a:extLst>
          </p:cNvPr>
          <p:cNvPicPr preferRelativeResize="0"/>
          <p:nvPr/>
        </p:nvPicPr>
        <p:blipFill>
          <a:blip r:embed="rId12">
            <a:alphaModFix/>
          </a:blip>
          <a:stretch>
            <a:fillRect/>
          </a:stretch>
        </p:blipFill>
        <p:spPr>
          <a:xfrm>
            <a:off x="1072249" y="5519374"/>
            <a:ext cx="483475" cy="483475"/>
          </a:xfrm>
          <a:prstGeom prst="rect">
            <a:avLst/>
          </a:prstGeom>
          <a:noFill/>
          <a:ln>
            <a:noFill/>
          </a:ln>
        </p:spPr>
      </p:pic>
      <p:sp>
        <p:nvSpPr>
          <p:cNvPr id="25" name="Google Shape;3080;g22b5d1b4ac3_1_499">
            <a:extLst>
              <a:ext uri="{FF2B5EF4-FFF2-40B4-BE49-F238E27FC236}">
                <a16:creationId xmlns:a16="http://schemas.microsoft.com/office/drawing/2014/main" id="{16B1B7C9-7D4F-0BE5-19C9-2DDA983CB54F}"/>
              </a:ext>
            </a:extLst>
          </p:cNvPr>
          <p:cNvSpPr/>
          <p:nvPr/>
        </p:nvSpPr>
        <p:spPr>
          <a:xfrm>
            <a:off x="7780843" y="5247940"/>
            <a:ext cx="3598800" cy="1026395"/>
          </a:xfrm>
          <a:prstGeom prst="rect">
            <a:avLst/>
          </a:prstGeom>
          <a:solidFill>
            <a:srgbClr val="7D7D7D"/>
          </a:solidFill>
          <a:ln>
            <a:noFill/>
          </a:ln>
        </p:spPr>
        <p:txBody>
          <a:bodyPr spcFirstLastPara="1" wrap="square" lIns="45700" tIns="61550" rIns="45700" bIns="61550" anchor="ctr" anchorCtr="0">
            <a:noAutofit/>
          </a:bodyPr>
          <a:lstStyle/>
          <a:p>
            <a:pPr marL="0" lvl="0" indent="0" algn="ctr" rtl="0">
              <a:spcBef>
                <a:spcPts val="0"/>
              </a:spcBef>
              <a:spcAft>
                <a:spcPts val="0"/>
              </a:spcAft>
              <a:buClr>
                <a:schemeClr val="dk1"/>
              </a:buClr>
              <a:buFont typeface="Arial"/>
              <a:buNone/>
            </a:pPr>
            <a:r>
              <a:rPr lang="en" sz="1600" b="1" dirty="0">
                <a:solidFill>
                  <a:schemeClr val="lt1"/>
                </a:solidFill>
              </a:rPr>
              <a:t>Free Overnight Stopover</a:t>
            </a:r>
            <a:endParaRPr sz="1600" dirty="0">
              <a:solidFill>
                <a:schemeClr val="lt1"/>
              </a:solidFill>
            </a:endParaRPr>
          </a:p>
          <a:p>
            <a:pPr marL="0" lvl="0" indent="0" algn="ctr" rtl="0">
              <a:spcBef>
                <a:spcPts val="0"/>
              </a:spcBef>
              <a:spcAft>
                <a:spcPts val="0"/>
              </a:spcAft>
              <a:buClr>
                <a:schemeClr val="dk1"/>
              </a:buClr>
              <a:buSzPts val="1100"/>
              <a:buFont typeface="Arial"/>
              <a:buNone/>
            </a:pPr>
            <a:r>
              <a:rPr lang="en" sz="1200" dirty="0">
                <a:solidFill>
                  <a:schemeClr val="lt1"/>
                </a:solidFill>
              </a:rPr>
              <a:t>In a bid to attract new visitors to the destination, KSA has launched a new stopover visa to encourage travellers to explore the country</a:t>
            </a:r>
            <a:endParaRPr sz="1200" dirty="0">
              <a:solidFill>
                <a:schemeClr val="lt1"/>
              </a:solidFill>
            </a:endParaRPr>
          </a:p>
        </p:txBody>
      </p:sp>
      <p:sp>
        <p:nvSpPr>
          <p:cNvPr id="26" name="Google Shape;3081;g22b5d1b4ac3_1_499">
            <a:extLst>
              <a:ext uri="{FF2B5EF4-FFF2-40B4-BE49-F238E27FC236}">
                <a16:creationId xmlns:a16="http://schemas.microsoft.com/office/drawing/2014/main" id="{ACCCD7A3-7D09-29BE-6424-868F9F645FC1}"/>
              </a:ext>
            </a:extLst>
          </p:cNvPr>
          <p:cNvSpPr/>
          <p:nvPr/>
        </p:nvSpPr>
        <p:spPr>
          <a:xfrm rot="4903663">
            <a:off x="6848965" y="5615907"/>
            <a:ext cx="318998" cy="321600"/>
          </a:xfrm>
          <a:custGeom>
            <a:avLst/>
            <a:gdLst/>
            <a:ahLst/>
            <a:cxnLst/>
            <a:rect l="l" t="t" r="r" b="b"/>
            <a:pathLst>
              <a:path w="447772" h="447853" extrusionOk="0">
                <a:moveTo>
                  <a:pt x="112845" y="447854"/>
                </a:moveTo>
                <a:cubicBezTo>
                  <a:pt x="106935" y="447772"/>
                  <a:pt x="101711" y="443840"/>
                  <a:pt x="100031" y="438150"/>
                </a:cubicBezTo>
                <a:cubicBezTo>
                  <a:pt x="98786" y="434169"/>
                  <a:pt x="87590" y="391186"/>
                  <a:pt x="80872" y="366615"/>
                </a:cubicBezTo>
                <a:cubicBezTo>
                  <a:pt x="56426" y="360395"/>
                  <a:pt x="13754" y="348638"/>
                  <a:pt x="9710" y="347332"/>
                </a:cubicBezTo>
                <a:cubicBezTo>
                  <a:pt x="3801" y="345587"/>
                  <a:pt x="-180" y="340100"/>
                  <a:pt x="6" y="333958"/>
                </a:cubicBezTo>
                <a:cubicBezTo>
                  <a:pt x="442" y="324005"/>
                  <a:pt x="629" y="319402"/>
                  <a:pt x="83671" y="299870"/>
                </a:cubicBezTo>
                <a:lnTo>
                  <a:pt x="187366" y="195616"/>
                </a:lnTo>
                <a:cubicBezTo>
                  <a:pt x="35650" y="124019"/>
                  <a:pt x="32602" y="114751"/>
                  <a:pt x="30735" y="109277"/>
                </a:cubicBezTo>
                <a:lnTo>
                  <a:pt x="28994" y="104114"/>
                </a:lnTo>
                <a:lnTo>
                  <a:pt x="31544" y="98764"/>
                </a:lnTo>
                <a:cubicBezTo>
                  <a:pt x="36334" y="89621"/>
                  <a:pt x="37765" y="87443"/>
                  <a:pt x="145129" y="96898"/>
                </a:cubicBezTo>
                <a:cubicBezTo>
                  <a:pt x="164225" y="98578"/>
                  <a:pt x="184317" y="100444"/>
                  <a:pt x="203974" y="102372"/>
                </a:cubicBezTo>
                <a:cubicBezTo>
                  <a:pt x="229229" y="104798"/>
                  <a:pt x="253737" y="107286"/>
                  <a:pt x="273891" y="109401"/>
                </a:cubicBezTo>
                <a:lnTo>
                  <a:pt x="345363" y="37556"/>
                </a:lnTo>
                <a:cubicBezTo>
                  <a:pt x="364833" y="19655"/>
                  <a:pt x="388596" y="7115"/>
                  <a:pt x="414348" y="1166"/>
                </a:cubicBezTo>
                <a:cubicBezTo>
                  <a:pt x="433507" y="-3188"/>
                  <a:pt x="441594" y="5645"/>
                  <a:pt x="444765" y="11306"/>
                </a:cubicBezTo>
                <a:cubicBezTo>
                  <a:pt x="458015" y="35192"/>
                  <a:pt x="424114" y="84955"/>
                  <a:pt x="408438" y="100693"/>
                </a:cubicBezTo>
                <a:lnTo>
                  <a:pt x="336904" y="172601"/>
                </a:lnTo>
                <a:cubicBezTo>
                  <a:pt x="361164" y="408976"/>
                  <a:pt x="357369" y="410905"/>
                  <a:pt x="347541" y="416192"/>
                </a:cubicBezTo>
                <a:lnTo>
                  <a:pt x="342689" y="418742"/>
                </a:lnTo>
                <a:lnTo>
                  <a:pt x="336966" y="417001"/>
                </a:lnTo>
                <a:cubicBezTo>
                  <a:pt x="331430" y="415134"/>
                  <a:pt x="322286" y="412086"/>
                  <a:pt x="251000" y="259686"/>
                </a:cubicBezTo>
                <a:lnTo>
                  <a:pt x="147430" y="363816"/>
                </a:lnTo>
                <a:cubicBezTo>
                  <a:pt x="127960" y="447232"/>
                  <a:pt x="123357" y="447418"/>
                  <a:pt x="113405" y="447854"/>
                </a:cubicBezTo>
                <a:close/>
                <a:moveTo>
                  <a:pt x="54559" y="333336"/>
                </a:moveTo>
                <a:lnTo>
                  <a:pt x="94495" y="343973"/>
                </a:lnTo>
                <a:lnTo>
                  <a:pt x="101648" y="345901"/>
                </a:lnTo>
                <a:lnTo>
                  <a:pt x="103514" y="352993"/>
                </a:lnTo>
                <a:cubicBezTo>
                  <a:pt x="107122" y="366740"/>
                  <a:pt x="110792" y="380673"/>
                  <a:pt x="114089" y="392928"/>
                </a:cubicBezTo>
                <a:cubicBezTo>
                  <a:pt x="117262" y="380860"/>
                  <a:pt x="120309" y="367175"/>
                  <a:pt x="123544" y="354548"/>
                </a:cubicBezTo>
                <a:lnTo>
                  <a:pt x="124353" y="351064"/>
                </a:lnTo>
                <a:lnTo>
                  <a:pt x="258714" y="216019"/>
                </a:lnTo>
                <a:lnTo>
                  <a:pt x="266365" y="232565"/>
                </a:lnTo>
                <a:cubicBezTo>
                  <a:pt x="287825" y="278783"/>
                  <a:pt x="311712" y="328111"/>
                  <a:pt x="328569" y="360333"/>
                </a:cubicBezTo>
                <a:cubicBezTo>
                  <a:pt x="326143" y="324317"/>
                  <a:pt x="320793" y="263108"/>
                  <a:pt x="311151" y="169180"/>
                </a:cubicBezTo>
                <a:lnTo>
                  <a:pt x="310529" y="162959"/>
                </a:lnTo>
                <a:lnTo>
                  <a:pt x="390524" y="82591"/>
                </a:lnTo>
                <a:cubicBezTo>
                  <a:pt x="407692" y="65361"/>
                  <a:pt x="422248" y="35503"/>
                  <a:pt x="422683" y="25177"/>
                </a:cubicBezTo>
                <a:lnTo>
                  <a:pt x="420071" y="25612"/>
                </a:lnTo>
                <a:cubicBezTo>
                  <a:pt x="398983" y="30540"/>
                  <a:pt x="379513" y="40727"/>
                  <a:pt x="363403" y="55222"/>
                </a:cubicBezTo>
                <a:lnTo>
                  <a:pt x="283346" y="135652"/>
                </a:lnTo>
                <a:lnTo>
                  <a:pt x="277126" y="135029"/>
                </a:lnTo>
                <a:cubicBezTo>
                  <a:pt x="255852" y="132852"/>
                  <a:pt x="229104" y="130115"/>
                  <a:pt x="201362" y="127441"/>
                </a:cubicBezTo>
                <a:cubicBezTo>
                  <a:pt x="181767" y="125512"/>
                  <a:pt x="161737" y="123646"/>
                  <a:pt x="142703" y="121967"/>
                </a:cubicBezTo>
                <a:cubicBezTo>
                  <a:pt x="118568" y="119852"/>
                  <a:pt x="100404" y="118421"/>
                  <a:pt x="86719" y="117550"/>
                </a:cubicBezTo>
                <a:cubicBezTo>
                  <a:pt x="118754" y="134407"/>
                  <a:pt x="168020" y="158543"/>
                  <a:pt x="214175" y="180127"/>
                </a:cubicBezTo>
                <a:lnTo>
                  <a:pt x="230473" y="187779"/>
                </a:lnTo>
                <a:lnTo>
                  <a:pt x="96485" y="322886"/>
                </a:lnTo>
                <a:lnTo>
                  <a:pt x="92940" y="323694"/>
                </a:lnTo>
                <a:cubicBezTo>
                  <a:pt x="80312" y="326680"/>
                  <a:pt x="66627" y="330101"/>
                  <a:pt x="54559" y="33333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53005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D8EB3DD-108D-E96C-5779-7D0502BFDF85}"/>
              </a:ext>
            </a:extLst>
          </p:cNvPr>
          <p:cNvGraphicFramePr>
            <a:graphicFrameLocks noChangeAspect="1"/>
          </p:cNvGraphicFramePr>
          <p:nvPr>
            <p:custDataLst>
              <p:tags r:id="rId1"/>
            </p:custDataLst>
            <p:extLst>
              <p:ext uri="{D42A27DB-BD31-4B8C-83A1-F6EECF244321}">
                <p14:modId xmlns:p14="http://schemas.microsoft.com/office/powerpoint/2010/main" val="295351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6" name="think-cell data - do not delete" hidden="1">
                        <a:extLst>
                          <a:ext uri="{FF2B5EF4-FFF2-40B4-BE49-F238E27FC236}">
                            <a16:creationId xmlns:a16="http://schemas.microsoft.com/office/drawing/2014/main" id="{9D8EB3DD-108D-E96C-5779-7D0502BFDF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34" name="Picture 10" descr="Saudi Arabia's hosting of 2027 AFC Asian Cup is an idea whose time has  finally come | Arab News">
            <a:extLst>
              <a:ext uri="{FF2B5EF4-FFF2-40B4-BE49-F238E27FC236}">
                <a16:creationId xmlns:a16="http://schemas.microsoft.com/office/drawing/2014/main" id="{73713F4F-60A0-E46C-F129-3DEB5ACCB3D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3079" b="6212"/>
          <a:stretch/>
        </p:blipFill>
        <p:spPr bwMode="auto">
          <a:xfrm>
            <a:off x="958471" y="1770266"/>
            <a:ext cx="3018621" cy="17235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Saudi Arabia to Host Expo 2030 in Riyadh">
            <a:extLst>
              <a:ext uri="{FF2B5EF4-FFF2-40B4-BE49-F238E27FC236}">
                <a16:creationId xmlns:a16="http://schemas.microsoft.com/office/drawing/2014/main" id="{85B64141-58CF-A95E-A953-2382670CAB1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2230" y="4194386"/>
            <a:ext cx="3026896" cy="1703073"/>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Trojena: The mountains of NEOM">
            <a:extLst>
              <a:ext uri="{FF2B5EF4-FFF2-40B4-BE49-F238E27FC236}">
                <a16:creationId xmlns:a16="http://schemas.microsoft.com/office/drawing/2014/main" id="{B7F580A1-4E92-BF24-34D7-FEA52884CE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2184" y="1756180"/>
            <a:ext cx="3018622" cy="16979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audi Arabia plots double bid to host Olympics and World Cup ...">
            <a:extLst>
              <a:ext uri="{FF2B5EF4-FFF2-40B4-BE49-F238E27FC236}">
                <a16:creationId xmlns:a16="http://schemas.microsoft.com/office/drawing/2014/main" id="{2A82C3D4-1E06-AA3F-17CE-6B9AD06A178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9393" b="4099"/>
          <a:stretch/>
        </p:blipFill>
        <p:spPr bwMode="auto">
          <a:xfrm>
            <a:off x="6253910" y="4189197"/>
            <a:ext cx="3018621" cy="1635631"/>
          </a:xfrm>
          <a:prstGeom prst="rect">
            <a:avLst/>
          </a:prstGeom>
          <a:noFill/>
          <a:extLst>
            <a:ext uri="{909E8E84-426E-40DD-AFC4-6F175D3DCCD1}">
              <a14:hiddenFill xmlns:a14="http://schemas.microsoft.com/office/drawing/2010/main">
                <a:solidFill>
                  <a:srgbClr val="FFFFFF"/>
                </a:solidFill>
              </a14:hiddenFill>
            </a:ext>
          </a:extLst>
        </p:spPr>
      </p:pic>
      <p:sp>
        <p:nvSpPr>
          <p:cNvPr id="4" name="LOREM IPSUM">
            <a:extLst>
              <a:ext uri="{FF2B5EF4-FFF2-40B4-BE49-F238E27FC236}">
                <a16:creationId xmlns:a16="http://schemas.microsoft.com/office/drawing/2014/main" id="{7B805B00-7C01-55CE-8964-95CDF0B8BA2F}"/>
              </a:ext>
            </a:extLst>
          </p:cNvPr>
          <p:cNvSpPr txBox="1"/>
          <p:nvPr/>
        </p:nvSpPr>
        <p:spPr>
          <a:xfrm>
            <a:off x="958460" y="260416"/>
            <a:ext cx="8389364" cy="12105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KEY EVENTS IMPACTING HOSPITALITY &amp; TOURISM</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176" name="TextBox 175">
            <a:extLst>
              <a:ext uri="{FF2B5EF4-FFF2-40B4-BE49-F238E27FC236}">
                <a16:creationId xmlns:a16="http://schemas.microsoft.com/office/drawing/2014/main" id="{3CA0EABA-709C-7BEE-A9BD-2B3AE0D1E89C}"/>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Vision 2030, MT</a:t>
            </a:r>
          </a:p>
        </p:txBody>
      </p:sp>
      <p:sp>
        <p:nvSpPr>
          <p:cNvPr id="2" name="Rectangle: Rounded Corners 1">
            <a:extLst>
              <a:ext uri="{FF2B5EF4-FFF2-40B4-BE49-F238E27FC236}">
                <a16:creationId xmlns:a16="http://schemas.microsoft.com/office/drawing/2014/main" id="{34032F92-657D-DA95-8A03-B498969A22F3}"/>
              </a:ext>
            </a:extLst>
          </p:cNvPr>
          <p:cNvSpPr/>
          <p:nvPr/>
        </p:nvSpPr>
        <p:spPr>
          <a:xfrm>
            <a:off x="958460" y="1770267"/>
            <a:ext cx="4979632" cy="2277395"/>
          </a:xfrm>
          <a:prstGeom prst="roundRect">
            <a:avLst/>
          </a:prstGeom>
          <a:noFill/>
          <a:ln w="6350">
            <a:prstDash val="dashDot"/>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Rounded Corners 4">
            <a:extLst>
              <a:ext uri="{FF2B5EF4-FFF2-40B4-BE49-F238E27FC236}">
                <a16:creationId xmlns:a16="http://schemas.microsoft.com/office/drawing/2014/main" id="{FF98C8DA-A2DC-53A0-396C-B505B792E5BA}"/>
              </a:ext>
            </a:extLst>
          </p:cNvPr>
          <p:cNvSpPr/>
          <p:nvPr/>
        </p:nvSpPr>
        <p:spPr>
          <a:xfrm>
            <a:off x="6253910" y="1770266"/>
            <a:ext cx="4979632" cy="2277395"/>
          </a:xfrm>
          <a:prstGeom prst="roundRect">
            <a:avLst/>
          </a:prstGeom>
          <a:noFill/>
          <a:ln w="6350">
            <a:prstDash val="dashDot"/>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21690DE7-9676-B387-53F4-E658E7ECE4B9}"/>
              </a:ext>
            </a:extLst>
          </p:cNvPr>
          <p:cNvSpPr/>
          <p:nvPr/>
        </p:nvSpPr>
        <p:spPr>
          <a:xfrm>
            <a:off x="958460" y="4203469"/>
            <a:ext cx="4979632" cy="2277395"/>
          </a:xfrm>
          <a:prstGeom prst="roundRect">
            <a:avLst/>
          </a:prstGeom>
          <a:noFill/>
          <a:ln w="6350">
            <a:prstDash val="dashDot"/>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C5BA7C8C-13DA-34CC-3074-98F6C30EA71C}"/>
              </a:ext>
            </a:extLst>
          </p:cNvPr>
          <p:cNvSpPr/>
          <p:nvPr/>
        </p:nvSpPr>
        <p:spPr>
          <a:xfrm>
            <a:off x="6253910" y="4203469"/>
            <a:ext cx="4979632" cy="2277395"/>
          </a:xfrm>
          <a:prstGeom prst="roundRect">
            <a:avLst/>
          </a:prstGeom>
          <a:noFill/>
          <a:ln w="6350">
            <a:prstDash val="dashDot"/>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EC495A11-40B6-2D81-935E-9CA395DD05ED}"/>
              </a:ext>
            </a:extLst>
          </p:cNvPr>
          <p:cNvSpPr/>
          <p:nvPr/>
        </p:nvSpPr>
        <p:spPr>
          <a:xfrm>
            <a:off x="8048738" y="2142887"/>
            <a:ext cx="2721166" cy="32012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2029 Asia Winter Games</a:t>
            </a:r>
          </a:p>
        </p:txBody>
      </p:sp>
      <p:sp>
        <p:nvSpPr>
          <p:cNvPr id="12" name="Rectangle: Rounded Corners 11">
            <a:extLst>
              <a:ext uri="{FF2B5EF4-FFF2-40B4-BE49-F238E27FC236}">
                <a16:creationId xmlns:a16="http://schemas.microsoft.com/office/drawing/2014/main" id="{DDA3A593-85C9-DB50-5C1E-75299E7ACEBD}"/>
              </a:ext>
            </a:extLst>
          </p:cNvPr>
          <p:cNvSpPr/>
          <p:nvPr/>
        </p:nvSpPr>
        <p:spPr>
          <a:xfrm>
            <a:off x="2782679" y="4583521"/>
            <a:ext cx="2721166" cy="32012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EXPO 2030</a:t>
            </a:r>
          </a:p>
        </p:txBody>
      </p:sp>
      <p:sp>
        <p:nvSpPr>
          <p:cNvPr id="13" name="Rectangle: Rounded Corners 12">
            <a:extLst>
              <a:ext uri="{FF2B5EF4-FFF2-40B4-BE49-F238E27FC236}">
                <a16:creationId xmlns:a16="http://schemas.microsoft.com/office/drawing/2014/main" id="{A5FC3864-D549-BB00-9B9E-764353EAE033}"/>
              </a:ext>
            </a:extLst>
          </p:cNvPr>
          <p:cNvSpPr/>
          <p:nvPr/>
        </p:nvSpPr>
        <p:spPr>
          <a:xfrm>
            <a:off x="8048738" y="4583521"/>
            <a:ext cx="2721166" cy="32012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2034 FIFA World Cup</a:t>
            </a:r>
          </a:p>
        </p:txBody>
      </p:sp>
      <p:sp>
        <p:nvSpPr>
          <p:cNvPr id="10" name="Rectangle: Rounded Corners 9">
            <a:extLst>
              <a:ext uri="{FF2B5EF4-FFF2-40B4-BE49-F238E27FC236}">
                <a16:creationId xmlns:a16="http://schemas.microsoft.com/office/drawing/2014/main" id="{8B19D06B-6AF4-11CD-75A1-4F7EBA98419C}"/>
              </a:ext>
            </a:extLst>
          </p:cNvPr>
          <p:cNvSpPr/>
          <p:nvPr/>
        </p:nvSpPr>
        <p:spPr>
          <a:xfrm>
            <a:off x="2782679" y="2142887"/>
            <a:ext cx="2721166" cy="320121"/>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t>2027 Asian Cup</a:t>
            </a:r>
          </a:p>
        </p:txBody>
      </p:sp>
      <p:sp>
        <p:nvSpPr>
          <p:cNvPr id="17" name="TextBox 16">
            <a:extLst>
              <a:ext uri="{FF2B5EF4-FFF2-40B4-BE49-F238E27FC236}">
                <a16:creationId xmlns:a16="http://schemas.microsoft.com/office/drawing/2014/main" id="{DFC19D8D-26D6-0B4E-8D2E-603AF4D11A3D}"/>
              </a:ext>
            </a:extLst>
          </p:cNvPr>
          <p:cNvSpPr txBox="1"/>
          <p:nvPr/>
        </p:nvSpPr>
        <p:spPr>
          <a:xfrm>
            <a:off x="6331027" y="3511041"/>
            <a:ext cx="482539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In October 2022, the Kingdom won the bid to host the 2029 Asia Winter Games in </a:t>
            </a:r>
            <a:r>
              <a:rPr lang="en-US" sz="1200" dirty="0" err="1">
                <a:latin typeface="Arial" panose="020B0604020202020204" pitchFamily="34" charset="0"/>
                <a:cs typeface="Arial" panose="020B0604020202020204" pitchFamily="34" charset="0"/>
              </a:rPr>
              <a:t>Trojena</a:t>
            </a:r>
            <a:r>
              <a:rPr lang="en-US" sz="1200" dirty="0">
                <a:latin typeface="Arial" panose="020B0604020202020204" pitchFamily="34" charset="0"/>
                <a:cs typeface="Arial" panose="020B0604020202020204" pitchFamily="34" charset="0"/>
              </a:rPr>
              <a:t> - NEOM</a:t>
            </a:r>
          </a:p>
        </p:txBody>
      </p:sp>
      <p:sp>
        <p:nvSpPr>
          <p:cNvPr id="18" name="TextBox 17">
            <a:extLst>
              <a:ext uri="{FF2B5EF4-FFF2-40B4-BE49-F238E27FC236}">
                <a16:creationId xmlns:a16="http://schemas.microsoft.com/office/drawing/2014/main" id="{2BF8F4AE-618D-ED2E-C761-A1DE4ACB5075}"/>
              </a:ext>
            </a:extLst>
          </p:cNvPr>
          <p:cNvSpPr txBox="1"/>
          <p:nvPr/>
        </p:nvSpPr>
        <p:spPr>
          <a:xfrm>
            <a:off x="6302019" y="5922013"/>
            <a:ext cx="482539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Investment in sports is a significant part of Saudi Arabia's Vision 2030 strategy to diversify its economy away from oil</a:t>
            </a:r>
          </a:p>
        </p:txBody>
      </p:sp>
      <p:sp>
        <p:nvSpPr>
          <p:cNvPr id="26" name="TextBox 25">
            <a:extLst>
              <a:ext uri="{FF2B5EF4-FFF2-40B4-BE49-F238E27FC236}">
                <a16:creationId xmlns:a16="http://schemas.microsoft.com/office/drawing/2014/main" id="{C956BE26-8D7A-8677-20BA-999253CDC9DB}"/>
              </a:ext>
            </a:extLst>
          </p:cNvPr>
          <p:cNvSpPr txBox="1"/>
          <p:nvPr/>
        </p:nvSpPr>
        <p:spPr>
          <a:xfrm>
            <a:off x="1021806" y="5960674"/>
            <a:ext cx="482539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The World’s EXPO 2030 will be held in Riyadh. It is planned to span 6 million sqm of land and receive 40 million visitors</a:t>
            </a:r>
          </a:p>
        </p:txBody>
      </p:sp>
      <p:sp>
        <p:nvSpPr>
          <p:cNvPr id="27" name="TextBox 26">
            <a:extLst>
              <a:ext uri="{FF2B5EF4-FFF2-40B4-BE49-F238E27FC236}">
                <a16:creationId xmlns:a16="http://schemas.microsoft.com/office/drawing/2014/main" id="{F5D32938-1D3C-FA6D-D5A2-1A5CABEBFBCB}"/>
              </a:ext>
            </a:extLst>
          </p:cNvPr>
          <p:cNvSpPr txBox="1"/>
          <p:nvPr/>
        </p:nvSpPr>
        <p:spPr>
          <a:xfrm>
            <a:off x="972230" y="3511041"/>
            <a:ext cx="4825398" cy="461665"/>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The 2027 AFC Asian Cup will be held in the Kingdom across 10 stadiums in Riyadh, Jeddah and DMA</a:t>
            </a:r>
          </a:p>
        </p:txBody>
      </p:sp>
    </p:spTree>
    <p:extLst>
      <p:ext uri="{BB962C8B-B14F-4D97-AF65-F5344CB8AC3E}">
        <p14:creationId xmlns:p14="http://schemas.microsoft.com/office/powerpoint/2010/main" val="9881026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117FA3-93D4-E13F-B6AC-CB5C319F0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1117FA3-93D4-E13F-B6AC-CB5C319F0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7" name="Google Shape;2503;g228be8677e8_2_11">
            <a:extLst>
              <a:ext uri="{FF2B5EF4-FFF2-40B4-BE49-F238E27FC236}">
                <a16:creationId xmlns:a16="http://schemas.microsoft.com/office/drawing/2014/main" id="{D8418693-A555-2280-8BFD-5756D7C9D4FA}"/>
              </a:ext>
            </a:extLst>
          </p:cNvPr>
          <p:cNvSpPr txBox="1"/>
          <p:nvPr/>
        </p:nvSpPr>
        <p:spPr>
          <a:xfrm>
            <a:off x="691310" y="4299944"/>
            <a:ext cx="9187184" cy="707856"/>
          </a:xfrm>
          <a:prstGeom prst="rect">
            <a:avLst/>
          </a:prstGeom>
          <a:noFill/>
          <a:ln>
            <a:noFill/>
          </a:ln>
        </p:spPr>
        <p:txBody>
          <a:bodyPr spcFirstLastPara="1" wrap="square" lIns="91425" tIns="91425" rIns="91425" bIns="91425" anchor="t" anchorCtr="0">
            <a:spAutoFit/>
          </a:bodyPr>
          <a:lstStyle/>
          <a:p>
            <a:pPr marL="12700" marR="5080" lvl="0" indent="0" algn="l" rtl="0">
              <a:lnSpc>
                <a:spcPct val="100000"/>
              </a:lnSpc>
              <a:spcBef>
                <a:spcPts val="0"/>
              </a:spcBef>
              <a:spcAft>
                <a:spcPts val="0"/>
              </a:spcAft>
              <a:buClr>
                <a:srgbClr val="000000"/>
              </a:buClr>
              <a:buSzPts val="3600"/>
              <a:buFont typeface="Arial"/>
              <a:buNone/>
            </a:pPr>
            <a:r>
              <a:rPr lang="en-US" sz="3400" b="1" dirty="0">
                <a:latin typeface="+mj-lt"/>
                <a:ea typeface="Georgia"/>
                <a:cs typeface="Georgia"/>
                <a:sym typeface="Georgia"/>
              </a:rPr>
              <a:t>Conclusion</a:t>
            </a:r>
          </a:p>
        </p:txBody>
      </p:sp>
    </p:spTree>
    <p:extLst>
      <p:ext uri="{BB962C8B-B14F-4D97-AF65-F5344CB8AC3E}">
        <p14:creationId xmlns:p14="http://schemas.microsoft.com/office/powerpoint/2010/main" val="1724593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60" y="537415"/>
            <a:ext cx="8389364" cy="65659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IN CONCLUSION</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3" name="Google Shape;3319;p27">
            <a:extLst>
              <a:ext uri="{FF2B5EF4-FFF2-40B4-BE49-F238E27FC236}">
                <a16:creationId xmlns:a16="http://schemas.microsoft.com/office/drawing/2014/main" id="{9C80012E-FE1D-02B7-0DD1-0C3847B685F3}"/>
              </a:ext>
            </a:extLst>
          </p:cNvPr>
          <p:cNvSpPr/>
          <p:nvPr/>
        </p:nvSpPr>
        <p:spPr>
          <a:xfrm>
            <a:off x="1705913" y="1702965"/>
            <a:ext cx="2085600" cy="667800"/>
          </a:xfrm>
          <a:prstGeom prst="rect">
            <a:avLst/>
          </a:prstGeom>
          <a:solidFill>
            <a:schemeClr val="accent1"/>
          </a:solidFill>
          <a:ln>
            <a:noFill/>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sz="1400" b="1" i="0" u="none" strike="noStrike" cap="none">
                <a:solidFill>
                  <a:schemeClr val="lt1"/>
                </a:solidFill>
                <a:latin typeface="Arial"/>
                <a:ea typeface="Arial"/>
                <a:cs typeface="Arial"/>
                <a:sym typeface="Arial"/>
              </a:rPr>
              <a:t>Reimagine</a:t>
            </a:r>
            <a:endParaRPr sz="1400" b="1" i="0" u="none" strike="noStrike" cap="none">
              <a:solidFill>
                <a:schemeClr val="lt1"/>
              </a:solidFill>
              <a:latin typeface="Arial"/>
              <a:ea typeface="Arial"/>
              <a:cs typeface="Arial"/>
              <a:sym typeface="Arial"/>
            </a:endParaRPr>
          </a:p>
        </p:txBody>
      </p:sp>
      <p:sp>
        <p:nvSpPr>
          <p:cNvPr id="7" name="Google Shape;3320;p27">
            <a:extLst>
              <a:ext uri="{FF2B5EF4-FFF2-40B4-BE49-F238E27FC236}">
                <a16:creationId xmlns:a16="http://schemas.microsoft.com/office/drawing/2014/main" id="{446A402B-118B-7789-CB79-3C2DBD7EF919}"/>
              </a:ext>
            </a:extLst>
          </p:cNvPr>
          <p:cNvSpPr/>
          <p:nvPr/>
        </p:nvSpPr>
        <p:spPr>
          <a:xfrm>
            <a:off x="3884191" y="1702965"/>
            <a:ext cx="5846700" cy="667800"/>
          </a:xfrm>
          <a:prstGeom prst="rect">
            <a:avLst/>
          </a:prstGeom>
          <a:solidFill>
            <a:srgbClr val="FFFFFF"/>
          </a:solidFill>
          <a:ln w="9525" cap="flat" cmpd="sng">
            <a:solidFill>
              <a:schemeClr val="accent1"/>
            </a:solidFill>
            <a:prstDash val="solid"/>
            <a:round/>
            <a:headEnd type="none" w="sm" len="sm"/>
            <a:tailEnd type="none" w="sm" len="sm"/>
          </a:ln>
        </p:spPr>
        <p:txBody>
          <a:bodyPr spcFirstLastPara="1" wrap="square" lIns="182880" tIns="182880" rIns="182880" bIns="18288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200" b="0" i="0" u="none" strike="noStrike" cap="none">
                <a:solidFill>
                  <a:schemeClr val="dk1"/>
                </a:solidFill>
                <a:latin typeface="Arial" panose="020B0604020202020204" pitchFamily="34" charset="0"/>
                <a:ea typeface="Arial"/>
                <a:cs typeface="Arial" panose="020B0604020202020204" pitchFamily="34" charset="0"/>
                <a:sym typeface="Arial"/>
              </a:rPr>
              <a:t>The world is experiencing </a:t>
            </a:r>
            <a:r>
              <a:rPr lang="en" sz="1200" b="1" i="0" u="none" strike="noStrike" cap="none">
                <a:solidFill>
                  <a:schemeClr val="dk1"/>
                </a:solidFill>
                <a:latin typeface="Arial" panose="020B0604020202020204" pitchFamily="34" charset="0"/>
                <a:ea typeface="Arial"/>
                <a:cs typeface="Arial" panose="020B0604020202020204" pitchFamily="34" charset="0"/>
                <a:sym typeface="Arial"/>
              </a:rPr>
              <a:t>multiple challenges at the same time </a:t>
            </a:r>
            <a:r>
              <a:rPr lang="en" sz="1200" b="0" i="0" u="none" strike="noStrike" cap="none">
                <a:solidFill>
                  <a:schemeClr val="dk1"/>
                </a:solidFill>
                <a:latin typeface="Arial" panose="020B0604020202020204" pitchFamily="34" charset="0"/>
                <a:ea typeface="Arial"/>
                <a:cs typeface="Arial" panose="020B0604020202020204" pitchFamily="34" charset="0"/>
                <a:sym typeface="Arial"/>
              </a:rPr>
              <a:t>create a need for business to </a:t>
            </a:r>
            <a:r>
              <a:rPr lang="en" sz="1200" b="1" i="0" u="none" strike="noStrike" cap="none">
                <a:solidFill>
                  <a:schemeClr val="dk1"/>
                </a:solidFill>
                <a:latin typeface="Arial" panose="020B0604020202020204" pitchFamily="34" charset="0"/>
                <a:ea typeface="Arial"/>
                <a:cs typeface="Arial" panose="020B0604020202020204" pitchFamily="34" charset="0"/>
                <a:sym typeface="Arial"/>
              </a:rPr>
              <a:t>reimagine their delivery &amp; performance </a:t>
            </a:r>
            <a:r>
              <a:rPr lang="en" sz="1200" b="0" i="0" u="none" strike="noStrike" cap="none">
                <a:solidFill>
                  <a:schemeClr val="dk1"/>
                </a:solidFill>
                <a:latin typeface="Arial" panose="020B0604020202020204" pitchFamily="34" charset="0"/>
                <a:ea typeface="Arial"/>
                <a:cs typeface="Arial" panose="020B0604020202020204" pitchFamily="34" charset="0"/>
                <a:sym typeface="Arial"/>
              </a:rPr>
              <a:t>across the value chain</a:t>
            </a:r>
            <a:endParaRPr sz="12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19" name="Google Shape;3321;p27">
            <a:extLst>
              <a:ext uri="{FF2B5EF4-FFF2-40B4-BE49-F238E27FC236}">
                <a16:creationId xmlns:a16="http://schemas.microsoft.com/office/drawing/2014/main" id="{D3339CCD-FF78-520E-6CEF-82053E24E6A7}"/>
              </a:ext>
            </a:extLst>
          </p:cNvPr>
          <p:cNvSpPr/>
          <p:nvPr/>
        </p:nvSpPr>
        <p:spPr>
          <a:xfrm>
            <a:off x="1705976" y="3631158"/>
            <a:ext cx="2085600" cy="586500"/>
          </a:xfrm>
          <a:prstGeom prst="rect">
            <a:avLst/>
          </a:prstGeom>
          <a:solidFill>
            <a:schemeClr val="accent1"/>
          </a:solidFill>
          <a:ln>
            <a:noFill/>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sz="1400" b="1" i="0" u="none" strike="noStrike" cap="none">
                <a:solidFill>
                  <a:schemeClr val="lt1"/>
                </a:solidFill>
                <a:latin typeface="Arial"/>
                <a:ea typeface="Arial"/>
                <a:cs typeface="Arial"/>
                <a:sym typeface="Arial"/>
              </a:rPr>
              <a:t>Strategy</a:t>
            </a:r>
            <a:endParaRPr sz="1400" b="1" i="0" u="none" strike="noStrike" cap="none">
              <a:solidFill>
                <a:schemeClr val="lt1"/>
              </a:solidFill>
              <a:latin typeface="Arial"/>
              <a:ea typeface="Arial"/>
              <a:cs typeface="Arial"/>
              <a:sym typeface="Arial"/>
            </a:endParaRPr>
          </a:p>
        </p:txBody>
      </p:sp>
      <p:sp>
        <p:nvSpPr>
          <p:cNvPr id="20" name="Google Shape;3322;p27">
            <a:extLst>
              <a:ext uri="{FF2B5EF4-FFF2-40B4-BE49-F238E27FC236}">
                <a16:creationId xmlns:a16="http://schemas.microsoft.com/office/drawing/2014/main" id="{3D1D3912-ACD0-B837-47C3-A78ED379FDF2}"/>
              </a:ext>
            </a:extLst>
          </p:cNvPr>
          <p:cNvSpPr/>
          <p:nvPr/>
        </p:nvSpPr>
        <p:spPr>
          <a:xfrm>
            <a:off x="3884198" y="3631142"/>
            <a:ext cx="5846700" cy="586500"/>
          </a:xfrm>
          <a:prstGeom prst="rect">
            <a:avLst/>
          </a:prstGeom>
          <a:solidFill>
            <a:srgbClr val="FFFFFF"/>
          </a:solidFill>
          <a:ln w="9525" cap="flat" cmpd="sng">
            <a:solidFill>
              <a:schemeClr val="accent1"/>
            </a:solidFill>
            <a:prstDash val="solid"/>
            <a:round/>
            <a:headEnd type="none" w="sm" len="sm"/>
            <a:tailEnd type="none" w="sm" len="sm"/>
          </a:ln>
        </p:spPr>
        <p:txBody>
          <a:bodyPr spcFirstLastPara="1" wrap="square" lIns="182880" tIns="182880" rIns="182880" bIns="18288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200" b="1" dirty="0">
                <a:solidFill>
                  <a:schemeClr val="dk1"/>
                </a:solidFill>
                <a:latin typeface="Arial" panose="020B0604020202020204" pitchFamily="34" charset="0"/>
                <a:cs typeface="Arial" panose="020B0604020202020204" pitchFamily="34" charset="0"/>
              </a:rPr>
              <a:t>A</a:t>
            </a:r>
            <a:r>
              <a:rPr lang="en" sz="1200" b="1" i="0" u="none" strike="noStrike" cap="none" dirty="0">
                <a:solidFill>
                  <a:schemeClr val="dk1"/>
                </a:solidFill>
                <a:latin typeface="Arial" panose="020B0604020202020204" pitchFamily="34" charset="0"/>
                <a:cs typeface="Arial" panose="020B0604020202020204" pitchFamily="34" charset="0"/>
              </a:rPr>
              <a:t> </a:t>
            </a:r>
            <a:r>
              <a:rPr lang="en" sz="1200" b="1" i="0" u="none" strike="noStrike" cap="none" dirty="0">
                <a:solidFill>
                  <a:schemeClr val="dk1"/>
                </a:solidFill>
                <a:latin typeface="Arial" panose="020B0604020202020204" pitchFamily="34" charset="0"/>
                <a:ea typeface="Arial"/>
                <a:cs typeface="Arial" panose="020B0604020202020204" pitchFamily="34" charset="0"/>
                <a:sym typeface="Arial"/>
              </a:rPr>
              <a:t>robust detailed strategy and business plan </a:t>
            </a:r>
            <a:r>
              <a:rPr lang="en" sz="1200" b="1" dirty="0">
                <a:solidFill>
                  <a:schemeClr val="dk1"/>
                </a:solidFill>
                <a:latin typeface="Arial" panose="020B0604020202020204" pitchFamily="34" charset="0"/>
                <a:cs typeface="Arial" panose="020B0604020202020204" pitchFamily="34" charset="0"/>
              </a:rPr>
              <a:t>are necessary </a:t>
            </a:r>
            <a:r>
              <a:rPr lang="en" sz="1200" dirty="0">
                <a:solidFill>
                  <a:schemeClr val="dk1"/>
                </a:solidFill>
                <a:latin typeface="Arial" panose="020B0604020202020204" pitchFamily="34" charset="0"/>
                <a:cs typeface="Arial" panose="020B0604020202020204" pitchFamily="34" charset="0"/>
              </a:rPr>
              <a:t>and are be</a:t>
            </a:r>
            <a:r>
              <a:rPr lang="en" sz="1200" b="0" i="0" u="none" strike="noStrike" cap="none" dirty="0">
                <a:solidFill>
                  <a:schemeClr val="dk1"/>
                </a:solidFill>
                <a:latin typeface="Arial" panose="020B0604020202020204" pitchFamily="34" charset="0"/>
                <a:ea typeface="Arial"/>
                <a:cs typeface="Arial" panose="020B0604020202020204" pitchFamily="34" charset="0"/>
                <a:sym typeface="Arial"/>
              </a:rPr>
              <a:t> interlinked to the design and delivery of projects </a:t>
            </a:r>
            <a:r>
              <a:rPr lang="en" sz="1200" b="0" dirty="0">
                <a:solidFill>
                  <a:schemeClr val="dk1"/>
                </a:solidFill>
                <a:latin typeface="Arial" panose="020B0604020202020204" pitchFamily="34" charset="0"/>
                <a:ea typeface="Arial"/>
                <a:cs typeface="Arial" panose="020B0604020202020204" pitchFamily="34" charset="0"/>
                <a:sym typeface="Arial"/>
              </a:rPr>
              <a:t>which will </a:t>
            </a:r>
            <a:r>
              <a:rPr lang="en" sz="1200" i="0" u="none" strike="noStrike" cap="none" dirty="0">
                <a:solidFill>
                  <a:schemeClr val="dk1"/>
                </a:solidFill>
                <a:latin typeface="Arial" panose="020B0604020202020204" pitchFamily="34" charset="0"/>
                <a:cs typeface="Arial" panose="020B0604020202020204" pitchFamily="34" charset="0"/>
              </a:rPr>
              <a:t>realise value in line with </a:t>
            </a:r>
            <a:r>
              <a:rPr lang="en" sz="1200" dirty="0">
                <a:solidFill>
                  <a:schemeClr val="dk1"/>
                </a:solidFill>
                <a:latin typeface="Arial" panose="020B0604020202020204" pitchFamily="34" charset="0"/>
                <a:cs typeface="Arial" panose="020B0604020202020204" pitchFamily="34" charset="0"/>
              </a:rPr>
              <a:t>Vision 2030</a:t>
            </a:r>
            <a:endParaRPr sz="1200" i="0" u="none" strike="noStrike" cap="none" dirty="0">
              <a:solidFill>
                <a:schemeClr val="dk1"/>
              </a:solidFill>
              <a:latin typeface="Arial" panose="020B0604020202020204" pitchFamily="34" charset="0"/>
              <a:cs typeface="Arial" panose="020B0604020202020204" pitchFamily="34" charset="0"/>
            </a:endParaRPr>
          </a:p>
        </p:txBody>
      </p:sp>
      <p:sp>
        <p:nvSpPr>
          <p:cNvPr id="21" name="Google Shape;3323;p27">
            <a:extLst>
              <a:ext uri="{FF2B5EF4-FFF2-40B4-BE49-F238E27FC236}">
                <a16:creationId xmlns:a16="http://schemas.microsoft.com/office/drawing/2014/main" id="{54D717C4-8FAD-18D3-0B65-21F32A109CCF}"/>
              </a:ext>
            </a:extLst>
          </p:cNvPr>
          <p:cNvSpPr/>
          <p:nvPr/>
        </p:nvSpPr>
        <p:spPr>
          <a:xfrm>
            <a:off x="1705968" y="2685746"/>
            <a:ext cx="2085600" cy="652200"/>
          </a:xfrm>
          <a:prstGeom prst="rect">
            <a:avLst/>
          </a:prstGeom>
          <a:solidFill>
            <a:schemeClr val="accent1"/>
          </a:solidFill>
          <a:ln>
            <a:noFill/>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sz="1400" b="1" i="0" u="none" strike="noStrike" cap="none">
                <a:solidFill>
                  <a:schemeClr val="lt1"/>
                </a:solidFill>
                <a:latin typeface="Arial"/>
                <a:ea typeface="Arial"/>
                <a:cs typeface="Arial"/>
                <a:sym typeface="Arial"/>
              </a:rPr>
              <a:t>Resilience</a:t>
            </a:r>
            <a:endParaRPr sz="1400" b="1" i="0" u="none" strike="noStrike" cap="none">
              <a:solidFill>
                <a:schemeClr val="lt1"/>
              </a:solidFill>
              <a:latin typeface="Arial"/>
              <a:ea typeface="Arial"/>
              <a:cs typeface="Arial"/>
              <a:sym typeface="Arial"/>
            </a:endParaRPr>
          </a:p>
        </p:txBody>
      </p:sp>
      <p:sp>
        <p:nvSpPr>
          <p:cNvPr id="22" name="Google Shape;3324;p27">
            <a:extLst>
              <a:ext uri="{FF2B5EF4-FFF2-40B4-BE49-F238E27FC236}">
                <a16:creationId xmlns:a16="http://schemas.microsoft.com/office/drawing/2014/main" id="{E4BEEA14-4C90-1090-A354-001B2F607741}"/>
              </a:ext>
            </a:extLst>
          </p:cNvPr>
          <p:cNvSpPr/>
          <p:nvPr/>
        </p:nvSpPr>
        <p:spPr>
          <a:xfrm>
            <a:off x="3884191" y="2685737"/>
            <a:ext cx="5846700" cy="652200"/>
          </a:xfrm>
          <a:prstGeom prst="rect">
            <a:avLst/>
          </a:prstGeom>
          <a:solidFill>
            <a:srgbClr val="FFFFFF"/>
          </a:solidFill>
          <a:ln w="9525" cap="flat" cmpd="sng">
            <a:solidFill>
              <a:schemeClr val="accent1"/>
            </a:solidFill>
            <a:prstDash val="solid"/>
            <a:round/>
            <a:headEnd type="none" w="sm" len="sm"/>
            <a:tailEnd type="none" w="sm" len="sm"/>
          </a:ln>
        </p:spPr>
        <p:txBody>
          <a:bodyPr spcFirstLastPara="1" wrap="square" lIns="182880" tIns="182880" rIns="182880" bIns="18288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200" b="0" i="0" u="none" strike="noStrike" cap="none">
                <a:solidFill>
                  <a:schemeClr val="dk1"/>
                </a:solidFill>
                <a:latin typeface="Arial" panose="020B0604020202020204" pitchFamily="34" charset="0"/>
                <a:ea typeface="Arial"/>
                <a:cs typeface="Arial" panose="020B0604020202020204" pitchFamily="34" charset="0"/>
                <a:sym typeface="Arial"/>
              </a:rPr>
              <a:t>The </a:t>
            </a:r>
            <a:r>
              <a:rPr lang="en" sz="1200">
                <a:solidFill>
                  <a:schemeClr val="dk1"/>
                </a:solidFill>
                <a:latin typeface="Arial" panose="020B0604020202020204" pitchFamily="34" charset="0"/>
                <a:cs typeface="Arial" panose="020B0604020202020204" pitchFamily="34" charset="0"/>
              </a:rPr>
              <a:t>KSA </a:t>
            </a:r>
            <a:r>
              <a:rPr lang="en" sz="1200" b="0" i="0" u="none" strike="noStrike" cap="none">
                <a:solidFill>
                  <a:schemeClr val="dk1"/>
                </a:solidFill>
                <a:latin typeface="Arial" panose="020B0604020202020204" pitchFamily="34" charset="0"/>
                <a:ea typeface="Arial"/>
                <a:cs typeface="Arial" panose="020B0604020202020204" pitchFamily="34" charset="0"/>
                <a:sym typeface="Arial"/>
              </a:rPr>
              <a:t>market has seen </a:t>
            </a:r>
            <a:r>
              <a:rPr lang="en" sz="1200" b="1" i="0" u="none" strike="noStrike" cap="none">
                <a:solidFill>
                  <a:schemeClr val="dk1"/>
                </a:solidFill>
                <a:latin typeface="Arial" panose="020B0604020202020204" pitchFamily="34" charset="0"/>
                <a:cs typeface="Arial" panose="020B0604020202020204" pitchFamily="34" charset="0"/>
              </a:rPr>
              <a:t>an </a:t>
            </a:r>
            <a:r>
              <a:rPr lang="en" sz="1200" b="1" i="0" u="none" strike="noStrike" cap="none">
                <a:solidFill>
                  <a:schemeClr val="dk1"/>
                </a:solidFill>
                <a:latin typeface="Arial" panose="020B0604020202020204" pitchFamily="34" charset="0"/>
                <a:ea typeface="Arial"/>
                <a:cs typeface="Arial" panose="020B0604020202020204" pitchFamily="34" charset="0"/>
                <a:sym typeface="Arial"/>
              </a:rPr>
              <a:t>accelerated recovery and is proven to be relatively more resilient than others in navigating eco</a:t>
            </a:r>
            <a:r>
              <a:rPr lang="en" sz="1200" b="1">
                <a:solidFill>
                  <a:schemeClr val="dk1"/>
                </a:solidFill>
                <a:latin typeface="Arial" panose="020B0604020202020204" pitchFamily="34" charset="0"/>
                <a:cs typeface="Arial" panose="020B0604020202020204" pitchFamily="34" charset="0"/>
              </a:rPr>
              <a:t>nomic shocks </a:t>
            </a:r>
            <a:endParaRPr sz="1200" b="0" i="0" u="none" strike="noStrike" cap="none">
              <a:solidFill>
                <a:schemeClr val="dk1"/>
              </a:solidFill>
              <a:latin typeface="Arial" panose="020B0604020202020204" pitchFamily="34" charset="0"/>
              <a:ea typeface="Arial"/>
              <a:cs typeface="Arial" panose="020B0604020202020204" pitchFamily="34" charset="0"/>
              <a:sym typeface="Arial"/>
            </a:endParaRPr>
          </a:p>
        </p:txBody>
      </p:sp>
      <p:sp>
        <p:nvSpPr>
          <p:cNvPr id="23" name="Google Shape;3325;p27">
            <a:extLst>
              <a:ext uri="{FF2B5EF4-FFF2-40B4-BE49-F238E27FC236}">
                <a16:creationId xmlns:a16="http://schemas.microsoft.com/office/drawing/2014/main" id="{B69C5FBE-4A6A-F7D2-642B-79D7EA89D698}"/>
              </a:ext>
            </a:extLst>
          </p:cNvPr>
          <p:cNvSpPr/>
          <p:nvPr/>
        </p:nvSpPr>
        <p:spPr>
          <a:xfrm>
            <a:off x="1705971" y="4510940"/>
            <a:ext cx="2085600" cy="719100"/>
          </a:xfrm>
          <a:prstGeom prst="rect">
            <a:avLst/>
          </a:prstGeom>
          <a:solidFill>
            <a:schemeClr val="accent1"/>
          </a:solidFill>
          <a:ln>
            <a:noFill/>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sz="1400" b="1" i="0" u="none" strike="noStrike" cap="none">
                <a:solidFill>
                  <a:schemeClr val="lt1"/>
                </a:solidFill>
                <a:latin typeface="Arial"/>
                <a:ea typeface="Arial"/>
                <a:cs typeface="Arial"/>
                <a:sym typeface="Arial"/>
              </a:rPr>
              <a:t>Experience</a:t>
            </a:r>
            <a:endParaRPr sz="1400" b="1" i="0" u="none" strike="noStrike" cap="none">
              <a:solidFill>
                <a:schemeClr val="lt1"/>
              </a:solidFill>
              <a:latin typeface="Arial"/>
              <a:ea typeface="Arial"/>
              <a:cs typeface="Arial"/>
              <a:sym typeface="Arial"/>
            </a:endParaRPr>
          </a:p>
        </p:txBody>
      </p:sp>
      <p:sp>
        <p:nvSpPr>
          <p:cNvPr id="24" name="Google Shape;3326;p27">
            <a:extLst>
              <a:ext uri="{FF2B5EF4-FFF2-40B4-BE49-F238E27FC236}">
                <a16:creationId xmlns:a16="http://schemas.microsoft.com/office/drawing/2014/main" id="{D64717CB-4C4A-82C5-A7DD-3B6B430ECB9F}"/>
              </a:ext>
            </a:extLst>
          </p:cNvPr>
          <p:cNvSpPr/>
          <p:nvPr/>
        </p:nvSpPr>
        <p:spPr>
          <a:xfrm>
            <a:off x="3884191" y="4510951"/>
            <a:ext cx="5846700" cy="719100"/>
          </a:xfrm>
          <a:prstGeom prst="rect">
            <a:avLst/>
          </a:prstGeom>
          <a:solidFill>
            <a:srgbClr val="FFFFFF"/>
          </a:solidFill>
          <a:ln w="9525" cap="flat" cmpd="sng">
            <a:solidFill>
              <a:schemeClr val="accent1"/>
            </a:solidFill>
            <a:prstDash val="solid"/>
            <a:round/>
            <a:headEnd type="none" w="sm" len="sm"/>
            <a:tailEnd type="none" w="sm" len="sm"/>
          </a:ln>
        </p:spPr>
        <p:txBody>
          <a:bodyPr spcFirstLastPara="1" wrap="square" lIns="182880" tIns="182880" rIns="182880" bIns="18288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200" b="0" i="0" u="none" strike="noStrike" cap="none" dirty="0">
                <a:solidFill>
                  <a:schemeClr val="dk1"/>
                </a:solidFill>
                <a:latin typeface="Arial" panose="020B0604020202020204" pitchFamily="34" charset="0"/>
                <a:ea typeface="Arial"/>
                <a:cs typeface="Arial" panose="020B0604020202020204" pitchFamily="34" charset="0"/>
                <a:sym typeface="Arial"/>
              </a:rPr>
              <a:t>As the </a:t>
            </a:r>
            <a:r>
              <a:rPr lang="en" sz="1200" dirty="0">
                <a:solidFill>
                  <a:schemeClr val="dk1"/>
                </a:solidFill>
                <a:latin typeface="Arial" panose="020B0604020202020204" pitchFamily="34" charset="0"/>
                <a:cs typeface="Arial" panose="020B0604020202020204" pitchFamily="34" charset="0"/>
              </a:rPr>
              <a:t>KSA </a:t>
            </a:r>
            <a:r>
              <a:rPr lang="en" sz="1200" b="0" i="0" u="none" strike="noStrike" cap="none" dirty="0">
                <a:solidFill>
                  <a:schemeClr val="dk1"/>
                </a:solidFill>
                <a:latin typeface="Arial" panose="020B0604020202020204" pitchFamily="34" charset="0"/>
                <a:ea typeface="Arial"/>
                <a:cs typeface="Arial" panose="020B0604020202020204" pitchFamily="34" charset="0"/>
                <a:sym typeface="Arial"/>
              </a:rPr>
              <a:t>market matures, companies should </a:t>
            </a:r>
            <a:r>
              <a:rPr lang="en" sz="1200" b="1" i="0" u="none" strike="noStrike" cap="none" dirty="0">
                <a:solidFill>
                  <a:schemeClr val="dk1"/>
                </a:solidFill>
                <a:latin typeface="Arial" panose="020B0604020202020204" pitchFamily="34" charset="0"/>
                <a:ea typeface="Arial"/>
                <a:cs typeface="Arial" panose="020B0604020202020204" pitchFamily="34" charset="0"/>
                <a:sym typeface="Arial"/>
              </a:rPr>
              <a:t>focus on end-user experiences </a:t>
            </a:r>
            <a:r>
              <a:rPr lang="en" sz="1200" dirty="0">
                <a:solidFill>
                  <a:schemeClr val="dk1"/>
                </a:solidFill>
                <a:latin typeface="Arial" panose="020B0604020202020204" pitchFamily="34" charset="0"/>
                <a:cs typeface="Arial" panose="020B0604020202020204" pitchFamily="34" charset="0"/>
              </a:rPr>
              <a:t>through market segmentation </a:t>
            </a:r>
            <a:r>
              <a:rPr lang="en" sz="1200" b="0" i="0" u="none" strike="noStrike" cap="none" dirty="0">
                <a:solidFill>
                  <a:schemeClr val="dk1"/>
                </a:solidFill>
                <a:latin typeface="Arial" panose="020B0604020202020204" pitchFamily="34" charset="0"/>
                <a:ea typeface="Arial"/>
                <a:cs typeface="Arial" panose="020B0604020202020204" pitchFamily="34" charset="0"/>
                <a:sym typeface="Arial"/>
              </a:rPr>
              <a:t>and focus on the experience from pre to post sales to engage and retain the customer base. </a:t>
            </a:r>
            <a:endParaRPr sz="1200" b="0" i="0" u="none" strike="noStrike" cap="none" dirty="0">
              <a:solidFill>
                <a:schemeClr val="dk1"/>
              </a:solidFill>
              <a:latin typeface="Arial" panose="020B0604020202020204" pitchFamily="34" charset="0"/>
              <a:ea typeface="Arial"/>
              <a:cs typeface="Arial" panose="020B0604020202020204" pitchFamily="34" charset="0"/>
              <a:sym typeface="Arial"/>
            </a:endParaRPr>
          </a:p>
        </p:txBody>
      </p:sp>
      <p:sp>
        <p:nvSpPr>
          <p:cNvPr id="25" name="Google Shape;3327;p27">
            <a:extLst>
              <a:ext uri="{FF2B5EF4-FFF2-40B4-BE49-F238E27FC236}">
                <a16:creationId xmlns:a16="http://schemas.microsoft.com/office/drawing/2014/main" id="{51E2CF83-86BD-2F21-88C8-C584AD05D0D5}"/>
              </a:ext>
            </a:extLst>
          </p:cNvPr>
          <p:cNvSpPr/>
          <p:nvPr/>
        </p:nvSpPr>
        <p:spPr>
          <a:xfrm>
            <a:off x="1705972" y="5537074"/>
            <a:ext cx="2085600" cy="702000"/>
          </a:xfrm>
          <a:prstGeom prst="rect">
            <a:avLst/>
          </a:prstGeom>
          <a:solidFill>
            <a:schemeClr val="accent1"/>
          </a:solidFill>
          <a:ln>
            <a:noFill/>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sz="1400" b="1" i="0" u="none" strike="noStrike" cap="none">
                <a:solidFill>
                  <a:schemeClr val="lt1"/>
                </a:solidFill>
                <a:latin typeface="Arial"/>
                <a:ea typeface="Arial"/>
                <a:cs typeface="Arial"/>
                <a:sym typeface="Arial"/>
              </a:rPr>
              <a:t>Proactivity</a:t>
            </a:r>
            <a:endParaRPr sz="1400" b="1" i="0" u="none" strike="noStrike" cap="none">
              <a:solidFill>
                <a:schemeClr val="lt1"/>
              </a:solidFill>
              <a:latin typeface="Arial"/>
              <a:ea typeface="Arial"/>
              <a:cs typeface="Arial"/>
              <a:sym typeface="Arial"/>
            </a:endParaRPr>
          </a:p>
        </p:txBody>
      </p:sp>
      <p:sp>
        <p:nvSpPr>
          <p:cNvPr id="50" name="Google Shape;3328;p27">
            <a:extLst>
              <a:ext uri="{FF2B5EF4-FFF2-40B4-BE49-F238E27FC236}">
                <a16:creationId xmlns:a16="http://schemas.microsoft.com/office/drawing/2014/main" id="{4B9DA060-05AF-CE42-9F65-769C329A26E7}"/>
              </a:ext>
            </a:extLst>
          </p:cNvPr>
          <p:cNvSpPr/>
          <p:nvPr/>
        </p:nvSpPr>
        <p:spPr>
          <a:xfrm>
            <a:off x="3884191" y="5537076"/>
            <a:ext cx="5846700" cy="702000"/>
          </a:xfrm>
          <a:prstGeom prst="rect">
            <a:avLst/>
          </a:prstGeom>
          <a:solidFill>
            <a:srgbClr val="FFFFFF"/>
          </a:solidFill>
          <a:ln w="9525" cap="flat" cmpd="sng">
            <a:solidFill>
              <a:schemeClr val="accent1"/>
            </a:solidFill>
            <a:prstDash val="solid"/>
            <a:round/>
            <a:headEnd type="none" w="sm" len="sm"/>
            <a:tailEnd type="none" w="sm" len="sm"/>
          </a:ln>
        </p:spPr>
        <p:txBody>
          <a:bodyPr spcFirstLastPara="1" wrap="square" lIns="182880" tIns="182880" rIns="182880" bIns="182880"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200" dirty="0">
                <a:solidFill>
                  <a:schemeClr val="dk1"/>
                </a:solidFill>
                <a:latin typeface="Arial" panose="020B0604020202020204" pitchFamily="34" charset="0"/>
                <a:cs typeface="Arial" panose="020B0604020202020204" pitchFamily="34" charset="0"/>
              </a:rPr>
              <a:t>In alignment with Vision 2030, numerous laws &amp; initiatives are being launched to </a:t>
            </a:r>
            <a:r>
              <a:rPr lang="en" sz="1200" b="1" dirty="0">
                <a:solidFill>
                  <a:schemeClr val="dk1"/>
                </a:solidFill>
                <a:latin typeface="Arial" panose="020B0604020202020204" pitchFamily="34" charset="0"/>
                <a:cs typeface="Arial" panose="020B0604020202020204" pitchFamily="34" charset="0"/>
              </a:rPr>
              <a:t>attract more tourists and foreign investment in KSA</a:t>
            </a:r>
            <a:endParaRPr sz="1200" b="1" i="0" u="none" strike="noStrike" cap="none" dirty="0">
              <a:solidFill>
                <a:schemeClr val="dk1"/>
              </a:solidFill>
              <a:latin typeface="Arial" panose="020B0604020202020204" pitchFamily="34" charset="0"/>
              <a:cs typeface="Arial" panose="020B0604020202020204" pitchFamily="34" charset="0"/>
            </a:endParaRPr>
          </a:p>
        </p:txBody>
      </p:sp>
      <p:sp>
        <p:nvSpPr>
          <p:cNvPr id="51" name="Google Shape;3329;p27">
            <a:extLst>
              <a:ext uri="{FF2B5EF4-FFF2-40B4-BE49-F238E27FC236}">
                <a16:creationId xmlns:a16="http://schemas.microsoft.com/office/drawing/2014/main" id="{51EDBBEF-AE4C-35EA-9075-35A9A7A89BC7}"/>
              </a:ext>
            </a:extLst>
          </p:cNvPr>
          <p:cNvSpPr/>
          <p:nvPr/>
        </p:nvSpPr>
        <p:spPr>
          <a:xfrm>
            <a:off x="1059414" y="1702965"/>
            <a:ext cx="646475" cy="652249"/>
          </a:xfrm>
          <a:custGeom>
            <a:avLst/>
            <a:gdLst/>
            <a:ahLst/>
            <a:cxnLst/>
            <a:rect l="l" t="t" r="r" b="b"/>
            <a:pathLst>
              <a:path w="576" h="576" extrusionOk="0">
                <a:moveTo>
                  <a:pt x="0" y="0"/>
                </a:moveTo>
                <a:cubicBezTo>
                  <a:pt x="0" y="576"/>
                  <a:pt x="0" y="576"/>
                  <a:pt x="0" y="576"/>
                </a:cubicBezTo>
                <a:cubicBezTo>
                  <a:pt x="179" y="576"/>
                  <a:pt x="179" y="576"/>
                  <a:pt x="179" y="576"/>
                </a:cubicBezTo>
                <a:cubicBezTo>
                  <a:pt x="179" y="411"/>
                  <a:pt x="179" y="411"/>
                  <a:pt x="179" y="411"/>
                </a:cubicBezTo>
                <a:cubicBezTo>
                  <a:pt x="174" y="407"/>
                  <a:pt x="174" y="407"/>
                  <a:pt x="174" y="407"/>
                </a:cubicBezTo>
                <a:cubicBezTo>
                  <a:pt x="130" y="375"/>
                  <a:pt x="104" y="324"/>
                  <a:pt x="104" y="270"/>
                </a:cubicBezTo>
                <a:cubicBezTo>
                  <a:pt x="104" y="191"/>
                  <a:pt x="166" y="120"/>
                  <a:pt x="248" y="104"/>
                </a:cubicBezTo>
                <a:cubicBezTo>
                  <a:pt x="248" y="104"/>
                  <a:pt x="263" y="100"/>
                  <a:pt x="285" y="100"/>
                </a:cubicBezTo>
                <a:cubicBezTo>
                  <a:pt x="311" y="100"/>
                  <a:pt x="329" y="105"/>
                  <a:pt x="329" y="105"/>
                </a:cubicBezTo>
                <a:cubicBezTo>
                  <a:pt x="420" y="126"/>
                  <a:pt x="448" y="216"/>
                  <a:pt x="478" y="311"/>
                </a:cubicBezTo>
                <a:cubicBezTo>
                  <a:pt x="481" y="320"/>
                  <a:pt x="484" y="329"/>
                  <a:pt x="486" y="337"/>
                </a:cubicBezTo>
                <a:cubicBezTo>
                  <a:pt x="435" y="337"/>
                  <a:pt x="435" y="337"/>
                  <a:pt x="435" y="337"/>
                </a:cubicBezTo>
                <a:cubicBezTo>
                  <a:pt x="435" y="406"/>
                  <a:pt x="435" y="406"/>
                  <a:pt x="435" y="406"/>
                </a:cubicBezTo>
                <a:cubicBezTo>
                  <a:pt x="435" y="430"/>
                  <a:pt x="415" y="450"/>
                  <a:pt x="391" y="450"/>
                </a:cubicBezTo>
                <a:cubicBezTo>
                  <a:pt x="341" y="450"/>
                  <a:pt x="341" y="450"/>
                  <a:pt x="341" y="450"/>
                </a:cubicBezTo>
                <a:cubicBezTo>
                  <a:pt x="341" y="576"/>
                  <a:pt x="341" y="576"/>
                  <a:pt x="341" y="576"/>
                </a:cubicBezTo>
                <a:cubicBezTo>
                  <a:pt x="576" y="576"/>
                  <a:pt x="576" y="576"/>
                  <a:pt x="576" y="576"/>
                </a:cubicBezTo>
                <a:cubicBezTo>
                  <a:pt x="576" y="0"/>
                  <a:pt x="576" y="0"/>
                  <a:pt x="576" y="0"/>
                </a:cubicBezTo>
                <a:lnTo>
                  <a:pt x="0" y="0"/>
                </a:lnTo>
                <a:close/>
                <a:moveTo>
                  <a:pt x="551" y="551"/>
                </a:moveTo>
                <a:cubicBezTo>
                  <a:pt x="366" y="551"/>
                  <a:pt x="366" y="551"/>
                  <a:pt x="366" y="551"/>
                </a:cubicBezTo>
                <a:cubicBezTo>
                  <a:pt x="366" y="474"/>
                  <a:pt x="366" y="474"/>
                  <a:pt x="366" y="474"/>
                </a:cubicBezTo>
                <a:cubicBezTo>
                  <a:pt x="391" y="474"/>
                  <a:pt x="391" y="474"/>
                  <a:pt x="391" y="474"/>
                </a:cubicBezTo>
                <a:cubicBezTo>
                  <a:pt x="429" y="474"/>
                  <a:pt x="460" y="444"/>
                  <a:pt x="460" y="406"/>
                </a:cubicBezTo>
                <a:cubicBezTo>
                  <a:pt x="460" y="362"/>
                  <a:pt x="460" y="362"/>
                  <a:pt x="460" y="362"/>
                </a:cubicBezTo>
                <a:cubicBezTo>
                  <a:pt x="490" y="362"/>
                  <a:pt x="490" y="362"/>
                  <a:pt x="490" y="362"/>
                </a:cubicBezTo>
                <a:cubicBezTo>
                  <a:pt x="497" y="362"/>
                  <a:pt x="504" y="359"/>
                  <a:pt x="508" y="353"/>
                </a:cubicBezTo>
                <a:cubicBezTo>
                  <a:pt x="512" y="348"/>
                  <a:pt x="513" y="340"/>
                  <a:pt x="511" y="334"/>
                </a:cubicBezTo>
                <a:cubicBezTo>
                  <a:pt x="508" y="324"/>
                  <a:pt x="505" y="314"/>
                  <a:pt x="502" y="304"/>
                </a:cubicBezTo>
                <a:cubicBezTo>
                  <a:pt x="470" y="204"/>
                  <a:pt x="438" y="102"/>
                  <a:pt x="329" y="80"/>
                </a:cubicBezTo>
                <a:cubicBezTo>
                  <a:pt x="329" y="80"/>
                  <a:pt x="310" y="75"/>
                  <a:pt x="290" y="75"/>
                </a:cubicBezTo>
                <a:cubicBezTo>
                  <a:pt x="269" y="75"/>
                  <a:pt x="248" y="79"/>
                  <a:pt x="248" y="79"/>
                </a:cubicBezTo>
                <a:cubicBezTo>
                  <a:pt x="153" y="96"/>
                  <a:pt x="80" y="178"/>
                  <a:pt x="80" y="270"/>
                </a:cubicBezTo>
                <a:cubicBezTo>
                  <a:pt x="80" y="330"/>
                  <a:pt x="107" y="387"/>
                  <a:pt x="154" y="423"/>
                </a:cubicBezTo>
                <a:cubicBezTo>
                  <a:pt x="154" y="551"/>
                  <a:pt x="154" y="551"/>
                  <a:pt x="154" y="551"/>
                </a:cubicBezTo>
                <a:cubicBezTo>
                  <a:pt x="25" y="551"/>
                  <a:pt x="25" y="551"/>
                  <a:pt x="25" y="551"/>
                </a:cubicBezTo>
                <a:cubicBezTo>
                  <a:pt x="25" y="24"/>
                  <a:pt x="25" y="24"/>
                  <a:pt x="25" y="24"/>
                </a:cubicBezTo>
                <a:cubicBezTo>
                  <a:pt x="551" y="24"/>
                  <a:pt x="551" y="24"/>
                  <a:pt x="551" y="24"/>
                </a:cubicBezTo>
                <a:lnTo>
                  <a:pt x="551" y="551"/>
                </a:lnTo>
                <a:close/>
                <a:moveTo>
                  <a:pt x="255" y="243"/>
                </a:moveTo>
                <a:cubicBezTo>
                  <a:pt x="270" y="234"/>
                  <a:pt x="270" y="234"/>
                  <a:pt x="270" y="234"/>
                </a:cubicBezTo>
                <a:cubicBezTo>
                  <a:pt x="258" y="213"/>
                  <a:pt x="258" y="213"/>
                  <a:pt x="258" y="213"/>
                </a:cubicBezTo>
                <a:cubicBezTo>
                  <a:pt x="243" y="222"/>
                  <a:pt x="243" y="222"/>
                  <a:pt x="243" y="222"/>
                </a:cubicBezTo>
                <a:cubicBezTo>
                  <a:pt x="242" y="221"/>
                  <a:pt x="241" y="219"/>
                  <a:pt x="239" y="218"/>
                </a:cubicBezTo>
                <a:cubicBezTo>
                  <a:pt x="248" y="204"/>
                  <a:pt x="248" y="204"/>
                  <a:pt x="248" y="204"/>
                </a:cubicBezTo>
                <a:cubicBezTo>
                  <a:pt x="227" y="191"/>
                  <a:pt x="227" y="191"/>
                  <a:pt x="227" y="191"/>
                </a:cubicBezTo>
                <a:cubicBezTo>
                  <a:pt x="218" y="206"/>
                  <a:pt x="218" y="206"/>
                  <a:pt x="218" y="206"/>
                </a:cubicBezTo>
                <a:cubicBezTo>
                  <a:pt x="216" y="205"/>
                  <a:pt x="214" y="204"/>
                  <a:pt x="212" y="204"/>
                </a:cubicBezTo>
                <a:cubicBezTo>
                  <a:pt x="212" y="187"/>
                  <a:pt x="212" y="187"/>
                  <a:pt x="212" y="187"/>
                </a:cubicBezTo>
                <a:cubicBezTo>
                  <a:pt x="188" y="187"/>
                  <a:pt x="188" y="187"/>
                  <a:pt x="188" y="187"/>
                </a:cubicBezTo>
                <a:cubicBezTo>
                  <a:pt x="188" y="204"/>
                  <a:pt x="188" y="204"/>
                  <a:pt x="188" y="204"/>
                </a:cubicBezTo>
                <a:cubicBezTo>
                  <a:pt x="185" y="204"/>
                  <a:pt x="183" y="205"/>
                  <a:pt x="180" y="206"/>
                </a:cubicBezTo>
                <a:cubicBezTo>
                  <a:pt x="171" y="192"/>
                  <a:pt x="171" y="192"/>
                  <a:pt x="171" y="192"/>
                </a:cubicBezTo>
                <a:cubicBezTo>
                  <a:pt x="150" y="205"/>
                  <a:pt x="150" y="205"/>
                  <a:pt x="150" y="205"/>
                </a:cubicBezTo>
                <a:cubicBezTo>
                  <a:pt x="159" y="219"/>
                  <a:pt x="159" y="219"/>
                  <a:pt x="159" y="219"/>
                </a:cubicBezTo>
                <a:cubicBezTo>
                  <a:pt x="159" y="220"/>
                  <a:pt x="158" y="221"/>
                  <a:pt x="158" y="221"/>
                </a:cubicBezTo>
                <a:cubicBezTo>
                  <a:pt x="143" y="212"/>
                  <a:pt x="143" y="212"/>
                  <a:pt x="143" y="212"/>
                </a:cubicBezTo>
                <a:cubicBezTo>
                  <a:pt x="130" y="234"/>
                  <a:pt x="130" y="234"/>
                  <a:pt x="130" y="234"/>
                </a:cubicBezTo>
                <a:cubicBezTo>
                  <a:pt x="145" y="242"/>
                  <a:pt x="145" y="242"/>
                  <a:pt x="145" y="242"/>
                </a:cubicBezTo>
                <a:cubicBezTo>
                  <a:pt x="145" y="244"/>
                  <a:pt x="144" y="246"/>
                  <a:pt x="144" y="248"/>
                </a:cubicBezTo>
                <a:cubicBezTo>
                  <a:pt x="127" y="248"/>
                  <a:pt x="127" y="248"/>
                  <a:pt x="127" y="248"/>
                </a:cubicBezTo>
                <a:cubicBezTo>
                  <a:pt x="127" y="272"/>
                  <a:pt x="127" y="272"/>
                  <a:pt x="127" y="272"/>
                </a:cubicBezTo>
                <a:cubicBezTo>
                  <a:pt x="144" y="272"/>
                  <a:pt x="144" y="272"/>
                  <a:pt x="144" y="272"/>
                </a:cubicBezTo>
                <a:cubicBezTo>
                  <a:pt x="144" y="274"/>
                  <a:pt x="145" y="275"/>
                  <a:pt x="145" y="277"/>
                </a:cubicBezTo>
                <a:cubicBezTo>
                  <a:pt x="130" y="285"/>
                  <a:pt x="130" y="285"/>
                  <a:pt x="130" y="285"/>
                </a:cubicBezTo>
                <a:cubicBezTo>
                  <a:pt x="142" y="307"/>
                  <a:pt x="142" y="307"/>
                  <a:pt x="142" y="307"/>
                </a:cubicBezTo>
                <a:cubicBezTo>
                  <a:pt x="157" y="298"/>
                  <a:pt x="157" y="298"/>
                  <a:pt x="157" y="298"/>
                </a:cubicBezTo>
                <a:cubicBezTo>
                  <a:pt x="158" y="299"/>
                  <a:pt x="159" y="300"/>
                  <a:pt x="160" y="301"/>
                </a:cubicBezTo>
                <a:cubicBezTo>
                  <a:pt x="151" y="316"/>
                  <a:pt x="151" y="316"/>
                  <a:pt x="151" y="316"/>
                </a:cubicBezTo>
                <a:cubicBezTo>
                  <a:pt x="172" y="329"/>
                  <a:pt x="172" y="329"/>
                  <a:pt x="172" y="329"/>
                </a:cubicBezTo>
                <a:cubicBezTo>
                  <a:pt x="181" y="314"/>
                  <a:pt x="181" y="314"/>
                  <a:pt x="181" y="314"/>
                </a:cubicBezTo>
                <a:cubicBezTo>
                  <a:pt x="183" y="315"/>
                  <a:pt x="186" y="316"/>
                  <a:pt x="188" y="316"/>
                </a:cubicBezTo>
                <a:cubicBezTo>
                  <a:pt x="188" y="333"/>
                  <a:pt x="188" y="333"/>
                  <a:pt x="188" y="333"/>
                </a:cubicBezTo>
                <a:cubicBezTo>
                  <a:pt x="212" y="333"/>
                  <a:pt x="212" y="333"/>
                  <a:pt x="212" y="333"/>
                </a:cubicBezTo>
                <a:cubicBezTo>
                  <a:pt x="212" y="316"/>
                  <a:pt x="212" y="316"/>
                  <a:pt x="212" y="316"/>
                </a:cubicBezTo>
                <a:cubicBezTo>
                  <a:pt x="215" y="315"/>
                  <a:pt x="217" y="315"/>
                  <a:pt x="220" y="314"/>
                </a:cubicBezTo>
                <a:cubicBezTo>
                  <a:pt x="229" y="328"/>
                  <a:pt x="229" y="328"/>
                  <a:pt x="229" y="328"/>
                </a:cubicBezTo>
                <a:cubicBezTo>
                  <a:pt x="250" y="315"/>
                  <a:pt x="250" y="315"/>
                  <a:pt x="250" y="315"/>
                </a:cubicBezTo>
                <a:cubicBezTo>
                  <a:pt x="240" y="301"/>
                  <a:pt x="240" y="301"/>
                  <a:pt x="240" y="301"/>
                </a:cubicBezTo>
                <a:cubicBezTo>
                  <a:pt x="241" y="300"/>
                  <a:pt x="242" y="299"/>
                  <a:pt x="242" y="299"/>
                </a:cubicBezTo>
                <a:cubicBezTo>
                  <a:pt x="257" y="307"/>
                  <a:pt x="257" y="307"/>
                  <a:pt x="257" y="307"/>
                </a:cubicBezTo>
                <a:cubicBezTo>
                  <a:pt x="270" y="286"/>
                  <a:pt x="270" y="286"/>
                  <a:pt x="270" y="286"/>
                </a:cubicBezTo>
                <a:cubicBezTo>
                  <a:pt x="255" y="278"/>
                  <a:pt x="255" y="278"/>
                  <a:pt x="255" y="278"/>
                </a:cubicBezTo>
                <a:cubicBezTo>
                  <a:pt x="255" y="276"/>
                  <a:pt x="256" y="274"/>
                  <a:pt x="256" y="272"/>
                </a:cubicBezTo>
                <a:cubicBezTo>
                  <a:pt x="273" y="272"/>
                  <a:pt x="273" y="272"/>
                  <a:pt x="273" y="272"/>
                </a:cubicBezTo>
                <a:cubicBezTo>
                  <a:pt x="273" y="248"/>
                  <a:pt x="273" y="248"/>
                  <a:pt x="273" y="248"/>
                </a:cubicBezTo>
                <a:cubicBezTo>
                  <a:pt x="256" y="248"/>
                  <a:pt x="256" y="248"/>
                  <a:pt x="256" y="248"/>
                </a:cubicBezTo>
                <a:cubicBezTo>
                  <a:pt x="256" y="246"/>
                  <a:pt x="255" y="245"/>
                  <a:pt x="255" y="243"/>
                </a:cubicBezTo>
                <a:close/>
                <a:moveTo>
                  <a:pt x="167" y="260"/>
                </a:moveTo>
                <a:cubicBezTo>
                  <a:pt x="167" y="242"/>
                  <a:pt x="182" y="227"/>
                  <a:pt x="200" y="227"/>
                </a:cubicBezTo>
                <a:cubicBezTo>
                  <a:pt x="218" y="227"/>
                  <a:pt x="233" y="242"/>
                  <a:pt x="233" y="260"/>
                </a:cubicBezTo>
                <a:cubicBezTo>
                  <a:pt x="233" y="278"/>
                  <a:pt x="218" y="293"/>
                  <a:pt x="200" y="293"/>
                </a:cubicBezTo>
                <a:cubicBezTo>
                  <a:pt x="182" y="293"/>
                  <a:pt x="167" y="278"/>
                  <a:pt x="167" y="260"/>
                </a:cubicBezTo>
                <a:close/>
                <a:moveTo>
                  <a:pt x="355" y="228"/>
                </a:moveTo>
                <a:cubicBezTo>
                  <a:pt x="350" y="216"/>
                  <a:pt x="350" y="216"/>
                  <a:pt x="350" y="216"/>
                </a:cubicBezTo>
                <a:cubicBezTo>
                  <a:pt x="352" y="214"/>
                  <a:pt x="354" y="212"/>
                  <a:pt x="356" y="210"/>
                </a:cubicBezTo>
                <a:cubicBezTo>
                  <a:pt x="367" y="215"/>
                  <a:pt x="367" y="215"/>
                  <a:pt x="367" y="215"/>
                </a:cubicBezTo>
                <a:cubicBezTo>
                  <a:pt x="377" y="193"/>
                  <a:pt x="377" y="193"/>
                  <a:pt x="377" y="193"/>
                </a:cubicBezTo>
                <a:cubicBezTo>
                  <a:pt x="365" y="188"/>
                  <a:pt x="365" y="188"/>
                  <a:pt x="365" y="188"/>
                </a:cubicBezTo>
                <a:cubicBezTo>
                  <a:pt x="366" y="185"/>
                  <a:pt x="366" y="182"/>
                  <a:pt x="365" y="179"/>
                </a:cubicBezTo>
                <a:cubicBezTo>
                  <a:pt x="377" y="174"/>
                  <a:pt x="377" y="174"/>
                  <a:pt x="377" y="174"/>
                </a:cubicBezTo>
                <a:cubicBezTo>
                  <a:pt x="368" y="151"/>
                  <a:pt x="368" y="151"/>
                  <a:pt x="368" y="151"/>
                </a:cubicBezTo>
                <a:cubicBezTo>
                  <a:pt x="356" y="156"/>
                  <a:pt x="356" y="156"/>
                  <a:pt x="356" y="156"/>
                </a:cubicBezTo>
                <a:cubicBezTo>
                  <a:pt x="354" y="154"/>
                  <a:pt x="352" y="152"/>
                  <a:pt x="350" y="150"/>
                </a:cubicBezTo>
                <a:cubicBezTo>
                  <a:pt x="355" y="138"/>
                  <a:pt x="355" y="138"/>
                  <a:pt x="355" y="138"/>
                </a:cubicBezTo>
                <a:cubicBezTo>
                  <a:pt x="333" y="128"/>
                  <a:pt x="333" y="128"/>
                  <a:pt x="333" y="128"/>
                </a:cubicBezTo>
                <a:cubicBezTo>
                  <a:pt x="327" y="140"/>
                  <a:pt x="327" y="140"/>
                  <a:pt x="327" y="140"/>
                </a:cubicBezTo>
                <a:cubicBezTo>
                  <a:pt x="324" y="140"/>
                  <a:pt x="321" y="140"/>
                  <a:pt x="318" y="140"/>
                </a:cubicBezTo>
                <a:cubicBezTo>
                  <a:pt x="313" y="128"/>
                  <a:pt x="313" y="128"/>
                  <a:pt x="313" y="128"/>
                </a:cubicBezTo>
                <a:cubicBezTo>
                  <a:pt x="290" y="137"/>
                  <a:pt x="290" y="137"/>
                  <a:pt x="290" y="137"/>
                </a:cubicBezTo>
                <a:cubicBezTo>
                  <a:pt x="295" y="150"/>
                  <a:pt x="295" y="150"/>
                  <a:pt x="295" y="150"/>
                </a:cubicBezTo>
                <a:cubicBezTo>
                  <a:pt x="293" y="151"/>
                  <a:pt x="292" y="153"/>
                  <a:pt x="290" y="155"/>
                </a:cubicBezTo>
                <a:cubicBezTo>
                  <a:pt x="278" y="150"/>
                  <a:pt x="278" y="150"/>
                  <a:pt x="278" y="150"/>
                </a:cubicBezTo>
                <a:cubicBezTo>
                  <a:pt x="268" y="172"/>
                  <a:pt x="268" y="172"/>
                  <a:pt x="268" y="172"/>
                </a:cubicBezTo>
                <a:cubicBezTo>
                  <a:pt x="280" y="178"/>
                  <a:pt x="280" y="178"/>
                  <a:pt x="280" y="178"/>
                </a:cubicBezTo>
                <a:cubicBezTo>
                  <a:pt x="280" y="181"/>
                  <a:pt x="280" y="183"/>
                  <a:pt x="280" y="186"/>
                </a:cubicBezTo>
                <a:cubicBezTo>
                  <a:pt x="268" y="191"/>
                  <a:pt x="268" y="191"/>
                  <a:pt x="268" y="191"/>
                </a:cubicBezTo>
                <a:cubicBezTo>
                  <a:pt x="277" y="214"/>
                  <a:pt x="277" y="214"/>
                  <a:pt x="277" y="214"/>
                </a:cubicBezTo>
                <a:cubicBezTo>
                  <a:pt x="289" y="209"/>
                  <a:pt x="289" y="209"/>
                  <a:pt x="289" y="209"/>
                </a:cubicBezTo>
                <a:cubicBezTo>
                  <a:pt x="290" y="212"/>
                  <a:pt x="293" y="214"/>
                  <a:pt x="295" y="216"/>
                </a:cubicBezTo>
                <a:cubicBezTo>
                  <a:pt x="290" y="227"/>
                  <a:pt x="290" y="227"/>
                  <a:pt x="290" y="227"/>
                </a:cubicBezTo>
                <a:cubicBezTo>
                  <a:pt x="312" y="237"/>
                  <a:pt x="312" y="237"/>
                  <a:pt x="312" y="237"/>
                </a:cubicBezTo>
                <a:cubicBezTo>
                  <a:pt x="317" y="226"/>
                  <a:pt x="317" y="226"/>
                  <a:pt x="317" y="226"/>
                </a:cubicBezTo>
                <a:cubicBezTo>
                  <a:pt x="319" y="226"/>
                  <a:pt x="321" y="226"/>
                  <a:pt x="323" y="226"/>
                </a:cubicBezTo>
                <a:cubicBezTo>
                  <a:pt x="324" y="226"/>
                  <a:pt x="326" y="226"/>
                  <a:pt x="327" y="226"/>
                </a:cubicBezTo>
                <a:cubicBezTo>
                  <a:pt x="332" y="237"/>
                  <a:pt x="332" y="237"/>
                  <a:pt x="332" y="237"/>
                </a:cubicBezTo>
                <a:lnTo>
                  <a:pt x="355" y="228"/>
                </a:lnTo>
                <a:close/>
                <a:moveTo>
                  <a:pt x="315" y="200"/>
                </a:moveTo>
                <a:cubicBezTo>
                  <a:pt x="311" y="198"/>
                  <a:pt x="307" y="194"/>
                  <a:pt x="306" y="190"/>
                </a:cubicBezTo>
                <a:cubicBezTo>
                  <a:pt x="304" y="185"/>
                  <a:pt x="304" y="180"/>
                  <a:pt x="306" y="176"/>
                </a:cubicBezTo>
                <a:cubicBezTo>
                  <a:pt x="308" y="171"/>
                  <a:pt x="311" y="168"/>
                  <a:pt x="316" y="166"/>
                </a:cubicBezTo>
                <a:cubicBezTo>
                  <a:pt x="318" y="165"/>
                  <a:pt x="320" y="165"/>
                  <a:pt x="323" y="165"/>
                </a:cubicBezTo>
                <a:cubicBezTo>
                  <a:pt x="325" y="165"/>
                  <a:pt x="327" y="165"/>
                  <a:pt x="330" y="166"/>
                </a:cubicBezTo>
                <a:cubicBezTo>
                  <a:pt x="334" y="168"/>
                  <a:pt x="338" y="172"/>
                  <a:pt x="340" y="176"/>
                </a:cubicBezTo>
                <a:cubicBezTo>
                  <a:pt x="341" y="181"/>
                  <a:pt x="341" y="186"/>
                  <a:pt x="339" y="190"/>
                </a:cubicBezTo>
                <a:cubicBezTo>
                  <a:pt x="337" y="195"/>
                  <a:pt x="334" y="198"/>
                  <a:pt x="329" y="200"/>
                </a:cubicBezTo>
                <a:cubicBezTo>
                  <a:pt x="325" y="202"/>
                  <a:pt x="320" y="202"/>
                  <a:pt x="315" y="200"/>
                </a:cubicBez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sp>
        <p:nvSpPr>
          <p:cNvPr id="52" name="Google Shape;3330;p27">
            <a:extLst>
              <a:ext uri="{FF2B5EF4-FFF2-40B4-BE49-F238E27FC236}">
                <a16:creationId xmlns:a16="http://schemas.microsoft.com/office/drawing/2014/main" id="{0DC5BBFF-CDE7-45DF-292D-3842E3CF5B6A}"/>
              </a:ext>
            </a:extLst>
          </p:cNvPr>
          <p:cNvSpPr/>
          <p:nvPr/>
        </p:nvSpPr>
        <p:spPr>
          <a:xfrm>
            <a:off x="1060091" y="3638092"/>
            <a:ext cx="646475" cy="572900"/>
          </a:xfrm>
          <a:custGeom>
            <a:avLst/>
            <a:gdLst/>
            <a:ahLst/>
            <a:cxnLst/>
            <a:rect l="l" t="t" r="r" b="b"/>
            <a:pathLst>
              <a:path w="396" h="396" extrusionOk="0">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000000"/>
          </a:solid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D04A02"/>
              </a:solidFill>
              <a:latin typeface="Arial"/>
              <a:ea typeface="Arial"/>
              <a:cs typeface="Arial"/>
              <a:sym typeface="Arial"/>
            </a:endParaRPr>
          </a:p>
        </p:txBody>
      </p:sp>
      <p:sp>
        <p:nvSpPr>
          <p:cNvPr id="53" name="Google Shape;3331;p27">
            <a:extLst>
              <a:ext uri="{FF2B5EF4-FFF2-40B4-BE49-F238E27FC236}">
                <a16:creationId xmlns:a16="http://schemas.microsoft.com/office/drawing/2014/main" id="{246E60F7-A529-BF32-39D4-E4235EC219D1}"/>
              </a:ext>
            </a:extLst>
          </p:cNvPr>
          <p:cNvSpPr/>
          <p:nvPr/>
        </p:nvSpPr>
        <p:spPr>
          <a:xfrm>
            <a:off x="1053289" y="4521804"/>
            <a:ext cx="646475" cy="702200"/>
          </a:xfrm>
          <a:custGeom>
            <a:avLst/>
            <a:gdLst/>
            <a:ahLst/>
            <a:cxnLst/>
            <a:rect l="l" t="t" r="r" b="b"/>
            <a:pathLst>
              <a:path w="576" h="576" extrusionOk="0">
                <a:moveTo>
                  <a:pt x="473" y="289"/>
                </a:moveTo>
                <a:cubicBezTo>
                  <a:pt x="486" y="289"/>
                  <a:pt x="494" y="281"/>
                  <a:pt x="501" y="274"/>
                </a:cubicBezTo>
                <a:cubicBezTo>
                  <a:pt x="509" y="264"/>
                  <a:pt x="514" y="247"/>
                  <a:pt x="514" y="225"/>
                </a:cubicBezTo>
                <a:cubicBezTo>
                  <a:pt x="514" y="200"/>
                  <a:pt x="495" y="180"/>
                  <a:pt x="473" y="180"/>
                </a:cubicBezTo>
                <a:cubicBezTo>
                  <a:pt x="450" y="180"/>
                  <a:pt x="432" y="200"/>
                  <a:pt x="432" y="225"/>
                </a:cubicBezTo>
                <a:cubicBezTo>
                  <a:pt x="432" y="247"/>
                  <a:pt x="436" y="264"/>
                  <a:pt x="445" y="274"/>
                </a:cubicBezTo>
                <a:cubicBezTo>
                  <a:pt x="452" y="281"/>
                  <a:pt x="459" y="289"/>
                  <a:pt x="473" y="289"/>
                </a:cubicBezTo>
                <a:close/>
                <a:moveTo>
                  <a:pt x="473" y="203"/>
                </a:moveTo>
                <a:cubicBezTo>
                  <a:pt x="483" y="203"/>
                  <a:pt x="491" y="213"/>
                  <a:pt x="491" y="225"/>
                </a:cubicBezTo>
                <a:cubicBezTo>
                  <a:pt x="491" y="241"/>
                  <a:pt x="486" y="266"/>
                  <a:pt x="473" y="266"/>
                </a:cubicBezTo>
                <a:cubicBezTo>
                  <a:pt x="460" y="266"/>
                  <a:pt x="455" y="241"/>
                  <a:pt x="455" y="225"/>
                </a:cubicBezTo>
                <a:cubicBezTo>
                  <a:pt x="455" y="213"/>
                  <a:pt x="463" y="203"/>
                  <a:pt x="473" y="203"/>
                </a:cubicBezTo>
                <a:close/>
                <a:moveTo>
                  <a:pt x="103" y="289"/>
                </a:moveTo>
                <a:cubicBezTo>
                  <a:pt x="117" y="289"/>
                  <a:pt x="124" y="281"/>
                  <a:pt x="131" y="274"/>
                </a:cubicBezTo>
                <a:cubicBezTo>
                  <a:pt x="140" y="264"/>
                  <a:pt x="144" y="247"/>
                  <a:pt x="144" y="225"/>
                </a:cubicBezTo>
                <a:cubicBezTo>
                  <a:pt x="144" y="200"/>
                  <a:pt x="126" y="180"/>
                  <a:pt x="103" y="180"/>
                </a:cubicBezTo>
                <a:cubicBezTo>
                  <a:pt x="81" y="180"/>
                  <a:pt x="62" y="200"/>
                  <a:pt x="62" y="225"/>
                </a:cubicBezTo>
                <a:cubicBezTo>
                  <a:pt x="62" y="247"/>
                  <a:pt x="67" y="264"/>
                  <a:pt x="75" y="274"/>
                </a:cubicBezTo>
                <a:cubicBezTo>
                  <a:pt x="82" y="281"/>
                  <a:pt x="90" y="289"/>
                  <a:pt x="103" y="289"/>
                </a:cubicBezTo>
                <a:close/>
                <a:moveTo>
                  <a:pt x="103" y="266"/>
                </a:moveTo>
                <a:cubicBezTo>
                  <a:pt x="90" y="266"/>
                  <a:pt x="85" y="241"/>
                  <a:pt x="85" y="225"/>
                </a:cubicBezTo>
                <a:cubicBezTo>
                  <a:pt x="85" y="213"/>
                  <a:pt x="93" y="203"/>
                  <a:pt x="103" y="203"/>
                </a:cubicBezTo>
                <a:cubicBezTo>
                  <a:pt x="113" y="203"/>
                  <a:pt x="121" y="213"/>
                  <a:pt x="121" y="225"/>
                </a:cubicBezTo>
                <a:cubicBezTo>
                  <a:pt x="121" y="241"/>
                  <a:pt x="116" y="266"/>
                  <a:pt x="103" y="266"/>
                </a:cubicBezTo>
                <a:close/>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moveTo>
                  <a:pt x="288" y="94"/>
                </a:moveTo>
                <a:cubicBezTo>
                  <a:pt x="245" y="94"/>
                  <a:pt x="210" y="132"/>
                  <a:pt x="210" y="180"/>
                </a:cubicBezTo>
                <a:cubicBezTo>
                  <a:pt x="210" y="226"/>
                  <a:pt x="219" y="259"/>
                  <a:pt x="236" y="278"/>
                </a:cubicBezTo>
                <a:cubicBezTo>
                  <a:pt x="250" y="294"/>
                  <a:pt x="264" y="307"/>
                  <a:pt x="288" y="307"/>
                </a:cubicBezTo>
                <a:cubicBezTo>
                  <a:pt x="312" y="307"/>
                  <a:pt x="326" y="294"/>
                  <a:pt x="340" y="278"/>
                </a:cubicBezTo>
                <a:cubicBezTo>
                  <a:pt x="357" y="259"/>
                  <a:pt x="366" y="226"/>
                  <a:pt x="366" y="180"/>
                </a:cubicBezTo>
                <a:cubicBezTo>
                  <a:pt x="366" y="132"/>
                  <a:pt x="331" y="94"/>
                  <a:pt x="288" y="94"/>
                </a:cubicBezTo>
                <a:close/>
                <a:moveTo>
                  <a:pt x="322" y="262"/>
                </a:moveTo>
                <a:cubicBezTo>
                  <a:pt x="307" y="278"/>
                  <a:pt x="300" y="283"/>
                  <a:pt x="288" y="283"/>
                </a:cubicBezTo>
                <a:cubicBezTo>
                  <a:pt x="276" y="283"/>
                  <a:pt x="269" y="278"/>
                  <a:pt x="254" y="262"/>
                </a:cubicBezTo>
                <a:cubicBezTo>
                  <a:pt x="242" y="248"/>
                  <a:pt x="235" y="218"/>
                  <a:pt x="235" y="180"/>
                </a:cubicBezTo>
                <a:cubicBezTo>
                  <a:pt x="235" y="146"/>
                  <a:pt x="259" y="118"/>
                  <a:pt x="288" y="118"/>
                </a:cubicBezTo>
                <a:cubicBezTo>
                  <a:pt x="317" y="118"/>
                  <a:pt x="341" y="146"/>
                  <a:pt x="341" y="180"/>
                </a:cubicBezTo>
                <a:cubicBezTo>
                  <a:pt x="341" y="218"/>
                  <a:pt x="334" y="248"/>
                  <a:pt x="322" y="262"/>
                </a:cubicBez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sp>
        <p:nvSpPr>
          <p:cNvPr id="54" name="Google Shape;3332;p27">
            <a:extLst>
              <a:ext uri="{FF2B5EF4-FFF2-40B4-BE49-F238E27FC236}">
                <a16:creationId xmlns:a16="http://schemas.microsoft.com/office/drawing/2014/main" id="{DFF7612B-93C1-B78B-395E-1152A35F04B5}"/>
              </a:ext>
            </a:extLst>
          </p:cNvPr>
          <p:cNvSpPr/>
          <p:nvPr/>
        </p:nvSpPr>
        <p:spPr>
          <a:xfrm>
            <a:off x="1060091" y="5537026"/>
            <a:ext cx="646475" cy="7191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60" y="398"/>
                </a:moveTo>
                <a:cubicBezTo>
                  <a:pt x="498" y="398"/>
                  <a:pt x="498" y="398"/>
                  <a:pt x="498" y="398"/>
                </a:cubicBezTo>
                <a:cubicBezTo>
                  <a:pt x="498" y="247"/>
                  <a:pt x="498" y="247"/>
                  <a:pt x="498" y="247"/>
                </a:cubicBezTo>
                <a:cubicBezTo>
                  <a:pt x="498" y="218"/>
                  <a:pt x="474" y="195"/>
                  <a:pt x="446" y="195"/>
                </a:cubicBezTo>
                <a:cubicBezTo>
                  <a:pt x="378" y="195"/>
                  <a:pt x="378" y="195"/>
                  <a:pt x="378" y="195"/>
                </a:cubicBezTo>
                <a:cubicBezTo>
                  <a:pt x="362" y="195"/>
                  <a:pt x="349" y="201"/>
                  <a:pt x="339" y="212"/>
                </a:cubicBezTo>
                <a:cubicBezTo>
                  <a:pt x="338" y="213"/>
                  <a:pt x="338" y="213"/>
                  <a:pt x="338" y="213"/>
                </a:cubicBezTo>
                <a:cubicBezTo>
                  <a:pt x="356" y="229"/>
                  <a:pt x="356" y="229"/>
                  <a:pt x="356" y="229"/>
                </a:cubicBezTo>
                <a:cubicBezTo>
                  <a:pt x="357" y="228"/>
                  <a:pt x="357" y="228"/>
                  <a:pt x="357" y="228"/>
                </a:cubicBezTo>
                <a:cubicBezTo>
                  <a:pt x="362" y="222"/>
                  <a:pt x="369" y="219"/>
                  <a:pt x="378" y="219"/>
                </a:cubicBezTo>
                <a:cubicBezTo>
                  <a:pt x="446" y="219"/>
                  <a:pt x="446" y="219"/>
                  <a:pt x="446" y="219"/>
                </a:cubicBezTo>
                <a:cubicBezTo>
                  <a:pt x="461" y="219"/>
                  <a:pt x="474" y="231"/>
                  <a:pt x="474" y="247"/>
                </a:cubicBezTo>
                <a:cubicBezTo>
                  <a:pt x="474" y="375"/>
                  <a:pt x="474" y="375"/>
                  <a:pt x="474" y="375"/>
                </a:cubicBezTo>
                <a:cubicBezTo>
                  <a:pt x="436" y="375"/>
                  <a:pt x="436" y="375"/>
                  <a:pt x="436" y="375"/>
                </a:cubicBezTo>
                <a:cubicBezTo>
                  <a:pt x="436" y="552"/>
                  <a:pt x="436" y="552"/>
                  <a:pt x="436" y="552"/>
                </a:cubicBezTo>
                <a:cubicBezTo>
                  <a:pt x="387" y="552"/>
                  <a:pt x="387" y="552"/>
                  <a:pt x="387" y="552"/>
                </a:cubicBezTo>
                <a:cubicBezTo>
                  <a:pt x="387" y="375"/>
                  <a:pt x="387" y="375"/>
                  <a:pt x="387" y="375"/>
                </a:cubicBezTo>
                <a:cubicBezTo>
                  <a:pt x="233" y="375"/>
                  <a:pt x="233" y="375"/>
                  <a:pt x="233" y="375"/>
                </a:cubicBezTo>
                <a:cubicBezTo>
                  <a:pt x="265" y="342"/>
                  <a:pt x="265" y="342"/>
                  <a:pt x="265" y="342"/>
                </a:cubicBezTo>
                <a:cubicBezTo>
                  <a:pt x="248" y="325"/>
                  <a:pt x="248" y="325"/>
                  <a:pt x="248" y="325"/>
                </a:cubicBezTo>
                <a:cubicBezTo>
                  <a:pt x="187" y="387"/>
                  <a:pt x="187" y="387"/>
                  <a:pt x="187" y="387"/>
                </a:cubicBezTo>
                <a:cubicBezTo>
                  <a:pt x="248" y="448"/>
                  <a:pt x="248" y="448"/>
                  <a:pt x="248" y="448"/>
                </a:cubicBezTo>
                <a:cubicBezTo>
                  <a:pt x="265" y="431"/>
                  <a:pt x="265" y="431"/>
                  <a:pt x="265" y="431"/>
                </a:cubicBezTo>
                <a:cubicBezTo>
                  <a:pt x="233" y="398"/>
                  <a:pt x="233" y="398"/>
                  <a:pt x="233" y="398"/>
                </a:cubicBezTo>
                <a:cubicBezTo>
                  <a:pt x="363" y="398"/>
                  <a:pt x="363" y="398"/>
                  <a:pt x="363" y="398"/>
                </a:cubicBezTo>
                <a:cubicBezTo>
                  <a:pt x="363" y="552"/>
                  <a:pt x="363" y="552"/>
                  <a:pt x="363" y="552"/>
                </a:cubicBezTo>
                <a:cubicBezTo>
                  <a:pt x="212" y="552"/>
                  <a:pt x="212" y="552"/>
                  <a:pt x="212" y="552"/>
                </a:cubicBezTo>
                <a:cubicBezTo>
                  <a:pt x="212" y="440"/>
                  <a:pt x="212" y="440"/>
                  <a:pt x="212" y="440"/>
                </a:cubicBezTo>
                <a:cubicBezTo>
                  <a:pt x="188" y="416"/>
                  <a:pt x="188" y="416"/>
                  <a:pt x="188" y="416"/>
                </a:cubicBezTo>
                <a:cubicBezTo>
                  <a:pt x="188" y="552"/>
                  <a:pt x="188" y="552"/>
                  <a:pt x="188" y="552"/>
                </a:cubicBezTo>
                <a:cubicBezTo>
                  <a:pt x="139" y="552"/>
                  <a:pt x="139" y="552"/>
                  <a:pt x="139" y="552"/>
                </a:cubicBezTo>
                <a:cubicBezTo>
                  <a:pt x="139" y="375"/>
                  <a:pt x="139" y="375"/>
                  <a:pt x="139" y="375"/>
                </a:cubicBezTo>
                <a:cubicBezTo>
                  <a:pt x="101" y="375"/>
                  <a:pt x="101" y="375"/>
                  <a:pt x="101" y="375"/>
                </a:cubicBezTo>
                <a:cubicBezTo>
                  <a:pt x="101" y="247"/>
                  <a:pt x="101" y="247"/>
                  <a:pt x="101" y="247"/>
                </a:cubicBezTo>
                <a:cubicBezTo>
                  <a:pt x="101" y="231"/>
                  <a:pt x="114" y="219"/>
                  <a:pt x="130" y="219"/>
                </a:cubicBezTo>
                <a:cubicBezTo>
                  <a:pt x="198" y="219"/>
                  <a:pt x="198" y="219"/>
                  <a:pt x="198" y="219"/>
                </a:cubicBezTo>
                <a:cubicBezTo>
                  <a:pt x="214" y="219"/>
                  <a:pt x="226" y="231"/>
                  <a:pt x="226" y="247"/>
                </a:cubicBezTo>
                <a:cubicBezTo>
                  <a:pt x="226" y="297"/>
                  <a:pt x="226" y="297"/>
                  <a:pt x="226" y="297"/>
                </a:cubicBezTo>
                <a:cubicBezTo>
                  <a:pt x="343" y="297"/>
                  <a:pt x="343" y="297"/>
                  <a:pt x="343" y="297"/>
                </a:cubicBezTo>
                <a:cubicBezTo>
                  <a:pt x="310" y="330"/>
                  <a:pt x="310" y="330"/>
                  <a:pt x="310" y="330"/>
                </a:cubicBezTo>
                <a:cubicBezTo>
                  <a:pt x="327" y="347"/>
                  <a:pt x="327" y="347"/>
                  <a:pt x="327" y="347"/>
                </a:cubicBezTo>
                <a:cubicBezTo>
                  <a:pt x="388" y="286"/>
                  <a:pt x="388" y="286"/>
                  <a:pt x="388" y="286"/>
                </a:cubicBezTo>
                <a:cubicBezTo>
                  <a:pt x="327" y="224"/>
                  <a:pt x="327" y="224"/>
                  <a:pt x="327" y="224"/>
                </a:cubicBezTo>
                <a:cubicBezTo>
                  <a:pt x="310" y="241"/>
                  <a:pt x="310" y="241"/>
                  <a:pt x="310" y="241"/>
                </a:cubicBezTo>
                <a:cubicBezTo>
                  <a:pt x="343" y="274"/>
                  <a:pt x="343" y="274"/>
                  <a:pt x="343" y="274"/>
                </a:cubicBezTo>
                <a:cubicBezTo>
                  <a:pt x="250" y="274"/>
                  <a:pt x="250" y="274"/>
                  <a:pt x="250" y="274"/>
                </a:cubicBezTo>
                <a:cubicBezTo>
                  <a:pt x="250" y="247"/>
                  <a:pt x="250" y="247"/>
                  <a:pt x="250" y="247"/>
                </a:cubicBezTo>
                <a:cubicBezTo>
                  <a:pt x="250" y="218"/>
                  <a:pt x="227" y="195"/>
                  <a:pt x="198" y="195"/>
                </a:cubicBezTo>
                <a:cubicBezTo>
                  <a:pt x="130" y="195"/>
                  <a:pt x="130" y="195"/>
                  <a:pt x="130" y="195"/>
                </a:cubicBezTo>
                <a:cubicBezTo>
                  <a:pt x="101" y="195"/>
                  <a:pt x="77" y="218"/>
                  <a:pt x="77" y="247"/>
                </a:cubicBezTo>
                <a:cubicBezTo>
                  <a:pt x="77" y="398"/>
                  <a:pt x="77" y="398"/>
                  <a:pt x="77" y="398"/>
                </a:cubicBezTo>
                <a:cubicBezTo>
                  <a:pt x="116" y="398"/>
                  <a:pt x="116" y="398"/>
                  <a:pt x="116" y="398"/>
                </a:cubicBezTo>
                <a:cubicBezTo>
                  <a:pt x="116" y="552"/>
                  <a:pt x="116" y="552"/>
                  <a:pt x="116" y="552"/>
                </a:cubicBezTo>
                <a:cubicBezTo>
                  <a:pt x="23" y="552"/>
                  <a:pt x="23" y="552"/>
                  <a:pt x="23" y="552"/>
                </a:cubicBezTo>
                <a:cubicBezTo>
                  <a:pt x="23" y="24"/>
                  <a:pt x="23" y="24"/>
                  <a:pt x="23" y="24"/>
                </a:cubicBezTo>
                <a:cubicBezTo>
                  <a:pt x="552" y="24"/>
                  <a:pt x="552" y="24"/>
                  <a:pt x="552" y="24"/>
                </a:cubicBezTo>
                <a:cubicBezTo>
                  <a:pt x="552" y="552"/>
                  <a:pt x="552" y="552"/>
                  <a:pt x="552" y="552"/>
                </a:cubicBezTo>
                <a:cubicBezTo>
                  <a:pt x="460" y="552"/>
                  <a:pt x="460" y="552"/>
                  <a:pt x="460" y="552"/>
                </a:cubicBezTo>
                <a:lnTo>
                  <a:pt x="460" y="398"/>
                </a:lnTo>
                <a:close/>
                <a:moveTo>
                  <a:pt x="164" y="75"/>
                </a:moveTo>
                <a:cubicBezTo>
                  <a:pt x="137" y="75"/>
                  <a:pt x="116" y="97"/>
                  <a:pt x="116" y="125"/>
                </a:cubicBezTo>
                <a:cubicBezTo>
                  <a:pt x="116" y="151"/>
                  <a:pt x="137" y="173"/>
                  <a:pt x="164" y="173"/>
                </a:cubicBezTo>
                <a:cubicBezTo>
                  <a:pt x="190" y="173"/>
                  <a:pt x="212" y="151"/>
                  <a:pt x="212" y="125"/>
                </a:cubicBezTo>
                <a:cubicBezTo>
                  <a:pt x="212" y="97"/>
                  <a:pt x="190" y="75"/>
                  <a:pt x="164" y="75"/>
                </a:cubicBezTo>
                <a:close/>
                <a:moveTo>
                  <a:pt x="164" y="149"/>
                </a:moveTo>
                <a:cubicBezTo>
                  <a:pt x="150" y="149"/>
                  <a:pt x="139" y="138"/>
                  <a:pt x="139" y="125"/>
                </a:cubicBezTo>
                <a:cubicBezTo>
                  <a:pt x="139" y="110"/>
                  <a:pt x="150" y="99"/>
                  <a:pt x="164" y="99"/>
                </a:cubicBezTo>
                <a:cubicBezTo>
                  <a:pt x="177" y="99"/>
                  <a:pt x="188" y="110"/>
                  <a:pt x="188" y="125"/>
                </a:cubicBezTo>
                <a:cubicBezTo>
                  <a:pt x="188" y="138"/>
                  <a:pt x="177" y="149"/>
                  <a:pt x="164" y="149"/>
                </a:cubicBezTo>
                <a:close/>
                <a:moveTo>
                  <a:pt x="412" y="75"/>
                </a:moveTo>
                <a:cubicBezTo>
                  <a:pt x="386" y="75"/>
                  <a:pt x="364" y="97"/>
                  <a:pt x="364" y="125"/>
                </a:cubicBezTo>
                <a:cubicBezTo>
                  <a:pt x="364" y="151"/>
                  <a:pt x="386" y="173"/>
                  <a:pt x="412" y="173"/>
                </a:cubicBezTo>
                <a:cubicBezTo>
                  <a:pt x="439" y="173"/>
                  <a:pt x="460" y="151"/>
                  <a:pt x="460" y="125"/>
                </a:cubicBezTo>
                <a:cubicBezTo>
                  <a:pt x="460" y="97"/>
                  <a:pt x="439" y="75"/>
                  <a:pt x="412" y="75"/>
                </a:cubicBezTo>
                <a:close/>
                <a:moveTo>
                  <a:pt x="436" y="125"/>
                </a:moveTo>
                <a:cubicBezTo>
                  <a:pt x="436" y="138"/>
                  <a:pt x="426" y="149"/>
                  <a:pt x="412" y="149"/>
                </a:cubicBezTo>
                <a:cubicBezTo>
                  <a:pt x="399" y="149"/>
                  <a:pt x="388" y="138"/>
                  <a:pt x="388" y="125"/>
                </a:cubicBezTo>
                <a:cubicBezTo>
                  <a:pt x="388" y="111"/>
                  <a:pt x="399" y="99"/>
                  <a:pt x="412" y="99"/>
                </a:cubicBezTo>
                <a:cubicBezTo>
                  <a:pt x="426" y="99"/>
                  <a:pt x="436" y="110"/>
                  <a:pt x="436" y="125"/>
                </a:cubicBez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1" i="0" u="none" strike="noStrike" cap="none">
              <a:solidFill>
                <a:srgbClr val="D04A02"/>
              </a:solidFill>
              <a:latin typeface="Arial"/>
              <a:ea typeface="Arial"/>
              <a:cs typeface="Arial"/>
              <a:sym typeface="Arial"/>
            </a:endParaRPr>
          </a:p>
        </p:txBody>
      </p:sp>
      <p:sp>
        <p:nvSpPr>
          <p:cNvPr id="55" name="Google Shape;3333;p27">
            <a:extLst>
              <a:ext uri="{FF2B5EF4-FFF2-40B4-BE49-F238E27FC236}">
                <a16:creationId xmlns:a16="http://schemas.microsoft.com/office/drawing/2014/main" id="{611F5BD8-DC65-C42C-5AB2-6BF1EB3A5DBE}"/>
              </a:ext>
            </a:extLst>
          </p:cNvPr>
          <p:cNvSpPr/>
          <p:nvPr/>
        </p:nvSpPr>
        <p:spPr>
          <a:xfrm>
            <a:off x="1059429" y="2687665"/>
            <a:ext cx="646474" cy="637001"/>
          </a:xfrm>
          <a:custGeom>
            <a:avLst/>
            <a:gdLst/>
            <a:ahLst/>
            <a:cxnLst/>
            <a:rect l="l" t="t" r="r" b="b"/>
            <a:pathLst>
              <a:path w="704" h="706" extrusionOk="0">
                <a:moveTo>
                  <a:pt x="477" y="97"/>
                </a:moveTo>
                <a:lnTo>
                  <a:pt x="450" y="97"/>
                </a:lnTo>
                <a:lnTo>
                  <a:pt x="365" y="97"/>
                </a:lnTo>
                <a:lnTo>
                  <a:pt x="339" y="97"/>
                </a:lnTo>
                <a:lnTo>
                  <a:pt x="227" y="97"/>
                </a:lnTo>
                <a:lnTo>
                  <a:pt x="227" y="237"/>
                </a:lnTo>
                <a:lnTo>
                  <a:pt x="339" y="237"/>
                </a:lnTo>
                <a:lnTo>
                  <a:pt x="339" y="351"/>
                </a:lnTo>
                <a:lnTo>
                  <a:pt x="477" y="351"/>
                </a:lnTo>
                <a:lnTo>
                  <a:pt x="477" y="237"/>
                </a:lnTo>
                <a:lnTo>
                  <a:pt x="589" y="237"/>
                </a:lnTo>
                <a:lnTo>
                  <a:pt x="589" y="97"/>
                </a:lnTo>
                <a:lnTo>
                  <a:pt x="477" y="97"/>
                </a:lnTo>
                <a:close/>
                <a:moveTo>
                  <a:pt x="336" y="207"/>
                </a:moveTo>
                <a:lnTo>
                  <a:pt x="257" y="207"/>
                </a:lnTo>
                <a:lnTo>
                  <a:pt x="257" y="126"/>
                </a:lnTo>
                <a:lnTo>
                  <a:pt x="336" y="126"/>
                </a:lnTo>
                <a:lnTo>
                  <a:pt x="336" y="207"/>
                </a:lnTo>
                <a:close/>
                <a:moveTo>
                  <a:pt x="368" y="126"/>
                </a:moveTo>
                <a:lnTo>
                  <a:pt x="447" y="126"/>
                </a:lnTo>
                <a:lnTo>
                  <a:pt x="447" y="207"/>
                </a:lnTo>
                <a:lnTo>
                  <a:pt x="368" y="207"/>
                </a:lnTo>
                <a:lnTo>
                  <a:pt x="368" y="126"/>
                </a:lnTo>
                <a:close/>
                <a:moveTo>
                  <a:pt x="447" y="321"/>
                </a:moveTo>
                <a:lnTo>
                  <a:pt x="368" y="321"/>
                </a:lnTo>
                <a:lnTo>
                  <a:pt x="368" y="240"/>
                </a:lnTo>
                <a:lnTo>
                  <a:pt x="447" y="240"/>
                </a:lnTo>
                <a:lnTo>
                  <a:pt x="447" y="321"/>
                </a:lnTo>
                <a:close/>
                <a:moveTo>
                  <a:pt x="560" y="207"/>
                </a:moveTo>
                <a:lnTo>
                  <a:pt x="479" y="207"/>
                </a:lnTo>
                <a:lnTo>
                  <a:pt x="479" y="126"/>
                </a:lnTo>
                <a:lnTo>
                  <a:pt x="560" y="126"/>
                </a:lnTo>
                <a:lnTo>
                  <a:pt x="560" y="207"/>
                </a:lnTo>
                <a:close/>
                <a:moveTo>
                  <a:pt x="0" y="0"/>
                </a:moveTo>
                <a:lnTo>
                  <a:pt x="0" y="452"/>
                </a:lnTo>
                <a:lnTo>
                  <a:pt x="0" y="566"/>
                </a:lnTo>
                <a:lnTo>
                  <a:pt x="0" y="592"/>
                </a:lnTo>
                <a:lnTo>
                  <a:pt x="0" y="706"/>
                </a:lnTo>
                <a:lnTo>
                  <a:pt x="111" y="706"/>
                </a:lnTo>
                <a:lnTo>
                  <a:pt x="139" y="706"/>
                </a:lnTo>
                <a:lnTo>
                  <a:pt x="222" y="706"/>
                </a:lnTo>
                <a:lnTo>
                  <a:pt x="251" y="706"/>
                </a:lnTo>
                <a:lnTo>
                  <a:pt x="362" y="706"/>
                </a:lnTo>
                <a:lnTo>
                  <a:pt x="453" y="706"/>
                </a:lnTo>
                <a:lnTo>
                  <a:pt x="565" y="706"/>
                </a:lnTo>
                <a:lnTo>
                  <a:pt x="593" y="706"/>
                </a:lnTo>
                <a:lnTo>
                  <a:pt x="704" y="706"/>
                </a:lnTo>
                <a:lnTo>
                  <a:pt x="704" y="592"/>
                </a:lnTo>
                <a:lnTo>
                  <a:pt x="704" y="566"/>
                </a:lnTo>
                <a:lnTo>
                  <a:pt x="704" y="478"/>
                </a:lnTo>
                <a:lnTo>
                  <a:pt x="704" y="452"/>
                </a:lnTo>
                <a:lnTo>
                  <a:pt x="704" y="338"/>
                </a:lnTo>
                <a:lnTo>
                  <a:pt x="704" y="0"/>
                </a:lnTo>
                <a:lnTo>
                  <a:pt x="0" y="0"/>
                </a:lnTo>
                <a:close/>
                <a:moveTo>
                  <a:pt x="29" y="563"/>
                </a:moveTo>
                <a:lnTo>
                  <a:pt x="29" y="482"/>
                </a:lnTo>
                <a:lnTo>
                  <a:pt x="110" y="482"/>
                </a:lnTo>
                <a:lnTo>
                  <a:pt x="110" y="563"/>
                </a:lnTo>
                <a:lnTo>
                  <a:pt x="29" y="563"/>
                </a:lnTo>
                <a:close/>
                <a:moveTo>
                  <a:pt x="141" y="449"/>
                </a:moveTo>
                <a:lnTo>
                  <a:pt x="141" y="368"/>
                </a:lnTo>
                <a:lnTo>
                  <a:pt x="221" y="368"/>
                </a:lnTo>
                <a:lnTo>
                  <a:pt x="221" y="449"/>
                </a:lnTo>
                <a:lnTo>
                  <a:pt x="141" y="449"/>
                </a:lnTo>
                <a:close/>
                <a:moveTo>
                  <a:pt x="252" y="677"/>
                </a:moveTo>
                <a:lnTo>
                  <a:pt x="252" y="596"/>
                </a:lnTo>
                <a:lnTo>
                  <a:pt x="332" y="596"/>
                </a:lnTo>
                <a:lnTo>
                  <a:pt x="332" y="677"/>
                </a:lnTo>
                <a:lnTo>
                  <a:pt x="252" y="677"/>
                </a:lnTo>
                <a:close/>
                <a:moveTo>
                  <a:pt x="221" y="677"/>
                </a:moveTo>
                <a:lnTo>
                  <a:pt x="141" y="677"/>
                </a:lnTo>
                <a:lnTo>
                  <a:pt x="141" y="596"/>
                </a:lnTo>
                <a:lnTo>
                  <a:pt x="221" y="596"/>
                </a:lnTo>
                <a:lnTo>
                  <a:pt x="221" y="677"/>
                </a:lnTo>
                <a:close/>
                <a:moveTo>
                  <a:pt x="110" y="677"/>
                </a:moveTo>
                <a:lnTo>
                  <a:pt x="29" y="677"/>
                </a:lnTo>
                <a:lnTo>
                  <a:pt x="29" y="596"/>
                </a:lnTo>
                <a:lnTo>
                  <a:pt x="110" y="596"/>
                </a:lnTo>
                <a:lnTo>
                  <a:pt x="110" y="677"/>
                </a:lnTo>
                <a:close/>
                <a:moveTo>
                  <a:pt x="141" y="563"/>
                </a:moveTo>
                <a:lnTo>
                  <a:pt x="141" y="482"/>
                </a:lnTo>
                <a:lnTo>
                  <a:pt x="221" y="482"/>
                </a:lnTo>
                <a:lnTo>
                  <a:pt x="221" y="563"/>
                </a:lnTo>
                <a:lnTo>
                  <a:pt x="141" y="563"/>
                </a:lnTo>
                <a:close/>
                <a:moveTo>
                  <a:pt x="483" y="677"/>
                </a:moveTo>
                <a:lnTo>
                  <a:pt x="483" y="596"/>
                </a:lnTo>
                <a:lnTo>
                  <a:pt x="563" y="596"/>
                </a:lnTo>
                <a:lnTo>
                  <a:pt x="563" y="677"/>
                </a:lnTo>
                <a:lnTo>
                  <a:pt x="483" y="677"/>
                </a:lnTo>
                <a:close/>
                <a:moveTo>
                  <a:pt x="675" y="563"/>
                </a:moveTo>
                <a:lnTo>
                  <a:pt x="594" y="563"/>
                </a:lnTo>
                <a:lnTo>
                  <a:pt x="594" y="482"/>
                </a:lnTo>
                <a:lnTo>
                  <a:pt x="675" y="482"/>
                </a:lnTo>
                <a:lnTo>
                  <a:pt x="675" y="563"/>
                </a:lnTo>
                <a:close/>
                <a:moveTo>
                  <a:pt x="675" y="677"/>
                </a:moveTo>
                <a:lnTo>
                  <a:pt x="594" y="677"/>
                </a:lnTo>
                <a:lnTo>
                  <a:pt x="594" y="596"/>
                </a:lnTo>
                <a:lnTo>
                  <a:pt x="675" y="596"/>
                </a:lnTo>
                <a:lnTo>
                  <a:pt x="675" y="677"/>
                </a:lnTo>
                <a:close/>
                <a:moveTo>
                  <a:pt x="594" y="449"/>
                </a:moveTo>
                <a:lnTo>
                  <a:pt x="594" y="368"/>
                </a:lnTo>
                <a:lnTo>
                  <a:pt x="675" y="368"/>
                </a:lnTo>
                <a:lnTo>
                  <a:pt x="675" y="449"/>
                </a:lnTo>
                <a:lnTo>
                  <a:pt x="594" y="449"/>
                </a:lnTo>
                <a:close/>
                <a:moveTo>
                  <a:pt x="565" y="338"/>
                </a:moveTo>
                <a:lnTo>
                  <a:pt x="565" y="452"/>
                </a:lnTo>
                <a:lnTo>
                  <a:pt x="565" y="478"/>
                </a:lnTo>
                <a:lnTo>
                  <a:pt x="565" y="566"/>
                </a:lnTo>
                <a:lnTo>
                  <a:pt x="453" y="566"/>
                </a:lnTo>
                <a:lnTo>
                  <a:pt x="453" y="677"/>
                </a:lnTo>
                <a:lnTo>
                  <a:pt x="362" y="677"/>
                </a:lnTo>
                <a:lnTo>
                  <a:pt x="362" y="566"/>
                </a:lnTo>
                <a:lnTo>
                  <a:pt x="251" y="566"/>
                </a:lnTo>
                <a:lnTo>
                  <a:pt x="251" y="478"/>
                </a:lnTo>
                <a:lnTo>
                  <a:pt x="251" y="452"/>
                </a:lnTo>
                <a:lnTo>
                  <a:pt x="251" y="338"/>
                </a:lnTo>
                <a:lnTo>
                  <a:pt x="111" y="338"/>
                </a:lnTo>
                <a:lnTo>
                  <a:pt x="111" y="452"/>
                </a:lnTo>
                <a:lnTo>
                  <a:pt x="28" y="452"/>
                </a:lnTo>
                <a:lnTo>
                  <a:pt x="28" y="28"/>
                </a:lnTo>
                <a:lnTo>
                  <a:pt x="676" y="28"/>
                </a:lnTo>
                <a:lnTo>
                  <a:pt x="676" y="338"/>
                </a:lnTo>
                <a:lnTo>
                  <a:pt x="565" y="338"/>
                </a:lnTo>
                <a:close/>
              </a:path>
            </a:pathLst>
          </a:custGeom>
          <a:solidFill>
            <a:srgbClr val="0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1" i="0" u="none" strike="noStrike" cap="none">
              <a:solidFill>
                <a:srgbClr val="D04A02"/>
              </a:solidFill>
              <a:latin typeface="Arial"/>
              <a:ea typeface="Arial"/>
              <a:cs typeface="Arial"/>
              <a:sym typeface="Arial"/>
            </a:endParaRPr>
          </a:p>
        </p:txBody>
      </p:sp>
    </p:spTree>
    <p:extLst>
      <p:ext uri="{BB962C8B-B14F-4D97-AF65-F5344CB8AC3E}">
        <p14:creationId xmlns:p14="http://schemas.microsoft.com/office/powerpoint/2010/main" val="21471727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2" name="Google Shape;3341;p28">
            <a:extLst>
              <a:ext uri="{FF2B5EF4-FFF2-40B4-BE49-F238E27FC236}">
                <a16:creationId xmlns:a16="http://schemas.microsoft.com/office/drawing/2014/main" id="{C3896832-BCE9-C019-8D0C-A3D7D0EB7601}"/>
              </a:ext>
            </a:extLst>
          </p:cNvPr>
          <p:cNvSpPr txBox="1">
            <a:spLocks/>
          </p:cNvSpPr>
          <p:nvPr/>
        </p:nvSpPr>
        <p:spPr>
          <a:xfrm>
            <a:off x="-11701" y="1707350"/>
            <a:ext cx="2669100" cy="699900"/>
          </a:xfrm>
          <a:prstGeom prst="rect">
            <a:avLst/>
          </a:prstGeom>
          <a:solidFill>
            <a:schemeClr val="accent2"/>
          </a:solidFill>
          <a:ln>
            <a:noFill/>
          </a:ln>
        </p:spPr>
        <p:txBody>
          <a:bodyPr spcFirstLastPara="1" wrap="square" lIns="205750" tIns="0" rIns="0" bIns="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85000"/>
              </a:lnSpc>
              <a:spcBef>
                <a:spcPts val="0"/>
              </a:spcBef>
              <a:buSzPts val="4400"/>
            </a:pPr>
            <a:r>
              <a:rPr lang="en-US" sz="3400" dirty="0">
                <a:solidFill>
                  <a:schemeClr val="lt1"/>
                </a:solidFill>
              </a:rPr>
              <a:t>Thank You</a:t>
            </a:r>
          </a:p>
        </p:txBody>
      </p:sp>
      <p:sp>
        <p:nvSpPr>
          <p:cNvPr id="5" name="Rectangle 4">
            <a:extLst>
              <a:ext uri="{FF2B5EF4-FFF2-40B4-BE49-F238E27FC236}">
                <a16:creationId xmlns:a16="http://schemas.microsoft.com/office/drawing/2014/main" id="{BABCA54C-19E1-B1D0-B2F7-A7CE666C387C}"/>
              </a:ext>
            </a:extLst>
          </p:cNvPr>
          <p:cNvSpPr/>
          <p:nvPr/>
        </p:nvSpPr>
        <p:spPr>
          <a:xfrm>
            <a:off x="0" y="4210534"/>
            <a:ext cx="12192000" cy="224072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Google Shape;3342;p28">
            <a:extLst>
              <a:ext uri="{FF2B5EF4-FFF2-40B4-BE49-F238E27FC236}">
                <a16:creationId xmlns:a16="http://schemas.microsoft.com/office/drawing/2014/main" id="{8871110A-23D3-DFDE-7190-64C3F4B2AB53}"/>
              </a:ext>
            </a:extLst>
          </p:cNvPr>
          <p:cNvSpPr txBox="1">
            <a:spLocks/>
          </p:cNvSpPr>
          <p:nvPr/>
        </p:nvSpPr>
        <p:spPr>
          <a:xfrm>
            <a:off x="332186" y="4400921"/>
            <a:ext cx="11753317" cy="790299"/>
          </a:xfrm>
          <a:prstGeom prst="rect">
            <a:avLst/>
          </a:prstGeom>
          <a:noFill/>
          <a:ln>
            <a:noFill/>
          </a:ln>
        </p:spPr>
        <p:txBody>
          <a:bodyPr spcFirstLastPara="1" wrap="square" lIns="0" tIns="0" rIns="0" bIns="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chemeClr val="dk1"/>
              </a:buClr>
              <a:buSzPts val="800"/>
              <a:buFont typeface="Arial"/>
              <a:buNone/>
            </a:pPr>
            <a:r>
              <a:rPr lang="en-US" sz="1200" dirty="0">
                <a:solidFill>
                  <a:schemeClr val="bg1"/>
                </a:solidFill>
                <a:latin typeface="Helvetica Neue"/>
                <a:ea typeface="Helvetica Neue"/>
                <a:cs typeface="Helvetica Neue"/>
                <a:sym typeface="Helvetica Neue"/>
              </a:rPr>
              <a:t>PWC.com</a:t>
            </a: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Clr>
                <a:schemeClr val="dk1"/>
              </a:buClr>
              <a:buSzPts val="800"/>
              <a:buFont typeface="Arial"/>
              <a:buNone/>
            </a:pPr>
            <a:r>
              <a:rPr lang="en-US" sz="1200" dirty="0">
                <a:solidFill>
                  <a:schemeClr val="bg1"/>
                </a:solidFill>
                <a:latin typeface="Helvetica Neue"/>
                <a:ea typeface="Helvetica Neue"/>
                <a:cs typeface="Helvetica Neue"/>
                <a:sym typeface="Helvetica Neue"/>
              </a:rPr>
              <a:t>At PwC, our purpose is to build trust in society and solve important problems. We’re a network of firms in 151 countries with nearly 364,000 people who are committed to delivering quality in assurance, advisory and tax services. Find out more and tell us what matters to you by visiting us at www.pwc.com.</a:t>
            </a: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Clr>
                <a:schemeClr val="dk1"/>
              </a:buClr>
              <a:buSzPts val="800"/>
              <a:buFont typeface="Arial"/>
              <a:buNone/>
            </a:pPr>
            <a:r>
              <a:rPr lang="en-US" sz="1200" dirty="0">
                <a:solidFill>
                  <a:schemeClr val="bg1"/>
                </a:solidFill>
                <a:latin typeface="Helvetica Neue"/>
                <a:ea typeface="Helvetica Neue"/>
                <a:cs typeface="Helvetica Neue"/>
                <a:sym typeface="Helvetica Neue"/>
              </a:rPr>
              <a:t>Established in the Middle East for 40 years, PwC has 24 offices across 12 countries in the region with around 10,500 people. (www.pwc.com/me).</a:t>
            </a: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Clr>
                <a:schemeClr val="dk1"/>
              </a:buClr>
              <a:buSzPts val="800"/>
              <a:buFont typeface="Arial"/>
              <a:buNone/>
            </a:pPr>
            <a:r>
              <a:rPr lang="en-US" sz="1200" dirty="0">
                <a:solidFill>
                  <a:schemeClr val="bg1"/>
                </a:solidFill>
                <a:latin typeface="Helvetica Neue"/>
                <a:ea typeface="Helvetica Neue"/>
                <a:cs typeface="Helvetica Neue"/>
                <a:sym typeface="Helvetica Neue"/>
              </a:rPr>
              <a:t>PwC refers to the PwC network and/or one or more of its member firms, each of which is a separate legal entity. Please see www.pwc.com/structure for further details.</a:t>
            </a: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Clr>
                <a:schemeClr val="dk1"/>
              </a:buClr>
              <a:buSzPts val="800"/>
              <a:buFont typeface="Arial"/>
              <a:buNone/>
            </a:pPr>
            <a:r>
              <a:rPr lang="en-US" sz="1200" dirty="0">
                <a:solidFill>
                  <a:schemeClr val="bg1"/>
                </a:solidFill>
                <a:latin typeface="Helvetica Neue"/>
                <a:ea typeface="Helvetica Neue"/>
                <a:cs typeface="Helvetica Neue"/>
                <a:sym typeface="Helvetica Neue"/>
              </a:rPr>
              <a:t>© 2024 PwC. All rights reserved</a:t>
            </a: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Clr>
                <a:schemeClr val="dk1"/>
              </a:buClr>
              <a:buSzPts val="800"/>
              <a:buFont typeface="Arial"/>
              <a:buNone/>
            </a:pPr>
            <a:endParaRPr lang="en-US" sz="1200" dirty="0">
              <a:solidFill>
                <a:schemeClr val="bg1"/>
              </a:solidFill>
              <a:latin typeface="Helvetica Neue"/>
              <a:ea typeface="Helvetica Neue"/>
              <a:cs typeface="Helvetica Neue"/>
              <a:sym typeface="Helvetica Neue"/>
            </a:endParaRPr>
          </a:p>
          <a:p>
            <a:pPr marL="0" indent="0">
              <a:lnSpc>
                <a:spcPct val="100000"/>
              </a:lnSpc>
              <a:spcBef>
                <a:spcPts val="0"/>
              </a:spcBef>
              <a:buSzPts val="900"/>
              <a:buFont typeface="Arial" panose="020B0604020202020204" pitchFamily="34" charset="0"/>
              <a:buNone/>
            </a:pPr>
            <a:endParaRPr lang="en-US" sz="1200" dirty="0">
              <a:solidFill>
                <a:schemeClr val="bg1"/>
              </a:solidFill>
              <a:latin typeface="Helvetica Neue"/>
              <a:ea typeface="Helvetica Neue"/>
              <a:cs typeface="Helvetica Neue"/>
              <a:sym typeface="Helvetica Neue"/>
            </a:endParaRPr>
          </a:p>
        </p:txBody>
      </p:sp>
    </p:spTree>
    <p:extLst>
      <p:ext uri="{BB962C8B-B14F-4D97-AF65-F5344CB8AC3E}">
        <p14:creationId xmlns:p14="http://schemas.microsoft.com/office/powerpoint/2010/main" val="967734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93F9F77-7603-2699-88E2-0AECCFF16DA5}"/>
              </a:ext>
            </a:extLst>
          </p:cNvPr>
          <p:cNvGraphicFramePr>
            <a:graphicFrameLocks noChangeAspect="1"/>
          </p:cNvGraphicFramePr>
          <p:nvPr>
            <p:custDataLst>
              <p:tags r:id="rId1"/>
            </p:custDataLst>
            <p:extLst>
              <p:ext uri="{D42A27DB-BD31-4B8C-83A1-F6EECF244321}">
                <p14:modId xmlns:p14="http://schemas.microsoft.com/office/powerpoint/2010/main" val="4262684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E93F9F77-7603-2699-88E2-0AECCFF16D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10" name="Title 9">
            <a:extLst>
              <a:ext uri="{FF2B5EF4-FFF2-40B4-BE49-F238E27FC236}">
                <a16:creationId xmlns:a16="http://schemas.microsoft.com/office/drawing/2014/main" id="{7A02908F-3C96-3B60-52B3-B01DF0BDBA58}"/>
              </a:ext>
            </a:extLst>
          </p:cNvPr>
          <p:cNvSpPr>
            <a:spLocks noGrp="1"/>
          </p:cNvSpPr>
          <p:nvPr>
            <p:ph type="title"/>
          </p:nvPr>
        </p:nvSpPr>
        <p:spPr/>
        <p:txBody>
          <a:bodyPr vert="horz"/>
          <a:lstStyle/>
          <a:p>
            <a:r>
              <a:rPr lang="en-US" dirty="0"/>
              <a:t>AGENDA</a:t>
            </a:r>
          </a:p>
        </p:txBody>
      </p:sp>
      <p:cxnSp>
        <p:nvCxnSpPr>
          <p:cNvPr id="14" name="Straight Connector 13">
            <a:extLst>
              <a:ext uri="{FF2B5EF4-FFF2-40B4-BE49-F238E27FC236}">
                <a16:creationId xmlns:a16="http://schemas.microsoft.com/office/drawing/2014/main" id="{A0109B97-EFE7-FB0E-A4CC-0D19ED104E90}"/>
              </a:ext>
            </a:extLst>
          </p:cNvPr>
          <p:cNvCxnSpPr/>
          <p:nvPr/>
        </p:nvCxnSpPr>
        <p:spPr>
          <a:xfrm>
            <a:off x="3558448" y="0"/>
            <a:ext cx="0" cy="6004193"/>
          </a:xfrm>
          <a:prstGeom prst="line">
            <a:avLst/>
          </a:prstGeom>
        </p:spPr>
        <p:style>
          <a:lnRef idx="2">
            <a:schemeClr val="accent1"/>
          </a:lnRef>
          <a:fillRef idx="0">
            <a:schemeClr val="accent1"/>
          </a:fillRef>
          <a:effectRef idx="1">
            <a:schemeClr val="accent1"/>
          </a:effectRef>
          <a:fontRef idx="minor">
            <a:schemeClr val="tx1"/>
          </a:fontRef>
        </p:style>
      </p:cxnSp>
      <p:sp>
        <p:nvSpPr>
          <p:cNvPr id="15" name="Google Shape;2490;p2">
            <a:extLst>
              <a:ext uri="{FF2B5EF4-FFF2-40B4-BE49-F238E27FC236}">
                <a16:creationId xmlns:a16="http://schemas.microsoft.com/office/drawing/2014/main" id="{680AD4C0-3152-8346-6AF3-7DC57FA4E171}"/>
              </a:ext>
            </a:extLst>
          </p:cNvPr>
          <p:cNvSpPr/>
          <p:nvPr/>
        </p:nvSpPr>
        <p:spPr>
          <a:xfrm>
            <a:off x="3233141" y="2330341"/>
            <a:ext cx="650613" cy="650613"/>
          </a:xfrm>
          <a:prstGeom prst="ellipse">
            <a:avLst/>
          </a:prstGeom>
          <a:solidFill>
            <a:schemeClr val="accent1"/>
          </a:solidFill>
          <a:ln>
            <a:noFill/>
          </a:ln>
        </p:spPr>
        <p:txBody>
          <a:bodyPr spcFirstLastPara="1" wrap="square" lIns="0" tIns="91425" rIns="0" bIns="91425" anchor="ctr" anchorCtr="0">
            <a:noAutofit/>
          </a:bodyPr>
          <a:lstStyle/>
          <a:p>
            <a:pPr marL="0" marR="0" lvl="0" indent="0" algn="ctr" rtl="0">
              <a:lnSpc>
                <a:spcPct val="100000"/>
              </a:lnSpc>
              <a:spcBef>
                <a:spcPts val="0"/>
              </a:spcBef>
              <a:spcAft>
                <a:spcPts val="0"/>
              </a:spcAft>
              <a:buClr>
                <a:srgbClr val="000000"/>
              </a:buClr>
              <a:buSzPts val="3100"/>
              <a:buFont typeface="Arial"/>
              <a:buNone/>
            </a:pPr>
            <a:r>
              <a:rPr lang="en" sz="2400" b="1" i="0" u="none" strike="noStrike" cap="none" dirty="0">
                <a:solidFill>
                  <a:schemeClr val="bg1"/>
                </a:solidFill>
                <a:latin typeface="Georgia"/>
                <a:ea typeface="Georgia"/>
                <a:cs typeface="Georgia"/>
                <a:sym typeface="Georgia"/>
              </a:rPr>
              <a:t>01</a:t>
            </a:r>
            <a:endParaRPr sz="2400" b="1" i="0" u="none" strike="noStrike" cap="none" dirty="0">
              <a:solidFill>
                <a:schemeClr val="bg1"/>
              </a:solidFill>
              <a:latin typeface="Georgia"/>
              <a:ea typeface="Georgia"/>
              <a:cs typeface="Georgia"/>
              <a:sym typeface="Georgia"/>
            </a:endParaRPr>
          </a:p>
        </p:txBody>
      </p:sp>
      <p:sp>
        <p:nvSpPr>
          <p:cNvPr id="16" name="Google Shape;2491;p2">
            <a:extLst>
              <a:ext uri="{FF2B5EF4-FFF2-40B4-BE49-F238E27FC236}">
                <a16:creationId xmlns:a16="http://schemas.microsoft.com/office/drawing/2014/main" id="{683D9573-E74A-1B83-6478-254C0D993465}"/>
              </a:ext>
            </a:extLst>
          </p:cNvPr>
          <p:cNvSpPr/>
          <p:nvPr/>
        </p:nvSpPr>
        <p:spPr>
          <a:xfrm>
            <a:off x="3233141" y="3307660"/>
            <a:ext cx="650613" cy="650613"/>
          </a:xfrm>
          <a:prstGeom prst="ellipse">
            <a:avLst/>
          </a:prstGeom>
          <a:solidFill>
            <a:schemeClr val="accent1"/>
          </a:solidFill>
          <a:ln>
            <a:noFill/>
          </a:ln>
        </p:spPr>
        <p:txBody>
          <a:bodyPr spcFirstLastPara="1" wrap="square" lIns="0" tIns="91425" rIns="0" bIns="91425" anchor="ctr" anchorCtr="0">
            <a:noAutofit/>
          </a:bodyPr>
          <a:lstStyle/>
          <a:p>
            <a:pPr marL="0" marR="0" lvl="0" indent="0" algn="ctr" rtl="0">
              <a:lnSpc>
                <a:spcPct val="100000"/>
              </a:lnSpc>
              <a:spcBef>
                <a:spcPts val="0"/>
              </a:spcBef>
              <a:spcAft>
                <a:spcPts val="0"/>
              </a:spcAft>
              <a:buClr>
                <a:srgbClr val="000000"/>
              </a:buClr>
              <a:buSzPts val="3100"/>
              <a:buFont typeface="Arial"/>
              <a:buNone/>
            </a:pPr>
            <a:r>
              <a:rPr lang="en" sz="2400" b="1" i="0" u="none" strike="noStrike" cap="none" dirty="0">
                <a:solidFill>
                  <a:schemeClr val="bg1"/>
                </a:solidFill>
                <a:latin typeface="Georgia"/>
                <a:ea typeface="Georgia"/>
                <a:cs typeface="Georgia"/>
                <a:sym typeface="Georgia"/>
              </a:rPr>
              <a:t>02</a:t>
            </a:r>
            <a:endParaRPr sz="2400" b="1" i="0" u="none" strike="noStrike" cap="none" dirty="0">
              <a:solidFill>
                <a:schemeClr val="bg1"/>
              </a:solidFill>
              <a:latin typeface="Georgia"/>
              <a:ea typeface="Georgia"/>
              <a:cs typeface="Georgia"/>
              <a:sym typeface="Georgia"/>
            </a:endParaRPr>
          </a:p>
        </p:txBody>
      </p:sp>
      <p:sp>
        <p:nvSpPr>
          <p:cNvPr id="17" name="Google Shape;2487;p2">
            <a:extLst>
              <a:ext uri="{FF2B5EF4-FFF2-40B4-BE49-F238E27FC236}">
                <a16:creationId xmlns:a16="http://schemas.microsoft.com/office/drawing/2014/main" id="{E0455AE6-15D2-6228-47CF-015625ED8EF6}"/>
              </a:ext>
            </a:extLst>
          </p:cNvPr>
          <p:cNvSpPr/>
          <p:nvPr/>
        </p:nvSpPr>
        <p:spPr>
          <a:xfrm>
            <a:off x="3233141" y="4345137"/>
            <a:ext cx="650613" cy="650613"/>
          </a:xfrm>
          <a:prstGeom prst="ellipse">
            <a:avLst/>
          </a:prstGeom>
          <a:solidFill>
            <a:schemeClr val="accent1"/>
          </a:solidFill>
          <a:ln>
            <a:noFill/>
          </a:ln>
        </p:spPr>
        <p:txBody>
          <a:bodyPr spcFirstLastPara="1" wrap="square" lIns="0" tIns="91425" rIns="0" bIns="91425" anchor="ctr" anchorCtr="0">
            <a:noAutofit/>
          </a:bodyPr>
          <a:lstStyle/>
          <a:p>
            <a:pPr marL="0" marR="0" lvl="0" indent="0" algn="ctr" rtl="0">
              <a:lnSpc>
                <a:spcPct val="100000"/>
              </a:lnSpc>
              <a:spcBef>
                <a:spcPts val="0"/>
              </a:spcBef>
              <a:spcAft>
                <a:spcPts val="0"/>
              </a:spcAft>
              <a:buClr>
                <a:srgbClr val="000000"/>
              </a:buClr>
              <a:buSzPts val="3100"/>
              <a:buFont typeface="Arial"/>
              <a:buNone/>
            </a:pPr>
            <a:r>
              <a:rPr lang="en" sz="2400" b="1" i="0" u="none" strike="noStrike" cap="none" dirty="0">
                <a:solidFill>
                  <a:schemeClr val="bg1"/>
                </a:solidFill>
                <a:latin typeface="Georgia"/>
                <a:ea typeface="Georgia"/>
                <a:cs typeface="Georgia"/>
                <a:sym typeface="Georgia"/>
              </a:rPr>
              <a:t>03</a:t>
            </a:r>
            <a:endParaRPr sz="2400" b="1" i="0" u="none" strike="noStrike" cap="none" dirty="0">
              <a:solidFill>
                <a:schemeClr val="bg1"/>
              </a:solidFill>
              <a:latin typeface="Georgia"/>
              <a:ea typeface="Georgia"/>
              <a:cs typeface="Georgia"/>
              <a:sym typeface="Georgia"/>
            </a:endParaRPr>
          </a:p>
        </p:txBody>
      </p:sp>
      <p:sp>
        <p:nvSpPr>
          <p:cNvPr id="18" name="Google Shape;2492;p2">
            <a:extLst>
              <a:ext uri="{FF2B5EF4-FFF2-40B4-BE49-F238E27FC236}">
                <a16:creationId xmlns:a16="http://schemas.microsoft.com/office/drawing/2014/main" id="{81C55465-5C3E-8B79-ADD8-2624E7261C56}"/>
              </a:ext>
            </a:extLst>
          </p:cNvPr>
          <p:cNvSpPr txBox="1"/>
          <p:nvPr/>
        </p:nvSpPr>
        <p:spPr>
          <a:xfrm>
            <a:off x="4177491" y="2409441"/>
            <a:ext cx="7015646" cy="553968"/>
          </a:xfrm>
          <a:prstGeom prst="rect">
            <a:avLst/>
          </a:prstGeom>
          <a:noFill/>
          <a:ln>
            <a:noFill/>
          </a:ln>
        </p:spPr>
        <p:txBody>
          <a:bodyPr spcFirstLastPara="1" wrap="square" lIns="91425" tIns="91425" rIns="91425" bIns="91425" anchor="t" anchorCtr="0">
            <a:spAutoFit/>
          </a:bodyPr>
          <a:lstStyle/>
          <a:p>
            <a:pPr marL="12700" marR="250190" lvl="0" indent="0" algn="l" rtl="0">
              <a:lnSpc>
                <a:spcPct val="100000"/>
              </a:lnSpc>
              <a:spcBef>
                <a:spcPts val="0"/>
              </a:spcBef>
              <a:spcAft>
                <a:spcPts val="0"/>
              </a:spcAft>
              <a:buClr>
                <a:srgbClr val="000000"/>
              </a:buClr>
              <a:buSzPts val="1300"/>
              <a:buFont typeface="Arial"/>
              <a:buNone/>
            </a:pPr>
            <a:r>
              <a:rPr lang="en" sz="2400" dirty="0">
                <a:solidFill>
                  <a:schemeClr val="tx1"/>
                </a:solidFill>
                <a:latin typeface="+mj-lt"/>
                <a:ea typeface="Georgia"/>
                <a:cs typeface="Georgia"/>
                <a:sym typeface="Georgia"/>
              </a:rPr>
              <a:t>Global Challenges &amp; Market Resilience</a:t>
            </a:r>
            <a:endParaRPr sz="2400" i="0" u="none" strike="noStrike" cap="none" dirty="0">
              <a:solidFill>
                <a:schemeClr val="tx1"/>
              </a:solidFill>
              <a:latin typeface="+mj-lt"/>
              <a:ea typeface="Georgia"/>
              <a:cs typeface="Georgia"/>
              <a:sym typeface="Georgia"/>
            </a:endParaRPr>
          </a:p>
        </p:txBody>
      </p:sp>
      <p:sp>
        <p:nvSpPr>
          <p:cNvPr id="19" name="Google Shape;2493;p2">
            <a:extLst>
              <a:ext uri="{FF2B5EF4-FFF2-40B4-BE49-F238E27FC236}">
                <a16:creationId xmlns:a16="http://schemas.microsoft.com/office/drawing/2014/main" id="{9CA1F020-7D59-87F7-9F65-0F9DC7987C12}"/>
              </a:ext>
            </a:extLst>
          </p:cNvPr>
          <p:cNvSpPr txBox="1"/>
          <p:nvPr/>
        </p:nvSpPr>
        <p:spPr>
          <a:xfrm>
            <a:off x="4209061" y="3386760"/>
            <a:ext cx="4912905" cy="553968"/>
          </a:xfrm>
          <a:prstGeom prst="rect">
            <a:avLst/>
          </a:prstGeom>
          <a:noFill/>
          <a:ln>
            <a:noFill/>
          </a:ln>
        </p:spPr>
        <p:txBody>
          <a:bodyPr spcFirstLastPara="1" wrap="square" lIns="91425" tIns="91425" rIns="91425" bIns="91425" anchor="t" anchorCtr="0">
            <a:spAutoFit/>
          </a:bodyPr>
          <a:lstStyle/>
          <a:p>
            <a:pPr marL="12700" marR="250190" lvl="0" indent="0" algn="l" rtl="0">
              <a:lnSpc>
                <a:spcPct val="100000"/>
              </a:lnSpc>
              <a:spcBef>
                <a:spcPts val="0"/>
              </a:spcBef>
              <a:spcAft>
                <a:spcPts val="0"/>
              </a:spcAft>
              <a:buClr>
                <a:srgbClr val="000000"/>
              </a:buClr>
              <a:buSzPts val="1400"/>
              <a:buFont typeface="Arial"/>
              <a:buNone/>
            </a:pPr>
            <a:r>
              <a:rPr lang="en" sz="2400" i="0" u="none" strike="noStrike" cap="none" dirty="0">
                <a:solidFill>
                  <a:schemeClr val="tx1"/>
                </a:solidFill>
                <a:latin typeface="+mj-lt"/>
                <a:ea typeface="Georgia"/>
                <a:cs typeface="Georgia"/>
                <a:sym typeface="Georgia"/>
              </a:rPr>
              <a:t>Hospitality &amp; Tourism Market</a:t>
            </a:r>
            <a:endParaRPr sz="2400" i="0" u="none" strike="noStrike" cap="none" dirty="0">
              <a:solidFill>
                <a:schemeClr val="tx1"/>
              </a:solidFill>
              <a:latin typeface="+mj-lt"/>
              <a:ea typeface="Georgia"/>
              <a:cs typeface="Georgia"/>
              <a:sym typeface="Georgia"/>
            </a:endParaRPr>
          </a:p>
        </p:txBody>
      </p:sp>
      <p:sp>
        <p:nvSpPr>
          <p:cNvPr id="20" name="Google Shape;2494;p2">
            <a:extLst>
              <a:ext uri="{FF2B5EF4-FFF2-40B4-BE49-F238E27FC236}">
                <a16:creationId xmlns:a16="http://schemas.microsoft.com/office/drawing/2014/main" id="{59963695-DCF0-0F21-3B32-9B225016546A}"/>
              </a:ext>
            </a:extLst>
          </p:cNvPr>
          <p:cNvSpPr txBox="1"/>
          <p:nvPr/>
        </p:nvSpPr>
        <p:spPr>
          <a:xfrm>
            <a:off x="4177491" y="4424237"/>
            <a:ext cx="6384761" cy="553968"/>
          </a:xfrm>
          <a:prstGeom prst="rect">
            <a:avLst/>
          </a:prstGeom>
          <a:noFill/>
          <a:ln>
            <a:noFill/>
          </a:ln>
        </p:spPr>
        <p:txBody>
          <a:bodyPr spcFirstLastPara="1" wrap="square" lIns="91425" tIns="91425" rIns="91425" bIns="91425" anchor="t" anchorCtr="0">
            <a:spAutoFit/>
          </a:bodyPr>
          <a:lstStyle/>
          <a:p>
            <a:pPr marL="12700" marR="250190" lvl="0" indent="0" algn="l" rtl="0">
              <a:lnSpc>
                <a:spcPct val="100000"/>
              </a:lnSpc>
              <a:spcBef>
                <a:spcPts val="0"/>
              </a:spcBef>
              <a:spcAft>
                <a:spcPts val="0"/>
              </a:spcAft>
              <a:buClr>
                <a:srgbClr val="000000"/>
              </a:buClr>
              <a:buSzPts val="1300"/>
              <a:buFont typeface="Arial"/>
              <a:buNone/>
            </a:pPr>
            <a:r>
              <a:rPr lang="en" sz="2400" i="0" u="none" strike="noStrike" cap="none" dirty="0">
                <a:solidFill>
                  <a:schemeClr val="tx1"/>
                </a:solidFill>
                <a:latin typeface="+mj-lt"/>
                <a:ea typeface="Georgia"/>
                <a:cs typeface="Georgia"/>
                <a:sym typeface="Georgia"/>
              </a:rPr>
              <a:t>KSA Vision 2030 &amp; </a:t>
            </a:r>
            <a:r>
              <a:rPr lang="en" sz="2400" dirty="0">
                <a:solidFill>
                  <a:schemeClr val="tx1"/>
                </a:solidFill>
                <a:latin typeface="+mj-lt"/>
                <a:ea typeface="Georgia"/>
                <a:cs typeface="Georgia"/>
                <a:sym typeface="Georgia"/>
              </a:rPr>
              <a:t>Government Initiatives</a:t>
            </a:r>
            <a:endParaRPr sz="2400" i="0" u="none" strike="noStrike" cap="none" dirty="0">
              <a:solidFill>
                <a:schemeClr val="tx1"/>
              </a:solidFill>
              <a:latin typeface="+mj-lt"/>
              <a:ea typeface="Georgia"/>
              <a:cs typeface="Georgia"/>
              <a:sym typeface="Georgia"/>
            </a:endParaRPr>
          </a:p>
        </p:txBody>
      </p:sp>
    </p:spTree>
    <p:extLst>
      <p:ext uri="{BB962C8B-B14F-4D97-AF65-F5344CB8AC3E}">
        <p14:creationId xmlns:p14="http://schemas.microsoft.com/office/powerpoint/2010/main" val="3118334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117FA3-93D4-E13F-B6AC-CB5C319F0B46}"/>
              </a:ext>
            </a:extLst>
          </p:cNvPr>
          <p:cNvGraphicFramePr>
            <a:graphicFrameLocks noChangeAspect="1"/>
          </p:cNvGraphicFramePr>
          <p:nvPr>
            <p:custDataLst>
              <p:tags r:id="rId1"/>
            </p:custDataLst>
            <p:extLst>
              <p:ext uri="{D42A27DB-BD31-4B8C-83A1-F6EECF244321}">
                <p14:modId xmlns:p14="http://schemas.microsoft.com/office/powerpoint/2010/main" val="3120291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1117FA3-93D4-E13F-B6AC-CB5C319F0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7" name="Google Shape;2503;g228be8677e8_2_11">
            <a:extLst>
              <a:ext uri="{FF2B5EF4-FFF2-40B4-BE49-F238E27FC236}">
                <a16:creationId xmlns:a16="http://schemas.microsoft.com/office/drawing/2014/main" id="{D8418693-A555-2280-8BFD-5756D7C9D4FA}"/>
              </a:ext>
            </a:extLst>
          </p:cNvPr>
          <p:cNvSpPr txBox="1"/>
          <p:nvPr/>
        </p:nvSpPr>
        <p:spPr>
          <a:xfrm>
            <a:off x="691310" y="4299944"/>
            <a:ext cx="9187184" cy="707856"/>
          </a:xfrm>
          <a:prstGeom prst="rect">
            <a:avLst/>
          </a:prstGeom>
          <a:noFill/>
          <a:ln>
            <a:noFill/>
          </a:ln>
        </p:spPr>
        <p:txBody>
          <a:bodyPr spcFirstLastPara="1" wrap="square" lIns="91425" tIns="91425" rIns="91425" bIns="91425" anchor="t" anchorCtr="0">
            <a:spAutoFit/>
          </a:bodyPr>
          <a:lstStyle/>
          <a:p>
            <a:pPr marL="12700" marR="5080" lvl="0" indent="0" algn="l" rtl="0">
              <a:lnSpc>
                <a:spcPct val="100000"/>
              </a:lnSpc>
              <a:spcBef>
                <a:spcPts val="0"/>
              </a:spcBef>
              <a:spcAft>
                <a:spcPts val="0"/>
              </a:spcAft>
              <a:buClr>
                <a:srgbClr val="000000"/>
              </a:buClr>
              <a:buSzPts val="3600"/>
              <a:buFont typeface="Arial"/>
              <a:buNone/>
            </a:pPr>
            <a:r>
              <a:rPr lang="en" sz="3400" b="1" dirty="0">
                <a:latin typeface="+mj-lt"/>
                <a:ea typeface="Georgia"/>
                <a:cs typeface="Georgia"/>
                <a:sym typeface="Georgia"/>
              </a:rPr>
              <a:t>Global Challenges &amp; Market Resilience</a:t>
            </a:r>
            <a:endParaRPr sz="3400" b="1" i="0" u="none" strike="noStrike" cap="none" dirty="0">
              <a:latin typeface="+mj-lt"/>
              <a:ea typeface="Georgia"/>
              <a:cs typeface="Georgia"/>
              <a:sym typeface="Georgia"/>
            </a:endParaRPr>
          </a:p>
        </p:txBody>
      </p:sp>
      <p:sp>
        <p:nvSpPr>
          <p:cNvPr id="8" name="Google Shape;2735;p8">
            <a:extLst>
              <a:ext uri="{FF2B5EF4-FFF2-40B4-BE49-F238E27FC236}">
                <a16:creationId xmlns:a16="http://schemas.microsoft.com/office/drawing/2014/main" id="{EC426728-1BE2-3F5D-D309-CA7DCBFFEC81}"/>
              </a:ext>
            </a:extLst>
          </p:cNvPr>
          <p:cNvSpPr txBox="1"/>
          <p:nvPr/>
        </p:nvSpPr>
        <p:spPr>
          <a:xfrm>
            <a:off x="338770" y="1564947"/>
            <a:ext cx="3208713" cy="3262401"/>
          </a:xfrm>
          <a:prstGeom prst="rect">
            <a:avLst/>
          </a:prstGeom>
          <a:noFill/>
          <a:ln>
            <a:noFill/>
          </a:ln>
        </p:spPr>
        <p:txBody>
          <a:bodyPr spcFirstLastPara="1" wrap="square" lIns="91425" tIns="91425" rIns="91425" bIns="91425" anchor="ctr" anchorCtr="0">
            <a:spAutoFit/>
          </a:bodyPr>
          <a:lstStyle/>
          <a:p>
            <a:pPr marL="0" marR="0" lvl="0" indent="0" algn="ctr" rtl="0">
              <a:lnSpc>
                <a:spcPct val="100000"/>
              </a:lnSpc>
              <a:spcBef>
                <a:spcPts val="0"/>
              </a:spcBef>
              <a:spcAft>
                <a:spcPts val="0"/>
              </a:spcAft>
              <a:buClr>
                <a:srgbClr val="000000"/>
              </a:buClr>
              <a:buSzPts val="20000"/>
              <a:buFont typeface="Arial"/>
              <a:buNone/>
            </a:pPr>
            <a:r>
              <a:rPr lang="en" sz="20000" b="0" i="0" u="none" strike="noStrike" cap="none" dirty="0">
                <a:solidFill>
                  <a:schemeClr val="accent1"/>
                </a:solidFill>
                <a:latin typeface="+mj-lt"/>
                <a:ea typeface="Georgia"/>
                <a:cs typeface="Georgia"/>
                <a:sym typeface="Georgia"/>
              </a:rPr>
              <a:t>01</a:t>
            </a:r>
            <a:endParaRPr sz="20000" b="0" i="0" u="none" strike="noStrike" cap="none" dirty="0">
              <a:solidFill>
                <a:schemeClr val="accent1"/>
              </a:solidFill>
              <a:latin typeface="+mj-lt"/>
              <a:ea typeface="Georgia"/>
              <a:cs typeface="Georgia"/>
              <a:sym typeface="Georgia"/>
            </a:endParaRPr>
          </a:p>
        </p:txBody>
      </p:sp>
    </p:spTree>
    <p:extLst>
      <p:ext uri="{BB962C8B-B14F-4D97-AF65-F5344CB8AC3E}">
        <p14:creationId xmlns:p14="http://schemas.microsoft.com/office/powerpoint/2010/main" val="16836144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60" y="537415"/>
            <a:ext cx="8389364" cy="6565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GLOBAL THEMES &amp; CHALLENGES</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8" name="Google Shape;2513;p24">
            <a:extLst>
              <a:ext uri="{FF2B5EF4-FFF2-40B4-BE49-F238E27FC236}">
                <a16:creationId xmlns:a16="http://schemas.microsoft.com/office/drawing/2014/main" id="{75E185E8-72A5-75EB-8948-C371C8CA991C}"/>
              </a:ext>
            </a:extLst>
          </p:cNvPr>
          <p:cNvSpPr/>
          <p:nvPr/>
        </p:nvSpPr>
        <p:spPr>
          <a:xfrm>
            <a:off x="3864897" y="2700859"/>
            <a:ext cx="2967703" cy="492211"/>
          </a:xfrm>
          <a:prstGeom prst="rect">
            <a:avLst/>
          </a:prstGeom>
          <a:noFill/>
          <a:ln w="9525" cap="flat" cmpd="sng">
            <a:solidFill>
              <a:schemeClr val="accent3"/>
            </a:solidFill>
            <a:prstDash val="sysDot"/>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100" b="0" i="0" u="none" strike="noStrike" cap="none" dirty="0">
                <a:solidFill>
                  <a:schemeClr val="dk1"/>
                </a:solidFill>
                <a:latin typeface="Arial"/>
                <a:ea typeface="Arial"/>
                <a:cs typeface="Arial"/>
                <a:sym typeface="Arial"/>
              </a:rPr>
              <a:t>Harnessing Technology across the value chain from strategy to execution </a:t>
            </a:r>
          </a:p>
          <a:p>
            <a:pPr marL="0" marR="0" lvl="0" indent="0" algn="ctr" rtl="0">
              <a:lnSpc>
                <a:spcPct val="100000"/>
              </a:lnSpc>
              <a:spcBef>
                <a:spcPts val="0"/>
              </a:spcBef>
              <a:spcAft>
                <a:spcPts val="0"/>
              </a:spcAft>
              <a:buClr>
                <a:srgbClr val="000000"/>
              </a:buClr>
              <a:buSzPts val="1100"/>
              <a:buFont typeface="Arial"/>
              <a:buNone/>
            </a:pPr>
            <a:r>
              <a:rPr lang="en" sz="1100" b="0" i="1" u="none" strike="noStrike" cap="none" dirty="0">
                <a:solidFill>
                  <a:schemeClr val="dk1"/>
                </a:solidFill>
                <a:latin typeface="Arial"/>
                <a:ea typeface="Arial"/>
                <a:cs typeface="Arial"/>
                <a:sym typeface="Arial"/>
              </a:rPr>
              <a:t>(e.g AI, fractional ownership, harnessing data)</a:t>
            </a:r>
            <a:endParaRPr sz="1100" b="0" i="1" u="none" strike="noStrike" cap="none" dirty="0">
              <a:solidFill>
                <a:schemeClr val="dk1"/>
              </a:solidFill>
              <a:latin typeface="Arial"/>
              <a:ea typeface="Arial"/>
              <a:cs typeface="Arial"/>
              <a:sym typeface="Arial"/>
            </a:endParaRPr>
          </a:p>
        </p:txBody>
      </p:sp>
      <p:sp>
        <p:nvSpPr>
          <p:cNvPr id="50" name="Google Shape;2556;p24">
            <a:extLst>
              <a:ext uri="{FF2B5EF4-FFF2-40B4-BE49-F238E27FC236}">
                <a16:creationId xmlns:a16="http://schemas.microsoft.com/office/drawing/2014/main" id="{55784489-8B1F-9260-E20D-69B640E379B1}"/>
              </a:ext>
            </a:extLst>
          </p:cNvPr>
          <p:cNvSpPr/>
          <p:nvPr/>
        </p:nvSpPr>
        <p:spPr>
          <a:xfrm>
            <a:off x="-1" y="1770694"/>
            <a:ext cx="6832601"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Current Global Themes</a:t>
            </a:r>
            <a:endParaRPr b="0" i="1" u="none" strike="noStrike" cap="none" dirty="0">
              <a:solidFill>
                <a:schemeClr val="lt1"/>
              </a:solidFill>
              <a:latin typeface="Arial"/>
              <a:ea typeface="Arial"/>
              <a:cs typeface="Arial"/>
              <a:sym typeface="Arial"/>
            </a:endParaRPr>
          </a:p>
        </p:txBody>
      </p:sp>
      <p:sp>
        <p:nvSpPr>
          <p:cNvPr id="51" name="Rectangle 50">
            <a:extLst>
              <a:ext uri="{FF2B5EF4-FFF2-40B4-BE49-F238E27FC236}">
                <a16:creationId xmlns:a16="http://schemas.microsoft.com/office/drawing/2014/main" id="{47B7EA8C-4586-9B32-2DE7-4B3BC187B3D8}"/>
              </a:ext>
            </a:extLst>
          </p:cNvPr>
          <p:cNvSpPr/>
          <p:nvPr/>
        </p:nvSpPr>
        <p:spPr>
          <a:xfrm>
            <a:off x="837606" y="2708976"/>
            <a:ext cx="484094" cy="4840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white hand pointing at a circle&#10;&#10;Description automatically generated">
            <a:extLst>
              <a:ext uri="{FF2B5EF4-FFF2-40B4-BE49-F238E27FC236}">
                <a16:creationId xmlns:a16="http://schemas.microsoft.com/office/drawing/2014/main" id="{5D224E15-B78C-0913-3761-0CC185F29D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887" y="2789257"/>
            <a:ext cx="323532" cy="323532"/>
          </a:xfrm>
          <a:prstGeom prst="rect">
            <a:avLst/>
          </a:prstGeom>
        </p:spPr>
      </p:pic>
      <p:sp>
        <p:nvSpPr>
          <p:cNvPr id="54" name="Rectangle 53">
            <a:extLst>
              <a:ext uri="{FF2B5EF4-FFF2-40B4-BE49-F238E27FC236}">
                <a16:creationId xmlns:a16="http://schemas.microsoft.com/office/drawing/2014/main" id="{6217D641-E30E-626A-A281-DE47441B88C5}"/>
              </a:ext>
            </a:extLst>
          </p:cNvPr>
          <p:cNvSpPr/>
          <p:nvPr/>
        </p:nvSpPr>
        <p:spPr>
          <a:xfrm>
            <a:off x="1401980" y="2708976"/>
            <a:ext cx="2316945" cy="48409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DIGITIZE</a:t>
            </a:r>
          </a:p>
        </p:txBody>
      </p:sp>
      <p:sp>
        <p:nvSpPr>
          <p:cNvPr id="55" name="Rectangle 54">
            <a:extLst>
              <a:ext uri="{FF2B5EF4-FFF2-40B4-BE49-F238E27FC236}">
                <a16:creationId xmlns:a16="http://schemas.microsoft.com/office/drawing/2014/main" id="{84ECC5FB-54F1-0DEE-8E34-1C4EF0733CF2}"/>
              </a:ext>
            </a:extLst>
          </p:cNvPr>
          <p:cNvSpPr/>
          <p:nvPr/>
        </p:nvSpPr>
        <p:spPr>
          <a:xfrm>
            <a:off x="837606" y="3509667"/>
            <a:ext cx="484094" cy="4840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5F19E471-2A13-800A-2599-FFFC689F7E69}"/>
              </a:ext>
            </a:extLst>
          </p:cNvPr>
          <p:cNvSpPr/>
          <p:nvPr/>
        </p:nvSpPr>
        <p:spPr>
          <a:xfrm>
            <a:off x="1401980" y="3500213"/>
            <a:ext cx="2316945" cy="48409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DECARBONIZE</a:t>
            </a:r>
          </a:p>
        </p:txBody>
      </p:sp>
      <p:sp>
        <p:nvSpPr>
          <p:cNvPr id="58" name="Rectangle 57">
            <a:extLst>
              <a:ext uri="{FF2B5EF4-FFF2-40B4-BE49-F238E27FC236}">
                <a16:creationId xmlns:a16="http://schemas.microsoft.com/office/drawing/2014/main" id="{C4A9F0A4-F21B-2BEC-42DB-BD97E6FB48B2}"/>
              </a:ext>
            </a:extLst>
          </p:cNvPr>
          <p:cNvSpPr/>
          <p:nvPr/>
        </p:nvSpPr>
        <p:spPr>
          <a:xfrm>
            <a:off x="837606" y="4285983"/>
            <a:ext cx="484094" cy="4840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4270292-3F73-E5FA-7DD2-8BEFB6000D41}"/>
              </a:ext>
            </a:extLst>
          </p:cNvPr>
          <p:cNvSpPr/>
          <p:nvPr/>
        </p:nvSpPr>
        <p:spPr>
          <a:xfrm>
            <a:off x="1401980" y="4291450"/>
            <a:ext cx="2316945" cy="48409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LOCALIZE</a:t>
            </a:r>
          </a:p>
        </p:txBody>
      </p:sp>
      <p:sp>
        <p:nvSpPr>
          <p:cNvPr id="61" name="Rectangle 60">
            <a:extLst>
              <a:ext uri="{FF2B5EF4-FFF2-40B4-BE49-F238E27FC236}">
                <a16:creationId xmlns:a16="http://schemas.microsoft.com/office/drawing/2014/main" id="{463F7E0A-4657-8D0D-F69E-FE5FE2FFF670}"/>
              </a:ext>
            </a:extLst>
          </p:cNvPr>
          <p:cNvSpPr/>
          <p:nvPr/>
        </p:nvSpPr>
        <p:spPr>
          <a:xfrm>
            <a:off x="837606" y="5098435"/>
            <a:ext cx="484094" cy="4840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A7415420-FD95-66DC-C609-34A8B41F7AC5}"/>
              </a:ext>
            </a:extLst>
          </p:cNvPr>
          <p:cNvSpPr/>
          <p:nvPr/>
        </p:nvSpPr>
        <p:spPr>
          <a:xfrm>
            <a:off x="1401980" y="5082687"/>
            <a:ext cx="2316945" cy="48409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PRIVATIZE</a:t>
            </a:r>
          </a:p>
        </p:txBody>
      </p:sp>
      <p:sp>
        <p:nvSpPr>
          <p:cNvPr id="64" name="Rectangle 63">
            <a:extLst>
              <a:ext uri="{FF2B5EF4-FFF2-40B4-BE49-F238E27FC236}">
                <a16:creationId xmlns:a16="http://schemas.microsoft.com/office/drawing/2014/main" id="{1B50BB4D-A6CE-474B-2687-F1E7D0CFB834}"/>
              </a:ext>
            </a:extLst>
          </p:cNvPr>
          <p:cNvSpPr/>
          <p:nvPr/>
        </p:nvSpPr>
        <p:spPr>
          <a:xfrm>
            <a:off x="837606" y="5873924"/>
            <a:ext cx="484094" cy="48409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2E2D40B4-4944-3DF5-A6A7-558809050C23}"/>
              </a:ext>
            </a:extLst>
          </p:cNvPr>
          <p:cNvSpPr/>
          <p:nvPr/>
        </p:nvSpPr>
        <p:spPr>
          <a:xfrm>
            <a:off x="1401980" y="5873924"/>
            <a:ext cx="2316945" cy="484094"/>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MODERNIZE</a:t>
            </a:r>
          </a:p>
        </p:txBody>
      </p:sp>
      <p:sp>
        <p:nvSpPr>
          <p:cNvPr id="67" name="Google Shape;2513;p24">
            <a:extLst>
              <a:ext uri="{FF2B5EF4-FFF2-40B4-BE49-F238E27FC236}">
                <a16:creationId xmlns:a16="http://schemas.microsoft.com/office/drawing/2014/main" id="{810ACA99-C87F-9E07-4322-0306233FB191}"/>
              </a:ext>
            </a:extLst>
          </p:cNvPr>
          <p:cNvSpPr/>
          <p:nvPr/>
        </p:nvSpPr>
        <p:spPr>
          <a:xfrm>
            <a:off x="3864897" y="3488100"/>
            <a:ext cx="2967703" cy="492211"/>
          </a:xfrm>
          <a:prstGeom prst="rect">
            <a:avLst/>
          </a:prstGeom>
          <a:noFill/>
          <a:ln w="9525" cap="flat" cmpd="sng">
            <a:solidFill>
              <a:schemeClr val="accent3"/>
            </a:solidFill>
            <a:prstDash val="sysDot"/>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100" b="0" i="0" u="none" strike="noStrike" cap="none" dirty="0">
                <a:solidFill>
                  <a:schemeClr val="dk1"/>
                </a:solidFill>
                <a:latin typeface="Arial"/>
                <a:ea typeface="Arial"/>
                <a:cs typeface="Arial"/>
                <a:sym typeface="Arial"/>
              </a:rPr>
              <a:t>ESG, Net Zero, Sustainability</a:t>
            </a:r>
            <a:endParaRPr sz="1100" b="0" i="1" u="none" strike="noStrike" cap="none" dirty="0">
              <a:solidFill>
                <a:schemeClr val="dk1"/>
              </a:solidFill>
              <a:latin typeface="Arial"/>
              <a:ea typeface="Arial"/>
              <a:cs typeface="Arial"/>
              <a:sym typeface="Arial"/>
            </a:endParaRPr>
          </a:p>
        </p:txBody>
      </p:sp>
      <p:sp>
        <p:nvSpPr>
          <p:cNvPr id="68" name="Google Shape;2513;p24">
            <a:extLst>
              <a:ext uri="{FF2B5EF4-FFF2-40B4-BE49-F238E27FC236}">
                <a16:creationId xmlns:a16="http://schemas.microsoft.com/office/drawing/2014/main" id="{8E835D41-B6B9-1F1D-BDDA-207677AE5DC9}"/>
              </a:ext>
            </a:extLst>
          </p:cNvPr>
          <p:cNvSpPr/>
          <p:nvPr/>
        </p:nvSpPr>
        <p:spPr>
          <a:xfrm>
            <a:off x="3864897" y="4285983"/>
            <a:ext cx="2967703" cy="492211"/>
          </a:xfrm>
          <a:prstGeom prst="rect">
            <a:avLst/>
          </a:prstGeom>
          <a:noFill/>
          <a:ln w="9525" cap="flat" cmpd="sng">
            <a:solidFill>
              <a:schemeClr val="accent3"/>
            </a:solidFill>
            <a:prstDash val="sysDot"/>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100" b="0" i="0" u="none" strike="noStrike" cap="none" dirty="0">
                <a:solidFill>
                  <a:schemeClr val="dk1"/>
                </a:solidFill>
                <a:latin typeface="Arial"/>
                <a:ea typeface="Arial"/>
                <a:cs typeface="Arial"/>
                <a:sym typeface="Arial"/>
              </a:rPr>
              <a:t>Supply Chain</a:t>
            </a:r>
            <a:endParaRPr sz="1100" b="0" i="1" u="none" strike="noStrike" cap="none" dirty="0">
              <a:solidFill>
                <a:schemeClr val="dk1"/>
              </a:solidFill>
              <a:latin typeface="Arial"/>
              <a:ea typeface="Arial"/>
              <a:cs typeface="Arial"/>
              <a:sym typeface="Arial"/>
            </a:endParaRPr>
          </a:p>
        </p:txBody>
      </p:sp>
      <p:sp>
        <p:nvSpPr>
          <p:cNvPr id="69" name="Google Shape;2513;p24">
            <a:extLst>
              <a:ext uri="{FF2B5EF4-FFF2-40B4-BE49-F238E27FC236}">
                <a16:creationId xmlns:a16="http://schemas.microsoft.com/office/drawing/2014/main" id="{42CDE62D-4529-E1C1-2FEB-ECE101805823}"/>
              </a:ext>
            </a:extLst>
          </p:cNvPr>
          <p:cNvSpPr/>
          <p:nvPr/>
        </p:nvSpPr>
        <p:spPr>
          <a:xfrm>
            <a:off x="3864897" y="5064115"/>
            <a:ext cx="2967703" cy="492211"/>
          </a:xfrm>
          <a:prstGeom prst="rect">
            <a:avLst/>
          </a:prstGeom>
          <a:noFill/>
          <a:ln w="9525" cap="flat" cmpd="sng">
            <a:solidFill>
              <a:schemeClr val="accent3"/>
            </a:solidFill>
            <a:prstDash val="sysDot"/>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dirty="0">
                <a:solidFill>
                  <a:schemeClr val="dk1"/>
                </a:solidFill>
                <a:latin typeface="Arial"/>
                <a:ea typeface="Arial"/>
                <a:cs typeface="Arial"/>
                <a:sym typeface="Arial"/>
              </a:rPr>
              <a:t>Governance, Sector Transformation</a:t>
            </a:r>
          </a:p>
        </p:txBody>
      </p:sp>
      <p:sp>
        <p:nvSpPr>
          <p:cNvPr id="70" name="Google Shape;2513;p24">
            <a:extLst>
              <a:ext uri="{FF2B5EF4-FFF2-40B4-BE49-F238E27FC236}">
                <a16:creationId xmlns:a16="http://schemas.microsoft.com/office/drawing/2014/main" id="{2D091E7C-9D9B-C271-CC4C-12D9444861B9}"/>
              </a:ext>
            </a:extLst>
          </p:cNvPr>
          <p:cNvSpPr/>
          <p:nvPr/>
        </p:nvSpPr>
        <p:spPr>
          <a:xfrm>
            <a:off x="3864896" y="5865807"/>
            <a:ext cx="2967703" cy="492211"/>
          </a:xfrm>
          <a:prstGeom prst="rect">
            <a:avLst/>
          </a:prstGeom>
          <a:noFill/>
          <a:ln w="9525" cap="flat" cmpd="sng">
            <a:solidFill>
              <a:schemeClr val="accent3"/>
            </a:solidFill>
            <a:prstDash val="sysDot"/>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n-US" sz="1100" b="0" i="0" u="none" strike="noStrike" cap="none" dirty="0">
                <a:solidFill>
                  <a:schemeClr val="dk1"/>
                </a:solidFill>
                <a:latin typeface="Arial"/>
                <a:ea typeface="Arial"/>
                <a:cs typeface="Arial"/>
                <a:sym typeface="Arial"/>
              </a:rPr>
              <a:t>Operational activities, fiscal reforms</a:t>
            </a:r>
          </a:p>
        </p:txBody>
      </p:sp>
      <p:sp>
        <p:nvSpPr>
          <p:cNvPr id="71" name="Google Shape;2556;p24">
            <a:extLst>
              <a:ext uri="{FF2B5EF4-FFF2-40B4-BE49-F238E27FC236}">
                <a16:creationId xmlns:a16="http://schemas.microsoft.com/office/drawing/2014/main" id="{61DAB823-4E8D-986C-9A4F-6E5E22BE5E72}"/>
              </a:ext>
            </a:extLst>
          </p:cNvPr>
          <p:cNvSpPr/>
          <p:nvPr/>
        </p:nvSpPr>
        <p:spPr>
          <a:xfrm>
            <a:off x="7144231" y="1770694"/>
            <a:ext cx="4590570"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a:solidFill>
                  <a:schemeClr val="lt1"/>
                </a:solidFill>
                <a:latin typeface="Arial"/>
                <a:ea typeface="Arial"/>
                <a:cs typeface="Arial"/>
                <a:sym typeface="Arial"/>
              </a:rPr>
              <a:t>Current Global </a:t>
            </a:r>
            <a:r>
              <a:rPr lang="en" b="1">
                <a:solidFill>
                  <a:schemeClr val="lt1"/>
                </a:solidFill>
                <a:latin typeface="Arial"/>
                <a:ea typeface="Arial"/>
                <a:cs typeface="Arial"/>
                <a:sym typeface="Arial"/>
              </a:rPr>
              <a:t>Challenges</a:t>
            </a:r>
            <a:endParaRPr b="0" i="1" u="none" strike="noStrike" cap="none" dirty="0">
              <a:solidFill>
                <a:schemeClr val="lt1"/>
              </a:solidFill>
              <a:latin typeface="Arial"/>
              <a:ea typeface="Arial"/>
              <a:cs typeface="Arial"/>
              <a:sym typeface="Arial"/>
            </a:endParaRPr>
          </a:p>
        </p:txBody>
      </p:sp>
      <p:pic>
        <p:nvPicPr>
          <p:cNvPr id="77" name="Picture 76" descr="A white line drawing of a globe with leaves&#10;&#10;Description automatically generated">
            <a:extLst>
              <a:ext uri="{FF2B5EF4-FFF2-40B4-BE49-F238E27FC236}">
                <a16:creationId xmlns:a16="http://schemas.microsoft.com/office/drawing/2014/main" id="{BAD19D6E-C4AD-8FBB-AA6A-41BCCB2C20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7887" y="3563233"/>
            <a:ext cx="377099" cy="377099"/>
          </a:xfrm>
          <a:prstGeom prst="rect">
            <a:avLst/>
          </a:prstGeom>
        </p:spPr>
      </p:pic>
      <p:pic>
        <p:nvPicPr>
          <p:cNvPr id="79" name="Picture 78" descr="A white circle with a black background&#10;&#10;Description automatically generated">
            <a:extLst>
              <a:ext uri="{FF2B5EF4-FFF2-40B4-BE49-F238E27FC236}">
                <a16:creationId xmlns:a16="http://schemas.microsoft.com/office/drawing/2014/main" id="{0B4F47D8-ED7E-ECDE-467A-DE871C014F2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2487" y="4341264"/>
            <a:ext cx="374429" cy="374429"/>
          </a:xfrm>
          <a:prstGeom prst="rect">
            <a:avLst/>
          </a:prstGeom>
        </p:spPr>
      </p:pic>
      <p:pic>
        <p:nvPicPr>
          <p:cNvPr id="81" name="Picture 80" descr="A white outline of a shield with a lock&#10;&#10;Description automatically generated">
            <a:extLst>
              <a:ext uri="{FF2B5EF4-FFF2-40B4-BE49-F238E27FC236}">
                <a16:creationId xmlns:a16="http://schemas.microsoft.com/office/drawing/2014/main" id="{8ED9983C-A926-8412-7AE5-A672CBFA84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1907" y="5172215"/>
            <a:ext cx="352212" cy="352212"/>
          </a:xfrm>
          <a:prstGeom prst="rect">
            <a:avLst/>
          </a:prstGeom>
        </p:spPr>
      </p:pic>
      <p:pic>
        <p:nvPicPr>
          <p:cNvPr id="83" name="Picture 82" descr="A light bulb with rays of light coming out of it&#10;&#10;Description automatically generated">
            <a:extLst>
              <a:ext uri="{FF2B5EF4-FFF2-40B4-BE49-F238E27FC236}">
                <a16:creationId xmlns:a16="http://schemas.microsoft.com/office/drawing/2014/main" id="{3333F7E4-2527-C18C-8583-9D7C03DFDF0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7887" y="5936287"/>
            <a:ext cx="330777" cy="330777"/>
          </a:xfrm>
          <a:prstGeom prst="rect">
            <a:avLst/>
          </a:prstGeom>
        </p:spPr>
      </p:pic>
      <p:sp>
        <p:nvSpPr>
          <p:cNvPr id="84" name="Rectangle 83">
            <a:extLst>
              <a:ext uri="{FF2B5EF4-FFF2-40B4-BE49-F238E27FC236}">
                <a16:creationId xmlns:a16="http://schemas.microsoft.com/office/drawing/2014/main" id="{AF407B81-3BC4-8ADD-FE9F-F771A3D1986F}"/>
              </a:ext>
            </a:extLst>
          </p:cNvPr>
          <p:cNvSpPr/>
          <p:nvPr/>
        </p:nvSpPr>
        <p:spPr>
          <a:xfrm>
            <a:off x="7160022" y="2708977"/>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INFLATION</a:t>
            </a:r>
          </a:p>
        </p:txBody>
      </p:sp>
      <p:sp>
        <p:nvSpPr>
          <p:cNvPr id="89" name="Rectangle 88">
            <a:extLst>
              <a:ext uri="{FF2B5EF4-FFF2-40B4-BE49-F238E27FC236}">
                <a16:creationId xmlns:a16="http://schemas.microsoft.com/office/drawing/2014/main" id="{60D7C6F0-F774-C88D-BED9-E8EA8991C00A}"/>
              </a:ext>
            </a:extLst>
          </p:cNvPr>
          <p:cNvSpPr/>
          <p:nvPr/>
        </p:nvSpPr>
        <p:spPr>
          <a:xfrm>
            <a:off x="7144231" y="4138026"/>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WAR IN UKRAINE </a:t>
            </a:r>
          </a:p>
          <a:p>
            <a:pPr algn="ctr"/>
            <a:r>
              <a:rPr lang="en-US" sz="1400" dirty="0">
                <a:solidFill>
                  <a:schemeClr val="bg1"/>
                </a:solidFill>
              </a:rPr>
              <a:t>AND GAZA</a:t>
            </a:r>
          </a:p>
        </p:txBody>
      </p:sp>
      <p:sp>
        <p:nvSpPr>
          <p:cNvPr id="92" name="Rectangle 91">
            <a:extLst>
              <a:ext uri="{FF2B5EF4-FFF2-40B4-BE49-F238E27FC236}">
                <a16:creationId xmlns:a16="http://schemas.microsoft.com/office/drawing/2014/main" id="{EB9B0AE5-348E-E6C5-2241-247CB917C5FB}"/>
              </a:ext>
            </a:extLst>
          </p:cNvPr>
          <p:cNvSpPr/>
          <p:nvPr/>
        </p:nvSpPr>
        <p:spPr>
          <a:xfrm>
            <a:off x="9531208" y="2708976"/>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RECESSION RISK</a:t>
            </a:r>
          </a:p>
        </p:txBody>
      </p:sp>
      <p:sp>
        <p:nvSpPr>
          <p:cNvPr id="93" name="Rectangle 92">
            <a:extLst>
              <a:ext uri="{FF2B5EF4-FFF2-40B4-BE49-F238E27FC236}">
                <a16:creationId xmlns:a16="http://schemas.microsoft.com/office/drawing/2014/main" id="{B6CA2411-F464-73BF-F75D-F44A12C3598F}"/>
              </a:ext>
            </a:extLst>
          </p:cNvPr>
          <p:cNvSpPr/>
          <p:nvPr/>
        </p:nvSpPr>
        <p:spPr>
          <a:xfrm>
            <a:off x="9515417" y="4138025"/>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POLITICAL UNREST</a:t>
            </a:r>
          </a:p>
        </p:txBody>
      </p:sp>
      <p:sp>
        <p:nvSpPr>
          <p:cNvPr id="94" name="Rectangle 93">
            <a:extLst>
              <a:ext uri="{FF2B5EF4-FFF2-40B4-BE49-F238E27FC236}">
                <a16:creationId xmlns:a16="http://schemas.microsoft.com/office/drawing/2014/main" id="{75EFD5B6-40BB-1213-0ADF-E51E90C4A01B}"/>
              </a:ext>
            </a:extLst>
          </p:cNvPr>
          <p:cNvSpPr/>
          <p:nvPr/>
        </p:nvSpPr>
        <p:spPr>
          <a:xfrm>
            <a:off x="9515417" y="5567074"/>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SUPPLY CHAIN DISRUPTION</a:t>
            </a:r>
          </a:p>
        </p:txBody>
      </p:sp>
      <p:sp>
        <p:nvSpPr>
          <p:cNvPr id="95" name="Rectangle 94">
            <a:extLst>
              <a:ext uri="{FF2B5EF4-FFF2-40B4-BE49-F238E27FC236}">
                <a16:creationId xmlns:a16="http://schemas.microsoft.com/office/drawing/2014/main" id="{01D447FE-6206-4A2B-B8EA-2803CC9E26F7}"/>
              </a:ext>
            </a:extLst>
          </p:cNvPr>
          <p:cNvSpPr/>
          <p:nvPr/>
        </p:nvSpPr>
        <p:spPr>
          <a:xfrm>
            <a:off x="7144230" y="5567074"/>
            <a:ext cx="2203593" cy="77912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rPr>
              <a:t>GLOBAL CLIMATE CHANGE</a:t>
            </a:r>
          </a:p>
        </p:txBody>
      </p:sp>
    </p:spTree>
    <p:extLst>
      <p:ext uri="{BB962C8B-B14F-4D97-AF65-F5344CB8AC3E}">
        <p14:creationId xmlns:p14="http://schemas.microsoft.com/office/powerpoint/2010/main" val="3892208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 name="think-cell data - do not delete" hidden="1">
            <a:extLst>
              <a:ext uri="{FF2B5EF4-FFF2-40B4-BE49-F238E27FC236}">
                <a16:creationId xmlns:a16="http://schemas.microsoft.com/office/drawing/2014/main" id="{EA455694-111C-20A5-3D33-ED91E3109419}"/>
              </a:ext>
            </a:extLst>
          </p:cNvPr>
          <p:cNvGraphicFramePr>
            <a:graphicFrameLocks noChangeAspect="1"/>
          </p:cNvGraphicFramePr>
          <p:nvPr>
            <p:custDataLst>
              <p:tags r:id="rId1"/>
            </p:custDataLst>
            <p:extLst>
              <p:ext uri="{D42A27DB-BD31-4B8C-83A1-F6EECF244321}">
                <p14:modId xmlns:p14="http://schemas.microsoft.com/office/powerpoint/2010/main" val="296575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63" name="think-cell data - do not delete" hidden="1">
                        <a:extLst>
                          <a:ext uri="{FF2B5EF4-FFF2-40B4-BE49-F238E27FC236}">
                            <a16:creationId xmlns:a16="http://schemas.microsoft.com/office/drawing/2014/main" id="{EA455694-111C-20A5-3D33-ED91E3109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618" name="Connector: Elbow 617">
            <a:extLst>
              <a:ext uri="{FF2B5EF4-FFF2-40B4-BE49-F238E27FC236}">
                <a16:creationId xmlns:a16="http://schemas.microsoft.com/office/drawing/2014/main" id="{633714E5-0569-9F97-F5CB-E4232440B830}"/>
              </a:ext>
            </a:extLst>
          </p:cNvPr>
          <p:cNvCxnSpPr>
            <a:cxnSpLocks/>
            <a:stCxn id="616" idx="1"/>
          </p:cNvCxnSpPr>
          <p:nvPr/>
        </p:nvCxnSpPr>
        <p:spPr>
          <a:xfrm rot="10800000">
            <a:off x="5654484" y="4586480"/>
            <a:ext cx="324798" cy="678872"/>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565" name="Group 564">
            <a:extLst>
              <a:ext uri="{FF2B5EF4-FFF2-40B4-BE49-F238E27FC236}">
                <a16:creationId xmlns:a16="http://schemas.microsoft.com/office/drawing/2014/main" id="{988B3DAA-E557-A180-0FEE-4565B5C7A128}"/>
              </a:ext>
            </a:extLst>
          </p:cNvPr>
          <p:cNvGrpSpPr/>
          <p:nvPr/>
        </p:nvGrpSpPr>
        <p:grpSpPr>
          <a:xfrm>
            <a:off x="691761" y="1541509"/>
            <a:ext cx="7926312" cy="5114002"/>
            <a:chOff x="691761" y="1435179"/>
            <a:chExt cx="7926312" cy="5114002"/>
          </a:xfrm>
          <a:solidFill>
            <a:schemeClr val="tx2"/>
          </a:solidFill>
        </p:grpSpPr>
        <p:sp>
          <p:nvSpPr>
            <p:cNvPr id="2" name="Google Shape;4472;p64">
              <a:extLst>
                <a:ext uri="{FF2B5EF4-FFF2-40B4-BE49-F238E27FC236}">
                  <a16:creationId xmlns:a16="http://schemas.microsoft.com/office/drawing/2014/main" id="{D45E321E-1273-1264-36A4-33503C07A260}"/>
                </a:ext>
              </a:extLst>
            </p:cNvPr>
            <p:cNvSpPr/>
            <p:nvPr/>
          </p:nvSpPr>
          <p:spPr>
            <a:xfrm>
              <a:off x="3017411" y="4715766"/>
              <a:ext cx="3938" cy="4594"/>
            </a:xfrm>
            <a:custGeom>
              <a:avLst/>
              <a:gdLst/>
              <a:ahLst/>
              <a:cxnLst/>
              <a:rect l="l" t="t" r="r" b="b"/>
              <a:pathLst>
                <a:path w="12" h="14" extrusionOk="0">
                  <a:moveTo>
                    <a:pt x="12" y="12"/>
                  </a:moveTo>
                  <a:lnTo>
                    <a:pt x="10" y="10"/>
                  </a:lnTo>
                  <a:lnTo>
                    <a:pt x="6" y="4"/>
                  </a:lnTo>
                  <a:lnTo>
                    <a:pt x="2" y="0"/>
                  </a:lnTo>
                  <a:lnTo>
                    <a:pt x="2" y="2"/>
                  </a:lnTo>
                  <a:lnTo>
                    <a:pt x="0" y="6"/>
                  </a:lnTo>
                  <a:lnTo>
                    <a:pt x="4" y="8"/>
                  </a:lnTo>
                  <a:lnTo>
                    <a:pt x="8" y="12"/>
                  </a:lnTo>
                  <a:lnTo>
                    <a:pt x="12" y="14"/>
                  </a:lnTo>
                  <a:lnTo>
                    <a:pt x="12"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 name="Google Shape;4473;p64">
              <a:extLst>
                <a:ext uri="{FF2B5EF4-FFF2-40B4-BE49-F238E27FC236}">
                  <a16:creationId xmlns:a16="http://schemas.microsoft.com/office/drawing/2014/main" id="{61D632CC-B833-7D19-ED47-858F74868610}"/>
                </a:ext>
              </a:extLst>
            </p:cNvPr>
            <p:cNvCxnSpPr/>
            <p:nvPr/>
          </p:nvCxnSpPr>
          <p:spPr>
            <a:xfrm>
              <a:off x="3021350" y="4719704"/>
              <a:ext cx="0" cy="0"/>
            </a:xfrm>
            <a:prstGeom prst="straightConnector1">
              <a:avLst/>
            </a:prstGeom>
            <a:grpFill/>
            <a:ln w="9525" cap="flat" cmpd="sng">
              <a:solidFill>
                <a:schemeClr val="bg2"/>
              </a:solidFill>
              <a:prstDash val="solid"/>
              <a:round/>
              <a:headEnd type="none" w="med" len="med"/>
              <a:tailEnd type="none" w="med" len="med"/>
            </a:ln>
          </p:spPr>
        </p:cxnSp>
        <p:cxnSp>
          <p:nvCxnSpPr>
            <p:cNvPr id="7" name="Google Shape;4474;p64">
              <a:extLst>
                <a:ext uri="{FF2B5EF4-FFF2-40B4-BE49-F238E27FC236}">
                  <a16:creationId xmlns:a16="http://schemas.microsoft.com/office/drawing/2014/main" id="{E94FBE88-8B23-19C6-6B85-B0D9C639C4A0}"/>
                </a:ext>
              </a:extLst>
            </p:cNvPr>
            <p:cNvCxnSpPr/>
            <p:nvPr/>
          </p:nvCxnSpPr>
          <p:spPr>
            <a:xfrm>
              <a:off x="3021350" y="4719704"/>
              <a:ext cx="0" cy="0"/>
            </a:xfrm>
            <a:prstGeom prst="straightConnector1">
              <a:avLst/>
            </a:prstGeom>
            <a:grpFill/>
            <a:ln w="9525" cap="flat" cmpd="sng">
              <a:solidFill>
                <a:schemeClr val="bg2"/>
              </a:solidFill>
              <a:prstDash val="solid"/>
              <a:round/>
              <a:headEnd type="none" w="med" len="med"/>
              <a:tailEnd type="none" w="med" len="med"/>
            </a:ln>
          </p:spPr>
        </p:cxnSp>
        <p:sp>
          <p:nvSpPr>
            <p:cNvPr id="8" name="Google Shape;4475;p64">
              <a:extLst>
                <a:ext uri="{FF2B5EF4-FFF2-40B4-BE49-F238E27FC236}">
                  <a16:creationId xmlns:a16="http://schemas.microsoft.com/office/drawing/2014/main" id="{4FC64D27-94EC-97D7-9B66-0AED49408203}"/>
                </a:ext>
              </a:extLst>
            </p:cNvPr>
            <p:cNvSpPr/>
            <p:nvPr/>
          </p:nvSpPr>
          <p:spPr>
            <a:xfrm>
              <a:off x="5826439" y="4092268"/>
              <a:ext cx="309781" cy="235618"/>
            </a:xfrm>
            <a:custGeom>
              <a:avLst/>
              <a:gdLst/>
              <a:ahLst/>
              <a:cxnLst/>
              <a:rect l="l" t="t" r="r" b="b"/>
              <a:pathLst>
                <a:path w="944" h="718" extrusionOk="0">
                  <a:moveTo>
                    <a:pt x="944" y="102"/>
                  </a:moveTo>
                  <a:lnTo>
                    <a:pt x="942" y="100"/>
                  </a:lnTo>
                  <a:lnTo>
                    <a:pt x="940" y="96"/>
                  </a:lnTo>
                  <a:lnTo>
                    <a:pt x="934" y="92"/>
                  </a:lnTo>
                  <a:lnTo>
                    <a:pt x="928" y="88"/>
                  </a:lnTo>
                  <a:lnTo>
                    <a:pt x="920" y="88"/>
                  </a:lnTo>
                  <a:lnTo>
                    <a:pt x="914" y="88"/>
                  </a:lnTo>
                  <a:lnTo>
                    <a:pt x="908" y="86"/>
                  </a:lnTo>
                  <a:lnTo>
                    <a:pt x="902" y="86"/>
                  </a:lnTo>
                  <a:lnTo>
                    <a:pt x="898" y="90"/>
                  </a:lnTo>
                  <a:lnTo>
                    <a:pt x="896" y="94"/>
                  </a:lnTo>
                  <a:lnTo>
                    <a:pt x="890" y="94"/>
                  </a:lnTo>
                  <a:lnTo>
                    <a:pt x="882" y="96"/>
                  </a:lnTo>
                  <a:lnTo>
                    <a:pt x="868" y="102"/>
                  </a:lnTo>
                  <a:lnTo>
                    <a:pt x="862" y="100"/>
                  </a:lnTo>
                  <a:lnTo>
                    <a:pt x="860" y="98"/>
                  </a:lnTo>
                  <a:lnTo>
                    <a:pt x="862" y="96"/>
                  </a:lnTo>
                  <a:lnTo>
                    <a:pt x="866" y="94"/>
                  </a:lnTo>
                  <a:lnTo>
                    <a:pt x="868" y="90"/>
                  </a:lnTo>
                  <a:lnTo>
                    <a:pt x="868" y="86"/>
                  </a:lnTo>
                  <a:lnTo>
                    <a:pt x="862" y="84"/>
                  </a:lnTo>
                  <a:lnTo>
                    <a:pt x="860" y="84"/>
                  </a:lnTo>
                  <a:lnTo>
                    <a:pt x="852" y="82"/>
                  </a:lnTo>
                  <a:lnTo>
                    <a:pt x="844" y="82"/>
                  </a:lnTo>
                  <a:lnTo>
                    <a:pt x="834" y="86"/>
                  </a:lnTo>
                  <a:lnTo>
                    <a:pt x="812" y="98"/>
                  </a:lnTo>
                  <a:lnTo>
                    <a:pt x="804" y="106"/>
                  </a:lnTo>
                  <a:lnTo>
                    <a:pt x="798" y="118"/>
                  </a:lnTo>
                  <a:lnTo>
                    <a:pt x="778" y="122"/>
                  </a:lnTo>
                  <a:lnTo>
                    <a:pt x="764" y="128"/>
                  </a:lnTo>
                  <a:lnTo>
                    <a:pt x="750" y="140"/>
                  </a:lnTo>
                  <a:lnTo>
                    <a:pt x="742" y="146"/>
                  </a:lnTo>
                  <a:lnTo>
                    <a:pt x="736" y="146"/>
                  </a:lnTo>
                  <a:lnTo>
                    <a:pt x="732" y="146"/>
                  </a:lnTo>
                  <a:lnTo>
                    <a:pt x="728" y="142"/>
                  </a:lnTo>
                  <a:lnTo>
                    <a:pt x="724" y="134"/>
                  </a:lnTo>
                  <a:lnTo>
                    <a:pt x="720" y="120"/>
                  </a:lnTo>
                  <a:lnTo>
                    <a:pt x="716" y="110"/>
                  </a:lnTo>
                  <a:lnTo>
                    <a:pt x="718" y="98"/>
                  </a:lnTo>
                  <a:lnTo>
                    <a:pt x="720" y="84"/>
                  </a:lnTo>
                  <a:lnTo>
                    <a:pt x="722" y="70"/>
                  </a:lnTo>
                  <a:lnTo>
                    <a:pt x="724" y="54"/>
                  </a:lnTo>
                  <a:lnTo>
                    <a:pt x="726" y="50"/>
                  </a:lnTo>
                  <a:lnTo>
                    <a:pt x="726" y="46"/>
                  </a:lnTo>
                  <a:lnTo>
                    <a:pt x="724" y="44"/>
                  </a:lnTo>
                  <a:lnTo>
                    <a:pt x="720" y="44"/>
                  </a:lnTo>
                  <a:lnTo>
                    <a:pt x="714" y="46"/>
                  </a:lnTo>
                  <a:lnTo>
                    <a:pt x="710" y="46"/>
                  </a:lnTo>
                  <a:lnTo>
                    <a:pt x="706" y="44"/>
                  </a:lnTo>
                  <a:lnTo>
                    <a:pt x="708" y="36"/>
                  </a:lnTo>
                  <a:lnTo>
                    <a:pt x="710" y="24"/>
                  </a:lnTo>
                  <a:lnTo>
                    <a:pt x="706" y="12"/>
                  </a:lnTo>
                  <a:lnTo>
                    <a:pt x="692" y="2"/>
                  </a:lnTo>
                  <a:lnTo>
                    <a:pt x="680" y="0"/>
                  </a:lnTo>
                  <a:lnTo>
                    <a:pt x="672" y="2"/>
                  </a:lnTo>
                  <a:lnTo>
                    <a:pt x="664" y="10"/>
                  </a:lnTo>
                  <a:lnTo>
                    <a:pt x="658" y="22"/>
                  </a:lnTo>
                  <a:lnTo>
                    <a:pt x="650" y="32"/>
                  </a:lnTo>
                  <a:lnTo>
                    <a:pt x="644" y="38"/>
                  </a:lnTo>
                  <a:lnTo>
                    <a:pt x="638" y="42"/>
                  </a:lnTo>
                  <a:lnTo>
                    <a:pt x="638" y="44"/>
                  </a:lnTo>
                  <a:lnTo>
                    <a:pt x="636" y="48"/>
                  </a:lnTo>
                  <a:lnTo>
                    <a:pt x="640" y="58"/>
                  </a:lnTo>
                  <a:lnTo>
                    <a:pt x="640" y="66"/>
                  </a:lnTo>
                  <a:lnTo>
                    <a:pt x="636" y="72"/>
                  </a:lnTo>
                  <a:lnTo>
                    <a:pt x="630" y="76"/>
                  </a:lnTo>
                  <a:lnTo>
                    <a:pt x="626" y="76"/>
                  </a:lnTo>
                  <a:lnTo>
                    <a:pt x="622" y="74"/>
                  </a:lnTo>
                  <a:lnTo>
                    <a:pt x="620" y="70"/>
                  </a:lnTo>
                  <a:lnTo>
                    <a:pt x="612" y="70"/>
                  </a:lnTo>
                  <a:lnTo>
                    <a:pt x="598" y="72"/>
                  </a:lnTo>
                  <a:lnTo>
                    <a:pt x="590" y="74"/>
                  </a:lnTo>
                  <a:lnTo>
                    <a:pt x="586" y="80"/>
                  </a:lnTo>
                  <a:lnTo>
                    <a:pt x="584" y="88"/>
                  </a:lnTo>
                  <a:lnTo>
                    <a:pt x="586" y="96"/>
                  </a:lnTo>
                  <a:lnTo>
                    <a:pt x="584" y="104"/>
                  </a:lnTo>
                  <a:lnTo>
                    <a:pt x="580" y="108"/>
                  </a:lnTo>
                  <a:lnTo>
                    <a:pt x="578" y="110"/>
                  </a:lnTo>
                  <a:lnTo>
                    <a:pt x="574" y="112"/>
                  </a:lnTo>
                  <a:lnTo>
                    <a:pt x="570" y="108"/>
                  </a:lnTo>
                  <a:lnTo>
                    <a:pt x="560" y="98"/>
                  </a:lnTo>
                  <a:lnTo>
                    <a:pt x="554" y="94"/>
                  </a:lnTo>
                  <a:lnTo>
                    <a:pt x="552" y="92"/>
                  </a:lnTo>
                  <a:lnTo>
                    <a:pt x="550" y="94"/>
                  </a:lnTo>
                  <a:lnTo>
                    <a:pt x="548" y="94"/>
                  </a:lnTo>
                  <a:lnTo>
                    <a:pt x="548" y="96"/>
                  </a:lnTo>
                  <a:lnTo>
                    <a:pt x="546" y="98"/>
                  </a:lnTo>
                  <a:lnTo>
                    <a:pt x="544" y="100"/>
                  </a:lnTo>
                  <a:lnTo>
                    <a:pt x="540" y="98"/>
                  </a:lnTo>
                  <a:lnTo>
                    <a:pt x="536" y="100"/>
                  </a:lnTo>
                  <a:lnTo>
                    <a:pt x="534" y="102"/>
                  </a:lnTo>
                  <a:lnTo>
                    <a:pt x="528" y="106"/>
                  </a:lnTo>
                  <a:lnTo>
                    <a:pt x="518" y="110"/>
                  </a:lnTo>
                  <a:lnTo>
                    <a:pt x="512" y="112"/>
                  </a:lnTo>
                  <a:lnTo>
                    <a:pt x="510" y="118"/>
                  </a:lnTo>
                  <a:lnTo>
                    <a:pt x="510" y="120"/>
                  </a:lnTo>
                  <a:lnTo>
                    <a:pt x="506" y="118"/>
                  </a:lnTo>
                  <a:lnTo>
                    <a:pt x="496" y="124"/>
                  </a:lnTo>
                  <a:lnTo>
                    <a:pt x="490" y="122"/>
                  </a:lnTo>
                  <a:lnTo>
                    <a:pt x="482" y="116"/>
                  </a:lnTo>
                  <a:lnTo>
                    <a:pt x="476" y="108"/>
                  </a:lnTo>
                  <a:lnTo>
                    <a:pt x="476" y="106"/>
                  </a:lnTo>
                  <a:lnTo>
                    <a:pt x="476" y="104"/>
                  </a:lnTo>
                  <a:lnTo>
                    <a:pt x="472" y="102"/>
                  </a:lnTo>
                  <a:lnTo>
                    <a:pt x="466" y="102"/>
                  </a:lnTo>
                  <a:lnTo>
                    <a:pt x="462" y="100"/>
                  </a:lnTo>
                  <a:lnTo>
                    <a:pt x="460" y="98"/>
                  </a:lnTo>
                  <a:lnTo>
                    <a:pt x="456" y="100"/>
                  </a:lnTo>
                  <a:lnTo>
                    <a:pt x="448" y="104"/>
                  </a:lnTo>
                  <a:lnTo>
                    <a:pt x="440" y="100"/>
                  </a:lnTo>
                  <a:lnTo>
                    <a:pt x="432" y="92"/>
                  </a:lnTo>
                  <a:lnTo>
                    <a:pt x="416" y="90"/>
                  </a:lnTo>
                  <a:lnTo>
                    <a:pt x="396" y="92"/>
                  </a:lnTo>
                  <a:lnTo>
                    <a:pt x="392" y="92"/>
                  </a:lnTo>
                  <a:lnTo>
                    <a:pt x="384" y="90"/>
                  </a:lnTo>
                  <a:lnTo>
                    <a:pt x="368" y="86"/>
                  </a:lnTo>
                  <a:lnTo>
                    <a:pt x="354" y="78"/>
                  </a:lnTo>
                  <a:lnTo>
                    <a:pt x="346" y="74"/>
                  </a:lnTo>
                  <a:lnTo>
                    <a:pt x="344" y="74"/>
                  </a:lnTo>
                  <a:lnTo>
                    <a:pt x="340" y="78"/>
                  </a:lnTo>
                  <a:lnTo>
                    <a:pt x="338" y="82"/>
                  </a:lnTo>
                  <a:lnTo>
                    <a:pt x="336" y="90"/>
                  </a:lnTo>
                  <a:lnTo>
                    <a:pt x="332" y="100"/>
                  </a:lnTo>
                  <a:lnTo>
                    <a:pt x="316" y="100"/>
                  </a:lnTo>
                  <a:lnTo>
                    <a:pt x="302" y="100"/>
                  </a:lnTo>
                  <a:lnTo>
                    <a:pt x="292" y="104"/>
                  </a:lnTo>
                  <a:lnTo>
                    <a:pt x="284" y="110"/>
                  </a:lnTo>
                  <a:lnTo>
                    <a:pt x="280" y="116"/>
                  </a:lnTo>
                  <a:lnTo>
                    <a:pt x="280" y="124"/>
                  </a:lnTo>
                  <a:lnTo>
                    <a:pt x="274" y="140"/>
                  </a:lnTo>
                  <a:lnTo>
                    <a:pt x="270" y="156"/>
                  </a:lnTo>
                  <a:lnTo>
                    <a:pt x="266" y="168"/>
                  </a:lnTo>
                  <a:lnTo>
                    <a:pt x="264" y="174"/>
                  </a:lnTo>
                  <a:lnTo>
                    <a:pt x="254" y="184"/>
                  </a:lnTo>
                  <a:lnTo>
                    <a:pt x="242" y="190"/>
                  </a:lnTo>
                  <a:lnTo>
                    <a:pt x="236" y="192"/>
                  </a:lnTo>
                  <a:lnTo>
                    <a:pt x="234" y="196"/>
                  </a:lnTo>
                  <a:lnTo>
                    <a:pt x="232" y="200"/>
                  </a:lnTo>
                  <a:lnTo>
                    <a:pt x="230" y="200"/>
                  </a:lnTo>
                  <a:lnTo>
                    <a:pt x="226" y="200"/>
                  </a:lnTo>
                  <a:lnTo>
                    <a:pt x="220" y="200"/>
                  </a:lnTo>
                  <a:lnTo>
                    <a:pt x="210" y="204"/>
                  </a:lnTo>
                  <a:lnTo>
                    <a:pt x="198" y="208"/>
                  </a:lnTo>
                  <a:lnTo>
                    <a:pt x="184" y="214"/>
                  </a:lnTo>
                  <a:lnTo>
                    <a:pt x="176" y="214"/>
                  </a:lnTo>
                  <a:lnTo>
                    <a:pt x="172" y="214"/>
                  </a:lnTo>
                  <a:lnTo>
                    <a:pt x="172" y="216"/>
                  </a:lnTo>
                  <a:lnTo>
                    <a:pt x="172" y="220"/>
                  </a:lnTo>
                  <a:lnTo>
                    <a:pt x="174" y="224"/>
                  </a:lnTo>
                  <a:lnTo>
                    <a:pt x="176" y="228"/>
                  </a:lnTo>
                  <a:lnTo>
                    <a:pt x="172" y="232"/>
                  </a:lnTo>
                  <a:lnTo>
                    <a:pt x="170" y="236"/>
                  </a:lnTo>
                  <a:lnTo>
                    <a:pt x="168" y="246"/>
                  </a:lnTo>
                  <a:lnTo>
                    <a:pt x="162" y="250"/>
                  </a:lnTo>
                  <a:lnTo>
                    <a:pt x="154" y="254"/>
                  </a:lnTo>
                  <a:lnTo>
                    <a:pt x="146" y="260"/>
                  </a:lnTo>
                  <a:lnTo>
                    <a:pt x="144" y="262"/>
                  </a:lnTo>
                  <a:lnTo>
                    <a:pt x="138" y="264"/>
                  </a:lnTo>
                  <a:lnTo>
                    <a:pt x="134" y="264"/>
                  </a:lnTo>
                  <a:lnTo>
                    <a:pt x="130" y="262"/>
                  </a:lnTo>
                  <a:lnTo>
                    <a:pt x="124" y="264"/>
                  </a:lnTo>
                  <a:lnTo>
                    <a:pt x="118" y="268"/>
                  </a:lnTo>
                  <a:lnTo>
                    <a:pt x="116" y="268"/>
                  </a:lnTo>
                  <a:lnTo>
                    <a:pt x="116" y="262"/>
                  </a:lnTo>
                  <a:lnTo>
                    <a:pt x="112" y="260"/>
                  </a:lnTo>
                  <a:lnTo>
                    <a:pt x="104" y="252"/>
                  </a:lnTo>
                  <a:lnTo>
                    <a:pt x="98" y="246"/>
                  </a:lnTo>
                  <a:lnTo>
                    <a:pt x="94" y="246"/>
                  </a:lnTo>
                  <a:lnTo>
                    <a:pt x="88" y="248"/>
                  </a:lnTo>
                  <a:lnTo>
                    <a:pt x="80" y="248"/>
                  </a:lnTo>
                  <a:lnTo>
                    <a:pt x="74" y="248"/>
                  </a:lnTo>
                  <a:lnTo>
                    <a:pt x="68" y="246"/>
                  </a:lnTo>
                  <a:lnTo>
                    <a:pt x="60" y="238"/>
                  </a:lnTo>
                  <a:lnTo>
                    <a:pt x="58" y="234"/>
                  </a:lnTo>
                  <a:lnTo>
                    <a:pt x="56" y="232"/>
                  </a:lnTo>
                  <a:lnTo>
                    <a:pt x="50" y="232"/>
                  </a:lnTo>
                  <a:lnTo>
                    <a:pt x="52" y="238"/>
                  </a:lnTo>
                  <a:lnTo>
                    <a:pt x="52" y="242"/>
                  </a:lnTo>
                  <a:lnTo>
                    <a:pt x="50" y="244"/>
                  </a:lnTo>
                  <a:lnTo>
                    <a:pt x="48" y="248"/>
                  </a:lnTo>
                  <a:lnTo>
                    <a:pt x="46" y="254"/>
                  </a:lnTo>
                  <a:lnTo>
                    <a:pt x="46" y="258"/>
                  </a:lnTo>
                  <a:lnTo>
                    <a:pt x="42" y="260"/>
                  </a:lnTo>
                  <a:lnTo>
                    <a:pt x="40" y="260"/>
                  </a:lnTo>
                  <a:lnTo>
                    <a:pt x="40" y="266"/>
                  </a:lnTo>
                  <a:lnTo>
                    <a:pt x="42" y="270"/>
                  </a:lnTo>
                  <a:lnTo>
                    <a:pt x="42" y="274"/>
                  </a:lnTo>
                  <a:lnTo>
                    <a:pt x="42" y="278"/>
                  </a:lnTo>
                  <a:lnTo>
                    <a:pt x="40" y="282"/>
                  </a:lnTo>
                  <a:lnTo>
                    <a:pt x="38" y="288"/>
                  </a:lnTo>
                  <a:lnTo>
                    <a:pt x="38" y="294"/>
                  </a:lnTo>
                  <a:lnTo>
                    <a:pt x="36" y="298"/>
                  </a:lnTo>
                  <a:lnTo>
                    <a:pt x="32" y="302"/>
                  </a:lnTo>
                  <a:lnTo>
                    <a:pt x="30" y="306"/>
                  </a:lnTo>
                  <a:lnTo>
                    <a:pt x="30" y="310"/>
                  </a:lnTo>
                  <a:lnTo>
                    <a:pt x="28" y="312"/>
                  </a:lnTo>
                  <a:lnTo>
                    <a:pt x="22" y="316"/>
                  </a:lnTo>
                  <a:lnTo>
                    <a:pt x="20" y="318"/>
                  </a:lnTo>
                  <a:lnTo>
                    <a:pt x="16" y="318"/>
                  </a:lnTo>
                  <a:lnTo>
                    <a:pt x="16" y="320"/>
                  </a:lnTo>
                  <a:lnTo>
                    <a:pt x="16" y="322"/>
                  </a:lnTo>
                  <a:lnTo>
                    <a:pt x="18" y="324"/>
                  </a:lnTo>
                  <a:lnTo>
                    <a:pt x="20" y="328"/>
                  </a:lnTo>
                  <a:lnTo>
                    <a:pt x="26" y="336"/>
                  </a:lnTo>
                  <a:lnTo>
                    <a:pt x="10" y="338"/>
                  </a:lnTo>
                  <a:lnTo>
                    <a:pt x="6" y="344"/>
                  </a:lnTo>
                  <a:lnTo>
                    <a:pt x="0" y="354"/>
                  </a:lnTo>
                  <a:lnTo>
                    <a:pt x="2" y="374"/>
                  </a:lnTo>
                  <a:lnTo>
                    <a:pt x="0" y="384"/>
                  </a:lnTo>
                  <a:lnTo>
                    <a:pt x="0" y="390"/>
                  </a:lnTo>
                  <a:lnTo>
                    <a:pt x="6" y="394"/>
                  </a:lnTo>
                  <a:lnTo>
                    <a:pt x="10" y="396"/>
                  </a:lnTo>
                  <a:lnTo>
                    <a:pt x="20" y="396"/>
                  </a:lnTo>
                  <a:lnTo>
                    <a:pt x="26" y="398"/>
                  </a:lnTo>
                  <a:lnTo>
                    <a:pt x="28" y="400"/>
                  </a:lnTo>
                  <a:lnTo>
                    <a:pt x="24" y="404"/>
                  </a:lnTo>
                  <a:lnTo>
                    <a:pt x="18" y="412"/>
                  </a:lnTo>
                  <a:lnTo>
                    <a:pt x="14" y="416"/>
                  </a:lnTo>
                  <a:lnTo>
                    <a:pt x="4" y="430"/>
                  </a:lnTo>
                  <a:lnTo>
                    <a:pt x="4" y="436"/>
                  </a:lnTo>
                  <a:lnTo>
                    <a:pt x="6" y="440"/>
                  </a:lnTo>
                  <a:lnTo>
                    <a:pt x="10" y="456"/>
                  </a:lnTo>
                  <a:lnTo>
                    <a:pt x="14" y="472"/>
                  </a:lnTo>
                  <a:lnTo>
                    <a:pt x="22" y="498"/>
                  </a:lnTo>
                  <a:lnTo>
                    <a:pt x="22" y="506"/>
                  </a:lnTo>
                  <a:lnTo>
                    <a:pt x="20" y="520"/>
                  </a:lnTo>
                  <a:lnTo>
                    <a:pt x="20" y="528"/>
                  </a:lnTo>
                  <a:lnTo>
                    <a:pt x="20" y="538"/>
                  </a:lnTo>
                  <a:lnTo>
                    <a:pt x="20" y="544"/>
                  </a:lnTo>
                  <a:lnTo>
                    <a:pt x="22" y="558"/>
                  </a:lnTo>
                  <a:lnTo>
                    <a:pt x="24" y="558"/>
                  </a:lnTo>
                  <a:lnTo>
                    <a:pt x="40" y="560"/>
                  </a:lnTo>
                  <a:lnTo>
                    <a:pt x="56" y="562"/>
                  </a:lnTo>
                  <a:lnTo>
                    <a:pt x="76" y="566"/>
                  </a:lnTo>
                  <a:lnTo>
                    <a:pt x="82" y="574"/>
                  </a:lnTo>
                  <a:lnTo>
                    <a:pt x="86" y="590"/>
                  </a:lnTo>
                  <a:lnTo>
                    <a:pt x="86" y="602"/>
                  </a:lnTo>
                  <a:lnTo>
                    <a:pt x="84" y="608"/>
                  </a:lnTo>
                  <a:lnTo>
                    <a:pt x="70" y="626"/>
                  </a:lnTo>
                  <a:lnTo>
                    <a:pt x="54" y="644"/>
                  </a:lnTo>
                  <a:lnTo>
                    <a:pt x="40" y="662"/>
                  </a:lnTo>
                  <a:lnTo>
                    <a:pt x="22" y="682"/>
                  </a:lnTo>
                  <a:lnTo>
                    <a:pt x="48" y="690"/>
                  </a:lnTo>
                  <a:lnTo>
                    <a:pt x="68" y="696"/>
                  </a:lnTo>
                  <a:lnTo>
                    <a:pt x="98" y="706"/>
                  </a:lnTo>
                  <a:lnTo>
                    <a:pt x="124" y="714"/>
                  </a:lnTo>
                  <a:lnTo>
                    <a:pt x="130" y="716"/>
                  </a:lnTo>
                  <a:lnTo>
                    <a:pt x="202" y="710"/>
                  </a:lnTo>
                  <a:lnTo>
                    <a:pt x="228" y="714"/>
                  </a:lnTo>
                  <a:lnTo>
                    <a:pt x="236" y="718"/>
                  </a:lnTo>
                  <a:lnTo>
                    <a:pt x="238" y="716"/>
                  </a:lnTo>
                  <a:lnTo>
                    <a:pt x="240" y="712"/>
                  </a:lnTo>
                  <a:lnTo>
                    <a:pt x="248" y="708"/>
                  </a:lnTo>
                  <a:lnTo>
                    <a:pt x="256" y="706"/>
                  </a:lnTo>
                  <a:lnTo>
                    <a:pt x="264" y="704"/>
                  </a:lnTo>
                  <a:lnTo>
                    <a:pt x="276" y="704"/>
                  </a:lnTo>
                  <a:lnTo>
                    <a:pt x="284" y="704"/>
                  </a:lnTo>
                  <a:lnTo>
                    <a:pt x="290" y="704"/>
                  </a:lnTo>
                  <a:lnTo>
                    <a:pt x="302" y="704"/>
                  </a:lnTo>
                  <a:lnTo>
                    <a:pt x="308" y="704"/>
                  </a:lnTo>
                  <a:lnTo>
                    <a:pt x="326" y="698"/>
                  </a:lnTo>
                  <a:lnTo>
                    <a:pt x="338" y="694"/>
                  </a:lnTo>
                  <a:lnTo>
                    <a:pt x="358" y="688"/>
                  </a:lnTo>
                  <a:lnTo>
                    <a:pt x="372" y="684"/>
                  </a:lnTo>
                  <a:lnTo>
                    <a:pt x="376" y="682"/>
                  </a:lnTo>
                  <a:lnTo>
                    <a:pt x="380" y="678"/>
                  </a:lnTo>
                  <a:lnTo>
                    <a:pt x="382" y="674"/>
                  </a:lnTo>
                  <a:lnTo>
                    <a:pt x="378" y="668"/>
                  </a:lnTo>
                  <a:lnTo>
                    <a:pt x="376" y="662"/>
                  </a:lnTo>
                  <a:lnTo>
                    <a:pt x="380" y="656"/>
                  </a:lnTo>
                  <a:lnTo>
                    <a:pt x="382" y="646"/>
                  </a:lnTo>
                  <a:lnTo>
                    <a:pt x="380" y="634"/>
                  </a:lnTo>
                  <a:lnTo>
                    <a:pt x="380" y="626"/>
                  </a:lnTo>
                  <a:lnTo>
                    <a:pt x="384" y="610"/>
                  </a:lnTo>
                  <a:lnTo>
                    <a:pt x="386" y="602"/>
                  </a:lnTo>
                  <a:lnTo>
                    <a:pt x="394" y="598"/>
                  </a:lnTo>
                  <a:lnTo>
                    <a:pt x="398" y="596"/>
                  </a:lnTo>
                  <a:lnTo>
                    <a:pt x="400" y="594"/>
                  </a:lnTo>
                  <a:lnTo>
                    <a:pt x="402" y="592"/>
                  </a:lnTo>
                  <a:lnTo>
                    <a:pt x="408" y="580"/>
                  </a:lnTo>
                  <a:lnTo>
                    <a:pt x="416" y="576"/>
                  </a:lnTo>
                  <a:lnTo>
                    <a:pt x="422" y="572"/>
                  </a:lnTo>
                  <a:lnTo>
                    <a:pt x="428" y="572"/>
                  </a:lnTo>
                  <a:lnTo>
                    <a:pt x="434" y="576"/>
                  </a:lnTo>
                  <a:lnTo>
                    <a:pt x="446" y="578"/>
                  </a:lnTo>
                  <a:lnTo>
                    <a:pt x="456" y="578"/>
                  </a:lnTo>
                  <a:lnTo>
                    <a:pt x="466" y="574"/>
                  </a:lnTo>
                  <a:lnTo>
                    <a:pt x="470" y="572"/>
                  </a:lnTo>
                  <a:lnTo>
                    <a:pt x="474" y="568"/>
                  </a:lnTo>
                  <a:lnTo>
                    <a:pt x="474" y="566"/>
                  </a:lnTo>
                  <a:lnTo>
                    <a:pt x="468" y="564"/>
                  </a:lnTo>
                  <a:lnTo>
                    <a:pt x="466" y="560"/>
                  </a:lnTo>
                  <a:lnTo>
                    <a:pt x="464" y="556"/>
                  </a:lnTo>
                  <a:lnTo>
                    <a:pt x="468" y="554"/>
                  </a:lnTo>
                  <a:lnTo>
                    <a:pt x="474" y="554"/>
                  </a:lnTo>
                  <a:lnTo>
                    <a:pt x="494" y="544"/>
                  </a:lnTo>
                  <a:lnTo>
                    <a:pt x="500" y="536"/>
                  </a:lnTo>
                  <a:lnTo>
                    <a:pt x="502" y="534"/>
                  </a:lnTo>
                  <a:lnTo>
                    <a:pt x="506" y="532"/>
                  </a:lnTo>
                  <a:lnTo>
                    <a:pt x="514" y="536"/>
                  </a:lnTo>
                  <a:lnTo>
                    <a:pt x="520" y="538"/>
                  </a:lnTo>
                  <a:lnTo>
                    <a:pt x="526" y="534"/>
                  </a:lnTo>
                  <a:lnTo>
                    <a:pt x="532" y="534"/>
                  </a:lnTo>
                  <a:lnTo>
                    <a:pt x="536" y="536"/>
                  </a:lnTo>
                  <a:lnTo>
                    <a:pt x="538" y="540"/>
                  </a:lnTo>
                  <a:lnTo>
                    <a:pt x="544" y="546"/>
                  </a:lnTo>
                  <a:lnTo>
                    <a:pt x="548" y="546"/>
                  </a:lnTo>
                  <a:lnTo>
                    <a:pt x="556" y="544"/>
                  </a:lnTo>
                  <a:lnTo>
                    <a:pt x="564" y="538"/>
                  </a:lnTo>
                  <a:lnTo>
                    <a:pt x="570" y="530"/>
                  </a:lnTo>
                  <a:lnTo>
                    <a:pt x="576" y="524"/>
                  </a:lnTo>
                  <a:lnTo>
                    <a:pt x="574" y="498"/>
                  </a:lnTo>
                  <a:lnTo>
                    <a:pt x="574" y="484"/>
                  </a:lnTo>
                  <a:lnTo>
                    <a:pt x="576" y="478"/>
                  </a:lnTo>
                  <a:lnTo>
                    <a:pt x="582" y="472"/>
                  </a:lnTo>
                  <a:lnTo>
                    <a:pt x="584" y="466"/>
                  </a:lnTo>
                  <a:lnTo>
                    <a:pt x="584" y="460"/>
                  </a:lnTo>
                  <a:lnTo>
                    <a:pt x="588" y="454"/>
                  </a:lnTo>
                  <a:lnTo>
                    <a:pt x="590" y="438"/>
                  </a:lnTo>
                  <a:lnTo>
                    <a:pt x="594" y="436"/>
                  </a:lnTo>
                  <a:lnTo>
                    <a:pt x="604" y="434"/>
                  </a:lnTo>
                  <a:lnTo>
                    <a:pt x="618" y="432"/>
                  </a:lnTo>
                  <a:lnTo>
                    <a:pt x="630" y="424"/>
                  </a:lnTo>
                  <a:lnTo>
                    <a:pt x="640" y="418"/>
                  </a:lnTo>
                  <a:lnTo>
                    <a:pt x="642" y="412"/>
                  </a:lnTo>
                  <a:lnTo>
                    <a:pt x="638" y="404"/>
                  </a:lnTo>
                  <a:lnTo>
                    <a:pt x="632" y="392"/>
                  </a:lnTo>
                  <a:lnTo>
                    <a:pt x="626" y="384"/>
                  </a:lnTo>
                  <a:lnTo>
                    <a:pt x="614" y="370"/>
                  </a:lnTo>
                  <a:lnTo>
                    <a:pt x="616" y="362"/>
                  </a:lnTo>
                  <a:lnTo>
                    <a:pt x="622" y="358"/>
                  </a:lnTo>
                  <a:lnTo>
                    <a:pt x="640" y="364"/>
                  </a:lnTo>
                  <a:lnTo>
                    <a:pt x="644" y="364"/>
                  </a:lnTo>
                  <a:lnTo>
                    <a:pt x="650" y="366"/>
                  </a:lnTo>
                  <a:lnTo>
                    <a:pt x="666" y="366"/>
                  </a:lnTo>
                  <a:lnTo>
                    <a:pt x="678" y="364"/>
                  </a:lnTo>
                  <a:lnTo>
                    <a:pt x="692" y="358"/>
                  </a:lnTo>
                  <a:lnTo>
                    <a:pt x="694" y="352"/>
                  </a:lnTo>
                  <a:lnTo>
                    <a:pt x="694" y="346"/>
                  </a:lnTo>
                  <a:lnTo>
                    <a:pt x="694" y="340"/>
                  </a:lnTo>
                  <a:lnTo>
                    <a:pt x="696" y="332"/>
                  </a:lnTo>
                  <a:lnTo>
                    <a:pt x="690" y="328"/>
                  </a:lnTo>
                  <a:lnTo>
                    <a:pt x="688" y="324"/>
                  </a:lnTo>
                  <a:lnTo>
                    <a:pt x="686" y="320"/>
                  </a:lnTo>
                  <a:lnTo>
                    <a:pt x="690" y="318"/>
                  </a:lnTo>
                  <a:lnTo>
                    <a:pt x="692" y="314"/>
                  </a:lnTo>
                  <a:lnTo>
                    <a:pt x="696" y="308"/>
                  </a:lnTo>
                  <a:lnTo>
                    <a:pt x="704" y="300"/>
                  </a:lnTo>
                  <a:lnTo>
                    <a:pt x="708" y="292"/>
                  </a:lnTo>
                  <a:lnTo>
                    <a:pt x="712" y="290"/>
                  </a:lnTo>
                  <a:lnTo>
                    <a:pt x="718" y="284"/>
                  </a:lnTo>
                  <a:lnTo>
                    <a:pt x="722" y="278"/>
                  </a:lnTo>
                  <a:lnTo>
                    <a:pt x="724" y="274"/>
                  </a:lnTo>
                  <a:lnTo>
                    <a:pt x="728" y="270"/>
                  </a:lnTo>
                  <a:lnTo>
                    <a:pt x="730" y="268"/>
                  </a:lnTo>
                  <a:lnTo>
                    <a:pt x="728" y="266"/>
                  </a:lnTo>
                  <a:lnTo>
                    <a:pt x="726" y="262"/>
                  </a:lnTo>
                  <a:lnTo>
                    <a:pt x="724" y="260"/>
                  </a:lnTo>
                  <a:lnTo>
                    <a:pt x="724" y="256"/>
                  </a:lnTo>
                  <a:lnTo>
                    <a:pt x="726" y="252"/>
                  </a:lnTo>
                  <a:lnTo>
                    <a:pt x="728" y="250"/>
                  </a:lnTo>
                  <a:lnTo>
                    <a:pt x="728" y="246"/>
                  </a:lnTo>
                  <a:lnTo>
                    <a:pt x="726" y="238"/>
                  </a:lnTo>
                  <a:lnTo>
                    <a:pt x="722" y="234"/>
                  </a:lnTo>
                  <a:lnTo>
                    <a:pt x="720" y="224"/>
                  </a:lnTo>
                  <a:lnTo>
                    <a:pt x="716" y="216"/>
                  </a:lnTo>
                  <a:lnTo>
                    <a:pt x="714" y="212"/>
                  </a:lnTo>
                  <a:lnTo>
                    <a:pt x="712" y="206"/>
                  </a:lnTo>
                  <a:lnTo>
                    <a:pt x="704" y="202"/>
                  </a:lnTo>
                  <a:lnTo>
                    <a:pt x="700" y="198"/>
                  </a:lnTo>
                  <a:lnTo>
                    <a:pt x="704" y="192"/>
                  </a:lnTo>
                  <a:lnTo>
                    <a:pt x="710" y="188"/>
                  </a:lnTo>
                  <a:lnTo>
                    <a:pt x="720" y="178"/>
                  </a:lnTo>
                  <a:lnTo>
                    <a:pt x="724" y="172"/>
                  </a:lnTo>
                  <a:lnTo>
                    <a:pt x="730" y="166"/>
                  </a:lnTo>
                  <a:lnTo>
                    <a:pt x="736" y="168"/>
                  </a:lnTo>
                  <a:lnTo>
                    <a:pt x="740" y="166"/>
                  </a:lnTo>
                  <a:lnTo>
                    <a:pt x="742" y="162"/>
                  </a:lnTo>
                  <a:lnTo>
                    <a:pt x="748" y="158"/>
                  </a:lnTo>
                  <a:lnTo>
                    <a:pt x="760" y="150"/>
                  </a:lnTo>
                  <a:lnTo>
                    <a:pt x="764" y="144"/>
                  </a:lnTo>
                  <a:lnTo>
                    <a:pt x="770" y="142"/>
                  </a:lnTo>
                  <a:lnTo>
                    <a:pt x="776" y="142"/>
                  </a:lnTo>
                  <a:lnTo>
                    <a:pt x="782" y="140"/>
                  </a:lnTo>
                  <a:lnTo>
                    <a:pt x="790" y="136"/>
                  </a:lnTo>
                  <a:lnTo>
                    <a:pt x="796" y="134"/>
                  </a:lnTo>
                  <a:lnTo>
                    <a:pt x="804" y="134"/>
                  </a:lnTo>
                  <a:lnTo>
                    <a:pt x="820" y="132"/>
                  </a:lnTo>
                  <a:lnTo>
                    <a:pt x="828" y="132"/>
                  </a:lnTo>
                  <a:lnTo>
                    <a:pt x="846" y="130"/>
                  </a:lnTo>
                  <a:lnTo>
                    <a:pt x="868" y="130"/>
                  </a:lnTo>
                  <a:lnTo>
                    <a:pt x="870" y="130"/>
                  </a:lnTo>
                  <a:lnTo>
                    <a:pt x="880" y="132"/>
                  </a:lnTo>
                  <a:lnTo>
                    <a:pt x="886" y="134"/>
                  </a:lnTo>
                  <a:lnTo>
                    <a:pt x="888" y="134"/>
                  </a:lnTo>
                  <a:lnTo>
                    <a:pt x="898" y="128"/>
                  </a:lnTo>
                  <a:lnTo>
                    <a:pt x="914" y="122"/>
                  </a:lnTo>
                  <a:lnTo>
                    <a:pt x="920" y="118"/>
                  </a:lnTo>
                  <a:lnTo>
                    <a:pt x="920" y="118"/>
                  </a:lnTo>
                  <a:lnTo>
                    <a:pt x="918" y="116"/>
                  </a:lnTo>
                  <a:lnTo>
                    <a:pt x="910" y="110"/>
                  </a:lnTo>
                  <a:lnTo>
                    <a:pt x="910" y="108"/>
                  </a:lnTo>
                  <a:lnTo>
                    <a:pt x="922" y="100"/>
                  </a:lnTo>
                  <a:lnTo>
                    <a:pt x="930" y="98"/>
                  </a:lnTo>
                  <a:lnTo>
                    <a:pt x="934" y="96"/>
                  </a:lnTo>
                  <a:lnTo>
                    <a:pt x="934" y="96"/>
                  </a:lnTo>
                  <a:lnTo>
                    <a:pt x="936" y="100"/>
                  </a:lnTo>
                  <a:lnTo>
                    <a:pt x="940" y="102"/>
                  </a:lnTo>
                  <a:lnTo>
                    <a:pt x="944" y="10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9" name="Google Shape;4476;p64">
              <a:extLst>
                <a:ext uri="{FF2B5EF4-FFF2-40B4-BE49-F238E27FC236}">
                  <a16:creationId xmlns:a16="http://schemas.microsoft.com/office/drawing/2014/main" id="{13AD1DD1-CA78-EA58-DFF2-3E732DA40646}"/>
                </a:ext>
              </a:extLst>
            </p:cNvPr>
            <p:cNvCxnSpPr/>
            <p:nvPr/>
          </p:nvCxnSpPr>
          <p:spPr>
            <a:xfrm>
              <a:off x="6136219" y="4125740"/>
              <a:ext cx="0" cy="0"/>
            </a:xfrm>
            <a:prstGeom prst="straightConnector1">
              <a:avLst/>
            </a:prstGeom>
            <a:grpFill/>
            <a:ln w="9525" cap="flat" cmpd="sng">
              <a:solidFill>
                <a:schemeClr val="bg2"/>
              </a:solidFill>
              <a:prstDash val="solid"/>
              <a:round/>
              <a:headEnd type="none" w="med" len="med"/>
              <a:tailEnd type="none" w="med" len="med"/>
            </a:ln>
          </p:spPr>
        </p:cxnSp>
        <p:cxnSp>
          <p:nvCxnSpPr>
            <p:cNvPr id="10" name="Google Shape;4477;p64">
              <a:extLst>
                <a:ext uri="{FF2B5EF4-FFF2-40B4-BE49-F238E27FC236}">
                  <a16:creationId xmlns:a16="http://schemas.microsoft.com/office/drawing/2014/main" id="{E2BE462A-0D55-3895-BB97-A394FD0DA80D}"/>
                </a:ext>
              </a:extLst>
            </p:cNvPr>
            <p:cNvCxnSpPr/>
            <p:nvPr/>
          </p:nvCxnSpPr>
          <p:spPr>
            <a:xfrm>
              <a:off x="6136219" y="4125740"/>
              <a:ext cx="0" cy="0"/>
            </a:xfrm>
            <a:prstGeom prst="straightConnector1">
              <a:avLst/>
            </a:prstGeom>
            <a:grpFill/>
            <a:ln w="9525" cap="flat" cmpd="sng">
              <a:solidFill>
                <a:schemeClr val="bg2"/>
              </a:solidFill>
              <a:prstDash val="solid"/>
              <a:round/>
              <a:headEnd type="none" w="med" len="med"/>
              <a:tailEnd type="none" w="med" len="med"/>
            </a:ln>
          </p:spPr>
        </p:cxnSp>
        <p:sp>
          <p:nvSpPr>
            <p:cNvPr id="11" name="Google Shape;4478;p64">
              <a:extLst>
                <a:ext uri="{FF2B5EF4-FFF2-40B4-BE49-F238E27FC236}">
                  <a16:creationId xmlns:a16="http://schemas.microsoft.com/office/drawing/2014/main" id="{CF05B0C8-1906-A2C5-19F4-5D9566A2F570}"/>
                </a:ext>
              </a:extLst>
            </p:cNvPr>
            <p:cNvSpPr/>
            <p:nvPr/>
          </p:nvSpPr>
          <p:spPr>
            <a:xfrm>
              <a:off x="4777648" y="5115463"/>
              <a:ext cx="264495" cy="268104"/>
            </a:xfrm>
            <a:custGeom>
              <a:avLst/>
              <a:gdLst/>
              <a:ahLst/>
              <a:cxnLst/>
              <a:rect l="l" t="t" r="r" b="b"/>
              <a:pathLst>
                <a:path w="806" h="817" extrusionOk="0">
                  <a:moveTo>
                    <a:pt x="160" y="2"/>
                  </a:moveTo>
                  <a:lnTo>
                    <a:pt x="156" y="2"/>
                  </a:lnTo>
                  <a:lnTo>
                    <a:pt x="146" y="2"/>
                  </a:lnTo>
                  <a:lnTo>
                    <a:pt x="132" y="0"/>
                  </a:lnTo>
                  <a:lnTo>
                    <a:pt x="124" y="2"/>
                  </a:lnTo>
                  <a:lnTo>
                    <a:pt x="106" y="2"/>
                  </a:lnTo>
                  <a:lnTo>
                    <a:pt x="102" y="2"/>
                  </a:lnTo>
                  <a:lnTo>
                    <a:pt x="94" y="0"/>
                  </a:lnTo>
                  <a:lnTo>
                    <a:pt x="86" y="2"/>
                  </a:lnTo>
                  <a:lnTo>
                    <a:pt x="84" y="4"/>
                  </a:lnTo>
                  <a:lnTo>
                    <a:pt x="68" y="10"/>
                  </a:lnTo>
                  <a:lnTo>
                    <a:pt x="52" y="14"/>
                  </a:lnTo>
                  <a:lnTo>
                    <a:pt x="42" y="16"/>
                  </a:lnTo>
                  <a:lnTo>
                    <a:pt x="36" y="16"/>
                  </a:lnTo>
                  <a:lnTo>
                    <a:pt x="36" y="18"/>
                  </a:lnTo>
                  <a:lnTo>
                    <a:pt x="38" y="22"/>
                  </a:lnTo>
                  <a:lnTo>
                    <a:pt x="44" y="34"/>
                  </a:lnTo>
                  <a:lnTo>
                    <a:pt x="50" y="50"/>
                  </a:lnTo>
                  <a:lnTo>
                    <a:pt x="70" y="74"/>
                  </a:lnTo>
                  <a:lnTo>
                    <a:pt x="74" y="92"/>
                  </a:lnTo>
                  <a:lnTo>
                    <a:pt x="88" y="128"/>
                  </a:lnTo>
                  <a:lnTo>
                    <a:pt x="108" y="168"/>
                  </a:lnTo>
                  <a:lnTo>
                    <a:pt x="106" y="174"/>
                  </a:lnTo>
                  <a:lnTo>
                    <a:pt x="106" y="180"/>
                  </a:lnTo>
                  <a:lnTo>
                    <a:pt x="108" y="184"/>
                  </a:lnTo>
                  <a:lnTo>
                    <a:pt x="106" y="188"/>
                  </a:lnTo>
                  <a:lnTo>
                    <a:pt x="86" y="210"/>
                  </a:lnTo>
                  <a:lnTo>
                    <a:pt x="86" y="208"/>
                  </a:lnTo>
                  <a:lnTo>
                    <a:pt x="88" y="204"/>
                  </a:lnTo>
                  <a:lnTo>
                    <a:pt x="88" y="202"/>
                  </a:lnTo>
                  <a:lnTo>
                    <a:pt x="86" y="204"/>
                  </a:lnTo>
                  <a:lnTo>
                    <a:pt x="82" y="208"/>
                  </a:lnTo>
                  <a:lnTo>
                    <a:pt x="82" y="212"/>
                  </a:lnTo>
                  <a:lnTo>
                    <a:pt x="88" y="224"/>
                  </a:lnTo>
                  <a:lnTo>
                    <a:pt x="92" y="234"/>
                  </a:lnTo>
                  <a:lnTo>
                    <a:pt x="96" y="246"/>
                  </a:lnTo>
                  <a:lnTo>
                    <a:pt x="96" y="256"/>
                  </a:lnTo>
                  <a:lnTo>
                    <a:pt x="102" y="264"/>
                  </a:lnTo>
                  <a:lnTo>
                    <a:pt x="104" y="276"/>
                  </a:lnTo>
                  <a:lnTo>
                    <a:pt x="114" y="292"/>
                  </a:lnTo>
                  <a:lnTo>
                    <a:pt x="118" y="304"/>
                  </a:lnTo>
                  <a:lnTo>
                    <a:pt x="124" y="310"/>
                  </a:lnTo>
                  <a:lnTo>
                    <a:pt x="130" y="318"/>
                  </a:lnTo>
                  <a:lnTo>
                    <a:pt x="130" y="326"/>
                  </a:lnTo>
                  <a:lnTo>
                    <a:pt x="136" y="338"/>
                  </a:lnTo>
                  <a:lnTo>
                    <a:pt x="138" y="346"/>
                  </a:lnTo>
                  <a:lnTo>
                    <a:pt x="134" y="374"/>
                  </a:lnTo>
                  <a:lnTo>
                    <a:pt x="134" y="396"/>
                  </a:lnTo>
                  <a:lnTo>
                    <a:pt x="128" y="418"/>
                  </a:lnTo>
                  <a:lnTo>
                    <a:pt x="122" y="428"/>
                  </a:lnTo>
                  <a:lnTo>
                    <a:pt x="110" y="444"/>
                  </a:lnTo>
                  <a:lnTo>
                    <a:pt x="92" y="452"/>
                  </a:lnTo>
                  <a:lnTo>
                    <a:pt x="82" y="462"/>
                  </a:lnTo>
                  <a:lnTo>
                    <a:pt x="76" y="477"/>
                  </a:lnTo>
                  <a:lnTo>
                    <a:pt x="52" y="505"/>
                  </a:lnTo>
                  <a:lnTo>
                    <a:pt x="50" y="527"/>
                  </a:lnTo>
                  <a:lnTo>
                    <a:pt x="42" y="545"/>
                  </a:lnTo>
                  <a:lnTo>
                    <a:pt x="36" y="585"/>
                  </a:lnTo>
                  <a:lnTo>
                    <a:pt x="22" y="627"/>
                  </a:lnTo>
                  <a:lnTo>
                    <a:pt x="18" y="645"/>
                  </a:lnTo>
                  <a:lnTo>
                    <a:pt x="14" y="653"/>
                  </a:lnTo>
                  <a:lnTo>
                    <a:pt x="10" y="659"/>
                  </a:lnTo>
                  <a:lnTo>
                    <a:pt x="8" y="663"/>
                  </a:lnTo>
                  <a:lnTo>
                    <a:pt x="0" y="667"/>
                  </a:lnTo>
                  <a:lnTo>
                    <a:pt x="2" y="673"/>
                  </a:lnTo>
                  <a:lnTo>
                    <a:pt x="4" y="677"/>
                  </a:lnTo>
                  <a:lnTo>
                    <a:pt x="4" y="713"/>
                  </a:lnTo>
                  <a:lnTo>
                    <a:pt x="4" y="727"/>
                  </a:lnTo>
                  <a:lnTo>
                    <a:pt x="2" y="737"/>
                  </a:lnTo>
                  <a:lnTo>
                    <a:pt x="0" y="763"/>
                  </a:lnTo>
                  <a:lnTo>
                    <a:pt x="10" y="763"/>
                  </a:lnTo>
                  <a:lnTo>
                    <a:pt x="18" y="759"/>
                  </a:lnTo>
                  <a:lnTo>
                    <a:pt x="24" y="759"/>
                  </a:lnTo>
                  <a:lnTo>
                    <a:pt x="30" y="761"/>
                  </a:lnTo>
                  <a:lnTo>
                    <a:pt x="38" y="761"/>
                  </a:lnTo>
                  <a:lnTo>
                    <a:pt x="40" y="761"/>
                  </a:lnTo>
                  <a:lnTo>
                    <a:pt x="52" y="761"/>
                  </a:lnTo>
                  <a:lnTo>
                    <a:pt x="60" y="757"/>
                  </a:lnTo>
                  <a:lnTo>
                    <a:pt x="68" y="755"/>
                  </a:lnTo>
                  <a:lnTo>
                    <a:pt x="74" y="751"/>
                  </a:lnTo>
                  <a:lnTo>
                    <a:pt x="80" y="747"/>
                  </a:lnTo>
                  <a:lnTo>
                    <a:pt x="90" y="745"/>
                  </a:lnTo>
                  <a:lnTo>
                    <a:pt x="94" y="745"/>
                  </a:lnTo>
                  <a:lnTo>
                    <a:pt x="100" y="745"/>
                  </a:lnTo>
                  <a:lnTo>
                    <a:pt x="108" y="747"/>
                  </a:lnTo>
                  <a:lnTo>
                    <a:pt x="114" y="749"/>
                  </a:lnTo>
                  <a:lnTo>
                    <a:pt x="120" y="757"/>
                  </a:lnTo>
                  <a:lnTo>
                    <a:pt x="128" y="763"/>
                  </a:lnTo>
                  <a:lnTo>
                    <a:pt x="134" y="767"/>
                  </a:lnTo>
                  <a:lnTo>
                    <a:pt x="142" y="771"/>
                  </a:lnTo>
                  <a:lnTo>
                    <a:pt x="144" y="773"/>
                  </a:lnTo>
                  <a:lnTo>
                    <a:pt x="148" y="775"/>
                  </a:lnTo>
                  <a:lnTo>
                    <a:pt x="150" y="775"/>
                  </a:lnTo>
                  <a:lnTo>
                    <a:pt x="162" y="775"/>
                  </a:lnTo>
                  <a:lnTo>
                    <a:pt x="176" y="773"/>
                  </a:lnTo>
                  <a:lnTo>
                    <a:pt x="364" y="773"/>
                  </a:lnTo>
                  <a:lnTo>
                    <a:pt x="390" y="773"/>
                  </a:lnTo>
                  <a:lnTo>
                    <a:pt x="418" y="773"/>
                  </a:lnTo>
                  <a:lnTo>
                    <a:pt x="436" y="775"/>
                  </a:lnTo>
                  <a:lnTo>
                    <a:pt x="438" y="775"/>
                  </a:lnTo>
                  <a:lnTo>
                    <a:pt x="440" y="775"/>
                  </a:lnTo>
                  <a:lnTo>
                    <a:pt x="442" y="777"/>
                  </a:lnTo>
                  <a:lnTo>
                    <a:pt x="448" y="785"/>
                  </a:lnTo>
                  <a:lnTo>
                    <a:pt x="458" y="795"/>
                  </a:lnTo>
                  <a:lnTo>
                    <a:pt x="464" y="799"/>
                  </a:lnTo>
                  <a:lnTo>
                    <a:pt x="472" y="801"/>
                  </a:lnTo>
                  <a:lnTo>
                    <a:pt x="480" y="803"/>
                  </a:lnTo>
                  <a:lnTo>
                    <a:pt x="488" y="803"/>
                  </a:lnTo>
                  <a:lnTo>
                    <a:pt x="500" y="803"/>
                  </a:lnTo>
                  <a:lnTo>
                    <a:pt x="518" y="807"/>
                  </a:lnTo>
                  <a:lnTo>
                    <a:pt x="536" y="807"/>
                  </a:lnTo>
                  <a:lnTo>
                    <a:pt x="554" y="807"/>
                  </a:lnTo>
                  <a:lnTo>
                    <a:pt x="568" y="807"/>
                  </a:lnTo>
                  <a:lnTo>
                    <a:pt x="574" y="813"/>
                  </a:lnTo>
                  <a:lnTo>
                    <a:pt x="582" y="815"/>
                  </a:lnTo>
                  <a:lnTo>
                    <a:pt x="590" y="817"/>
                  </a:lnTo>
                  <a:lnTo>
                    <a:pt x="600" y="815"/>
                  </a:lnTo>
                  <a:lnTo>
                    <a:pt x="614" y="813"/>
                  </a:lnTo>
                  <a:lnTo>
                    <a:pt x="626" y="813"/>
                  </a:lnTo>
                  <a:lnTo>
                    <a:pt x="632" y="815"/>
                  </a:lnTo>
                  <a:lnTo>
                    <a:pt x="634" y="815"/>
                  </a:lnTo>
                  <a:lnTo>
                    <a:pt x="654" y="811"/>
                  </a:lnTo>
                  <a:lnTo>
                    <a:pt x="670" y="809"/>
                  </a:lnTo>
                  <a:lnTo>
                    <a:pt x="694" y="805"/>
                  </a:lnTo>
                  <a:lnTo>
                    <a:pt x="714" y="801"/>
                  </a:lnTo>
                  <a:lnTo>
                    <a:pt x="742" y="795"/>
                  </a:lnTo>
                  <a:lnTo>
                    <a:pt x="762" y="791"/>
                  </a:lnTo>
                  <a:lnTo>
                    <a:pt x="750" y="779"/>
                  </a:lnTo>
                  <a:lnTo>
                    <a:pt x="734" y="767"/>
                  </a:lnTo>
                  <a:lnTo>
                    <a:pt x="720" y="751"/>
                  </a:lnTo>
                  <a:lnTo>
                    <a:pt x="708" y="741"/>
                  </a:lnTo>
                  <a:lnTo>
                    <a:pt x="702" y="735"/>
                  </a:lnTo>
                  <a:lnTo>
                    <a:pt x="692" y="725"/>
                  </a:lnTo>
                  <a:lnTo>
                    <a:pt x="686" y="721"/>
                  </a:lnTo>
                  <a:lnTo>
                    <a:pt x="682" y="719"/>
                  </a:lnTo>
                  <a:lnTo>
                    <a:pt x="674" y="697"/>
                  </a:lnTo>
                  <a:lnTo>
                    <a:pt x="672" y="675"/>
                  </a:lnTo>
                  <a:lnTo>
                    <a:pt x="672" y="475"/>
                  </a:lnTo>
                  <a:lnTo>
                    <a:pt x="794" y="475"/>
                  </a:lnTo>
                  <a:lnTo>
                    <a:pt x="796" y="475"/>
                  </a:lnTo>
                  <a:lnTo>
                    <a:pt x="800" y="475"/>
                  </a:lnTo>
                  <a:lnTo>
                    <a:pt x="802" y="474"/>
                  </a:lnTo>
                  <a:lnTo>
                    <a:pt x="796" y="462"/>
                  </a:lnTo>
                  <a:lnTo>
                    <a:pt x="796" y="458"/>
                  </a:lnTo>
                  <a:lnTo>
                    <a:pt x="798" y="452"/>
                  </a:lnTo>
                  <a:lnTo>
                    <a:pt x="800" y="446"/>
                  </a:lnTo>
                  <a:lnTo>
                    <a:pt x="804" y="438"/>
                  </a:lnTo>
                  <a:lnTo>
                    <a:pt x="804" y="432"/>
                  </a:lnTo>
                  <a:lnTo>
                    <a:pt x="800" y="416"/>
                  </a:lnTo>
                  <a:lnTo>
                    <a:pt x="800" y="408"/>
                  </a:lnTo>
                  <a:lnTo>
                    <a:pt x="802" y="400"/>
                  </a:lnTo>
                  <a:lnTo>
                    <a:pt x="802" y="390"/>
                  </a:lnTo>
                  <a:lnTo>
                    <a:pt x="802" y="384"/>
                  </a:lnTo>
                  <a:lnTo>
                    <a:pt x="802" y="382"/>
                  </a:lnTo>
                  <a:lnTo>
                    <a:pt x="804" y="376"/>
                  </a:lnTo>
                  <a:lnTo>
                    <a:pt x="806" y="372"/>
                  </a:lnTo>
                  <a:lnTo>
                    <a:pt x="806" y="370"/>
                  </a:lnTo>
                  <a:lnTo>
                    <a:pt x="806" y="368"/>
                  </a:lnTo>
                  <a:lnTo>
                    <a:pt x="806" y="364"/>
                  </a:lnTo>
                  <a:lnTo>
                    <a:pt x="804" y="354"/>
                  </a:lnTo>
                  <a:lnTo>
                    <a:pt x="802" y="342"/>
                  </a:lnTo>
                  <a:lnTo>
                    <a:pt x="802" y="334"/>
                  </a:lnTo>
                  <a:lnTo>
                    <a:pt x="798" y="334"/>
                  </a:lnTo>
                  <a:lnTo>
                    <a:pt x="798" y="338"/>
                  </a:lnTo>
                  <a:lnTo>
                    <a:pt x="798" y="342"/>
                  </a:lnTo>
                  <a:lnTo>
                    <a:pt x="792" y="344"/>
                  </a:lnTo>
                  <a:lnTo>
                    <a:pt x="784" y="342"/>
                  </a:lnTo>
                  <a:lnTo>
                    <a:pt x="774" y="340"/>
                  </a:lnTo>
                  <a:lnTo>
                    <a:pt x="768" y="340"/>
                  </a:lnTo>
                  <a:lnTo>
                    <a:pt x="764" y="340"/>
                  </a:lnTo>
                  <a:lnTo>
                    <a:pt x="748" y="348"/>
                  </a:lnTo>
                  <a:lnTo>
                    <a:pt x="742" y="348"/>
                  </a:lnTo>
                  <a:lnTo>
                    <a:pt x="726" y="348"/>
                  </a:lnTo>
                  <a:lnTo>
                    <a:pt x="716" y="346"/>
                  </a:lnTo>
                  <a:lnTo>
                    <a:pt x="710" y="346"/>
                  </a:lnTo>
                  <a:lnTo>
                    <a:pt x="704" y="348"/>
                  </a:lnTo>
                  <a:lnTo>
                    <a:pt x="698" y="352"/>
                  </a:lnTo>
                  <a:lnTo>
                    <a:pt x="692" y="356"/>
                  </a:lnTo>
                  <a:lnTo>
                    <a:pt x="690" y="356"/>
                  </a:lnTo>
                  <a:lnTo>
                    <a:pt x="690" y="352"/>
                  </a:lnTo>
                  <a:lnTo>
                    <a:pt x="688" y="350"/>
                  </a:lnTo>
                  <a:lnTo>
                    <a:pt x="686" y="342"/>
                  </a:lnTo>
                  <a:lnTo>
                    <a:pt x="684" y="334"/>
                  </a:lnTo>
                  <a:lnTo>
                    <a:pt x="686" y="330"/>
                  </a:lnTo>
                  <a:lnTo>
                    <a:pt x="690" y="328"/>
                  </a:lnTo>
                  <a:lnTo>
                    <a:pt x="692" y="322"/>
                  </a:lnTo>
                  <a:lnTo>
                    <a:pt x="690" y="312"/>
                  </a:lnTo>
                  <a:lnTo>
                    <a:pt x="690" y="306"/>
                  </a:lnTo>
                  <a:lnTo>
                    <a:pt x="692" y="302"/>
                  </a:lnTo>
                  <a:lnTo>
                    <a:pt x="690" y="292"/>
                  </a:lnTo>
                  <a:lnTo>
                    <a:pt x="686" y="278"/>
                  </a:lnTo>
                  <a:lnTo>
                    <a:pt x="678" y="266"/>
                  </a:lnTo>
                  <a:lnTo>
                    <a:pt x="668" y="258"/>
                  </a:lnTo>
                  <a:lnTo>
                    <a:pt x="662" y="248"/>
                  </a:lnTo>
                  <a:lnTo>
                    <a:pt x="660" y="240"/>
                  </a:lnTo>
                  <a:lnTo>
                    <a:pt x="662" y="220"/>
                  </a:lnTo>
                  <a:lnTo>
                    <a:pt x="664" y="202"/>
                  </a:lnTo>
                  <a:lnTo>
                    <a:pt x="666" y="188"/>
                  </a:lnTo>
                  <a:lnTo>
                    <a:pt x="666" y="166"/>
                  </a:lnTo>
                  <a:lnTo>
                    <a:pt x="660" y="150"/>
                  </a:lnTo>
                  <a:lnTo>
                    <a:pt x="658" y="134"/>
                  </a:lnTo>
                  <a:lnTo>
                    <a:pt x="662" y="116"/>
                  </a:lnTo>
                  <a:lnTo>
                    <a:pt x="662" y="104"/>
                  </a:lnTo>
                  <a:lnTo>
                    <a:pt x="660" y="98"/>
                  </a:lnTo>
                  <a:lnTo>
                    <a:pt x="658" y="98"/>
                  </a:lnTo>
                  <a:lnTo>
                    <a:pt x="656" y="96"/>
                  </a:lnTo>
                  <a:lnTo>
                    <a:pt x="640" y="96"/>
                  </a:lnTo>
                  <a:lnTo>
                    <a:pt x="620" y="96"/>
                  </a:lnTo>
                  <a:lnTo>
                    <a:pt x="600" y="96"/>
                  </a:lnTo>
                  <a:lnTo>
                    <a:pt x="580" y="94"/>
                  </a:lnTo>
                  <a:lnTo>
                    <a:pt x="578" y="92"/>
                  </a:lnTo>
                  <a:lnTo>
                    <a:pt x="576" y="88"/>
                  </a:lnTo>
                  <a:lnTo>
                    <a:pt x="576" y="84"/>
                  </a:lnTo>
                  <a:lnTo>
                    <a:pt x="580" y="72"/>
                  </a:lnTo>
                  <a:lnTo>
                    <a:pt x="580" y="72"/>
                  </a:lnTo>
                  <a:lnTo>
                    <a:pt x="572" y="72"/>
                  </a:lnTo>
                  <a:lnTo>
                    <a:pt x="554" y="72"/>
                  </a:lnTo>
                  <a:lnTo>
                    <a:pt x="542" y="74"/>
                  </a:lnTo>
                  <a:lnTo>
                    <a:pt x="534" y="76"/>
                  </a:lnTo>
                  <a:lnTo>
                    <a:pt x="518" y="80"/>
                  </a:lnTo>
                  <a:lnTo>
                    <a:pt x="510" y="86"/>
                  </a:lnTo>
                  <a:lnTo>
                    <a:pt x="508" y="96"/>
                  </a:lnTo>
                  <a:lnTo>
                    <a:pt x="508" y="102"/>
                  </a:lnTo>
                  <a:lnTo>
                    <a:pt x="508" y="108"/>
                  </a:lnTo>
                  <a:lnTo>
                    <a:pt x="504" y="114"/>
                  </a:lnTo>
                  <a:lnTo>
                    <a:pt x="500" y="120"/>
                  </a:lnTo>
                  <a:lnTo>
                    <a:pt x="500" y="124"/>
                  </a:lnTo>
                  <a:lnTo>
                    <a:pt x="498" y="140"/>
                  </a:lnTo>
                  <a:lnTo>
                    <a:pt x="486" y="142"/>
                  </a:lnTo>
                  <a:lnTo>
                    <a:pt x="472" y="142"/>
                  </a:lnTo>
                  <a:lnTo>
                    <a:pt x="470" y="142"/>
                  </a:lnTo>
                  <a:lnTo>
                    <a:pt x="452" y="138"/>
                  </a:lnTo>
                  <a:lnTo>
                    <a:pt x="446" y="138"/>
                  </a:lnTo>
                  <a:lnTo>
                    <a:pt x="442" y="140"/>
                  </a:lnTo>
                  <a:lnTo>
                    <a:pt x="432" y="142"/>
                  </a:lnTo>
                  <a:lnTo>
                    <a:pt x="422" y="144"/>
                  </a:lnTo>
                  <a:lnTo>
                    <a:pt x="414" y="150"/>
                  </a:lnTo>
                  <a:lnTo>
                    <a:pt x="410" y="150"/>
                  </a:lnTo>
                  <a:lnTo>
                    <a:pt x="404" y="148"/>
                  </a:lnTo>
                  <a:lnTo>
                    <a:pt x="396" y="148"/>
                  </a:lnTo>
                  <a:lnTo>
                    <a:pt x="386" y="148"/>
                  </a:lnTo>
                  <a:lnTo>
                    <a:pt x="382" y="150"/>
                  </a:lnTo>
                  <a:lnTo>
                    <a:pt x="380" y="148"/>
                  </a:lnTo>
                  <a:lnTo>
                    <a:pt x="372" y="134"/>
                  </a:lnTo>
                  <a:lnTo>
                    <a:pt x="360" y="118"/>
                  </a:lnTo>
                  <a:lnTo>
                    <a:pt x="354" y="106"/>
                  </a:lnTo>
                  <a:lnTo>
                    <a:pt x="352" y="104"/>
                  </a:lnTo>
                  <a:lnTo>
                    <a:pt x="348" y="100"/>
                  </a:lnTo>
                  <a:lnTo>
                    <a:pt x="344" y="94"/>
                  </a:lnTo>
                  <a:lnTo>
                    <a:pt x="342" y="86"/>
                  </a:lnTo>
                  <a:lnTo>
                    <a:pt x="342" y="80"/>
                  </a:lnTo>
                  <a:lnTo>
                    <a:pt x="340" y="72"/>
                  </a:lnTo>
                  <a:lnTo>
                    <a:pt x="332" y="62"/>
                  </a:lnTo>
                  <a:lnTo>
                    <a:pt x="328" y="52"/>
                  </a:lnTo>
                  <a:lnTo>
                    <a:pt x="326" y="42"/>
                  </a:lnTo>
                  <a:lnTo>
                    <a:pt x="324" y="34"/>
                  </a:lnTo>
                  <a:lnTo>
                    <a:pt x="326" y="26"/>
                  </a:lnTo>
                  <a:lnTo>
                    <a:pt x="324" y="22"/>
                  </a:lnTo>
                  <a:lnTo>
                    <a:pt x="320" y="18"/>
                  </a:lnTo>
                  <a:lnTo>
                    <a:pt x="318" y="14"/>
                  </a:lnTo>
                  <a:lnTo>
                    <a:pt x="318" y="12"/>
                  </a:lnTo>
                  <a:lnTo>
                    <a:pt x="314" y="8"/>
                  </a:lnTo>
                  <a:lnTo>
                    <a:pt x="308" y="4"/>
                  </a:lnTo>
                  <a:lnTo>
                    <a:pt x="300" y="2"/>
                  </a:lnTo>
                  <a:lnTo>
                    <a:pt x="282" y="2"/>
                  </a:lnTo>
                  <a:lnTo>
                    <a:pt x="262" y="2"/>
                  </a:lnTo>
                  <a:lnTo>
                    <a:pt x="242" y="2"/>
                  </a:lnTo>
                  <a:lnTo>
                    <a:pt x="220" y="2"/>
                  </a:lnTo>
                  <a:lnTo>
                    <a:pt x="198" y="2"/>
                  </a:lnTo>
                  <a:lnTo>
                    <a:pt x="192" y="4"/>
                  </a:lnTo>
                  <a:lnTo>
                    <a:pt x="174" y="4"/>
                  </a:lnTo>
                  <a:lnTo>
                    <a:pt x="160"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2" name="Google Shape;4479;p64">
              <a:extLst>
                <a:ext uri="{FF2B5EF4-FFF2-40B4-BE49-F238E27FC236}">
                  <a16:creationId xmlns:a16="http://schemas.microsoft.com/office/drawing/2014/main" id="{7F67C86E-993F-049B-2B4A-5F43FD9975C5}"/>
                </a:ext>
              </a:extLst>
            </p:cNvPr>
            <p:cNvSpPr/>
            <p:nvPr/>
          </p:nvSpPr>
          <p:spPr>
            <a:xfrm>
              <a:off x="4783555" y="5085272"/>
              <a:ext cx="22315" cy="28222"/>
            </a:xfrm>
            <a:custGeom>
              <a:avLst/>
              <a:gdLst/>
              <a:ahLst/>
              <a:cxnLst/>
              <a:rect l="l" t="t" r="r" b="b"/>
              <a:pathLst>
                <a:path w="68" h="86" extrusionOk="0">
                  <a:moveTo>
                    <a:pt x="16" y="86"/>
                  </a:moveTo>
                  <a:lnTo>
                    <a:pt x="24" y="84"/>
                  </a:lnTo>
                  <a:lnTo>
                    <a:pt x="30" y="84"/>
                  </a:lnTo>
                  <a:lnTo>
                    <a:pt x="32" y="82"/>
                  </a:lnTo>
                  <a:lnTo>
                    <a:pt x="32" y="64"/>
                  </a:lnTo>
                  <a:lnTo>
                    <a:pt x="34" y="46"/>
                  </a:lnTo>
                  <a:lnTo>
                    <a:pt x="30" y="44"/>
                  </a:lnTo>
                  <a:lnTo>
                    <a:pt x="28" y="42"/>
                  </a:lnTo>
                  <a:lnTo>
                    <a:pt x="28" y="42"/>
                  </a:lnTo>
                  <a:lnTo>
                    <a:pt x="32" y="40"/>
                  </a:lnTo>
                  <a:lnTo>
                    <a:pt x="36" y="36"/>
                  </a:lnTo>
                  <a:lnTo>
                    <a:pt x="38" y="36"/>
                  </a:lnTo>
                  <a:lnTo>
                    <a:pt x="42" y="30"/>
                  </a:lnTo>
                  <a:lnTo>
                    <a:pt x="54" y="20"/>
                  </a:lnTo>
                  <a:lnTo>
                    <a:pt x="60" y="16"/>
                  </a:lnTo>
                  <a:lnTo>
                    <a:pt x="68" y="14"/>
                  </a:lnTo>
                  <a:lnTo>
                    <a:pt x="68" y="12"/>
                  </a:lnTo>
                  <a:lnTo>
                    <a:pt x="68" y="12"/>
                  </a:lnTo>
                  <a:lnTo>
                    <a:pt x="62" y="8"/>
                  </a:lnTo>
                  <a:lnTo>
                    <a:pt x="56" y="0"/>
                  </a:lnTo>
                  <a:lnTo>
                    <a:pt x="54" y="0"/>
                  </a:lnTo>
                  <a:lnTo>
                    <a:pt x="52" y="0"/>
                  </a:lnTo>
                  <a:lnTo>
                    <a:pt x="46" y="2"/>
                  </a:lnTo>
                  <a:lnTo>
                    <a:pt x="40" y="6"/>
                  </a:lnTo>
                  <a:lnTo>
                    <a:pt x="32" y="10"/>
                  </a:lnTo>
                  <a:lnTo>
                    <a:pt x="24" y="12"/>
                  </a:lnTo>
                  <a:lnTo>
                    <a:pt x="24" y="14"/>
                  </a:lnTo>
                  <a:lnTo>
                    <a:pt x="22" y="18"/>
                  </a:lnTo>
                  <a:lnTo>
                    <a:pt x="18" y="22"/>
                  </a:lnTo>
                  <a:lnTo>
                    <a:pt x="12" y="22"/>
                  </a:lnTo>
                  <a:lnTo>
                    <a:pt x="10" y="26"/>
                  </a:lnTo>
                  <a:lnTo>
                    <a:pt x="4" y="34"/>
                  </a:lnTo>
                  <a:lnTo>
                    <a:pt x="0" y="38"/>
                  </a:lnTo>
                  <a:lnTo>
                    <a:pt x="2" y="40"/>
                  </a:lnTo>
                  <a:lnTo>
                    <a:pt x="6" y="50"/>
                  </a:lnTo>
                  <a:lnTo>
                    <a:pt x="10" y="58"/>
                  </a:lnTo>
                  <a:lnTo>
                    <a:pt x="12" y="68"/>
                  </a:lnTo>
                  <a:lnTo>
                    <a:pt x="10" y="72"/>
                  </a:lnTo>
                  <a:lnTo>
                    <a:pt x="8" y="78"/>
                  </a:lnTo>
                  <a:lnTo>
                    <a:pt x="12" y="86"/>
                  </a:lnTo>
                  <a:lnTo>
                    <a:pt x="12" y="86"/>
                  </a:lnTo>
                  <a:lnTo>
                    <a:pt x="16" y="8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3" name="Google Shape;4480;p64">
              <a:extLst>
                <a:ext uri="{FF2B5EF4-FFF2-40B4-BE49-F238E27FC236}">
                  <a16:creationId xmlns:a16="http://schemas.microsoft.com/office/drawing/2014/main" id="{51A19007-290A-7F4A-0285-A6FD9B21731C}"/>
                </a:ext>
              </a:extLst>
            </p:cNvPr>
            <p:cNvCxnSpPr/>
            <p:nvPr/>
          </p:nvCxnSpPr>
          <p:spPr>
            <a:xfrm>
              <a:off x="4788806" y="5113493"/>
              <a:ext cx="0" cy="0"/>
            </a:xfrm>
            <a:prstGeom prst="straightConnector1">
              <a:avLst/>
            </a:prstGeom>
            <a:grpFill/>
            <a:ln w="9525" cap="flat" cmpd="sng">
              <a:solidFill>
                <a:schemeClr val="bg2"/>
              </a:solidFill>
              <a:prstDash val="solid"/>
              <a:round/>
              <a:headEnd type="none" w="med" len="med"/>
              <a:tailEnd type="none" w="med" len="med"/>
            </a:ln>
          </p:spPr>
        </p:cxnSp>
        <p:cxnSp>
          <p:nvCxnSpPr>
            <p:cNvPr id="14" name="Google Shape;4481;p64">
              <a:extLst>
                <a:ext uri="{FF2B5EF4-FFF2-40B4-BE49-F238E27FC236}">
                  <a16:creationId xmlns:a16="http://schemas.microsoft.com/office/drawing/2014/main" id="{5846DA2D-4531-6A33-CD89-F638CCAAA085}"/>
                </a:ext>
              </a:extLst>
            </p:cNvPr>
            <p:cNvCxnSpPr/>
            <p:nvPr/>
          </p:nvCxnSpPr>
          <p:spPr>
            <a:xfrm>
              <a:off x="4788806" y="5113493"/>
              <a:ext cx="0" cy="0"/>
            </a:xfrm>
            <a:prstGeom prst="straightConnector1">
              <a:avLst/>
            </a:prstGeom>
            <a:grpFill/>
            <a:ln w="9525" cap="flat" cmpd="sng">
              <a:solidFill>
                <a:schemeClr val="bg2"/>
              </a:solidFill>
              <a:prstDash val="solid"/>
              <a:round/>
              <a:headEnd type="none" w="med" len="med"/>
              <a:tailEnd type="none" w="med" len="med"/>
            </a:ln>
          </p:spPr>
        </p:cxnSp>
        <p:sp>
          <p:nvSpPr>
            <p:cNvPr id="15" name="Google Shape;4482;p64">
              <a:extLst>
                <a:ext uri="{FF2B5EF4-FFF2-40B4-BE49-F238E27FC236}">
                  <a16:creationId xmlns:a16="http://schemas.microsoft.com/office/drawing/2014/main" id="{3557CDC8-B75F-FC0E-1C26-5293DF96B1C5}"/>
                </a:ext>
              </a:extLst>
            </p:cNvPr>
            <p:cNvSpPr/>
            <p:nvPr/>
          </p:nvSpPr>
          <p:spPr>
            <a:xfrm>
              <a:off x="3166395" y="4589755"/>
              <a:ext cx="3938" cy="1969"/>
            </a:xfrm>
            <a:custGeom>
              <a:avLst/>
              <a:gdLst/>
              <a:ahLst/>
              <a:cxnLst/>
              <a:rect l="l" t="t" r="r" b="b"/>
              <a:pathLst>
                <a:path w="12" h="6" extrusionOk="0">
                  <a:moveTo>
                    <a:pt x="10" y="4"/>
                  </a:moveTo>
                  <a:lnTo>
                    <a:pt x="12" y="0"/>
                  </a:lnTo>
                  <a:lnTo>
                    <a:pt x="8" y="0"/>
                  </a:lnTo>
                  <a:lnTo>
                    <a:pt x="0" y="4"/>
                  </a:lnTo>
                  <a:lnTo>
                    <a:pt x="0" y="6"/>
                  </a:lnTo>
                  <a:lnTo>
                    <a:pt x="10"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6" name="Google Shape;4483;p64">
              <a:extLst>
                <a:ext uri="{FF2B5EF4-FFF2-40B4-BE49-F238E27FC236}">
                  <a16:creationId xmlns:a16="http://schemas.microsoft.com/office/drawing/2014/main" id="{0F5DC266-9DBC-87DE-15F9-7CC86BCE8F0F}"/>
                </a:ext>
              </a:extLst>
            </p:cNvPr>
            <p:cNvCxnSpPr/>
            <p:nvPr/>
          </p:nvCxnSpPr>
          <p:spPr>
            <a:xfrm>
              <a:off x="3169677" y="4591066"/>
              <a:ext cx="0" cy="0"/>
            </a:xfrm>
            <a:prstGeom prst="straightConnector1">
              <a:avLst/>
            </a:prstGeom>
            <a:grpFill/>
            <a:ln w="9525" cap="flat" cmpd="sng">
              <a:solidFill>
                <a:schemeClr val="bg2"/>
              </a:solidFill>
              <a:prstDash val="solid"/>
              <a:round/>
              <a:headEnd type="none" w="med" len="med"/>
              <a:tailEnd type="none" w="med" len="med"/>
            </a:ln>
          </p:spPr>
        </p:cxnSp>
        <p:cxnSp>
          <p:nvCxnSpPr>
            <p:cNvPr id="17" name="Google Shape;4484;p64">
              <a:extLst>
                <a:ext uri="{FF2B5EF4-FFF2-40B4-BE49-F238E27FC236}">
                  <a16:creationId xmlns:a16="http://schemas.microsoft.com/office/drawing/2014/main" id="{4443A6F5-2A3F-531C-9EDD-604F013CB141}"/>
                </a:ext>
              </a:extLst>
            </p:cNvPr>
            <p:cNvCxnSpPr/>
            <p:nvPr/>
          </p:nvCxnSpPr>
          <p:spPr>
            <a:xfrm>
              <a:off x="3169677" y="4591066"/>
              <a:ext cx="0" cy="0"/>
            </a:xfrm>
            <a:prstGeom prst="straightConnector1">
              <a:avLst/>
            </a:prstGeom>
            <a:grpFill/>
            <a:ln w="9525" cap="flat" cmpd="sng">
              <a:solidFill>
                <a:schemeClr val="bg2"/>
              </a:solidFill>
              <a:prstDash val="solid"/>
              <a:round/>
              <a:headEnd type="none" w="med" len="med"/>
              <a:tailEnd type="none" w="med" len="med"/>
            </a:ln>
          </p:spPr>
        </p:cxnSp>
        <p:sp>
          <p:nvSpPr>
            <p:cNvPr id="18" name="Google Shape;4485;p64">
              <a:extLst>
                <a:ext uri="{FF2B5EF4-FFF2-40B4-BE49-F238E27FC236}">
                  <a16:creationId xmlns:a16="http://schemas.microsoft.com/office/drawing/2014/main" id="{9925DB68-9AD6-ECE8-1E75-95A1AE8659E4}"/>
                </a:ext>
              </a:extLst>
            </p:cNvPr>
            <p:cNvSpPr/>
            <p:nvPr/>
          </p:nvSpPr>
          <p:spPr>
            <a:xfrm>
              <a:off x="4940413" y="3973474"/>
              <a:ext cx="36754" cy="85321"/>
            </a:xfrm>
            <a:custGeom>
              <a:avLst/>
              <a:gdLst/>
              <a:ahLst/>
              <a:cxnLst/>
              <a:rect l="l" t="t" r="r" b="b"/>
              <a:pathLst>
                <a:path w="112" h="260" extrusionOk="0">
                  <a:moveTo>
                    <a:pt x="50" y="8"/>
                  </a:moveTo>
                  <a:lnTo>
                    <a:pt x="48" y="8"/>
                  </a:lnTo>
                  <a:lnTo>
                    <a:pt x="42" y="12"/>
                  </a:lnTo>
                  <a:lnTo>
                    <a:pt x="36" y="14"/>
                  </a:lnTo>
                  <a:lnTo>
                    <a:pt x="32" y="14"/>
                  </a:lnTo>
                  <a:lnTo>
                    <a:pt x="30" y="14"/>
                  </a:lnTo>
                  <a:lnTo>
                    <a:pt x="28" y="10"/>
                  </a:lnTo>
                  <a:lnTo>
                    <a:pt x="28" y="4"/>
                  </a:lnTo>
                  <a:lnTo>
                    <a:pt x="28" y="2"/>
                  </a:lnTo>
                  <a:lnTo>
                    <a:pt x="26" y="0"/>
                  </a:lnTo>
                  <a:lnTo>
                    <a:pt x="22" y="2"/>
                  </a:lnTo>
                  <a:lnTo>
                    <a:pt x="18" y="6"/>
                  </a:lnTo>
                  <a:lnTo>
                    <a:pt x="16" y="14"/>
                  </a:lnTo>
                  <a:lnTo>
                    <a:pt x="10" y="20"/>
                  </a:lnTo>
                  <a:lnTo>
                    <a:pt x="6" y="26"/>
                  </a:lnTo>
                  <a:lnTo>
                    <a:pt x="4" y="32"/>
                  </a:lnTo>
                  <a:lnTo>
                    <a:pt x="4" y="32"/>
                  </a:lnTo>
                  <a:lnTo>
                    <a:pt x="6" y="38"/>
                  </a:lnTo>
                  <a:lnTo>
                    <a:pt x="10" y="44"/>
                  </a:lnTo>
                  <a:lnTo>
                    <a:pt x="12" y="48"/>
                  </a:lnTo>
                  <a:lnTo>
                    <a:pt x="10" y="50"/>
                  </a:lnTo>
                  <a:lnTo>
                    <a:pt x="6" y="50"/>
                  </a:lnTo>
                  <a:lnTo>
                    <a:pt x="2" y="48"/>
                  </a:lnTo>
                  <a:lnTo>
                    <a:pt x="4" y="52"/>
                  </a:lnTo>
                  <a:lnTo>
                    <a:pt x="2" y="54"/>
                  </a:lnTo>
                  <a:lnTo>
                    <a:pt x="4" y="58"/>
                  </a:lnTo>
                  <a:lnTo>
                    <a:pt x="2" y="64"/>
                  </a:lnTo>
                  <a:lnTo>
                    <a:pt x="2" y="68"/>
                  </a:lnTo>
                  <a:lnTo>
                    <a:pt x="10" y="70"/>
                  </a:lnTo>
                  <a:lnTo>
                    <a:pt x="18" y="76"/>
                  </a:lnTo>
                  <a:lnTo>
                    <a:pt x="18" y="88"/>
                  </a:lnTo>
                  <a:lnTo>
                    <a:pt x="16" y="92"/>
                  </a:lnTo>
                  <a:lnTo>
                    <a:pt x="12" y="96"/>
                  </a:lnTo>
                  <a:lnTo>
                    <a:pt x="8" y="108"/>
                  </a:lnTo>
                  <a:lnTo>
                    <a:pt x="10" y="116"/>
                  </a:lnTo>
                  <a:lnTo>
                    <a:pt x="12" y="124"/>
                  </a:lnTo>
                  <a:lnTo>
                    <a:pt x="10" y="136"/>
                  </a:lnTo>
                  <a:lnTo>
                    <a:pt x="10" y="150"/>
                  </a:lnTo>
                  <a:lnTo>
                    <a:pt x="4" y="162"/>
                  </a:lnTo>
                  <a:lnTo>
                    <a:pt x="2" y="174"/>
                  </a:lnTo>
                  <a:lnTo>
                    <a:pt x="2" y="178"/>
                  </a:lnTo>
                  <a:lnTo>
                    <a:pt x="8" y="190"/>
                  </a:lnTo>
                  <a:lnTo>
                    <a:pt x="10" y="196"/>
                  </a:lnTo>
                  <a:lnTo>
                    <a:pt x="8" y="198"/>
                  </a:lnTo>
                  <a:lnTo>
                    <a:pt x="6" y="196"/>
                  </a:lnTo>
                  <a:lnTo>
                    <a:pt x="4" y="196"/>
                  </a:lnTo>
                  <a:lnTo>
                    <a:pt x="0" y="196"/>
                  </a:lnTo>
                  <a:lnTo>
                    <a:pt x="4" y="202"/>
                  </a:lnTo>
                  <a:lnTo>
                    <a:pt x="6" y="206"/>
                  </a:lnTo>
                  <a:lnTo>
                    <a:pt x="12" y="212"/>
                  </a:lnTo>
                  <a:lnTo>
                    <a:pt x="36" y="228"/>
                  </a:lnTo>
                  <a:lnTo>
                    <a:pt x="42" y="242"/>
                  </a:lnTo>
                  <a:lnTo>
                    <a:pt x="46" y="248"/>
                  </a:lnTo>
                  <a:lnTo>
                    <a:pt x="46" y="256"/>
                  </a:lnTo>
                  <a:lnTo>
                    <a:pt x="46" y="256"/>
                  </a:lnTo>
                  <a:lnTo>
                    <a:pt x="50" y="256"/>
                  </a:lnTo>
                  <a:lnTo>
                    <a:pt x="54" y="260"/>
                  </a:lnTo>
                  <a:lnTo>
                    <a:pt x="58" y="260"/>
                  </a:lnTo>
                  <a:lnTo>
                    <a:pt x="62" y="258"/>
                  </a:lnTo>
                  <a:lnTo>
                    <a:pt x="64" y="256"/>
                  </a:lnTo>
                  <a:lnTo>
                    <a:pt x="64" y="254"/>
                  </a:lnTo>
                  <a:lnTo>
                    <a:pt x="64" y="250"/>
                  </a:lnTo>
                  <a:lnTo>
                    <a:pt x="66" y="248"/>
                  </a:lnTo>
                  <a:lnTo>
                    <a:pt x="68" y="248"/>
                  </a:lnTo>
                  <a:lnTo>
                    <a:pt x="70" y="248"/>
                  </a:lnTo>
                  <a:lnTo>
                    <a:pt x="70" y="244"/>
                  </a:lnTo>
                  <a:lnTo>
                    <a:pt x="68" y="240"/>
                  </a:lnTo>
                  <a:lnTo>
                    <a:pt x="66" y="236"/>
                  </a:lnTo>
                  <a:lnTo>
                    <a:pt x="66" y="232"/>
                  </a:lnTo>
                  <a:lnTo>
                    <a:pt x="68" y="232"/>
                  </a:lnTo>
                  <a:lnTo>
                    <a:pt x="70" y="230"/>
                  </a:lnTo>
                  <a:lnTo>
                    <a:pt x="72" y="226"/>
                  </a:lnTo>
                  <a:lnTo>
                    <a:pt x="76" y="226"/>
                  </a:lnTo>
                  <a:lnTo>
                    <a:pt x="80" y="226"/>
                  </a:lnTo>
                  <a:lnTo>
                    <a:pt x="84" y="224"/>
                  </a:lnTo>
                  <a:lnTo>
                    <a:pt x="88" y="220"/>
                  </a:lnTo>
                  <a:lnTo>
                    <a:pt x="88" y="218"/>
                  </a:lnTo>
                  <a:lnTo>
                    <a:pt x="90" y="210"/>
                  </a:lnTo>
                  <a:lnTo>
                    <a:pt x="92" y="206"/>
                  </a:lnTo>
                  <a:lnTo>
                    <a:pt x="94" y="202"/>
                  </a:lnTo>
                  <a:lnTo>
                    <a:pt x="96" y="198"/>
                  </a:lnTo>
                  <a:lnTo>
                    <a:pt x="98" y="192"/>
                  </a:lnTo>
                  <a:lnTo>
                    <a:pt x="104" y="190"/>
                  </a:lnTo>
                  <a:lnTo>
                    <a:pt x="108" y="188"/>
                  </a:lnTo>
                  <a:lnTo>
                    <a:pt x="112" y="182"/>
                  </a:lnTo>
                  <a:lnTo>
                    <a:pt x="112" y="178"/>
                  </a:lnTo>
                  <a:lnTo>
                    <a:pt x="112" y="174"/>
                  </a:lnTo>
                  <a:lnTo>
                    <a:pt x="110" y="170"/>
                  </a:lnTo>
                  <a:lnTo>
                    <a:pt x="108" y="164"/>
                  </a:lnTo>
                  <a:lnTo>
                    <a:pt x="108" y="158"/>
                  </a:lnTo>
                  <a:lnTo>
                    <a:pt x="108" y="156"/>
                  </a:lnTo>
                  <a:lnTo>
                    <a:pt x="106" y="154"/>
                  </a:lnTo>
                  <a:lnTo>
                    <a:pt x="102" y="152"/>
                  </a:lnTo>
                  <a:lnTo>
                    <a:pt x="94" y="152"/>
                  </a:lnTo>
                  <a:lnTo>
                    <a:pt x="92" y="150"/>
                  </a:lnTo>
                  <a:lnTo>
                    <a:pt x="88" y="140"/>
                  </a:lnTo>
                  <a:lnTo>
                    <a:pt x="86" y="138"/>
                  </a:lnTo>
                  <a:lnTo>
                    <a:pt x="82" y="134"/>
                  </a:lnTo>
                  <a:lnTo>
                    <a:pt x="78" y="120"/>
                  </a:lnTo>
                  <a:lnTo>
                    <a:pt x="78" y="116"/>
                  </a:lnTo>
                  <a:lnTo>
                    <a:pt x="78" y="110"/>
                  </a:lnTo>
                  <a:lnTo>
                    <a:pt x="74" y="100"/>
                  </a:lnTo>
                  <a:lnTo>
                    <a:pt x="76" y="96"/>
                  </a:lnTo>
                  <a:lnTo>
                    <a:pt x="80" y="94"/>
                  </a:lnTo>
                  <a:lnTo>
                    <a:pt x="80" y="90"/>
                  </a:lnTo>
                  <a:lnTo>
                    <a:pt x="78" y="84"/>
                  </a:lnTo>
                  <a:lnTo>
                    <a:pt x="82" y="70"/>
                  </a:lnTo>
                  <a:lnTo>
                    <a:pt x="82" y="68"/>
                  </a:lnTo>
                  <a:lnTo>
                    <a:pt x="84" y="64"/>
                  </a:lnTo>
                  <a:lnTo>
                    <a:pt x="82" y="56"/>
                  </a:lnTo>
                  <a:lnTo>
                    <a:pt x="80" y="42"/>
                  </a:lnTo>
                  <a:lnTo>
                    <a:pt x="78" y="38"/>
                  </a:lnTo>
                  <a:lnTo>
                    <a:pt x="72" y="32"/>
                  </a:lnTo>
                  <a:lnTo>
                    <a:pt x="68" y="30"/>
                  </a:lnTo>
                  <a:lnTo>
                    <a:pt x="62" y="28"/>
                  </a:lnTo>
                  <a:lnTo>
                    <a:pt x="58" y="20"/>
                  </a:lnTo>
                  <a:lnTo>
                    <a:pt x="52" y="10"/>
                  </a:lnTo>
                  <a:lnTo>
                    <a:pt x="50"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 name="Google Shape;4486;p64">
              <a:extLst>
                <a:ext uri="{FF2B5EF4-FFF2-40B4-BE49-F238E27FC236}">
                  <a16:creationId xmlns:a16="http://schemas.microsoft.com/office/drawing/2014/main" id="{11C35679-1012-859E-59AE-89E97747F6FB}"/>
                </a:ext>
              </a:extLst>
            </p:cNvPr>
            <p:cNvSpPr/>
            <p:nvPr/>
          </p:nvSpPr>
          <p:spPr>
            <a:xfrm>
              <a:off x="5634139" y="4408612"/>
              <a:ext cx="103697" cy="81383"/>
            </a:xfrm>
            <a:custGeom>
              <a:avLst/>
              <a:gdLst/>
              <a:ahLst/>
              <a:cxnLst/>
              <a:rect l="l" t="t" r="r" b="b"/>
              <a:pathLst>
                <a:path w="752888" h="590876" extrusionOk="0">
                  <a:moveTo>
                    <a:pt x="357384" y="309732"/>
                  </a:moveTo>
                  <a:lnTo>
                    <a:pt x="366916" y="319264"/>
                  </a:lnTo>
                  <a:lnTo>
                    <a:pt x="371680" y="324028"/>
                  </a:lnTo>
                  <a:lnTo>
                    <a:pt x="371680" y="328792"/>
                  </a:lnTo>
                  <a:lnTo>
                    <a:pt x="352620" y="328792"/>
                  </a:lnTo>
                  <a:lnTo>
                    <a:pt x="347856" y="333560"/>
                  </a:lnTo>
                  <a:lnTo>
                    <a:pt x="338324" y="328792"/>
                  </a:lnTo>
                  <a:lnTo>
                    <a:pt x="324028" y="324028"/>
                  </a:lnTo>
                  <a:lnTo>
                    <a:pt x="333560" y="319264"/>
                  </a:lnTo>
                  <a:close/>
                  <a:moveTo>
                    <a:pt x="166780" y="290672"/>
                  </a:moveTo>
                  <a:lnTo>
                    <a:pt x="171544" y="300204"/>
                  </a:lnTo>
                  <a:lnTo>
                    <a:pt x="166780" y="304968"/>
                  </a:lnTo>
                  <a:lnTo>
                    <a:pt x="162016" y="304968"/>
                  </a:lnTo>
                  <a:lnTo>
                    <a:pt x="162016" y="295436"/>
                  </a:lnTo>
                  <a:close/>
                  <a:moveTo>
                    <a:pt x="290672" y="285908"/>
                  </a:moveTo>
                  <a:lnTo>
                    <a:pt x="295440" y="290672"/>
                  </a:lnTo>
                  <a:lnTo>
                    <a:pt x="290672" y="304968"/>
                  </a:lnTo>
                  <a:lnTo>
                    <a:pt x="285908" y="304968"/>
                  </a:lnTo>
                  <a:lnTo>
                    <a:pt x="276376" y="309732"/>
                  </a:lnTo>
                  <a:lnTo>
                    <a:pt x="266848" y="309732"/>
                  </a:lnTo>
                  <a:lnTo>
                    <a:pt x="257316" y="304968"/>
                  </a:lnTo>
                  <a:lnTo>
                    <a:pt x="276376" y="295436"/>
                  </a:lnTo>
                  <a:lnTo>
                    <a:pt x="281144" y="290672"/>
                  </a:lnTo>
                  <a:close/>
                  <a:moveTo>
                    <a:pt x="438392" y="266848"/>
                  </a:moveTo>
                  <a:lnTo>
                    <a:pt x="443156" y="266848"/>
                  </a:lnTo>
                  <a:lnTo>
                    <a:pt x="447924" y="276376"/>
                  </a:lnTo>
                  <a:lnTo>
                    <a:pt x="452688" y="281140"/>
                  </a:lnTo>
                  <a:lnTo>
                    <a:pt x="447924" y="281140"/>
                  </a:lnTo>
                  <a:lnTo>
                    <a:pt x="438392" y="281140"/>
                  </a:lnTo>
                  <a:lnTo>
                    <a:pt x="433628" y="276376"/>
                  </a:lnTo>
                  <a:close/>
                  <a:moveTo>
                    <a:pt x="705240" y="0"/>
                  </a:moveTo>
                  <a:lnTo>
                    <a:pt x="710004" y="0"/>
                  </a:lnTo>
                  <a:lnTo>
                    <a:pt x="719536" y="0"/>
                  </a:lnTo>
                  <a:lnTo>
                    <a:pt x="719536" y="19060"/>
                  </a:lnTo>
                  <a:lnTo>
                    <a:pt x="719536" y="38122"/>
                  </a:lnTo>
                  <a:lnTo>
                    <a:pt x="719536" y="52416"/>
                  </a:lnTo>
                  <a:lnTo>
                    <a:pt x="714768" y="61946"/>
                  </a:lnTo>
                  <a:lnTo>
                    <a:pt x="724300" y="71476"/>
                  </a:lnTo>
                  <a:lnTo>
                    <a:pt x="733828" y="76242"/>
                  </a:lnTo>
                  <a:lnTo>
                    <a:pt x="738596" y="76242"/>
                  </a:lnTo>
                  <a:lnTo>
                    <a:pt x="738596" y="71476"/>
                  </a:lnTo>
                  <a:lnTo>
                    <a:pt x="752888" y="85772"/>
                  </a:lnTo>
                  <a:lnTo>
                    <a:pt x="752888" y="181074"/>
                  </a:lnTo>
                  <a:lnTo>
                    <a:pt x="752888" y="185840"/>
                  </a:lnTo>
                  <a:lnTo>
                    <a:pt x="748124" y="190606"/>
                  </a:lnTo>
                  <a:lnTo>
                    <a:pt x="743360" y="195370"/>
                  </a:lnTo>
                  <a:lnTo>
                    <a:pt x="733828" y="204900"/>
                  </a:lnTo>
                  <a:lnTo>
                    <a:pt x="724300" y="214430"/>
                  </a:lnTo>
                  <a:lnTo>
                    <a:pt x="719536" y="219196"/>
                  </a:lnTo>
                  <a:lnTo>
                    <a:pt x="710004" y="228726"/>
                  </a:lnTo>
                  <a:lnTo>
                    <a:pt x="705240" y="228726"/>
                  </a:lnTo>
                  <a:lnTo>
                    <a:pt x="695708" y="219196"/>
                  </a:lnTo>
                  <a:lnTo>
                    <a:pt x="690944" y="209666"/>
                  </a:lnTo>
                  <a:lnTo>
                    <a:pt x="690944" y="204900"/>
                  </a:lnTo>
                  <a:lnTo>
                    <a:pt x="695708" y="204900"/>
                  </a:lnTo>
                  <a:lnTo>
                    <a:pt x="695708" y="200136"/>
                  </a:lnTo>
                  <a:lnTo>
                    <a:pt x="695708" y="190606"/>
                  </a:lnTo>
                  <a:lnTo>
                    <a:pt x="686180" y="190606"/>
                  </a:lnTo>
                  <a:lnTo>
                    <a:pt x="681412" y="190606"/>
                  </a:lnTo>
                  <a:lnTo>
                    <a:pt x="671884" y="190606"/>
                  </a:lnTo>
                  <a:lnTo>
                    <a:pt x="667116" y="200136"/>
                  </a:lnTo>
                  <a:lnTo>
                    <a:pt x="662352" y="204900"/>
                  </a:lnTo>
                  <a:lnTo>
                    <a:pt x="662352" y="219196"/>
                  </a:lnTo>
                  <a:lnTo>
                    <a:pt x="662352" y="238256"/>
                  </a:lnTo>
                  <a:lnTo>
                    <a:pt x="662352" y="247786"/>
                  </a:lnTo>
                  <a:lnTo>
                    <a:pt x="657588" y="257316"/>
                  </a:lnTo>
                  <a:lnTo>
                    <a:pt x="657588" y="271612"/>
                  </a:lnTo>
                  <a:lnTo>
                    <a:pt x="662352" y="281142"/>
                  </a:lnTo>
                  <a:lnTo>
                    <a:pt x="662352" y="290672"/>
                  </a:lnTo>
                  <a:lnTo>
                    <a:pt x="662352" y="295438"/>
                  </a:lnTo>
                  <a:lnTo>
                    <a:pt x="657588" y="314498"/>
                  </a:lnTo>
                  <a:lnTo>
                    <a:pt x="662352" y="314498"/>
                  </a:lnTo>
                  <a:lnTo>
                    <a:pt x="681412" y="319264"/>
                  </a:lnTo>
                  <a:lnTo>
                    <a:pt x="690944" y="328794"/>
                  </a:lnTo>
                  <a:lnTo>
                    <a:pt x="690944" y="338324"/>
                  </a:lnTo>
                  <a:lnTo>
                    <a:pt x="690944" y="343090"/>
                  </a:lnTo>
                  <a:lnTo>
                    <a:pt x="676648" y="347854"/>
                  </a:lnTo>
                  <a:lnTo>
                    <a:pt x="657588" y="352620"/>
                  </a:lnTo>
                  <a:lnTo>
                    <a:pt x="648056" y="352620"/>
                  </a:lnTo>
                  <a:lnTo>
                    <a:pt x="624232" y="357384"/>
                  </a:lnTo>
                  <a:lnTo>
                    <a:pt x="609936" y="366914"/>
                  </a:lnTo>
                  <a:lnTo>
                    <a:pt x="614700" y="371680"/>
                  </a:lnTo>
                  <a:lnTo>
                    <a:pt x="619468" y="376446"/>
                  </a:lnTo>
                  <a:lnTo>
                    <a:pt x="619468" y="385976"/>
                  </a:lnTo>
                  <a:lnTo>
                    <a:pt x="619468" y="400270"/>
                  </a:lnTo>
                  <a:lnTo>
                    <a:pt x="609936" y="419332"/>
                  </a:lnTo>
                  <a:lnTo>
                    <a:pt x="605172" y="438392"/>
                  </a:lnTo>
                  <a:lnTo>
                    <a:pt x="590876" y="462218"/>
                  </a:lnTo>
                  <a:lnTo>
                    <a:pt x="581344" y="490808"/>
                  </a:lnTo>
                  <a:lnTo>
                    <a:pt x="567052" y="519400"/>
                  </a:lnTo>
                  <a:lnTo>
                    <a:pt x="567052" y="538460"/>
                  </a:lnTo>
                  <a:lnTo>
                    <a:pt x="567052" y="552754"/>
                  </a:lnTo>
                  <a:lnTo>
                    <a:pt x="567052" y="576580"/>
                  </a:lnTo>
                  <a:lnTo>
                    <a:pt x="557520" y="590876"/>
                  </a:lnTo>
                  <a:lnTo>
                    <a:pt x="552756" y="590876"/>
                  </a:lnTo>
                  <a:lnTo>
                    <a:pt x="543224" y="586110"/>
                  </a:lnTo>
                  <a:lnTo>
                    <a:pt x="538460" y="586110"/>
                  </a:lnTo>
                  <a:lnTo>
                    <a:pt x="524164" y="586110"/>
                  </a:lnTo>
                  <a:lnTo>
                    <a:pt x="505104" y="581346"/>
                  </a:lnTo>
                  <a:lnTo>
                    <a:pt x="481276" y="581346"/>
                  </a:lnTo>
                  <a:lnTo>
                    <a:pt x="457452" y="576580"/>
                  </a:lnTo>
                  <a:lnTo>
                    <a:pt x="424096" y="571816"/>
                  </a:lnTo>
                  <a:lnTo>
                    <a:pt x="390740" y="567050"/>
                  </a:lnTo>
                  <a:lnTo>
                    <a:pt x="357384" y="562286"/>
                  </a:lnTo>
                  <a:lnTo>
                    <a:pt x="319264" y="557520"/>
                  </a:lnTo>
                  <a:lnTo>
                    <a:pt x="285908" y="552754"/>
                  </a:lnTo>
                  <a:lnTo>
                    <a:pt x="257316" y="547990"/>
                  </a:lnTo>
                  <a:lnTo>
                    <a:pt x="228728" y="547990"/>
                  </a:lnTo>
                  <a:lnTo>
                    <a:pt x="204900" y="543224"/>
                  </a:lnTo>
                  <a:lnTo>
                    <a:pt x="185840" y="543224"/>
                  </a:lnTo>
                  <a:lnTo>
                    <a:pt x="171544" y="538460"/>
                  </a:lnTo>
                  <a:lnTo>
                    <a:pt x="166780" y="538460"/>
                  </a:lnTo>
                  <a:lnTo>
                    <a:pt x="157248" y="538460"/>
                  </a:lnTo>
                  <a:lnTo>
                    <a:pt x="147720" y="528930"/>
                  </a:lnTo>
                  <a:lnTo>
                    <a:pt x="138188" y="514634"/>
                  </a:lnTo>
                  <a:lnTo>
                    <a:pt x="133424" y="505104"/>
                  </a:lnTo>
                  <a:lnTo>
                    <a:pt x="114364" y="481278"/>
                  </a:lnTo>
                  <a:lnTo>
                    <a:pt x="104832" y="471748"/>
                  </a:lnTo>
                  <a:lnTo>
                    <a:pt x="95304" y="462218"/>
                  </a:lnTo>
                  <a:lnTo>
                    <a:pt x="90536" y="447922"/>
                  </a:lnTo>
                  <a:lnTo>
                    <a:pt x="61948" y="414566"/>
                  </a:lnTo>
                  <a:lnTo>
                    <a:pt x="52416" y="405036"/>
                  </a:lnTo>
                  <a:lnTo>
                    <a:pt x="47652" y="395506"/>
                  </a:lnTo>
                  <a:lnTo>
                    <a:pt x="38120" y="381210"/>
                  </a:lnTo>
                  <a:lnTo>
                    <a:pt x="19060" y="362150"/>
                  </a:lnTo>
                  <a:lnTo>
                    <a:pt x="9532" y="347854"/>
                  </a:lnTo>
                  <a:lnTo>
                    <a:pt x="4764" y="343090"/>
                  </a:lnTo>
                  <a:lnTo>
                    <a:pt x="4764" y="333560"/>
                  </a:lnTo>
                  <a:lnTo>
                    <a:pt x="0" y="309734"/>
                  </a:lnTo>
                  <a:lnTo>
                    <a:pt x="0" y="304968"/>
                  </a:lnTo>
                  <a:lnTo>
                    <a:pt x="9532" y="295438"/>
                  </a:lnTo>
                  <a:lnTo>
                    <a:pt x="9532" y="304968"/>
                  </a:lnTo>
                  <a:lnTo>
                    <a:pt x="19060" y="314498"/>
                  </a:lnTo>
                  <a:lnTo>
                    <a:pt x="28592" y="309734"/>
                  </a:lnTo>
                  <a:lnTo>
                    <a:pt x="33356" y="309734"/>
                  </a:lnTo>
                  <a:lnTo>
                    <a:pt x="38120" y="343090"/>
                  </a:lnTo>
                  <a:lnTo>
                    <a:pt x="42888" y="352620"/>
                  </a:lnTo>
                  <a:lnTo>
                    <a:pt x="57180" y="357384"/>
                  </a:lnTo>
                  <a:lnTo>
                    <a:pt x="85772" y="357384"/>
                  </a:lnTo>
                  <a:lnTo>
                    <a:pt x="109596" y="357384"/>
                  </a:lnTo>
                  <a:lnTo>
                    <a:pt x="147720" y="333560"/>
                  </a:lnTo>
                  <a:lnTo>
                    <a:pt x="171544" y="328794"/>
                  </a:lnTo>
                  <a:lnTo>
                    <a:pt x="228728" y="328794"/>
                  </a:lnTo>
                  <a:lnTo>
                    <a:pt x="276376" y="338324"/>
                  </a:lnTo>
                  <a:lnTo>
                    <a:pt x="352620" y="343090"/>
                  </a:lnTo>
                  <a:lnTo>
                    <a:pt x="366916" y="343090"/>
                  </a:lnTo>
                  <a:lnTo>
                    <a:pt x="405036" y="324028"/>
                  </a:lnTo>
                  <a:lnTo>
                    <a:pt x="428860" y="309734"/>
                  </a:lnTo>
                  <a:lnTo>
                    <a:pt x="443156" y="309734"/>
                  </a:lnTo>
                  <a:lnTo>
                    <a:pt x="452688" y="295438"/>
                  </a:lnTo>
                  <a:lnTo>
                    <a:pt x="457452" y="276378"/>
                  </a:lnTo>
                  <a:lnTo>
                    <a:pt x="466984" y="262082"/>
                  </a:lnTo>
                  <a:lnTo>
                    <a:pt x="471748" y="257316"/>
                  </a:lnTo>
                  <a:lnTo>
                    <a:pt x="481276" y="247786"/>
                  </a:lnTo>
                  <a:lnTo>
                    <a:pt x="486044" y="233492"/>
                  </a:lnTo>
                  <a:lnTo>
                    <a:pt x="500340" y="214430"/>
                  </a:lnTo>
                  <a:lnTo>
                    <a:pt x="552756" y="176310"/>
                  </a:lnTo>
                  <a:lnTo>
                    <a:pt x="586112" y="142954"/>
                  </a:lnTo>
                  <a:lnTo>
                    <a:pt x="586112" y="133424"/>
                  </a:lnTo>
                  <a:lnTo>
                    <a:pt x="605172" y="114364"/>
                  </a:lnTo>
                  <a:lnTo>
                    <a:pt x="619468" y="95302"/>
                  </a:lnTo>
                  <a:lnTo>
                    <a:pt x="686180" y="47652"/>
                  </a:lnTo>
                  <a:lnTo>
                    <a:pt x="695708" y="2382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0" name="Google Shape;4487;p64">
              <a:extLst>
                <a:ext uri="{FF2B5EF4-FFF2-40B4-BE49-F238E27FC236}">
                  <a16:creationId xmlns:a16="http://schemas.microsoft.com/office/drawing/2014/main" id="{3F7868D4-6392-AC80-15BF-51017474446B}"/>
                </a:ext>
              </a:extLst>
            </p:cNvPr>
            <p:cNvSpPr/>
            <p:nvPr/>
          </p:nvSpPr>
          <p:spPr>
            <a:xfrm>
              <a:off x="2941936" y="5470201"/>
              <a:ext cx="428573" cy="943124"/>
            </a:xfrm>
            <a:custGeom>
              <a:avLst/>
              <a:gdLst/>
              <a:ahLst/>
              <a:cxnLst/>
              <a:rect l="l" t="t" r="r" b="b"/>
              <a:pathLst>
                <a:path w="3111628" h="6847488" extrusionOk="0">
                  <a:moveTo>
                    <a:pt x="1410476" y="6761716"/>
                  </a:moveTo>
                  <a:lnTo>
                    <a:pt x="1429536" y="6766480"/>
                  </a:lnTo>
                  <a:lnTo>
                    <a:pt x="1462892" y="6761716"/>
                  </a:lnTo>
                  <a:lnTo>
                    <a:pt x="1481952" y="6761716"/>
                  </a:lnTo>
                  <a:lnTo>
                    <a:pt x="1486720" y="6766480"/>
                  </a:lnTo>
                  <a:lnTo>
                    <a:pt x="1491484" y="6766480"/>
                  </a:lnTo>
                  <a:lnTo>
                    <a:pt x="1515308" y="6761716"/>
                  </a:lnTo>
                  <a:lnTo>
                    <a:pt x="1524840" y="6761716"/>
                  </a:lnTo>
                  <a:lnTo>
                    <a:pt x="1524840" y="6776012"/>
                  </a:lnTo>
                  <a:lnTo>
                    <a:pt x="1501016" y="6785540"/>
                  </a:lnTo>
                  <a:lnTo>
                    <a:pt x="1491484" y="6780776"/>
                  </a:lnTo>
                  <a:lnTo>
                    <a:pt x="1448596" y="6780776"/>
                  </a:lnTo>
                  <a:lnTo>
                    <a:pt x="1424772" y="6795072"/>
                  </a:lnTo>
                  <a:lnTo>
                    <a:pt x="1420008" y="6795072"/>
                  </a:lnTo>
                  <a:lnTo>
                    <a:pt x="1396180" y="6809368"/>
                  </a:lnTo>
                  <a:lnTo>
                    <a:pt x="1381888" y="6799836"/>
                  </a:lnTo>
                  <a:lnTo>
                    <a:pt x="1377120" y="6790308"/>
                  </a:lnTo>
                  <a:lnTo>
                    <a:pt x="1391416" y="6776012"/>
                  </a:lnTo>
                  <a:lnTo>
                    <a:pt x="1400948" y="6776012"/>
                  </a:lnTo>
                  <a:lnTo>
                    <a:pt x="1405712" y="6771248"/>
                  </a:lnTo>
                  <a:close/>
                  <a:moveTo>
                    <a:pt x="771952" y="6218492"/>
                  </a:moveTo>
                  <a:lnTo>
                    <a:pt x="781480" y="6228024"/>
                  </a:lnTo>
                  <a:lnTo>
                    <a:pt x="819600" y="6280440"/>
                  </a:lnTo>
                  <a:lnTo>
                    <a:pt x="829132" y="6304264"/>
                  </a:lnTo>
                  <a:lnTo>
                    <a:pt x="833896" y="6328088"/>
                  </a:lnTo>
                  <a:lnTo>
                    <a:pt x="819600" y="6313796"/>
                  </a:lnTo>
                  <a:lnTo>
                    <a:pt x="805304" y="6318560"/>
                  </a:lnTo>
                  <a:lnTo>
                    <a:pt x="795776" y="6337620"/>
                  </a:lnTo>
                  <a:lnTo>
                    <a:pt x="791012" y="6351916"/>
                  </a:lnTo>
                  <a:lnTo>
                    <a:pt x="791012" y="6361444"/>
                  </a:lnTo>
                  <a:lnTo>
                    <a:pt x="795776" y="6375740"/>
                  </a:lnTo>
                  <a:lnTo>
                    <a:pt x="810072" y="6385272"/>
                  </a:lnTo>
                  <a:lnTo>
                    <a:pt x="848192" y="6385272"/>
                  </a:lnTo>
                  <a:lnTo>
                    <a:pt x="848192" y="6390036"/>
                  </a:lnTo>
                  <a:lnTo>
                    <a:pt x="872016" y="6451984"/>
                  </a:lnTo>
                  <a:lnTo>
                    <a:pt x="881548" y="6466280"/>
                  </a:lnTo>
                  <a:lnTo>
                    <a:pt x="895844" y="6480576"/>
                  </a:lnTo>
                  <a:lnTo>
                    <a:pt x="924436" y="6513928"/>
                  </a:lnTo>
                  <a:lnTo>
                    <a:pt x="948260" y="6547284"/>
                  </a:lnTo>
                  <a:lnTo>
                    <a:pt x="981616" y="6580640"/>
                  </a:lnTo>
                  <a:lnTo>
                    <a:pt x="1019736" y="6609232"/>
                  </a:lnTo>
                  <a:lnTo>
                    <a:pt x="1048328" y="6628292"/>
                  </a:lnTo>
                  <a:lnTo>
                    <a:pt x="1081684" y="6652120"/>
                  </a:lnTo>
                  <a:lnTo>
                    <a:pt x="1110276" y="6685476"/>
                  </a:lnTo>
                  <a:lnTo>
                    <a:pt x="1148396" y="6709300"/>
                  </a:lnTo>
                  <a:lnTo>
                    <a:pt x="1186516" y="6728360"/>
                  </a:lnTo>
                  <a:lnTo>
                    <a:pt x="1224636" y="6742656"/>
                  </a:lnTo>
                  <a:lnTo>
                    <a:pt x="1281820" y="6737892"/>
                  </a:lnTo>
                  <a:lnTo>
                    <a:pt x="1300880" y="6737892"/>
                  </a:lnTo>
                  <a:lnTo>
                    <a:pt x="1315176" y="6752188"/>
                  </a:lnTo>
                  <a:lnTo>
                    <a:pt x="1300880" y="6780776"/>
                  </a:lnTo>
                  <a:lnTo>
                    <a:pt x="1286584" y="6804604"/>
                  </a:lnTo>
                  <a:lnTo>
                    <a:pt x="1267524" y="6814132"/>
                  </a:lnTo>
                  <a:lnTo>
                    <a:pt x="1248464" y="6818900"/>
                  </a:lnTo>
                  <a:lnTo>
                    <a:pt x="1229404" y="6818900"/>
                  </a:lnTo>
                  <a:lnTo>
                    <a:pt x="1210344" y="6814132"/>
                  </a:lnTo>
                  <a:lnTo>
                    <a:pt x="1191280" y="6814132"/>
                  </a:lnTo>
                  <a:lnTo>
                    <a:pt x="1176988" y="6828428"/>
                  </a:lnTo>
                  <a:lnTo>
                    <a:pt x="1157924" y="6833192"/>
                  </a:lnTo>
                  <a:lnTo>
                    <a:pt x="1138864" y="6833192"/>
                  </a:lnTo>
                  <a:lnTo>
                    <a:pt x="1124568" y="6842724"/>
                  </a:lnTo>
                  <a:lnTo>
                    <a:pt x="1105508" y="6847488"/>
                  </a:lnTo>
                  <a:lnTo>
                    <a:pt x="1086448" y="6842724"/>
                  </a:lnTo>
                  <a:lnTo>
                    <a:pt x="1038796" y="6818900"/>
                  </a:lnTo>
                  <a:lnTo>
                    <a:pt x="1010208" y="6809368"/>
                  </a:lnTo>
                  <a:lnTo>
                    <a:pt x="905372" y="6804604"/>
                  </a:lnTo>
                  <a:lnTo>
                    <a:pt x="872016" y="6795072"/>
                  </a:lnTo>
                  <a:lnTo>
                    <a:pt x="838660" y="6790308"/>
                  </a:lnTo>
                  <a:lnTo>
                    <a:pt x="819600" y="6790308"/>
                  </a:lnTo>
                  <a:lnTo>
                    <a:pt x="795776" y="6795072"/>
                  </a:lnTo>
                  <a:lnTo>
                    <a:pt x="776716" y="6790308"/>
                  </a:lnTo>
                  <a:lnTo>
                    <a:pt x="771952" y="6799836"/>
                  </a:lnTo>
                  <a:lnTo>
                    <a:pt x="771952" y="6737892"/>
                  </a:lnTo>
                  <a:lnTo>
                    <a:pt x="771952" y="6656884"/>
                  </a:lnTo>
                  <a:lnTo>
                    <a:pt x="771952" y="6585408"/>
                  </a:lnTo>
                  <a:lnTo>
                    <a:pt x="771952" y="6513928"/>
                  </a:lnTo>
                  <a:lnTo>
                    <a:pt x="771952" y="6370976"/>
                  </a:lnTo>
                  <a:lnTo>
                    <a:pt x="771952" y="6294736"/>
                  </a:lnTo>
                  <a:close/>
                  <a:moveTo>
                    <a:pt x="1796452" y="3149752"/>
                  </a:moveTo>
                  <a:lnTo>
                    <a:pt x="1815514" y="3154516"/>
                  </a:lnTo>
                  <a:lnTo>
                    <a:pt x="1825044" y="3159280"/>
                  </a:lnTo>
                  <a:lnTo>
                    <a:pt x="1829808" y="3168812"/>
                  </a:lnTo>
                  <a:lnTo>
                    <a:pt x="1829808" y="3183104"/>
                  </a:lnTo>
                  <a:lnTo>
                    <a:pt x="1825044" y="3178340"/>
                  </a:lnTo>
                  <a:lnTo>
                    <a:pt x="1801218" y="3168812"/>
                  </a:lnTo>
                  <a:lnTo>
                    <a:pt x="1796452" y="3154516"/>
                  </a:lnTo>
                  <a:close/>
                  <a:moveTo>
                    <a:pt x="1148396" y="0"/>
                  </a:moveTo>
                  <a:lnTo>
                    <a:pt x="1157924" y="0"/>
                  </a:lnTo>
                  <a:lnTo>
                    <a:pt x="1167456" y="4764"/>
                  </a:lnTo>
                  <a:lnTo>
                    <a:pt x="1176984" y="14296"/>
                  </a:lnTo>
                  <a:lnTo>
                    <a:pt x="1205576" y="38120"/>
                  </a:lnTo>
                  <a:lnTo>
                    <a:pt x="1219872" y="47652"/>
                  </a:lnTo>
                  <a:lnTo>
                    <a:pt x="1234168" y="52416"/>
                  </a:lnTo>
                  <a:lnTo>
                    <a:pt x="1257992" y="47652"/>
                  </a:lnTo>
                  <a:lnTo>
                    <a:pt x="1267524" y="47652"/>
                  </a:lnTo>
                  <a:lnTo>
                    <a:pt x="1334236" y="47652"/>
                  </a:lnTo>
                  <a:lnTo>
                    <a:pt x="1343764" y="52416"/>
                  </a:lnTo>
                  <a:lnTo>
                    <a:pt x="1367592" y="57180"/>
                  </a:lnTo>
                  <a:lnTo>
                    <a:pt x="1377120" y="61948"/>
                  </a:lnTo>
                  <a:lnTo>
                    <a:pt x="1386652" y="61948"/>
                  </a:lnTo>
                  <a:lnTo>
                    <a:pt x="1400948" y="71476"/>
                  </a:lnTo>
                  <a:lnTo>
                    <a:pt x="1415240" y="95304"/>
                  </a:lnTo>
                  <a:lnTo>
                    <a:pt x="1424772" y="114364"/>
                  </a:lnTo>
                  <a:lnTo>
                    <a:pt x="1429536" y="133424"/>
                  </a:lnTo>
                  <a:lnTo>
                    <a:pt x="1439068" y="162016"/>
                  </a:lnTo>
                  <a:lnTo>
                    <a:pt x="1443832" y="171544"/>
                  </a:lnTo>
                  <a:lnTo>
                    <a:pt x="1448596" y="166780"/>
                  </a:lnTo>
                  <a:lnTo>
                    <a:pt x="1453364" y="133424"/>
                  </a:lnTo>
                  <a:lnTo>
                    <a:pt x="1462892" y="114364"/>
                  </a:lnTo>
                  <a:lnTo>
                    <a:pt x="1477188" y="95304"/>
                  </a:lnTo>
                  <a:lnTo>
                    <a:pt x="1501016" y="42888"/>
                  </a:lnTo>
                  <a:lnTo>
                    <a:pt x="1510544" y="38120"/>
                  </a:lnTo>
                  <a:lnTo>
                    <a:pt x="1520076" y="33356"/>
                  </a:lnTo>
                  <a:lnTo>
                    <a:pt x="1524840" y="33356"/>
                  </a:lnTo>
                  <a:lnTo>
                    <a:pt x="1534368" y="38120"/>
                  </a:lnTo>
                  <a:lnTo>
                    <a:pt x="1539136" y="38120"/>
                  </a:lnTo>
                  <a:lnTo>
                    <a:pt x="1548664" y="33356"/>
                  </a:lnTo>
                  <a:lnTo>
                    <a:pt x="1610612" y="33356"/>
                  </a:lnTo>
                  <a:lnTo>
                    <a:pt x="1677324" y="33356"/>
                  </a:lnTo>
                  <a:lnTo>
                    <a:pt x="1682088" y="42888"/>
                  </a:lnTo>
                  <a:lnTo>
                    <a:pt x="1691620" y="57180"/>
                  </a:lnTo>
                  <a:lnTo>
                    <a:pt x="1705916" y="71476"/>
                  </a:lnTo>
                  <a:lnTo>
                    <a:pt x="1710680" y="76244"/>
                  </a:lnTo>
                  <a:lnTo>
                    <a:pt x="1710680" y="81008"/>
                  </a:lnTo>
                  <a:lnTo>
                    <a:pt x="1724976" y="90536"/>
                  </a:lnTo>
                  <a:lnTo>
                    <a:pt x="1753564" y="104832"/>
                  </a:lnTo>
                  <a:lnTo>
                    <a:pt x="1777392" y="133424"/>
                  </a:lnTo>
                  <a:lnTo>
                    <a:pt x="1801216" y="181076"/>
                  </a:lnTo>
                  <a:lnTo>
                    <a:pt x="1820276" y="209664"/>
                  </a:lnTo>
                  <a:lnTo>
                    <a:pt x="1839340" y="233492"/>
                  </a:lnTo>
                  <a:lnTo>
                    <a:pt x="1858400" y="247788"/>
                  </a:lnTo>
                  <a:lnTo>
                    <a:pt x="1877460" y="257316"/>
                  </a:lnTo>
                  <a:lnTo>
                    <a:pt x="1886988" y="262084"/>
                  </a:lnTo>
                  <a:lnTo>
                    <a:pt x="1886988" y="266848"/>
                  </a:lnTo>
                  <a:lnTo>
                    <a:pt x="1901284" y="281144"/>
                  </a:lnTo>
                  <a:lnTo>
                    <a:pt x="1934640" y="295436"/>
                  </a:lnTo>
                  <a:lnTo>
                    <a:pt x="1953700" y="314500"/>
                  </a:lnTo>
                  <a:lnTo>
                    <a:pt x="1963232" y="328792"/>
                  </a:lnTo>
                  <a:lnTo>
                    <a:pt x="1991824" y="347856"/>
                  </a:lnTo>
                  <a:lnTo>
                    <a:pt x="2044240" y="366916"/>
                  </a:lnTo>
                  <a:lnTo>
                    <a:pt x="2082360" y="371680"/>
                  </a:lnTo>
                  <a:lnTo>
                    <a:pt x="2106184" y="371680"/>
                  </a:lnTo>
                  <a:lnTo>
                    <a:pt x="2139540" y="385976"/>
                  </a:lnTo>
                  <a:lnTo>
                    <a:pt x="2182428" y="419332"/>
                  </a:lnTo>
                  <a:lnTo>
                    <a:pt x="2211020" y="438392"/>
                  </a:lnTo>
                  <a:lnTo>
                    <a:pt x="2220548" y="447920"/>
                  </a:lnTo>
                  <a:lnTo>
                    <a:pt x="2249140" y="466984"/>
                  </a:lnTo>
                  <a:lnTo>
                    <a:pt x="2320616" y="505104"/>
                  </a:lnTo>
                  <a:lnTo>
                    <a:pt x="2353972" y="514632"/>
                  </a:lnTo>
                  <a:lnTo>
                    <a:pt x="2368268" y="524164"/>
                  </a:lnTo>
                  <a:lnTo>
                    <a:pt x="2377796" y="538460"/>
                  </a:lnTo>
                  <a:lnTo>
                    <a:pt x="2387328" y="538460"/>
                  </a:lnTo>
                  <a:lnTo>
                    <a:pt x="2396860" y="533696"/>
                  </a:lnTo>
                  <a:lnTo>
                    <a:pt x="2411152" y="538460"/>
                  </a:lnTo>
                  <a:lnTo>
                    <a:pt x="2439744" y="552756"/>
                  </a:lnTo>
                  <a:lnTo>
                    <a:pt x="2463568" y="567052"/>
                  </a:lnTo>
                  <a:lnTo>
                    <a:pt x="2492160" y="600408"/>
                  </a:lnTo>
                  <a:lnTo>
                    <a:pt x="2496924" y="614700"/>
                  </a:lnTo>
                  <a:lnTo>
                    <a:pt x="2501692" y="624232"/>
                  </a:lnTo>
                  <a:lnTo>
                    <a:pt x="2501692" y="633760"/>
                  </a:lnTo>
                  <a:lnTo>
                    <a:pt x="2492160" y="648056"/>
                  </a:lnTo>
                  <a:lnTo>
                    <a:pt x="2477864" y="657588"/>
                  </a:lnTo>
                  <a:lnTo>
                    <a:pt x="2473100" y="662352"/>
                  </a:lnTo>
                  <a:lnTo>
                    <a:pt x="2473100" y="667116"/>
                  </a:lnTo>
                  <a:lnTo>
                    <a:pt x="2468336" y="681412"/>
                  </a:lnTo>
                  <a:lnTo>
                    <a:pt x="2454040" y="700472"/>
                  </a:lnTo>
                  <a:lnTo>
                    <a:pt x="2454040" y="710004"/>
                  </a:lnTo>
                  <a:lnTo>
                    <a:pt x="2449276" y="719536"/>
                  </a:lnTo>
                  <a:lnTo>
                    <a:pt x="2444508" y="724300"/>
                  </a:lnTo>
                  <a:lnTo>
                    <a:pt x="2420684" y="738596"/>
                  </a:lnTo>
                  <a:lnTo>
                    <a:pt x="2415920" y="748124"/>
                  </a:lnTo>
                  <a:lnTo>
                    <a:pt x="2415920" y="757656"/>
                  </a:lnTo>
                  <a:lnTo>
                    <a:pt x="2411152" y="762420"/>
                  </a:lnTo>
                  <a:lnTo>
                    <a:pt x="2406388" y="771952"/>
                  </a:lnTo>
                  <a:lnTo>
                    <a:pt x="2401624" y="781480"/>
                  </a:lnTo>
                  <a:lnTo>
                    <a:pt x="2401624" y="800540"/>
                  </a:lnTo>
                  <a:lnTo>
                    <a:pt x="2406388" y="819600"/>
                  </a:lnTo>
                  <a:lnTo>
                    <a:pt x="2406388" y="824368"/>
                  </a:lnTo>
                  <a:lnTo>
                    <a:pt x="2401624" y="829132"/>
                  </a:lnTo>
                  <a:lnTo>
                    <a:pt x="2396860" y="833896"/>
                  </a:lnTo>
                  <a:lnTo>
                    <a:pt x="2396860" y="843428"/>
                  </a:lnTo>
                  <a:lnTo>
                    <a:pt x="2392092" y="852956"/>
                  </a:lnTo>
                  <a:lnTo>
                    <a:pt x="2382564" y="857724"/>
                  </a:lnTo>
                  <a:lnTo>
                    <a:pt x="2382564" y="862488"/>
                  </a:lnTo>
                  <a:lnTo>
                    <a:pt x="2382564" y="867252"/>
                  </a:lnTo>
                  <a:lnTo>
                    <a:pt x="2377796" y="872020"/>
                  </a:lnTo>
                  <a:lnTo>
                    <a:pt x="2368268" y="876784"/>
                  </a:lnTo>
                  <a:lnTo>
                    <a:pt x="2358736" y="886312"/>
                  </a:lnTo>
                  <a:lnTo>
                    <a:pt x="2353972" y="895844"/>
                  </a:lnTo>
                  <a:lnTo>
                    <a:pt x="2349208" y="905376"/>
                  </a:lnTo>
                  <a:lnTo>
                    <a:pt x="2339676" y="914904"/>
                  </a:lnTo>
                  <a:lnTo>
                    <a:pt x="2334912" y="924436"/>
                  </a:lnTo>
                  <a:lnTo>
                    <a:pt x="2339676" y="943496"/>
                  </a:lnTo>
                  <a:lnTo>
                    <a:pt x="2406388" y="938732"/>
                  </a:lnTo>
                  <a:lnTo>
                    <a:pt x="2463568" y="948260"/>
                  </a:lnTo>
                  <a:lnTo>
                    <a:pt x="2530280" y="967320"/>
                  </a:lnTo>
                  <a:lnTo>
                    <a:pt x="2573168" y="972084"/>
                  </a:lnTo>
                  <a:lnTo>
                    <a:pt x="2592228" y="967320"/>
                  </a:lnTo>
                  <a:lnTo>
                    <a:pt x="2611288" y="967320"/>
                  </a:lnTo>
                  <a:lnTo>
                    <a:pt x="2620820" y="976852"/>
                  </a:lnTo>
                  <a:lnTo>
                    <a:pt x="2635116" y="976852"/>
                  </a:lnTo>
                  <a:lnTo>
                    <a:pt x="2654176" y="972084"/>
                  </a:lnTo>
                  <a:lnTo>
                    <a:pt x="2668472" y="976852"/>
                  </a:lnTo>
                  <a:lnTo>
                    <a:pt x="2678000" y="986380"/>
                  </a:lnTo>
                  <a:lnTo>
                    <a:pt x="2687532" y="986380"/>
                  </a:lnTo>
                  <a:lnTo>
                    <a:pt x="2697060" y="967320"/>
                  </a:lnTo>
                  <a:lnTo>
                    <a:pt x="2711356" y="957792"/>
                  </a:lnTo>
                  <a:lnTo>
                    <a:pt x="2720888" y="948260"/>
                  </a:lnTo>
                  <a:lnTo>
                    <a:pt x="2735184" y="943496"/>
                  </a:lnTo>
                  <a:lnTo>
                    <a:pt x="2754244" y="948260"/>
                  </a:lnTo>
                  <a:lnTo>
                    <a:pt x="2768536" y="953024"/>
                  </a:lnTo>
                  <a:lnTo>
                    <a:pt x="2778068" y="962556"/>
                  </a:lnTo>
                  <a:lnTo>
                    <a:pt x="2792364" y="962556"/>
                  </a:lnTo>
                  <a:lnTo>
                    <a:pt x="2801892" y="953024"/>
                  </a:lnTo>
                  <a:lnTo>
                    <a:pt x="2811424" y="943496"/>
                  </a:lnTo>
                  <a:lnTo>
                    <a:pt x="2811424" y="929200"/>
                  </a:lnTo>
                  <a:lnTo>
                    <a:pt x="2816188" y="919668"/>
                  </a:lnTo>
                  <a:lnTo>
                    <a:pt x="2825720" y="910140"/>
                  </a:lnTo>
                  <a:lnTo>
                    <a:pt x="2830484" y="900608"/>
                  </a:lnTo>
                  <a:lnTo>
                    <a:pt x="2835248" y="891080"/>
                  </a:lnTo>
                  <a:lnTo>
                    <a:pt x="2849544" y="886312"/>
                  </a:lnTo>
                  <a:lnTo>
                    <a:pt x="2868604" y="881548"/>
                  </a:lnTo>
                  <a:lnTo>
                    <a:pt x="2882900" y="876784"/>
                  </a:lnTo>
                  <a:lnTo>
                    <a:pt x="2882900" y="872020"/>
                  </a:lnTo>
                  <a:lnTo>
                    <a:pt x="2887668" y="862488"/>
                  </a:lnTo>
                  <a:lnTo>
                    <a:pt x="2901960" y="857724"/>
                  </a:lnTo>
                  <a:lnTo>
                    <a:pt x="2906728" y="848192"/>
                  </a:lnTo>
                  <a:lnTo>
                    <a:pt x="2911492" y="838664"/>
                  </a:lnTo>
                  <a:lnTo>
                    <a:pt x="2921024" y="833896"/>
                  </a:lnTo>
                  <a:lnTo>
                    <a:pt x="2930552" y="829132"/>
                  </a:lnTo>
                  <a:lnTo>
                    <a:pt x="2940084" y="810072"/>
                  </a:lnTo>
                  <a:lnTo>
                    <a:pt x="2954376" y="771952"/>
                  </a:lnTo>
                  <a:lnTo>
                    <a:pt x="2959144" y="719536"/>
                  </a:lnTo>
                  <a:lnTo>
                    <a:pt x="2963908" y="643292"/>
                  </a:lnTo>
                  <a:lnTo>
                    <a:pt x="2973440" y="643292"/>
                  </a:lnTo>
                  <a:lnTo>
                    <a:pt x="2982968" y="648056"/>
                  </a:lnTo>
                  <a:lnTo>
                    <a:pt x="2987732" y="652824"/>
                  </a:lnTo>
                  <a:lnTo>
                    <a:pt x="2997264" y="643292"/>
                  </a:lnTo>
                  <a:lnTo>
                    <a:pt x="3006796" y="643292"/>
                  </a:lnTo>
                  <a:lnTo>
                    <a:pt x="3021088" y="643292"/>
                  </a:lnTo>
                  <a:lnTo>
                    <a:pt x="3025856" y="633760"/>
                  </a:lnTo>
                  <a:lnTo>
                    <a:pt x="3035384" y="633760"/>
                  </a:lnTo>
                  <a:lnTo>
                    <a:pt x="3040152" y="638528"/>
                  </a:lnTo>
                  <a:lnTo>
                    <a:pt x="3044916" y="643292"/>
                  </a:lnTo>
                  <a:lnTo>
                    <a:pt x="3059212" y="643292"/>
                  </a:lnTo>
                  <a:lnTo>
                    <a:pt x="3063976" y="657588"/>
                  </a:lnTo>
                  <a:lnTo>
                    <a:pt x="3078272" y="657588"/>
                  </a:lnTo>
                  <a:lnTo>
                    <a:pt x="3078272" y="671884"/>
                  </a:lnTo>
                  <a:lnTo>
                    <a:pt x="3087800" y="710004"/>
                  </a:lnTo>
                  <a:lnTo>
                    <a:pt x="3097332" y="729064"/>
                  </a:lnTo>
                  <a:lnTo>
                    <a:pt x="3111628" y="757656"/>
                  </a:lnTo>
                  <a:lnTo>
                    <a:pt x="3111628" y="767184"/>
                  </a:lnTo>
                  <a:lnTo>
                    <a:pt x="3102096" y="776716"/>
                  </a:lnTo>
                  <a:lnTo>
                    <a:pt x="3102096" y="795776"/>
                  </a:lnTo>
                  <a:lnTo>
                    <a:pt x="3097332" y="833896"/>
                  </a:lnTo>
                  <a:lnTo>
                    <a:pt x="3097332" y="848192"/>
                  </a:lnTo>
                  <a:lnTo>
                    <a:pt x="3102096" y="857724"/>
                  </a:lnTo>
                  <a:lnTo>
                    <a:pt x="3102096" y="872020"/>
                  </a:lnTo>
                  <a:lnTo>
                    <a:pt x="3097332" y="886312"/>
                  </a:lnTo>
                  <a:lnTo>
                    <a:pt x="3083036" y="910140"/>
                  </a:lnTo>
                  <a:lnTo>
                    <a:pt x="3073508" y="919668"/>
                  </a:lnTo>
                  <a:lnTo>
                    <a:pt x="3068740" y="919668"/>
                  </a:lnTo>
                  <a:lnTo>
                    <a:pt x="3054444" y="933964"/>
                  </a:lnTo>
                  <a:lnTo>
                    <a:pt x="3040152" y="938732"/>
                  </a:lnTo>
                  <a:lnTo>
                    <a:pt x="3035384" y="933964"/>
                  </a:lnTo>
                  <a:lnTo>
                    <a:pt x="3025856" y="943496"/>
                  </a:lnTo>
                  <a:lnTo>
                    <a:pt x="3021088" y="957792"/>
                  </a:lnTo>
                  <a:lnTo>
                    <a:pt x="3006796" y="967320"/>
                  </a:lnTo>
                  <a:lnTo>
                    <a:pt x="2987732" y="967320"/>
                  </a:lnTo>
                  <a:lnTo>
                    <a:pt x="2982968" y="972084"/>
                  </a:lnTo>
                  <a:lnTo>
                    <a:pt x="2973440" y="972084"/>
                  </a:lnTo>
                  <a:lnTo>
                    <a:pt x="2963908" y="976852"/>
                  </a:lnTo>
                  <a:lnTo>
                    <a:pt x="2954376" y="981616"/>
                  </a:lnTo>
                  <a:lnTo>
                    <a:pt x="2944848" y="986380"/>
                  </a:lnTo>
                  <a:lnTo>
                    <a:pt x="2940084" y="986380"/>
                  </a:lnTo>
                  <a:lnTo>
                    <a:pt x="2930552" y="986380"/>
                  </a:lnTo>
                  <a:lnTo>
                    <a:pt x="2921024" y="995912"/>
                  </a:lnTo>
                  <a:lnTo>
                    <a:pt x="2916256" y="1005440"/>
                  </a:lnTo>
                  <a:lnTo>
                    <a:pt x="2916256" y="1014972"/>
                  </a:lnTo>
                  <a:lnTo>
                    <a:pt x="2911492" y="1024504"/>
                  </a:lnTo>
                  <a:lnTo>
                    <a:pt x="2897196" y="1024504"/>
                  </a:lnTo>
                  <a:lnTo>
                    <a:pt x="2892432" y="1029268"/>
                  </a:lnTo>
                  <a:lnTo>
                    <a:pt x="2892432" y="1038796"/>
                  </a:lnTo>
                  <a:lnTo>
                    <a:pt x="2887668" y="1043564"/>
                  </a:lnTo>
                  <a:lnTo>
                    <a:pt x="2863840" y="1048328"/>
                  </a:lnTo>
                  <a:lnTo>
                    <a:pt x="2849544" y="1057860"/>
                  </a:lnTo>
                  <a:lnTo>
                    <a:pt x="2840016" y="1072152"/>
                  </a:lnTo>
                  <a:lnTo>
                    <a:pt x="2830484" y="1081684"/>
                  </a:lnTo>
                  <a:lnTo>
                    <a:pt x="2811424" y="1086448"/>
                  </a:lnTo>
                  <a:lnTo>
                    <a:pt x="2787600" y="1100744"/>
                  </a:lnTo>
                  <a:lnTo>
                    <a:pt x="2787600" y="1110276"/>
                  </a:lnTo>
                  <a:lnTo>
                    <a:pt x="2797128" y="1119804"/>
                  </a:lnTo>
                  <a:lnTo>
                    <a:pt x="2797128" y="1129336"/>
                  </a:lnTo>
                  <a:lnTo>
                    <a:pt x="2797128" y="1134100"/>
                  </a:lnTo>
                  <a:lnTo>
                    <a:pt x="2787600" y="1134100"/>
                  </a:lnTo>
                  <a:lnTo>
                    <a:pt x="2778068" y="1129336"/>
                  </a:lnTo>
                  <a:lnTo>
                    <a:pt x="2768536" y="1129336"/>
                  </a:lnTo>
                  <a:lnTo>
                    <a:pt x="2763772" y="1134100"/>
                  </a:lnTo>
                  <a:lnTo>
                    <a:pt x="2763772" y="1138864"/>
                  </a:lnTo>
                  <a:lnTo>
                    <a:pt x="2763772" y="1143632"/>
                  </a:lnTo>
                  <a:lnTo>
                    <a:pt x="2759008" y="1153160"/>
                  </a:lnTo>
                  <a:lnTo>
                    <a:pt x="2749476" y="1153160"/>
                  </a:lnTo>
                  <a:lnTo>
                    <a:pt x="2744712" y="1157924"/>
                  </a:lnTo>
                  <a:lnTo>
                    <a:pt x="2739948" y="1172220"/>
                  </a:lnTo>
                  <a:lnTo>
                    <a:pt x="2730416" y="1181752"/>
                  </a:lnTo>
                  <a:lnTo>
                    <a:pt x="2711356" y="1196048"/>
                  </a:lnTo>
                  <a:lnTo>
                    <a:pt x="2697060" y="1219872"/>
                  </a:lnTo>
                  <a:lnTo>
                    <a:pt x="2687532" y="1243700"/>
                  </a:lnTo>
                  <a:lnTo>
                    <a:pt x="2673236" y="1262760"/>
                  </a:lnTo>
                  <a:lnTo>
                    <a:pt x="2658940" y="1267524"/>
                  </a:lnTo>
                  <a:lnTo>
                    <a:pt x="2649408" y="1281820"/>
                  </a:lnTo>
                  <a:lnTo>
                    <a:pt x="2639880" y="1296116"/>
                  </a:lnTo>
                  <a:lnTo>
                    <a:pt x="2625584" y="1319940"/>
                  </a:lnTo>
                  <a:lnTo>
                    <a:pt x="2601760" y="1353296"/>
                  </a:lnTo>
                  <a:lnTo>
                    <a:pt x="2577932" y="1372356"/>
                  </a:lnTo>
                  <a:lnTo>
                    <a:pt x="2554108" y="1386652"/>
                  </a:lnTo>
                  <a:lnTo>
                    <a:pt x="2544576" y="1400948"/>
                  </a:lnTo>
                  <a:lnTo>
                    <a:pt x="2539812" y="1415244"/>
                  </a:lnTo>
                  <a:lnTo>
                    <a:pt x="2525516" y="1429540"/>
                  </a:lnTo>
                  <a:lnTo>
                    <a:pt x="2501692" y="1448600"/>
                  </a:lnTo>
                  <a:lnTo>
                    <a:pt x="2496924" y="1458128"/>
                  </a:lnTo>
                  <a:lnTo>
                    <a:pt x="2492160" y="1467660"/>
                  </a:lnTo>
                  <a:lnTo>
                    <a:pt x="2487396" y="1477188"/>
                  </a:lnTo>
                  <a:lnTo>
                    <a:pt x="2477864" y="1491484"/>
                  </a:lnTo>
                  <a:lnTo>
                    <a:pt x="2458804" y="1515312"/>
                  </a:lnTo>
                  <a:lnTo>
                    <a:pt x="2454040" y="1529604"/>
                  </a:lnTo>
                  <a:lnTo>
                    <a:pt x="2463568" y="1553432"/>
                  </a:lnTo>
                  <a:lnTo>
                    <a:pt x="2463568" y="1582024"/>
                  </a:lnTo>
                  <a:lnTo>
                    <a:pt x="2458804" y="1591552"/>
                  </a:lnTo>
                  <a:lnTo>
                    <a:pt x="2454040" y="1596316"/>
                  </a:lnTo>
                  <a:lnTo>
                    <a:pt x="2449276" y="1601084"/>
                  </a:lnTo>
                  <a:lnTo>
                    <a:pt x="2454040" y="1610612"/>
                  </a:lnTo>
                  <a:lnTo>
                    <a:pt x="2454040" y="1624908"/>
                  </a:lnTo>
                  <a:lnTo>
                    <a:pt x="2449276" y="1639204"/>
                  </a:lnTo>
                  <a:lnTo>
                    <a:pt x="2444508" y="1658264"/>
                  </a:lnTo>
                  <a:lnTo>
                    <a:pt x="2430212" y="1682088"/>
                  </a:lnTo>
                  <a:lnTo>
                    <a:pt x="2425448" y="1696384"/>
                  </a:lnTo>
                  <a:lnTo>
                    <a:pt x="2434980" y="1701152"/>
                  </a:lnTo>
                  <a:lnTo>
                    <a:pt x="2434980" y="1710680"/>
                  </a:lnTo>
                  <a:lnTo>
                    <a:pt x="2434980" y="1720212"/>
                  </a:lnTo>
                  <a:lnTo>
                    <a:pt x="2434980" y="1729740"/>
                  </a:lnTo>
                  <a:lnTo>
                    <a:pt x="2430212" y="1744036"/>
                  </a:lnTo>
                  <a:lnTo>
                    <a:pt x="2420684" y="1758332"/>
                  </a:lnTo>
                  <a:lnTo>
                    <a:pt x="2406388" y="1763096"/>
                  </a:lnTo>
                  <a:lnTo>
                    <a:pt x="2406388" y="1772628"/>
                  </a:lnTo>
                  <a:lnTo>
                    <a:pt x="2411152" y="1786924"/>
                  </a:lnTo>
                  <a:lnTo>
                    <a:pt x="2411152" y="1796452"/>
                  </a:lnTo>
                  <a:lnTo>
                    <a:pt x="2406388" y="1810748"/>
                  </a:lnTo>
                  <a:lnTo>
                    <a:pt x="2411152" y="1825044"/>
                  </a:lnTo>
                  <a:lnTo>
                    <a:pt x="2415920" y="1834576"/>
                  </a:lnTo>
                  <a:lnTo>
                    <a:pt x="2415920" y="1848868"/>
                  </a:lnTo>
                  <a:lnTo>
                    <a:pt x="2401624" y="1877460"/>
                  </a:lnTo>
                  <a:lnTo>
                    <a:pt x="2401624" y="1891756"/>
                  </a:lnTo>
                  <a:lnTo>
                    <a:pt x="2406388" y="1967996"/>
                  </a:lnTo>
                  <a:lnTo>
                    <a:pt x="2401624" y="1977528"/>
                  </a:lnTo>
                  <a:lnTo>
                    <a:pt x="2396860" y="1987060"/>
                  </a:lnTo>
                  <a:lnTo>
                    <a:pt x="2387328" y="1991824"/>
                  </a:lnTo>
                  <a:lnTo>
                    <a:pt x="2377796" y="1987060"/>
                  </a:lnTo>
                  <a:lnTo>
                    <a:pt x="2368268" y="1996588"/>
                  </a:lnTo>
                  <a:lnTo>
                    <a:pt x="2363504" y="2025180"/>
                  </a:lnTo>
                  <a:lnTo>
                    <a:pt x="2349208" y="2096656"/>
                  </a:lnTo>
                  <a:lnTo>
                    <a:pt x="2353972" y="2115716"/>
                  </a:lnTo>
                  <a:lnTo>
                    <a:pt x="2363504" y="2144308"/>
                  </a:lnTo>
                  <a:lnTo>
                    <a:pt x="2368268" y="2158604"/>
                  </a:lnTo>
                  <a:lnTo>
                    <a:pt x="2373032" y="2172900"/>
                  </a:lnTo>
                  <a:lnTo>
                    <a:pt x="2373032" y="2196724"/>
                  </a:lnTo>
                  <a:lnTo>
                    <a:pt x="2368268" y="2211020"/>
                  </a:lnTo>
                  <a:lnTo>
                    <a:pt x="2358736" y="2211020"/>
                  </a:lnTo>
                  <a:lnTo>
                    <a:pt x="2353972" y="2215784"/>
                  </a:lnTo>
                  <a:lnTo>
                    <a:pt x="2363504" y="2249140"/>
                  </a:lnTo>
                  <a:lnTo>
                    <a:pt x="2368268" y="2263436"/>
                  </a:lnTo>
                  <a:lnTo>
                    <a:pt x="2392092" y="2292028"/>
                  </a:lnTo>
                  <a:lnTo>
                    <a:pt x="2473100" y="2330148"/>
                  </a:lnTo>
                  <a:lnTo>
                    <a:pt x="2506456" y="2353972"/>
                  </a:lnTo>
                  <a:lnTo>
                    <a:pt x="2544576" y="2387328"/>
                  </a:lnTo>
                  <a:lnTo>
                    <a:pt x="2563636" y="2420684"/>
                  </a:lnTo>
                  <a:lnTo>
                    <a:pt x="2568404" y="2449276"/>
                  </a:lnTo>
                  <a:lnTo>
                    <a:pt x="2535048" y="2487396"/>
                  </a:lnTo>
                  <a:lnTo>
                    <a:pt x="2530280" y="2525516"/>
                  </a:lnTo>
                  <a:lnTo>
                    <a:pt x="2539812" y="2549344"/>
                  </a:lnTo>
                  <a:lnTo>
                    <a:pt x="2549344" y="2568404"/>
                  </a:lnTo>
                  <a:lnTo>
                    <a:pt x="2577932" y="2601760"/>
                  </a:lnTo>
                  <a:lnTo>
                    <a:pt x="2601760" y="2611288"/>
                  </a:lnTo>
                  <a:lnTo>
                    <a:pt x="2630348" y="2611288"/>
                  </a:lnTo>
                  <a:lnTo>
                    <a:pt x="2635116" y="2616056"/>
                  </a:lnTo>
                  <a:lnTo>
                    <a:pt x="2639880" y="2625584"/>
                  </a:lnTo>
                  <a:lnTo>
                    <a:pt x="2644644" y="2682768"/>
                  </a:lnTo>
                  <a:lnTo>
                    <a:pt x="2639880" y="2706592"/>
                  </a:lnTo>
                  <a:lnTo>
                    <a:pt x="2635116" y="2730420"/>
                  </a:lnTo>
                  <a:lnTo>
                    <a:pt x="2577932" y="2825720"/>
                  </a:lnTo>
                  <a:lnTo>
                    <a:pt x="2530280" y="2882904"/>
                  </a:lnTo>
                  <a:lnTo>
                    <a:pt x="2511220" y="2916256"/>
                  </a:lnTo>
                  <a:lnTo>
                    <a:pt x="2506456" y="2949612"/>
                  </a:lnTo>
                  <a:lnTo>
                    <a:pt x="2492160" y="2968676"/>
                  </a:lnTo>
                  <a:lnTo>
                    <a:pt x="2406388" y="3021092"/>
                  </a:lnTo>
                  <a:lnTo>
                    <a:pt x="2277728" y="3068744"/>
                  </a:lnTo>
                  <a:lnTo>
                    <a:pt x="2172896" y="3092568"/>
                  </a:lnTo>
                  <a:lnTo>
                    <a:pt x="2149072" y="3102100"/>
                  </a:lnTo>
                  <a:lnTo>
                    <a:pt x="1982292" y="3125924"/>
                  </a:lnTo>
                  <a:lnTo>
                    <a:pt x="1948936" y="3130688"/>
                  </a:lnTo>
                  <a:lnTo>
                    <a:pt x="1906048" y="3130688"/>
                  </a:lnTo>
                  <a:lnTo>
                    <a:pt x="1872696" y="3130688"/>
                  </a:lnTo>
                  <a:lnTo>
                    <a:pt x="1834572" y="3125924"/>
                  </a:lnTo>
                  <a:lnTo>
                    <a:pt x="1801216" y="3116396"/>
                  </a:lnTo>
                  <a:lnTo>
                    <a:pt x="1782156" y="3097332"/>
                  </a:lnTo>
                  <a:lnTo>
                    <a:pt x="1758332" y="3092568"/>
                  </a:lnTo>
                  <a:lnTo>
                    <a:pt x="1748800" y="3102100"/>
                  </a:lnTo>
                  <a:lnTo>
                    <a:pt x="1763096" y="3130688"/>
                  </a:lnTo>
                  <a:lnTo>
                    <a:pt x="1758332" y="3164044"/>
                  </a:lnTo>
                  <a:lnTo>
                    <a:pt x="1763096" y="3183104"/>
                  </a:lnTo>
                  <a:lnTo>
                    <a:pt x="1777392" y="3187872"/>
                  </a:lnTo>
                  <a:lnTo>
                    <a:pt x="1791688" y="3197400"/>
                  </a:lnTo>
                  <a:lnTo>
                    <a:pt x="1801216" y="3206932"/>
                  </a:lnTo>
                  <a:lnTo>
                    <a:pt x="1782156" y="3211696"/>
                  </a:lnTo>
                  <a:lnTo>
                    <a:pt x="1786920" y="3221228"/>
                  </a:lnTo>
                  <a:lnTo>
                    <a:pt x="1796452" y="3225992"/>
                  </a:lnTo>
                  <a:lnTo>
                    <a:pt x="1796452" y="3249816"/>
                  </a:lnTo>
                  <a:lnTo>
                    <a:pt x="1786920" y="3302236"/>
                  </a:lnTo>
                  <a:lnTo>
                    <a:pt x="1767860" y="3311764"/>
                  </a:lnTo>
                  <a:lnTo>
                    <a:pt x="1763096" y="3316528"/>
                  </a:lnTo>
                  <a:lnTo>
                    <a:pt x="1758332" y="3326060"/>
                  </a:lnTo>
                  <a:lnTo>
                    <a:pt x="1748800" y="3378476"/>
                  </a:lnTo>
                  <a:lnTo>
                    <a:pt x="1744036" y="3407068"/>
                  </a:lnTo>
                  <a:lnTo>
                    <a:pt x="1748800" y="3430892"/>
                  </a:lnTo>
                  <a:lnTo>
                    <a:pt x="1772628" y="3473780"/>
                  </a:lnTo>
                  <a:lnTo>
                    <a:pt x="1763096" y="3502368"/>
                  </a:lnTo>
                  <a:lnTo>
                    <a:pt x="1748800" y="3516664"/>
                  </a:lnTo>
                  <a:lnTo>
                    <a:pt x="1686856" y="3550020"/>
                  </a:lnTo>
                  <a:lnTo>
                    <a:pt x="1658264" y="3564316"/>
                  </a:lnTo>
                  <a:lnTo>
                    <a:pt x="1620144" y="3573848"/>
                  </a:lnTo>
                  <a:lnTo>
                    <a:pt x="1558196" y="3573848"/>
                  </a:lnTo>
                  <a:lnTo>
                    <a:pt x="1534368" y="3573848"/>
                  </a:lnTo>
                  <a:lnTo>
                    <a:pt x="1477188" y="3540492"/>
                  </a:lnTo>
                  <a:lnTo>
                    <a:pt x="1439068" y="3526196"/>
                  </a:lnTo>
                  <a:lnTo>
                    <a:pt x="1400948" y="3511900"/>
                  </a:lnTo>
                  <a:lnTo>
                    <a:pt x="1362824" y="3502368"/>
                  </a:lnTo>
                  <a:lnTo>
                    <a:pt x="1367592" y="3497604"/>
                  </a:lnTo>
                  <a:lnTo>
                    <a:pt x="1372356" y="3492840"/>
                  </a:lnTo>
                  <a:lnTo>
                    <a:pt x="1362824" y="3488076"/>
                  </a:lnTo>
                  <a:lnTo>
                    <a:pt x="1353296" y="3483308"/>
                  </a:lnTo>
                  <a:lnTo>
                    <a:pt x="1329468" y="3502368"/>
                  </a:lnTo>
                  <a:lnTo>
                    <a:pt x="1319940" y="3516664"/>
                  </a:lnTo>
                  <a:lnTo>
                    <a:pt x="1315176" y="3530960"/>
                  </a:lnTo>
                  <a:lnTo>
                    <a:pt x="1315176" y="3564316"/>
                  </a:lnTo>
                  <a:lnTo>
                    <a:pt x="1319940" y="3592908"/>
                  </a:lnTo>
                  <a:lnTo>
                    <a:pt x="1339000" y="3659620"/>
                  </a:lnTo>
                  <a:lnTo>
                    <a:pt x="1339000" y="3697740"/>
                  </a:lnTo>
                  <a:lnTo>
                    <a:pt x="1334236" y="3745392"/>
                  </a:lnTo>
                  <a:lnTo>
                    <a:pt x="1343764" y="3769216"/>
                  </a:lnTo>
                  <a:lnTo>
                    <a:pt x="1358060" y="3783512"/>
                  </a:lnTo>
                  <a:lnTo>
                    <a:pt x="1386652" y="3797808"/>
                  </a:lnTo>
                  <a:lnTo>
                    <a:pt x="1400948" y="3807336"/>
                  </a:lnTo>
                  <a:lnTo>
                    <a:pt x="1415240" y="3802572"/>
                  </a:lnTo>
                  <a:lnTo>
                    <a:pt x="1415240" y="3807336"/>
                  </a:lnTo>
                  <a:lnTo>
                    <a:pt x="1415240" y="3812104"/>
                  </a:lnTo>
                  <a:lnTo>
                    <a:pt x="1405712" y="3826400"/>
                  </a:lnTo>
                  <a:lnTo>
                    <a:pt x="1410476" y="3835928"/>
                  </a:lnTo>
                  <a:lnTo>
                    <a:pt x="1429536" y="3840692"/>
                  </a:lnTo>
                  <a:lnTo>
                    <a:pt x="1458128" y="3840692"/>
                  </a:lnTo>
                  <a:lnTo>
                    <a:pt x="1481952" y="3831164"/>
                  </a:lnTo>
                  <a:lnTo>
                    <a:pt x="1486720" y="3826400"/>
                  </a:lnTo>
                  <a:lnTo>
                    <a:pt x="1486720" y="3807336"/>
                  </a:lnTo>
                  <a:lnTo>
                    <a:pt x="1458128" y="3802572"/>
                  </a:lnTo>
                  <a:lnTo>
                    <a:pt x="1462892" y="3797808"/>
                  </a:lnTo>
                  <a:lnTo>
                    <a:pt x="1481952" y="3788276"/>
                  </a:lnTo>
                  <a:lnTo>
                    <a:pt x="1515308" y="3773980"/>
                  </a:lnTo>
                  <a:lnTo>
                    <a:pt x="1529604" y="3773980"/>
                  </a:lnTo>
                  <a:lnTo>
                    <a:pt x="1539136" y="3783512"/>
                  </a:lnTo>
                  <a:lnTo>
                    <a:pt x="1548664" y="3788276"/>
                  </a:lnTo>
                  <a:lnTo>
                    <a:pt x="1553432" y="3807336"/>
                  </a:lnTo>
                  <a:lnTo>
                    <a:pt x="1558196" y="3835928"/>
                  </a:lnTo>
                  <a:lnTo>
                    <a:pt x="1558196" y="3869284"/>
                  </a:lnTo>
                  <a:lnTo>
                    <a:pt x="1558196" y="3897876"/>
                  </a:lnTo>
                  <a:lnTo>
                    <a:pt x="1553432" y="3907404"/>
                  </a:lnTo>
                  <a:lnTo>
                    <a:pt x="1543900" y="3921700"/>
                  </a:lnTo>
                  <a:lnTo>
                    <a:pt x="1491484" y="3935996"/>
                  </a:lnTo>
                  <a:lnTo>
                    <a:pt x="1477188" y="3931232"/>
                  </a:lnTo>
                  <a:lnTo>
                    <a:pt x="1462892" y="3907404"/>
                  </a:lnTo>
                  <a:lnTo>
                    <a:pt x="1458128" y="3888344"/>
                  </a:lnTo>
                  <a:lnTo>
                    <a:pt x="1448596" y="3869284"/>
                  </a:lnTo>
                  <a:lnTo>
                    <a:pt x="1420008" y="3859752"/>
                  </a:lnTo>
                  <a:lnTo>
                    <a:pt x="1396180" y="3864520"/>
                  </a:lnTo>
                  <a:lnTo>
                    <a:pt x="1372356" y="3883580"/>
                  </a:lnTo>
                  <a:lnTo>
                    <a:pt x="1343764" y="3888344"/>
                  </a:lnTo>
                  <a:lnTo>
                    <a:pt x="1339000" y="3912172"/>
                  </a:lnTo>
                  <a:lnTo>
                    <a:pt x="1400948" y="3940760"/>
                  </a:lnTo>
                  <a:lnTo>
                    <a:pt x="1429536" y="3950292"/>
                  </a:lnTo>
                  <a:lnTo>
                    <a:pt x="1439068" y="3950292"/>
                  </a:lnTo>
                  <a:lnTo>
                    <a:pt x="1448596" y="3955056"/>
                  </a:lnTo>
                  <a:lnTo>
                    <a:pt x="1439068" y="3969352"/>
                  </a:lnTo>
                  <a:lnTo>
                    <a:pt x="1429536" y="3974116"/>
                  </a:lnTo>
                  <a:lnTo>
                    <a:pt x="1386652" y="3988412"/>
                  </a:lnTo>
                  <a:lnTo>
                    <a:pt x="1367592" y="4002708"/>
                  </a:lnTo>
                  <a:lnTo>
                    <a:pt x="1343764" y="4026532"/>
                  </a:lnTo>
                  <a:lnTo>
                    <a:pt x="1310408" y="4074184"/>
                  </a:lnTo>
                  <a:lnTo>
                    <a:pt x="1300880" y="4083716"/>
                  </a:lnTo>
                  <a:lnTo>
                    <a:pt x="1296112" y="4098012"/>
                  </a:lnTo>
                  <a:lnTo>
                    <a:pt x="1296112" y="4131368"/>
                  </a:lnTo>
                  <a:lnTo>
                    <a:pt x="1305644" y="4188548"/>
                  </a:lnTo>
                  <a:lnTo>
                    <a:pt x="1291348" y="4212372"/>
                  </a:lnTo>
                  <a:lnTo>
                    <a:pt x="1300880" y="4236200"/>
                  </a:lnTo>
                  <a:lnTo>
                    <a:pt x="1296112" y="4255260"/>
                  </a:lnTo>
                  <a:lnTo>
                    <a:pt x="1286584" y="4279084"/>
                  </a:lnTo>
                  <a:lnTo>
                    <a:pt x="1238932" y="4321972"/>
                  </a:lnTo>
                  <a:lnTo>
                    <a:pt x="1229400" y="4350560"/>
                  </a:lnTo>
                  <a:lnTo>
                    <a:pt x="1248464" y="4369624"/>
                  </a:lnTo>
                  <a:lnTo>
                    <a:pt x="1248464" y="4383920"/>
                  </a:lnTo>
                  <a:lnTo>
                    <a:pt x="1243696" y="4398212"/>
                  </a:lnTo>
                  <a:lnTo>
                    <a:pt x="1224636" y="4398212"/>
                  </a:lnTo>
                  <a:lnTo>
                    <a:pt x="1153160" y="4388684"/>
                  </a:lnTo>
                  <a:lnTo>
                    <a:pt x="1129336" y="4402980"/>
                  </a:lnTo>
                  <a:lnTo>
                    <a:pt x="1105508" y="4422040"/>
                  </a:lnTo>
                  <a:lnTo>
                    <a:pt x="1100744" y="4431568"/>
                  </a:lnTo>
                  <a:lnTo>
                    <a:pt x="1091212" y="4436336"/>
                  </a:lnTo>
                  <a:lnTo>
                    <a:pt x="1048328" y="4445864"/>
                  </a:lnTo>
                  <a:lnTo>
                    <a:pt x="1038796" y="4455396"/>
                  </a:lnTo>
                  <a:lnTo>
                    <a:pt x="986380" y="4522108"/>
                  </a:lnTo>
                  <a:lnTo>
                    <a:pt x="967320" y="4569760"/>
                  </a:lnTo>
                  <a:lnTo>
                    <a:pt x="943496" y="4612644"/>
                  </a:lnTo>
                  <a:lnTo>
                    <a:pt x="933964" y="4631704"/>
                  </a:lnTo>
                  <a:lnTo>
                    <a:pt x="933964" y="4655532"/>
                  </a:lnTo>
                  <a:lnTo>
                    <a:pt x="938728" y="4679356"/>
                  </a:lnTo>
                  <a:lnTo>
                    <a:pt x="938728" y="4698416"/>
                  </a:lnTo>
                  <a:lnTo>
                    <a:pt x="948260" y="4717476"/>
                  </a:lnTo>
                  <a:lnTo>
                    <a:pt x="967320" y="4741304"/>
                  </a:lnTo>
                  <a:lnTo>
                    <a:pt x="1062624" y="4846136"/>
                  </a:lnTo>
                  <a:lnTo>
                    <a:pt x="1081684" y="4855664"/>
                  </a:lnTo>
                  <a:lnTo>
                    <a:pt x="1186516" y="4865196"/>
                  </a:lnTo>
                  <a:lnTo>
                    <a:pt x="1205576" y="4884256"/>
                  </a:lnTo>
                  <a:lnTo>
                    <a:pt x="1219872" y="4903316"/>
                  </a:lnTo>
                  <a:lnTo>
                    <a:pt x="1224636" y="4927144"/>
                  </a:lnTo>
                  <a:lnTo>
                    <a:pt x="1219872" y="4974792"/>
                  </a:lnTo>
                  <a:lnTo>
                    <a:pt x="1215108" y="4993856"/>
                  </a:lnTo>
                  <a:lnTo>
                    <a:pt x="1200812" y="5008148"/>
                  </a:lnTo>
                  <a:lnTo>
                    <a:pt x="1176984" y="5027208"/>
                  </a:lnTo>
                  <a:lnTo>
                    <a:pt x="1148396" y="5036740"/>
                  </a:lnTo>
                  <a:lnTo>
                    <a:pt x="1157924" y="5046272"/>
                  </a:lnTo>
                  <a:lnTo>
                    <a:pt x="1167456" y="5041504"/>
                  </a:lnTo>
                  <a:lnTo>
                    <a:pt x="1196044" y="5036740"/>
                  </a:lnTo>
                  <a:lnTo>
                    <a:pt x="1205576" y="5041504"/>
                  </a:lnTo>
                  <a:lnTo>
                    <a:pt x="1215108" y="5065332"/>
                  </a:lnTo>
                  <a:lnTo>
                    <a:pt x="1200812" y="5070096"/>
                  </a:lnTo>
                  <a:lnTo>
                    <a:pt x="1191280" y="5079628"/>
                  </a:lnTo>
                  <a:lnTo>
                    <a:pt x="1181752" y="5098688"/>
                  </a:lnTo>
                  <a:lnTo>
                    <a:pt x="1124568" y="5155868"/>
                  </a:lnTo>
                  <a:lnTo>
                    <a:pt x="1091212" y="5174928"/>
                  </a:lnTo>
                  <a:lnTo>
                    <a:pt x="1062624" y="5198756"/>
                  </a:lnTo>
                  <a:lnTo>
                    <a:pt x="1024500" y="5222580"/>
                  </a:lnTo>
                  <a:lnTo>
                    <a:pt x="1010204" y="5236876"/>
                  </a:lnTo>
                  <a:lnTo>
                    <a:pt x="986380" y="5270232"/>
                  </a:lnTo>
                  <a:lnTo>
                    <a:pt x="957788" y="5303588"/>
                  </a:lnTo>
                  <a:lnTo>
                    <a:pt x="919668" y="5370300"/>
                  </a:lnTo>
                  <a:lnTo>
                    <a:pt x="919668" y="5384596"/>
                  </a:lnTo>
                  <a:lnTo>
                    <a:pt x="924432" y="5394124"/>
                  </a:lnTo>
                  <a:lnTo>
                    <a:pt x="905372" y="5518020"/>
                  </a:lnTo>
                  <a:lnTo>
                    <a:pt x="900608" y="5532312"/>
                  </a:lnTo>
                  <a:lnTo>
                    <a:pt x="886312" y="5551376"/>
                  </a:lnTo>
                  <a:lnTo>
                    <a:pt x="848192" y="5575200"/>
                  </a:lnTo>
                  <a:lnTo>
                    <a:pt x="833896" y="5579964"/>
                  </a:lnTo>
                  <a:lnTo>
                    <a:pt x="810072" y="5565668"/>
                  </a:lnTo>
                  <a:lnTo>
                    <a:pt x="795776" y="5546608"/>
                  </a:lnTo>
                  <a:lnTo>
                    <a:pt x="786244" y="5522784"/>
                  </a:lnTo>
                  <a:lnTo>
                    <a:pt x="767184" y="5494192"/>
                  </a:lnTo>
                  <a:lnTo>
                    <a:pt x="767184" y="5503724"/>
                  </a:lnTo>
                  <a:lnTo>
                    <a:pt x="771948" y="5518020"/>
                  </a:lnTo>
                  <a:lnTo>
                    <a:pt x="767184" y="5537080"/>
                  </a:lnTo>
                  <a:lnTo>
                    <a:pt x="729064" y="5546608"/>
                  </a:lnTo>
                  <a:lnTo>
                    <a:pt x="719532" y="5556140"/>
                  </a:lnTo>
                  <a:lnTo>
                    <a:pt x="752888" y="5551376"/>
                  </a:lnTo>
                  <a:lnTo>
                    <a:pt x="776716" y="5556140"/>
                  </a:lnTo>
                  <a:lnTo>
                    <a:pt x="791012" y="5560904"/>
                  </a:lnTo>
                  <a:lnTo>
                    <a:pt x="800540" y="5575200"/>
                  </a:lnTo>
                  <a:lnTo>
                    <a:pt x="805304" y="5589496"/>
                  </a:lnTo>
                  <a:lnTo>
                    <a:pt x="800540" y="5599024"/>
                  </a:lnTo>
                  <a:lnTo>
                    <a:pt x="781480" y="5608556"/>
                  </a:lnTo>
                  <a:lnTo>
                    <a:pt x="757656" y="5622852"/>
                  </a:lnTo>
                  <a:lnTo>
                    <a:pt x="724300" y="5646676"/>
                  </a:lnTo>
                  <a:lnTo>
                    <a:pt x="710004" y="5675268"/>
                  </a:lnTo>
                  <a:lnTo>
                    <a:pt x="700472" y="5694328"/>
                  </a:lnTo>
                  <a:lnTo>
                    <a:pt x="695708" y="5737216"/>
                  </a:lnTo>
                  <a:lnTo>
                    <a:pt x="690944" y="5765804"/>
                  </a:lnTo>
                  <a:lnTo>
                    <a:pt x="681412" y="5784864"/>
                  </a:lnTo>
                  <a:lnTo>
                    <a:pt x="662352" y="5803928"/>
                  </a:lnTo>
                  <a:lnTo>
                    <a:pt x="662352" y="5808692"/>
                  </a:lnTo>
                  <a:lnTo>
                    <a:pt x="676648" y="5799160"/>
                  </a:lnTo>
                  <a:lnTo>
                    <a:pt x="686176" y="5799160"/>
                  </a:lnTo>
                  <a:lnTo>
                    <a:pt x="695708" y="5822988"/>
                  </a:lnTo>
                  <a:lnTo>
                    <a:pt x="705236" y="5875404"/>
                  </a:lnTo>
                  <a:lnTo>
                    <a:pt x="710004" y="5908760"/>
                  </a:lnTo>
                  <a:lnTo>
                    <a:pt x="710004" y="5923056"/>
                  </a:lnTo>
                  <a:lnTo>
                    <a:pt x="705236" y="5937348"/>
                  </a:lnTo>
                  <a:lnTo>
                    <a:pt x="681412" y="5937348"/>
                  </a:lnTo>
                  <a:lnTo>
                    <a:pt x="657588" y="5937348"/>
                  </a:lnTo>
                  <a:lnTo>
                    <a:pt x="643292" y="5946880"/>
                  </a:lnTo>
                  <a:lnTo>
                    <a:pt x="652820" y="5951644"/>
                  </a:lnTo>
                  <a:lnTo>
                    <a:pt x="667116" y="5946880"/>
                  </a:lnTo>
                  <a:lnTo>
                    <a:pt x="686176" y="5965940"/>
                  </a:lnTo>
                  <a:lnTo>
                    <a:pt x="710004" y="5956408"/>
                  </a:lnTo>
                  <a:lnTo>
                    <a:pt x="719532" y="5965940"/>
                  </a:lnTo>
                  <a:lnTo>
                    <a:pt x="729064" y="5975472"/>
                  </a:lnTo>
                  <a:lnTo>
                    <a:pt x="767184" y="6051712"/>
                  </a:lnTo>
                  <a:lnTo>
                    <a:pt x="795776" y="6099364"/>
                  </a:lnTo>
                  <a:lnTo>
                    <a:pt x="810072" y="6127956"/>
                  </a:lnTo>
                  <a:lnTo>
                    <a:pt x="800540" y="6142248"/>
                  </a:lnTo>
                  <a:lnTo>
                    <a:pt x="800540" y="6123188"/>
                  </a:lnTo>
                  <a:lnTo>
                    <a:pt x="781480" y="6118424"/>
                  </a:lnTo>
                  <a:lnTo>
                    <a:pt x="762420" y="6113660"/>
                  </a:lnTo>
                  <a:lnTo>
                    <a:pt x="729064" y="6104128"/>
                  </a:lnTo>
                  <a:lnTo>
                    <a:pt x="681412" y="6085068"/>
                  </a:lnTo>
                  <a:lnTo>
                    <a:pt x="638528" y="6085068"/>
                  </a:lnTo>
                  <a:lnTo>
                    <a:pt x="605172" y="6070772"/>
                  </a:lnTo>
                  <a:lnTo>
                    <a:pt x="567048" y="6051712"/>
                  </a:lnTo>
                  <a:lnTo>
                    <a:pt x="486040" y="6051712"/>
                  </a:lnTo>
                  <a:lnTo>
                    <a:pt x="414564" y="6046948"/>
                  </a:lnTo>
                  <a:lnTo>
                    <a:pt x="338324" y="6046948"/>
                  </a:lnTo>
                  <a:lnTo>
                    <a:pt x="290672" y="6046948"/>
                  </a:lnTo>
                  <a:lnTo>
                    <a:pt x="262080" y="6046948"/>
                  </a:lnTo>
                  <a:lnTo>
                    <a:pt x="252552" y="6042184"/>
                  </a:lnTo>
                  <a:lnTo>
                    <a:pt x="257316" y="6018356"/>
                  </a:lnTo>
                  <a:lnTo>
                    <a:pt x="243020" y="6004060"/>
                  </a:lnTo>
                  <a:lnTo>
                    <a:pt x="223960" y="5985000"/>
                  </a:lnTo>
                  <a:lnTo>
                    <a:pt x="204900" y="5970704"/>
                  </a:lnTo>
                  <a:lnTo>
                    <a:pt x="195368" y="5956408"/>
                  </a:lnTo>
                  <a:lnTo>
                    <a:pt x="185840" y="5932584"/>
                  </a:lnTo>
                  <a:lnTo>
                    <a:pt x="190604" y="5918288"/>
                  </a:lnTo>
                  <a:lnTo>
                    <a:pt x="200136" y="5875404"/>
                  </a:lnTo>
                  <a:lnTo>
                    <a:pt x="200136" y="5856344"/>
                  </a:lnTo>
                  <a:lnTo>
                    <a:pt x="190604" y="5842048"/>
                  </a:lnTo>
                  <a:lnTo>
                    <a:pt x="190604" y="5822988"/>
                  </a:lnTo>
                  <a:lnTo>
                    <a:pt x="190604" y="5813456"/>
                  </a:lnTo>
                  <a:lnTo>
                    <a:pt x="200136" y="5808692"/>
                  </a:lnTo>
                  <a:lnTo>
                    <a:pt x="204900" y="5775336"/>
                  </a:lnTo>
                  <a:lnTo>
                    <a:pt x="200136" y="5746744"/>
                  </a:lnTo>
                  <a:lnTo>
                    <a:pt x="195368" y="5718152"/>
                  </a:lnTo>
                  <a:lnTo>
                    <a:pt x="185840" y="5708624"/>
                  </a:lnTo>
                  <a:lnTo>
                    <a:pt x="176308" y="5703860"/>
                  </a:lnTo>
                  <a:lnTo>
                    <a:pt x="166780" y="5699092"/>
                  </a:lnTo>
                  <a:lnTo>
                    <a:pt x="152484" y="5713388"/>
                  </a:lnTo>
                  <a:lnTo>
                    <a:pt x="123892" y="5708624"/>
                  </a:lnTo>
                  <a:lnTo>
                    <a:pt x="114364" y="5713388"/>
                  </a:lnTo>
                  <a:lnTo>
                    <a:pt x="100068" y="5722920"/>
                  </a:lnTo>
                  <a:lnTo>
                    <a:pt x="81008" y="5737216"/>
                  </a:lnTo>
                  <a:lnTo>
                    <a:pt x="66712" y="5732448"/>
                  </a:lnTo>
                  <a:lnTo>
                    <a:pt x="66712" y="5718152"/>
                  </a:lnTo>
                  <a:lnTo>
                    <a:pt x="57180" y="5703860"/>
                  </a:lnTo>
                  <a:lnTo>
                    <a:pt x="52416" y="5689564"/>
                  </a:lnTo>
                  <a:lnTo>
                    <a:pt x="47652" y="5670504"/>
                  </a:lnTo>
                  <a:lnTo>
                    <a:pt x="42884" y="5641912"/>
                  </a:lnTo>
                  <a:lnTo>
                    <a:pt x="33356" y="5608556"/>
                  </a:lnTo>
                  <a:lnTo>
                    <a:pt x="14296" y="5584728"/>
                  </a:lnTo>
                  <a:lnTo>
                    <a:pt x="14296" y="5560904"/>
                  </a:lnTo>
                  <a:lnTo>
                    <a:pt x="9528" y="5532312"/>
                  </a:lnTo>
                  <a:lnTo>
                    <a:pt x="19060" y="5503724"/>
                  </a:lnTo>
                  <a:lnTo>
                    <a:pt x="14296" y="5479896"/>
                  </a:lnTo>
                  <a:lnTo>
                    <a:pt x="0" y="5451308"/>
                  </a:lnTo>
                  <a:lnTo>
                    <a:pt x="4764" y="5422716"/>
                  </a:lnTo>
                  <a:lnTo>
                    <a:pt x="14296" y="5408420"/>
                  </a:lnTo>
                  <a:lnTo>
                    <a:pt x="19060" y="5389360"/>
                  </a:lnTo>
                  <a:lnTo>
                    <a:pt x="71476" y="5384596"/>
                  </a:lnTo>
                  <a:lnTo>
                    <a:pt x="66712" y="5356004"/>
                  </a:lnTo>
                  <a:lnTo>
                    <a:pt x="76240" y="5336944"/>
                  </a:lnTo>
                  <a:lnTo>
                    <a:pt x="85772" y="5317884"/>
                  </a:lnTo>
                  <a:lnTo>
                    <a:pt x="95300" y="5308352"/>
                  </a:lnTo>
                  <a:lnTo>
                    <a:pt x="114364" y="5298824"/>
                  </a:lnTo>
                  <a:lnTo>
                    <a:pt x="133424" y="5289292"/>
                  </a:lnTo>
                  <a:lnTo>
                    <a:pt x="147716" y="5274996"/>
                  </a:lnTo>
                  <a:lnTo>
                    <a:pt x="152484" y="5265468"/>
                  </a:lnTo>
                  <a:lnTo>
                    <a:pt x="157248" y="5246408"/>
                  </a:lnTo>
                  <a:lnTo>
                    <a:pt x="157248" y="5232112"/>
                  </a:lnTo>
                  <a:lnTo>
                    <a:pt x="152484" y="5198756"/>
                  </a:lnTo>
                  <a:lnTo>
                    <a:pt x="157248" y="5189224"/>
                  </a:lnTo>
                  <a:lnTo>
                    <a:pt x="171544" y="5174928"/>
                  </a:lnTo>
                  <a:lnTo>
                    <a:pt x="190604" y="5160632"/>
                  </a:lnTo>
                  <a:lnTo>
                    <a:pt x="200136" y="5132044"/>
                  </a:lnTo>
                  <a:lnTo>
                    <a:pt x="195368" y="5103452"/>
                  </a:lnTo>
                  <a:lnTo>
                    <a:pt x="185840" y="5079628"/>
                  </a:lnTo>
                  <a:lnTo>
                    <a:pt x="166780" y="5070096"/>
                  </a:lnTo>
                  <a:lnTo>
                    <a:pt x="166780" y="5046272"/>
                  </a:lnTo>
                  <a:lnTo>
                    <a:pt x="171544" y="5027208"/>
                  </a:lnTo>
                  <a:lnTo>
                    <a:pt x="181072" y="5003384"/>
                  </a:lnTo>
                  <a:lnTo>
                    <a:pt x="195368" y="4979560"/>
                  </a:lnTo>
                  <a:lnTo>
                    <a:pt x="195368" y="4960500"/>
                  </a:lnTo>
                  <a:lnTo>
                    <a:pt x="204900" y="4946204"/>
                  </a:lnTo>
                  <a:lnTo>
                    <a:pt x="233492" y="4922376"/>
                  </a:lnTo>
                  <a:lnTo>
                    <a:pt x="243020" y="4903316"/>
                  </a:lnTo>
                  <a:lnTo>
                    <a:pt x="252552" y="4893788"/>
                  </a:lnTo>
                  <a:lnTo>
                    <a:pt x="262080" y="4893788"/>
                  </a:lnTo>
                  <a:lnTo>
                    <a:pt x="262080" y="4879492"/>
                  </a:lnTo>
                  <a:lnTo>
                    <a:pt x="257316" y="4865196"/>
                  </a:lnTo>
                  <a:lnTo>
                    <a:pt x="252552" y="4850900"/>
                  </a:lnTo>
                  <a:lnTo>
                    <a:pt x="252552" y="4831840"/>
                  </a:lnTo>
                  <a:lnTo>
                    <a:pt x="257316" y="4808016"/>
                  </a:lnTo>
                  <a:lnTo>
                    <a:pt x="271612" y="4798484"/>
                  </a:lnTo>
                  <a:lnTo>
                    <a:pt x="290672" y="4779424"/>
                  </a:lnTo>
                  <a:lnTo>
                    <a:pt x="295436" y="4765128"/>
                  </a:lnTo>
                  <a:lnTo>
                    <a:pt x="295436" y="4750832"/>
                  </a:lnTo>
                  <a:lnTo>
                    <a:pt x="290672" y="4717476"/>
                  </a:lnTo>
                  <a:lnTo>
                    <a:pt x="285908" y="4688888"/>
                  </a:lnTo>
                  <a:lnTo>
                    <a:pt x="281140" y="4679356"/>
                  </a:lnTo>
                  <a:lnTo>
                    <a:pt x="271612" y="4665060"/>
                  </a:lnTo>
                  <a:lnTo>
                    <a:pt x="266848" y="4655532"/>
                  </a:lnTo>
                  <a:lnTo>
                    <a:pt x="276376" y="4641236"/>
                  </a:lnTo>
                  <a:lnTo>
                    <a:pt x="295436" y="4626940"/>
                  </a:lnTo>
                  <a:lnTo>
                    <a:pt x="304968" y="4607880"/>
                  </a:lnTo>
                  <a:lnTo>
                    <a:pt x="300204" y="4593584"/>
                  </a:lnTo>
                  <a:lnTo>
                    <a:pt x="285908" y="4584052"/>
                  </a:lnTo>
                  <a:lnTo>
                    <a:pt x="281140" y="4555464"/>
                  </a:lnTo>
                  <a:lnTo>
                    <a:pt x="285908" y="4522108"/>
                  </a:lnTo>
                  <a:lnTo>
                    <a:pt x="295436" y="4512576"/>
                  </a:lnTo>
                  <a:lnTo>
                    <a:pt x="324028" y="4507812"/>
                  </a:lnTo>
                  <a:lnTo>
                    <a:pt x="328792" y="4493516"/>
                  </a:lnTo>
                  <a:lnTo>
                    <a:pt x="347852" y="4469692"/>
                  </a:lnTo>
                  <a:lnTo>
                    <a:pt x="347852" y="4445864"/>
                  </a:lnTo>
                  <a:lnTo>
                    <a:pt x="333556" y="4431568"/>
                  </a:lnTo>
                  <a:lnTo>
                    <a:pt x="319264" y="4412508"/>
                  </a:lnTo>
                  <a:lnTo>
                    <a:pt x="309732" y="4393448"/>
                  </a:lnTo>
                  <a:lnTo>
                    <a:pt x="276376" y="4379152"/>
                  </a:lnTo>
                  <a:lnTo>
                    <a:pt x="243020" y="4374388"/>
                  </a:lnTo>
                  <a:lnTo>
                    <a:pt x="238256" y="4355328"/>
                  </a:lnTo>
                  <a:lnTo>
                    <a:pt x="238256" y="4345796"/>
                  </a:lnTo>
                  <a:lnTo>
                    <a:pt x="252552" y="4350560"/>
                  </a:lnTo>
                  <a:lnTo>
                    <a:pt x="281140" y="4345796"/>
                  </a:lnTo>
                  <a:lnTo>
                    <a:pt x="300204" y="4345796"/>
                  </a:lnTo>
                  <a:lnTo>
                    <a:pt x="314496" y="4345796"/>
                  </a:lnTo>
                  <a:lnTo>
                    <a:pt x="333556" y="4341032"/>
                  </a:lnTo>
                  <a:lnTo>
                    <a:pt x="347852" y="4350560"/>
                  </a:lnTo>
                  <a:lnTo>
                    <a:pt x="362148" y="4345796"/>
                  </a:lnTo>
                  <a:lnTo>
                    <a:pt x="366912" y="4317208"/>
                  </a:lnTo>
                  <a:lnTo>
                    <a:pt x="381208" y="4298144"/>
                  </a:lnTo>
                  <a:lnTo>
                    <a:pt x="381208" y="4283852"/>
                  </a:lnTo>
                  <a:lnTo>
                    <a:pt x="371680" y="4274320"/>
                  </a:lnTo>
                  <a:lnTo>
                    <a:pt x="352620" y="4269556"/>
                  </a:lnTo>
                  <a:lnTo>
                    <a:pt x="276376" y="4260024"/>
                  </a:lnTo>
                  <a:lnTo>
                    <a:pt x="271612" y="4250496"/>
                  </a:lnTo>
                  <a:lnTo>
                    <a:pt x="276376" y="4231432"/>
                  </a:lnTo>
                  <a:lnTo>
                    <a:pt x="276376" y="4207608"/>
                  </a:lnTo>
                  <a:lnTo>
                    <a:pt x="276376" y="4198080"/>
                  </a:lnTo>
                  <a:lnTo>
                    <a:pt x="285908" y="4193312"/>
                  </a:lnTo>
                  <a:lnTo>
                    <a:pt x="290672" y="4174252"/>
                  </a:lnTo>
                  <a:lnTo>
                    <a:pt x="300204" y="4159956"/>
                  </a:lnTo>
                  <a:lnTo>
                    <a:pt x="290672" y="4145660"/>
                  </a:lnTo>
                  <a:lnTo>
                    <a:pt x="281140" y="4121836"/>
                  </a:lnTo>
                  <a:lnTo>
                    <a:pt x="290672" y="4112304"/>
                  </a:lnTo>
                  <a:lnTo>
                    <a:pt x="290672" y="4102776"/>
                  </a:lnTo>
                  <a:lnTo>
                    <a:pt x="285908" y="4088480"/>
                  </a:lnTo>
                  <a:lnTo>
                    <a:pt x="276376" y="4074184"/>
                  </a:lnTo>
                  <a:lnTo>
                    <a:pt x="262080" y="4055124"/>
                  </a:lnTo>
                  <a:lnTo>
                    <a:pt x="262080" y="4036064"/>
                  </a:lnTo>
                  <a:lnTo>
                    <a:pt x="276376" y="4031300"/>
                  </a:lnTo>
                  <a:lnTo>
                    <a:pt x="285908" y="4026532"/>
                  </a:lnTo>
                  <a:lnTo>
                    <a:pt x="285908" y="4012240"/>
                  </a:lnTo>
                  <a:lnTo>
                    <a:pt x="281140" y="3997944"/>
                  </a:lnTo>
                  <a:lnTo>
                    <a:pt x="262080" y="3993176"/>
                  </a:lnTo>
                  <a:lnTo>
                    <a:pt x="238256" y="3983648"/>
                  </a:lnTo>
                  <a:lnTo>
                    <a:pt x="233492" y="3974116"/>
                  </a:lnTo>
                  <a:lnTo>
                    <a:pt x="223960" y="3959820"/>
                  </a:lnTo>
                  <a:lnTo>
                    <a:pt x="228724" y="3912172"/>
                  </a:lnTo>
                  <a:lnTo>
                    <a:pt x="228724" y="3888344"/>
                  </a:lnTo>
                  <a:lnTo>
                    <a:pt x="223960" y="3874048"/>
                  </a:lnTo>
                  <a:lnTo>
                    <a:pt x="228724" y="3859752"/>
                  </a:lnTo>
                  <a:lnTo>
                    <a:pt x="238256" y="3850224"/>
                  </a:lnTo>
                  <a:lnTo>
                    <a:pt x="233492" y="3826400"/>
                  </a:lnTo>
                  <a:lnTo>
                    <a:pt x="228724" y="3812104"/>
                  </a:lnTo>
                  <a:lnTo>
                    <a:pt x="228724" y="3802572"/>
                  </a:lnTo>
                  <a:lnTo>
                    <a:pt x="238256" y="3793044"/>
                  </a:lnTo>
                  <a:lnTo>
                    <a:pt x="243020" y="3778748"/>
                  </a:lnTo>
                  <a:lnTo>
                    <a:pt x="247784" y="3778748"/>
                  </a:lnTo>
                  <a:lnTo>
                    <a:pt x="257316" y="3783512"/>
                  </a:lnTo>
                  <a:lnTo>
                    <a:pt x="271612" y="3778748"/>
                  </a:lnTo>
                  <a:lnTo>
                    <a:pt x="285908" y="3769216"/>
                  </a:lnTo>
                  <a:lnTo>
                    <a:pt x="285908" y="3759688"/>
                  </a:lnTo>
                  <a:lnTo>
                    <a:pt x="285908" y="3740624"/>
                  </a:lnTo>
                  <a:lnTo>
                    <a:pt x="271612" y="3702504"/>
                  </a:lnTo>
                  <a:lnTo>
                    <a:pt x="262080" y="3678680"/>
                  </a:lnTo>
                  <a:lnTo>
                    <a:pt x="262080" y="3669148"/>
                  </a:lnTo>
                  <a:lnTo>
                    <a:pt x="266848" y="3659620"/>
                  </a:lnTo>
                  <a:lnTo>
                    <a:pt x="266848" y="3621496"/>
                  </a:lnTo>
                  <a:lnTo>
                    <a:pt x="266848" y="3602436"/>
                  </a:lnTo>
                  <a:lnTo>
                    <a:pt x="266848" y="3540492"/>
                  </a:lnTo>
                  <a:lnTo>
                    <a:pt x="266848" y="3521432"/>
                  </a:lnTo>
                  <a:lnTo>
                    <a:pt x="257316" y="3497604"/>
                  </a:lnTo>
                  <a:lnTo>
                    <a:pt x="257316" y="3478544"/>
                  </a:lnTo>
                  <a:lnTo>
                    <a:pt x="266848" y="3464248"/>
                  </a:lnTo>
                  <a:lnTo>
                    <a:pt x="271612" y="3445188"/>
                  </a:lnTo>
                  <a:lnTo>
                    <a:pt x="276376" y="3426128"/>
                  </a:lnTo>
                  <a:lnTo>
                    <a:pt x="285908" y="3416596"/>
                  </a:lnTo>
                  <a:lnTo>
                    <a:pt x="290672" y="3411832"/>
                  </a:lnTo>
                  <a:lnTo>
                    <a:pt x="295436" y="3402300"/>
                  </a:lnTo>
                  <a:lnTo>
                    <a:pt x="290672" y="3397536"/>
                  </a:lnTo>
                  <a:lnTo>
                    <a:pt x="281140" y="3388008"/>
                  </a:lnTo>
                  <a:lnTo>
                    <a:pt x="276376" y="3373712"/>
                  </a:lnTo>
                  <a:lnTo>
                    <a:pt x="281140" y="3359416"/>
                  </a:lnTo>
                  <a:lnTo>
                    <a:pt x="285908" y="3354652"/>
                  </a:lnTo>
                  <a:lnTo>
                    <a:pt x="295436" y="3354652"/>
                  </a:lnTo>
                  <a:lnTo>
                    <a:pt x="300204" y="3340356"/>
                  </a:lnTo>
                  <a:lnTo>
                    <a:pt x="304968" y="3321296"/>
                  </a:lnTo>
                  <a:lnTo>
                    <a:pt x="304968" y="3311764"/>
                  </a:lnTo>
                  <a:lnTo>
                    <a:pt x="300204" y="3302236"/>
                  </a:lnTo>
                  <a:lnTo>
                    <a:pt x="295436" y="3278408"/>
                  </a:lnTo>
                  <a:lnTo>
                    <a:pt x="290672" y="3264112"/>
                  </a:lnTo>
                  <a:lnTo>
                    <a:pt x="295436" y="3254584"/>
                  </a:lnTo>
                  <a:lnTo>
                    <a:pt x="300204" y="3254584"/>
                  </a:lnTo>
                  <a:lnTo>
                    <a:pt x="314496" y="3259348"/>
                  </a:lnTo>
                  <a:lnTo>
                    <a:pt x="319264" y="3254584"/>
                  </a:lnTo>
                  <a:lnTo>
                    <a:pt x="319264" y="3245052"/>
                  </a:lnTo>
                  <a:lnTo>
                    <a:pt x="324028" y="3240288"/>
                  </a:lnTo>
                  <a:lnTo>
                    <a:pt x="324028" y="3230756"/>
                  </a:lnTo>
                  <a:lnTo>
                    <a:pt x="328792" y="3216464"/>
                  </a:lnTo>
                  <a:lnTo>
                    <a:pt x="338324" y="3192636"/>
                  </a:lnTo>
                  <a:lnTo>
                    <a:pt x="338324" y="3173576"/>
                  </a:lnTo>
                  <a:lnTo>
                    <a:pt x="338324" y="3130688"/>
                  </a:lnTo>
                  <a:lnTo>
                    <a:pt x="343088" y="3121160"/>
                  </a:lnTo>
                  <a:lnTo>
                    <a:pt x="347852" y="3111628"/>
                  </a:lnTo>
                  <a:lnTo>
                    <a:pt x="357384" y="3102100"/>
                  </a:lnTo>
                  <a:lnTo>
                    <a:pt x="371680" y="3097332"/>
                  </a:lnTo>
                  <a:lnTo>
                    <a:pt x="390740" y="3083040"/>
                  </a:lnTo>
                  <a:lnTo>
                    <a:pt x="409800" y="3083040"/>
                  </a:lnTo>
                  <a:lnTo>
                    <a:pt x="419332" y="3068744"/>
                  </a:lnTo>
                  <a:lnTo>
                    <a:pt x="424096" y="3054448"/>
                  </a:lnTo>
                  <a:lnTo>
                    <a:pt x="428860" y="3040152"/>
                  </a:lnTo>
                  <a:lnTo>
                    <a:pt x="419332" y="3030624"/>
                  </a:lnTo>
                  <a:lnTo>
                    <a:pt x="409800" y="3021092"/>
                  </a:lnTo>
                  <a:lnTo>
                    <a:pt x="405036" y="2997264"/>
                  </a:lnTo>
                  <a:lnTo>
                    <a:pt x="400268" y="2973440"/>
                  </a:lnTo>
                  <a:lnTo>
                    <a:pt x="400268" y="2940084"/>
                  </a:lnTo>
                  <a:lnTo>
                    <a:pt x="390740" y="2916256"/>
                  </a:lnTo>
                  <a:lnTo>
                    <a:pt x="376444" y="2887668"/>
                  </a:lnTo>
                  <a:lnTo>
                    <a:pt x="376444" y="2859076"/>
                  </a:lnTo>
                  <a:lnTo>
                    <a:pt x="376444" y="2844780"/>
                  </a:lnTo>
                  <a:lnTo>
                    <a:pt x="381208" y="2825720"/>
                  </a:lnTo>
                  <a:lnTo>
                    <a:pt x="376444" y="2816192"/>
                  </a:lnTo>
                  <a:lnTo>
                    <a:pt x="371680" y="2797128"/>
                  </a:lnTo>
                  <a:lnTo>
                    <a:pt x="376444" y="2782836"/>
                  </a:lnTo>
                  <a:lnTo>
                    <a:pt x="385976" y="2759008"/>
                  </a:lnTo>
                  <a:lnTo>
                    <a:pt x="385976" y="2749480"/>
                  </a:lnTo>
                  <a:lnTo>
                    <a:pt x="381208" y="2720888"/>
                  </a:lnTo>
                  <a:lnTo>
                    <a:pt x="376444" y="2706592"/>
                  </a:lnTo>
                  <a:lnTo>
                    <a:pt x="381208" y="2692296"/>
                  </a:lnTo>
                  <a:lnTo>
                    <a:pt x="385976" y="2673236"/>
                  </a:lnTo>
                  <a:lnTo>
                    <a:pt x="395504" y="2668472"/>
                  </a:lnTo>
                  <a:lnTo>
                    <a:pt x="390740" y="2654176"/>
                  </a:lnTo>
                  <a:lnTo>
                    <a:pt x="395504" y="2644644"/>
                  </a:lnTo>
                  <a:lnTo>
                    <a:pt x="405036" y="2635116"/>
                  </a:lnTo>
                  <a:lnTo>
                    <a:pt x="419332" y="2625584"/>
                  </a:lnTo>
                  <a:lnTo>
                    <a:pt x="428860" y="2620820"/>
                  </a:lnTo>
                  <a:lnTo>
                    <a:pt x="438392" y="2620820"/>
                  </a:lnTo>
                  <a:lnTo>
                    <a:pt x="443156" y="2620820"/>
                  </a:lnTo>
                  <a:lnTo>
                    <a:pt x="443156" y="2606524"/>
                  </a:lnTo>
                  <a:lnTo>
                    <a:pt x="447920" y="2596996"/>
                  </a:lnTo>
                  <a:lnTo>
                    <a:pt x="462216" y="2582700"/>
                  </a:lnTo>
                  <a:lnTo>
                    <a:pt x="471748" y="2568404"/>
                  </a:lnTo>
                  <a:lnTo>
                    <a:pt x="490808" y="2568404"/>
                  </a:lnTo>
                  <a:lnTo>
                    <a:pt x="495572" y="2554108"/>
                  </a:lnTo>
                  <a:lnTo>
                    <a:pt x="495572" y="2535048"/>
                  </a:lnTo>
                  <a:lnTo>
                    <a:pt x="495572" y="2520752"/>
                  </a:lnTo>
                  <a:lnTo>
                    <a:pt x="500336" y="2496928"/>
                  </a:lnTo>
                  <a:lnTo>
                    <a:pt x="495572" y="2468336"/>
                  </a:lnTo>
                  <a:lnTo>
                    <a:pt x="495572" y="2449276"/>
                  </a:lnTo>
                  <a:lnTo>
                    <a:pt x="490808" y="2439744"/>
                  </a:lnTo>
                  <a:lnTo>
                    <a:pt x="490808" y="2420684"/>
                  </a:lnTo>
                  <a:lnTo>
                    <a:pt x="486040" y="2411156"/>
                  </a:lnTo>
                  <a:lnTo>
                    <a:pt x="476512" y="2411156"/>
                  </a:lnTo>
                  <a:lnTo>
                    <a:pt x="471748" y="2396860"/>
                  </a:lnTo>
                  <a:lnTo>
                    <a:pt x="476512" y="2392092"/>
                  </a:lnTo>
                  <a:lnTo>
                    <a:pt x="486040" y="2387328"/>
                  </a:lnTo>
                  <a:lnTo>
                    <a:pt x="500336" y="2377800"/>
                  </a:lnTo>
                  <a:lnTo>
                    <a:pt x="509868" y="2334912"/>
                  </a:lnTo>
                  <a:lnTo>
                    <a:pt x="509868" y="2325384"/>
                  </a:lnTo>
                  <a:lnTo>
                    <a:pt x="514632" y="2306320"/>
                  </a:lnTo>
                  <a:lnTo>
                    <a:pt x="514632" y="2301556"/>
                  </a:lnTo>
                  <a:lnTo>
                    <a:pt x="519396" y="2287260"/>
                  </a:lnTo>
                  <a:lnTo>
                    <a:pt x="528928" y="2272964"/>
                  </a:lnTo>
                  <a:lnTo>
                    <a:pt x="538460" y="2253904"/>
                  </a:lnTo>
                  <a:lnTo>
                    <a:pt x="543224" y="2244376"/>
                  </a:lnTo>
                  <a:lnTo>
                    <a:pt x="552752" y="2225316"/>
                  </a:lnTo>
                  <a:lnTo>
                    <a:pt x="552752" y="2215784"/>
                  </a:lnTo>
                  <a:lnTo>
                    <a:pt x="557520" y="2211020"/>
                  </a:lnTo>
                  <a:lnTo>
                    <a:pt x="567048" y="2211020"/>
                  </a:lnTo>
                  <a:lnTo>
                    <a:pt x="576580" y="2211020"/>
                  </a:lnTo>
                  <a:lnTo>
                    <a:pt x="581344" y="2201488"/>
                  </a:lnTo>
                  <a:lnTo>
                    <a:pt x="581344" y="2196724"/>
                  </a:lnTo>
                  <a:lnTo>
                    <a:pt x="581344" y="2177664"/>
                  </a:lnTo>
                  <a:lnTo>
                    <a:pt x="576580" y="2149072"/>
                  </a:lnTo>
                  <a:lnTo>
                    <a:pt x="576580" y="2110952"/>
                  </a:lnTo>
                  <a:lnTo>
                    <a:pt x="576580" y="2087124"/>
                  </a:lnTo>
                  <a:lnTo>
                    <a:pt x="586108" y="2063300"/>
                  </a:lnTo>
                  <a:lnTo>
                    <a:pt x="590876" y="2049004"/>
                  </a:lnTo>
                  <a:lnTo>
                    <a:pt x="590876" y="2039476"/>
                  </a:lnTo>
                  <a:lnTo>
                    <a:pt x="590876" y="2025180"/>
                  </a:lnTo>
                  <a:lnTo>
                    <a:pt x="576580" y="2020416"/>
                  </a:lnTo>
                  <a:lnTo>
                    <a:pt x="567048" y="2025180"/>
                  </a:lnTo>
                  <a:lnTo>
                    <a:pt x="557520" y="2025180"/>
                  </a:lnTo>
                  <a:lnTo>
                    <a:pt x="547988" y="2010884"/>
                  </a:lnTo>
                  <a:lnTo>
                    <a:pt x="543224" y="1996588"/>
                  </a:lnTo>
                  <a:lnTo>
                    <a:pt x="547988" y="1977528"/>
                  </a:lnTo>
                  <a:lnTo>
                    <a:pt x="552752" y="1967996"/>
                  </a:lnTo>
                  <a:lnTo>
                    <a:pt x="557520" y="1953704"/>
                  </a:lnTo>
                  <a:lnTo>
                    <a:pt x="552752" y="1948936"/>
                  </a:lnTo>
                  <a:lnTo>
                    <a:pt x="543224" y="1939408"/>
                  </a:lnTo>
                  <a:lnTo>
                    <a:pt x="533692" y="1906052"/>
                  </a:lnTo>
                  <a:lnTo>
                    <a:pt x="533692" y="1877460"/>
                  </a:lnTo>
                  <a:lnTo>
                    <a:pt x="524164" y="1867928"/>
                  </a:lnTo>
                  <a:lnTo>
                    <a:pt x="519396" y="1844104"/>
                  </a:lnTo>
                  <a:lnTo>
                    <a:pt x="509868" y="1839340"/>
                  </a:lnTo>
                  <a:lnTo>
                    <a:pt x="505104" y="1820280"/>
                  </a:lnTo>
                  <a:lnTo>
                    <a:pt x="505104" y="1805984"/>
                  </a:lnTo>
                  <a:lnTo>
                    <a:pt x="505104" y="1796452"/>
                  </a:lnTo>
                  <a:lnTo>
                    <a:pt x="514632" y="1796452"/>
                  </a:lnTo>
                  <a:lnTo>
                    <a:pt x="519396" y="1782156"/>
                  </a:lnTo>
                  <a:lnTo>
                    <a:pt x="514632" y="1772628"/>
                  </a:lnTo>
                  <a:lnTo>
                    <a:pt x="509868" y="1767864"/>
                  </a:lnTo>
                  <a:lnTo>
                    <a:pt x="500336" y="1767864"/>
                  </a:lnTo>
                  <a:lnTo>
                    <a:pt x="490808" y="1758332"/>
                  </a:lnTo>
                  <a:lnTo>
                    <a:pt x="476512" y="1724976"/>
                  </a:lnTo>
                  <a:lnTo>
                    <a:pt x="466980" y="1710680"/>
                  </a:lnTo>
                  <a:lnTo>
                    <a:pt x="471748" y="1682088"/>
                  </a:lnTo>
                  <a:lnTo>
                    <a:pt x="471748" y="1663028"/>
                  </a:lnTo>
                  <a:lnTo>
                    <a:pt x="476512" y="1643968"/>
                  </a:lnTo>
                  <a:lnTo>
                    <a:pt x="481276" y="1634440"/>
                  </a:lnTo>
                  <a:lnTo>
                    <a:pt x="486040" y="1624908"/>
                  </a:lnTo>
                  <a:lnTo>
                    <a:pt x="495572" y="1629672"/>
                  </a:lnTo>
                  <a:lnTo>
                    <a:pt x="500336" y="1629672"/>
                  </a:lnTo>
                  <a:lnTo>
                    <a:pt x="505104" y="1615380"/>
                  </a:lnTo>
                  <a:lnTo>
                    <a:pt x="509868" y="1610612"/>
                  </a:lnTo>
                  <a:lnTo>
                    <a:pt x="509868" y="1605848"/>
                  </a:lnTo>
                  <a:lnTo>
                    <a:pt x="509868" y="1596316"/>
                  </a:lnTo>
                  <a:lnTo>
                    <a:pt x="505104" y="1586788"/>
                  </a:lnTo>
                  <a:lnTo>
                    <a:pt x="509868" y="1577256"/>
                  </a:lnTo>
                  <a:lnTo>
                    <a:pt x="519396" y="1548668"/>
                  </a:lnTo>
                  <a:lnTo>
                    <a:pt x="528928" y="1515312"/>
                  </a:lnTo>
                  <a:lnTo>
                    <a:pt x="533692" y="1505780"/>
                  </a:lnTo>
                  <a:lnTo>
                    <a:pt x="533692" y="1491484"/>
                  </a:lnTo>
                  <a:lnTo>
                    <a:pt x="538460" y="1491484"/>
                  </a:lnTo>
                  <a:lnTo>
                    <a:pt x="543224" y="1496252"/>
                  </a:lnTo>
                  <a:lnTo>
                    <a:pt x="567048" y="1486720"/>
                  </a:lnTo>
                  <a:lnTo>
                    <a:pt x="576580" y="1477188"/>
                  </a:lnTo>
                  <a:lnTo>
                    <a:pt x="576580" y="1462896"/>
                  </a:lnTo>
                  <a:lnTo>
                    <a:pt x="586108" y="1458128"/>
                  </a:lnTo>
                  <a:lnTo>
                    <a:pt x="581344" y="1443832"/>
                  </a:lnTo>
                  <a:lnTo>
                    <a:pt x="571816" y="1443832"/>
                  </a:lnTo>
                  <a:lnTo>
                    <a:pt x="567048" y="1439068"/>
                  </a:lnTo>
                  <a:lnTo>
                    <a:pt x="567048" y="1429540"/>
                  </a:lnTo>
                  <a:lnTo>
                    <a:pt x="571816" y="1400948"/>
                  </a:lnTo>
                  <a:lnTo>
                    <a:pt x="571816" y="1381888"/>
                  </a:lnTo>
                  <a:lnTo>
                    <a:pt x="562284" y="1343764"/>
                  </a:lnTo>
                  <a:lnTo>
                    <a:pt x="557520" y="1300880"/>
                  </a:lnTo>
                  <a:lnTo>
                    <a:pt x="562284" y="1291348"/>
                  </a:lnTo>
                  <a:lnTo>
                    <a:pt x="576580" y="1272288"/>
                  </a:lnTo>
                  <a:lnTo>
                    <a:pt x="586108" y="1262760"/>
                  </a:lnTo>
                  <a:lnTo>
                    <a:pt x="590876" y="1253228"/>
                  </a:lnTo>
                  <a:lnTo>
                    <a:pt x="600404" y="1205576"/>
                  </a:lnTo>
                  <a:lnTo>
                    <a:pt x="600404" y="1181752"/>
                  </a:lnTo>
                  <a:lnTo>
                    <a:pt x="609936" y="1167456"/>
                  </a:lnTo>
                  <a:lnTo>
                    <a:pt x="614700" y="1138864"/>
                  </a:lnTo>
                  <a:lnTo>
                    <a:pt x="633760" y="1119804"/>
                  </a:lnTo>
                  <a:lnTo>
                    <a:pt x="638528" y="1100744"/>
                  </a:lnTo>
                  <a:lnTo>
                    <a:pt x="648056" y="1100744"/>
                  </a:lnTo>
                  <a:lnTo>
                    <a:pt x="652820" y="1095980"/>
                  </a:lnTo>
                  <a:lnTo>
                    <a:pt x="662352" y="1081684"/>
                  </a:lnTo>
                  <a:lnTo>
                    <a:pt x="676648" y="1062624"/>
                  </a:lnTo>
                  <a:lnTo>
                    <a:pt x="690944" y="1053092"/>
                  </a:lnTo>
                  <a:lnTo>
                    <a:pt x="690944" y="1038796"/>
                  </a:lnTo>
                  <a:lnTo>
                    <a:pt x="695708" y="1019736"/>
                  </a:lnTo>
                  <a:lnTo>
                    <a:pt x="710004" y="991148"/>
                  </a:lnTo>
                  <a:lnTo>
                    <a:pt x="714768" y="972084"/>
                  </a:lnTo>
                  <a:lnTo>
                    <a:pt x="724300" y="962556"/>
                  </a:lnTo>
                  <a:lnTo>
                    <a:pt x="733828" y="933964"/>
                  </a:lnTo>
                  <a:lnTo>
                    <a:pt x="738592" y="919668"/>
                  </a:lnTo>
                  <a:lnTo>
                    <a:pt x="752888" y="910140"/>
                  </a:lnTo>
                  <a:lnTo>
                    <a:pt x="762420" y="910140"/>
                  </a:lnTo>
                  <a:lnTo>
                    <a:pt x="771948" y="914904"/>
                  </a:lnTo>
                  <a:lnTo>
                    <a:pt x="781480" y="914904"/>
                  </a:lnTo>
                  <a:lnTo>
                    <a:pt x="791012" y="905376"/>
                  </a:lnTo>
                  <a:lnTo>
                    <a:pt x="810072" y="900608"/>
                  </a:lnTo>
                  <a:lnTo>
                    <a:pt x="819600" y="895844"/>
                  </a:lnTo>
                  <a:lnTo>
                    <a:pt x="824368" y="886312"/>
                  </a:lnTo>
                  <a:lnTo>
                    <a:pt x="824368" y="867252"/>
                  </a:lnTo>
                  <a:lnTo>
                    <a:pt x="814836" y="857724"/>
                  </a:lnTo>
                  <a:lnTo>
                    <a:pt x="795776" y="833896"/>
                  </a:lnTo>
                  <a:lnTo>
                    <a:pt x="781480" y="805308"/>
                  </a:lnTo>
                  <a:lnTo>
                    <a:pt x="781480" y="800540"/>
                  </a:lnTo>
                  <a:lnTo>
                    <a:pt x="781480" y="791012"/>
                  </a:lnTo>
                  <a:lnTo>
                    <a:pt x="781480" y="776716"/>
                  </a:lnTo>
                  <a:lnTo>
                    <a:pt x="791012" y="762420"/>
                  </a:lnTo>
                  <a:lnTo>
                    <a:pt x="810072" y="743360"/>
                  </a:lnTo>
                  <a:lnTo>
                    <a:pt x="805304" y="729064"/>
                  </a:lnTo>
                  <a:lnTo>
                    <a:pt x="791012" y="671884"/>
                  </a:lnTo>
                  <a:lnTo>
                    <a:pt x="786244" y="657588"/>
                  </a:lnTo>
                  <a:lnTo>
                    <a:pt x="776716" y="628996"/>
                  </a:lnTo>
                  <a:lnTo>
                    <a:pt x="781480" y="614700"/>
                  </a:lnTo>
                  <a:lnTo>
                    <a:pt x="786244" y="586112"/>
                  </a:lnTo>
                  <a:lnTo>
                    <a:pt x="795776" y="571816"/>
                  </a:lnTo>
                  <a:lnTo>
                    <a:pt x="805304" y="567052"/>
                  </a:lnTo>
                  <a:lnTo>
                    <a:pt x="810072" y="567052"/>
                  </a:lnTo>
                  <a:lnTo>
                    <a:pt x="814836" y="557520"/>
                  </a:lnTo>
                  <a:lnTo>
                    <a:pt x="805304" y="552756"/>
                  </a:lnTo>
                  <a:lnTo>
                    <a:pt x="800540" y="543224"/>
                  </a:lnTo>
                  <a:lnTo>
                    <a:pt x="800540" y="528928"/>
                  </a:lnTo>
                  <a:lnTo>
                    <a:pt x="791012" y="524164"/>
                  </a:lnTo>
                  <a:lnTo>
                    <a:pt x="786244" y="514632"/>
                  </a:lnTo>
                  <a:lnTo>
                    <a:pt x="786244" y="500340"/>
                  </a:lnTo>
                  <a:lnTo>
                    <a:pt x="791012" y="481276"/>
                  </a:lnTo>
                  <a:lnTo>
                    <a:pt x="800540" y="471748"/>
                  </a:lnTo>
                  <a:lnTo>
                    <a:pt x="805304" y="466984"/>
                  </a:lnTo>
                  <a:lnTo>
                    <a:pt x="814836" y="457452"/>
                  </a:lnTo>
                  <a:lnTo>
                    <a:pt x="824368" y="452688"/>
                  </a:lnTo>
                  <a:lnTo>
                    <a:pt x="833896" y="438392"/>
                  </a:lnTo>
                  <a:lnTo>
                    <a:pt x="891076" y="414568"/>
                  </a:lnTo>
                  <a:lnTo>
                    <a:pt x="938728" y="390740"/>
                  </a:lnTo>
                  <a:lnTo>
                    <a:pt x="972084" y="376444"/>
                  </a:lnTo>
                  <a:lnTo>
                    <a:pt x="976852" y="366916"/>
                  </a:lnTo>
                  <a:lnTo>
                    <a:pt x="976852" y="362148"/>
                  </a:lnTo>
                  <a:lnTo>
                    <a:pt x="995912" y="309732"/>
                  </a:lnTo>
                  <a:lnTo>
                    <a:pt x="1014972" y="243020"/>
                  </a:lnTo>
                  <a:lnTo>
                    <a:pt x="1029268" y="200136"/>
                  </a:lnTo>
                  <a:lnTo>
                    <a:pt x="995912" y="171544"/>
                  </a:lnTo>
                  <a:lnTo>
                    <a:pt x="1005440" y="162016"/>
                  </a:lnTo>
                  <a:lnTo>
                    <a:pt x="1019736" y="142952"/>
                  </a:lnTo>
                  <a:lnTo>
                    <a:pt x="1024500" y="123892"/>
                  </a:lnTo>
                  <a:lnTo>
                    <a:pt x="1029268" y="119128"/>
                  </a:lnTo>
                  <a:lnTo>
                    <a:pt x="1057856" y="100068"/>
                  </a:lnTo>
                  <a:lnTo>
                    <a:pt x="1067388" y="90536"/>
                  </a:lnTo>
                  <a:lnTo>
                    <a:pt x="1067388" y="76244"/>
                  </a:lnTo>
                  <a:lnTo>
                    <a:pt x="1072152" y="71476"/>
                  </a:lnTo>
                  <a:lnTo>
                    <a:pt x="1086448" y="66712"/>
                  </a:lnTo>
                  <a:lnTo>
                    <a:pt x="1105508" y="57180"/>
                  </a:lnTo>
                  <a:lnTo>
                    <a:pt x="1129336" y="52416"/>
                  </a:lnTo>
                  <a:lnTo>
                    <a:pt x="1134100" y="42888"/>
                  </a:lnTo>
                  <a:lnTo>
                    <a:pt x="1138864" y="23824"/>
                  </a:lnTo>
                  <a:lnTo>
                    <a:pt x="1148396"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1" name="Google Shape;4488;p64">
              <a:extLst>
                <a:ext uri="{FF2B5EF4-FFF2-40B4-BE49-F238E27FC236}">
                  <a16:creationId xmlns:a16="http://schemas.microsoft.com/office/drawing/2014/main" id="{76C2FD8B-2BD1-92CD-7E55-09D23A2CFE33}"/>
                </a:ext>
              </a:extLst>
            </p:cNvPr>
            <p:cNvSpPr/>
            <p:nvPr/>
          </p:nvSpPr>
          <p:spPr>
            <a:xfrm>
              <a:off x="5459559" y="4012854"/>
              <a:ext cx="67600" cy="67600"/>
            </a:xfrm>
            <a:custGeom>
              <a:avLst/>
              <a:gdLst/>
              <a:ahLst/>
              <a:cxnLst/>
              <a:rect l="l" t="t" r="r" b="b"/>
              <a:pathLst>
                <a:path w="206" h="206" extrusionOk="0">
                  <a:moveTo>
                    <a:pt x="108" y="8"/>
                  </a:moveTo>
                  <a:lnTo>
                    <a:pt x="104" y="4"/>
                  </a:lnTo>
                  <a:lnTo>
                    <a:pt x="102" y="0"/>
                  </a:lnTo>
                  <a:lnTo>
                    <a:pt x="100" y="0"/>
                  </a:lnTo>
                  <a:lnTo>
                    <a:pt x="90" y="2"/>
                  </a:lnTo>
                  <a:lnTo>
                    <a:pt x="90" y="4"/>
                  </a:lnTo>
                  <a:lnTo>
                    <a:pt x="92" y="6"/>
                  </a:lnTo>
                  <a:lnTo>
                    <a:pt x="92" y="6"/>
                  </a:lnTo>
                  <a:lnTo>
                    <a:pt x="74" y="6"/>
                  </a:lnTo>
                  <a:lnTo>
                    <a:pt x="68" y="8"/>
                  </a:lnTo>
                  <a:lnTo>
                    <a:pt x="52" y="6"/>
                  </a:lnTo>
                  <a:lnTo>
                    <a:pt x="46" y="8"/>
                  </a:lnTo>
                  <a:lnTo>
                    <a:pt x="42" y="8"/>
                  </a:lnTo>
                  <a:lnTo>
                    <a:pt x="30" y="10"/>
                  </a:lnTo>
                  <a:lnTo>
                    <a:pt x="24" y="14"/>
                  </a:lnTo>
                  <a:lnTo>
                    <a:pt x="14" y="14"/>
                  </a:lnTo>
                  <a:lnTo>
                    <a:pt x="4" y="14"/>
                  </a:lnTo>
                  <a:lnTo>
                    <a:pt x="0" y="16"/>
                  </a:lnTo>
                  <a:lnTo>
                    <a:pt x="0" y="18"/>
                  </a:lnTo>
                  <a:lnTo>
                    <a:pt x="6" y="24"/>
                  </a:lnTo>
                  <a:lnTo>
                    <a:pt x="10" y="28"/>
                  </a:lnTo>
                  <a:lnTo>
                    <a:pt x="12" y="30"/>
                  </a:lnTo>
                  <a:lnTo>
                    <a:pt x="16" y="42"/>
                  </a:lnTo>
                  <a:lnTo>
                    <a:pt x="18" y="48"/>
                  </a:lnTo>
                  <a:lnTo>
                    <a:pt x="18" y="56"/>
                  </a:lnTo>
                  <a:lnTo>
                    <a:pt x="14" y="62"/>
                  </a:lnTo>
                  <a:lnTo>
                    <a:pt x="8" y="70"/>
                  </a:lnTo>
                  <a:lnTo>
                    <a:pt x="10" y="72"/>
                  </a:lnTo>
                  <a:lnTo>
                    <a:pt x="12" y="78"/>
                  </a:lnTo>
                  <a:lnTo>
                    <a:pt x="10" y="80"/>
                  </a:lnTo>
                  <a:lnTo>
                    <a:pt x="16" y="90"/>
                  </a:lnTo>
                  <a:lnTo>
                    <a:pt x="18" y="96"/>
                  </a:lnTo>
                  <a:lnTo>
                    <a:pt x="16" y="98"/>
                  </a:lnTo>
                  <a:lnTo>
                    <a:pt x="14" y="100"/>
                  </a:lnTo>
                  <a:lnTo>
                    <a:pt x="24" y="104"/>
                  </a:lnTo>
                  <a:lnTo>
                    <a:pt x="32" y="108"/>
                  </a:lnTo>
                  <a:lnTo>
                    <a:pt x="36" y="110"/>
                  </a:lnTo>
                  <a:lnTo>
                    <a:pt x="48" y="108"/>
                  </a:lnTo>
                  <a:lnTo>
                    <a:pt x="56" y="108"/>
                  </a:lnTo>
                  <a:lnTo>
                    <a:pt x="62" y="112"/>
                  </a:lnTo>
                  <a:lnTo>
                    <a:pt x="74" y="120"/>
                  </a:lnTo>
                  <a:lnTo>
                    <a:pt x="84" y="132"/>
                  </a:lnTo>
                  <a:lnTo>
                    <a:pt x="88" y="136"/>
                  </a:lnTo>
                  <a:lnTo>
                    <a:pt x="94" y="136"/>
                  </a:lnTo>
                  <a:lnTo>
                    <a:pt x="104" y="130"/>
                  </a:lnTo>
                  <a:lnTo>
                    <a:pt x="108" y="132"/>
                  </a:lnTo>
                  <a:lnTo>
                    <a:pt x="110" y="136"/>
                  </a:lnTo>
                  <a:lnTo>
                    <a:pt x="112" y="140"/>
                  </a:lnTo>
                  <a:lnTo>
                    <a:pt x="112" y="146"/>
                  </a:lnTo>
                  <a:lnTo>
                    <a:pt x="114" y="148"/>
                  </a:lnTo>
                  <a:lnTo>
                    <a:pt x="118" y="146"/>
                  </a:lnTo>
                  <a:lnTo>
                    <a:pt x="122" y="148"/>
                  </a:lnTo>
                  <a:lnTo>
                    <a:pt x="126" y="152"/>
                  </a:lnTo>
                  <a:lnTo>
                    <a:pt x="132" y="154"/>
                  </a:lnTo>
                  <a:lnTo>
                    <a:pt x="142" y="150"/>
                  </a:lnTo>
                  <a:lnTo>
                    <a:pt x="148" y="148"/>
                  </a:lnTo>
                  <a:lnTo>
                    <a:pt x="152" y="148"/>
                  </a:lnTo>
                  <a:lnTo>
                    <a:pt x="154" y="150"/>
                  </a:lnTo>
                  <a:lnTo>
                    <a:pt x="154" y="154"/>
                  </a:lnTo>
                  <a:lnTo>
                    <a:pt x="154" y="160"/>
                  </a:lnTo>
                  <a:lnTo>
                    <a:pt x="152" y="164"/>
                  </a:lnTo>
                  <a:lnTo>
                    <a:pt x="154" y="166"/>
                  </a:lnTo>
                  <a:lnTo>
                    <a:pt x="162" y="172"/>
                  </a:lnTo>
                  <a:lnTo>
                    <a:pt x="166" y="176"/>
                  </a:lnTo>
                  <a:lnTo>
                    <a:pt x="164" y="180"/>
                  </a:lnTo>
                  <a:lnTo>
                    <a:pt x="170" y="194"/>
                  </a:lnTo>
                  <a:lnTo>
                    <a:pt x="172" y="200"/>
                  </a:lnTo>
                  <a:lnTo>
                    <a:pt x="176" y="206"/>
                  </a:lnTo>
                  <a:lnTo>
                    <a:pt x="178" y="206"/>
                  </a:lnTo>
                  <a:lnTo>
                    <a:pt x="188" y="204"/>
                  </a:lnTo>
                  <a:lnTo>
                    <a:pt x="200" y="204"/>
                  </a:lnTo>
                  <a:lnTo>
                    <a:pt x="200" y="190"/>
                  </a:lnTo>
                  <a:lnTo>
                    <a:pt x="198" y="186"/>
                  </a:lnTo>
                  <a:lnTo>
                    <a:pt x="194" y="182"/>
                  </a:lnTo>
                  <a:lnTo>
                    <a:pt x="194" y="180"/>
                  </a:lnTo>
                  <a:lnTo>
                    <a:pt x="196" y="178"/>
                  </a:lnTo>
                  <a:lnTo>
                    <a:pt x="198" y="180"/>
                  </a:lnTo>
                  <a:lnTo>
                    <a:pt x="204" y="178"/>
                  </a:lnTo>
                  <a:lnTo>
                    <a:pt x="206" y="178"/>
                  </a:lnTo>
                  <a:lnTo>
                    <a:pt x="200" y="170"/>
                  </a:lnTo>
                  <a:lnTo>
                    <a:pt x="196" y="166"/>
                  </a:lnTo>
                  <a:lnTo>
                    <a:pt x="192" y="164"/>
                  </a:lnTo>
                  <a:lnTo>
                    <a:pt x="192" y="162"/>
                  </a:lnTo>
                  <a:lnTo>
                    <a:pt x="192" y="160"/>
                  </a:lnTo>
                  <a:lnTo>
                    <a:pt x="192" y="160"/>
                  </a:lnTo>
                  <a:lnTo>
                    <a:pt x="200" y="156"/>
                  </a:lnTo>
                  <a:lnTo>
                    <a:pt x="200" y="152"/>
                  </a:lnTo>
                  <a:lnTo>
                    <a:pt x="200" y="148"/>
                  </a:lnTo>
                  <a:lnTo>
                    <a:pt x="188" y="144"/>
                  </a:lnTo>
                  <a:lnTo>
                    <a:pt x="180" y="146"/>
                  </a:lnTo>
                  <a:lnTo>
                    <a:pt x="174" y="140"/>
                  </a:lnTo>
                  <a:lnTo>
                    <a:pt x="170" y="136"/>
                  </a:lnTo>
                  <a:lnTo>
                    <a:pt x="164" y="130"/>
                  </a:lnTo>
                  <a:lnTo>
                    <a:pt x="158" y="128"/>
                  </a:lnTo>
                  <a:lnTo>
                    <a:pt x="154" y="122"/>
                  </a:lnTo>
                  <a:lnTo>
                    <a:pt x="146" y="114"/>
                  </a:lnTo>
                  <a:lnTo>
                    <a:pt x="140" y="112"/>
                  </a:lnTo>
                  <a:lnTo>
                    <a:pt x="140" y="112"/>
                  </a:lnTo>
                  <a:lnTo>
                    <a:pt x="142" y="110"/>
                  </a:lnTo>
                  <a:lnTo>
                    <a:pt x="144" y="110"/>
                  </a:lnTo>
                  <a:lnTo>
                    <a:pt x="158" y="110"/>
                  </a:lnTo>
                  <a:lnTo>
                    <a:pt x="160" y="108"/>
                  </a:lnTo>
                  <a:lnTo>
                    <a:pt x="162" y="106"/>
                  </a:lnTo>
                  <a:lnTo>
                    <a:pt x="164" y="102"/>
                  </a:lnTo>
                  <a:lnTo>
                    <a:pt x="166" y="96"/>
                  </a:lnTo>
                  <a:lnTo>
                    <a:pt x="166" y="90"/>
                  </a:lnTo>
                  <a:lnTo>
                    <a:pt x="150" y="82"/>
                  </a:lnTo>
                  <a:lnTo>
                    <a:pt x="140" y="76"/>
                  </a:lnTo>
                  <a:lnTo>
                    <a:pt x="132" y="66"/>
                  </a:lnTo>
                  <a:lnTo>
                    <a:pt x="126" y="56"/>
                  </a:lnTo>
                  <a:lnTo>
                    <a:pt x="126" y="54"/>
                  </a:lnTo>
                  <a:lnTo>
                    <a:pt x="128" y="50"/>
                  </a:lnTo>
                  <a:lnTo>
                    <a:pt x="140" y="42"/>
                  </a:lnTo>
                  <a:lnTo>
                    <a:pt x="140" y="40"/>
                  </a:lnTo>
                  <a:lnTo>
                    <a:pt x="140" y="38"/>
                  </a:lnTo>
                  <a:lnTo>
                    <a:pt x="136" y="34"/>
                  </a:lnTo>
                  <a:lnTo>
                    <a:pt x="132" y="30"/>
                  </a:lnTo>
                  <a:lnTo>
                    <a:pt x="130" y="26"/>
                  </a:lnTo>
                  <a:lnTo>
                    <a:pt x="126" y="24"/>
                  </a:lnTo>
                  <a:lnTo>
                    <a:pt x="120" y="24"/>
                  </a:lnTo>
                  <a:lnTo>
                    <a:pt x="110" y="18"/>
                  </a:lnTo>
                  <a:lnTo>
                    <a:pt x="106" y="18"/>
                  </a:lnTo>
                  <a:lnTo>
                    <a:pt x="106" y="16"/>
                  </a:lnTo>
                  <a:lnTo>
                    <a:pt x="106" y="16"/>
                  </a:lnTo>
                  <a:lnTo>
                    <a:pt x="114" y="14"/>
                  </a:lnTo>
                  <a:lnTo>
                    <a:pt x="114" y="12"/>
                  </a:lnTo>
                  <a:lnTo>
                    <a:pt x="112" y="10"/>
                  </a:lnTo>
                  <a:lnTo>
                    <a:pt x="108"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 name="Google Shape;4489;p64">
              <a:extLst>
                <a:ext uri="{FF2B5EF4-FFF2-40B4-BE49-F238E27FC236}">
                  <a16:creationId xmlns:a16="http://schemas.microsoft.com/office/drawing/2014/main" id="{984EA6B1-DC1D-21E4-ACC4-032F45AD80A9}"/>
                </a:ext>
              </a:extLst>
            </p:cNvPr>
            <p:cNvSpPr/>
            <p:nvPr/>
          </p:nvSpPr>
          <p:spPr>
            <a:xfrm>
              <a:off x="6012832" y="6198053"/>
              <a:ext cx="5251" cy="5907"/>
            </a:xfrm>
            <a:custGeom>
              <a:avLst/>
              <a:gdLst/>
              <a:ahLst/>
              <a:cxnLst/>
              <a:rect l="l" t="t" r="r" b="b"/>
              <a:pathLst>
                <a:path w="16" h="18" extrusionOk="0">
                  <a:moveTo>
                    <a:pt x="8" y="18"/>
                  </a:moveTo>
                  <a:lnTo>
                    <a:pt x="10" y="16"/>
                  </a:lnTo>
                  <a:lnTo>
                    <a:pt x="16" y="6"/>
                  </a:lnTo>
                  <a:lnTo>
                    <a:pt x="14" y="0"/>
                  </a:lnTo>
                  <a:lnTo>
                    <a:pt x="6" y="0"/>
                  </a:lnTo>
                  <a:lnTo>
                    <a:pt x="0" y="0"/>
                  </a:lnTo>
                  <a:lnTo>
                    <a:pt x="0" y="4"/>
                  </a:lnTo>
                  <a:lnTo>
                    <a:pt x="0" y="8"/>
                  </a:lnTo>
                  <a:lnTo>
                    <a:pt x="2" y="12"/>
                  </a:lnTo>
                  <a:lnTo>
                    <a:pt x="2" y="16"/>
                  </a:lnTo>
                  <a:lnTo>
                    <a:pt x="4" y="18"/>
                  </a:lnTo>
                  <a:lnTo>
                    <a:pt x="8"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 name="Google Shape;4490;p64">
              <a:extLst>
                <a:ext uri="{FF2B5EF4-FFF2-40B4-BE49-F238E27FC236}">
                  <a16:creationId xmlns:a16="http://schemas.microsoft.com/office/drawing/2014/main" id="{8619FF5A-AE3B-4719-90EB-B33862C8B127}"/>
                </a:ext>
              </a:extLst>
            </p:cNvPr>
            <p:cNvSpPr/>
            <p:nvPr/>
          </p:nvSpPr>
          <p:spPr>
            <a:xfrm>
              <a:off x="6004300" y="6190833"/>
              <a:ext cx="38723" cy="34785"/>
            </a:xfrm>
            <a:custGeom>
              <a:avLst/>
              <a:gdLst/>
              <a:ahLst/>
              <a:cxnLst/>
              <a:rect l="l" t="t" r="r" b="b"/>
              <a:pathLst>
                <a:path w="118" h="106" extrusionOk="0">
                  <a:moveTo>
                    <a:pt x="28" y="44"/>
                  </a:moveTo>
                  <a:lnTo>
                    <a:pt x="18" y="42"/>
                  </a:lnTo>
                  <a:lnTo>
                    <a:pt x="18" y="36"/>
                  </a:lnTo>
                  <a:lnTo>
                    <a:pt x="22" y="28"/>
                  </a:lnTo>
                  <a:lnTo>
                    <a:pt x="22" y="24"/>
                  </a:lnTo>
                  <a:lnTo>
                    <a:pt x="24" y="20"/>
                  </a:lnTo>
                  <a:lnTo>
                    <a:pt x="24" y="10"/>
                  </a:lnTo>
                  <a:lnTo>
                    <a:pt x="20" y="10"/>
                  </a:lnTo>
                  <a:lnTo>
                    <a:pt x="22" y="6"/>
                  </a:lnTo>
                  <a:lnTo>
                    <a:pt x="20" y="2"/>
                  </a:lnTo>
                  <a:lnTo>
                    <a:pt x="20" y="0"/>
                  </a:lnTo>
                  <a:lnTo>
                    <a:pt x="16" y="0"/>
                  </a:lnTo>
                  <a:lnTo>
                    <a:pt x="12" y="4"/>
                  </a:lnTo>
                  <a:lnTo>
                    <a:pt x="8" y="12"/>
                  </a:lnTo>
                  <a:lnTo>
                    <a:pt x="4" y="18"/>
                  </a:lnTo>
                  <a:lnTo>
                    <a:pt x="4" y="26"/>
                  </a:lnTo>
                  <a:lnTo>
                    <a:pt x="2" y="34"/>
                  </a:lnTo>
                  <a:lnTo>
                    <a:pt x="0" y="40"/>
                  </a:lnTo>
                  <a:lnTo>
                    <a:pt x="2" y="44"/>
                  </a:lnTo>
                  <a:lnTo>
                    <a:pt x="4" y="48"/>
                  </a:lnTo>
                  <a:lnTo>
                    <a:pt x="6" y="48"/>
                  </a:lnTo>
                  <a:lnTo>
                    <a:pt x="8" y="50"/>
                  </a:lnTo>
                  <a:lnTo>
                    <a:pt x="4" y="54"/>
                  </a:lnTo>
                  <a:lnTo>
                    <a:pt x="2" y="56"/>
                  </a:lnTo>
                  <a:lnTo>
                    <a:pt x="6" y="62"/>
                  </a:lnTo>
                  <a:lnTo>
                    <a:pt x="4" y="70"/>
                  </a:lnTo>
                  <a:lnTo>
                    <a:pt x="6" y="74"/>
                  </a:lnTo>
                  <a:lnTo>
                    <a:pt x="8" y="78"/>
                  </a:lnTo>
                  <a:lnTo>
                    <a:pt x="6" y="84"/>
                  </a:lnTo>
                  <a:lnTo>
                    <a:pt x="4" y="90"/>
                  </a:lnTo>
                  <a:lnTo>
                    <a:pt x="2" y="94"/>
                  </a:lnTo>
                  <a:lnTo>
                    <a:pt x="2" y="100"/>
                  </a:lnTo>
                  <a:lnTo>
                    <a:pt x="4" y="104"/>
                  </a:lnTo>
                  <a:lnTo>
                    <a:pt x="8" y="106"/>
                  </a:lnTo>
                  <a:lnTo>
                    <a:pt x="16" y="104"/>
                  </a:lnTo>
                  <a:lnTo>
                    <a:pt x="22" y="100"/>
                  </a:lnTo>
                  <a:lnTo>
                    <a:pt x="26" y="88"/>
                  </a:lnTo>
                  <a:lnTo>
                    <a:pt x="34" y="88"/>
                  </a:lnTo>
                  <a:lnTo>
                    <a:pt x="38" y="90"/>
                  </a:lnTo>
                  <a:lnTo>
                    <a:pt x="46" y="96"/>
                  </a:lnTo>
                  <a:lnTo>
                    <a:pt x="56" y="100"/>
                  </a:lnTo>
                  <a:lnTo>
                    <a:pt x="60" y="98"/>
                  </a:lnTo>
                  <a:lnTo>
                    <a:pt x="64" y="94"/>
                  </a:lnTo>
                  <a:lnTo>
                    <a:pt x="68" y="96"/>
                  </a:lnTo>
                  <a:lnTo>
                    <a:pt x="70" y="98"/>
                  </a:lnTo>
                  <a:lnTo>
                    <a:pt x="76" y="104"/>
                  </a:lnTo>
                  <a:lnTo>
                    <a:pt x="86" y="106"/>
                  </a:lnTo>
                  <a:lnTo>
                    <a:pt x="90" y="104"/>
                  </a:lnTo>
                  <a:lnTo>
                    <a:pt x="94" y="100"/>
                  </a:lnTo>
                  <a:lnTo>
                    <a:pt x="96" y="96"/>
                  </a:lnTo>
                  <a:lnTo>
                    <a:pt x="98" y="94"/>
                  </a:lnTo>
                  <a:lnTo>
                    <a:pt x="102" y="92"/>
                  </a:lnTo>
                  <a:lnTo>
                    <a:pt x="98" y="88"/>
                  </a:lnTo>
                  <a:lnTo>
                    <a:pt x="92" y="86"/>
                  </a:lnTo>
                  <a:lnTo>
                    <a:pt x="86" y="86"/>
                  </a:lnTo>
                  <a:lnTo>
                    <a:pt x="86" y="94"/>
                  </a:lnTo>
                  <a:lnTo>
                    <a:pt x="80" y="92"/>
                  </a:lnTo>
                  <a:lnTo>
                    <a:pt x="72" y="88"/>
                  </a:lnTo>
                  <a:lnTo>
                    <a:pt x="66" y="84"/>
                  </a:lnTo>
                  <a:lnTo>
                    <a:pt x="64" y="78"/>
                  </a:lnTo>
                  <a:lnTo>
                    <a:pt x="66" y="78"/>
                  </a:lnTo>
                  <a:lnTo>
                    <a:pt x="70" y="78"/>
                  </a:lnTo>
                  <a:lnTo>
                    <a:pt x="72" y="76"/>
                  </a:lnTo>
                  <a:lnTo>
                    <a:pt x="74" y="72"/>
                  </a:lnTo>
                  <a:lnTo>
                    <a:pt x="76" y="68"/>
                  </a:lnTo>
                  <a:lnTo>
                    <a:pt x="80" y="68"/>
                  </a:lnTo>
                  <a:lnTo>
                    <a:pt x="92" y="68"/>
                  </a:lnTo>
                  <a:lnTo>
                    <a:pt x="96" y="72"/>
                  </a:lnTo>
                  <a:lnTo>
                    <a:pt x="100" y="76"/>
                  </a:lnTo>
                  <a:lnTo>
                    <a:pt x="104" y="78"/>
                  </a:lnTo>
                  <a:lnTo>
                    <a:pt x="106" y="78"/>
                  </a:lnTo>
                  <a:lnTo>
                    <a:pt x="108" y="76"/>
                  </a:lnTo>
                  <a:lnTo>
                    <a:pt x="106" y="70"/>
                  </a:lnTo>
                  <a:lnTo>
                    <a:pt x="112" y="66"/>
                  </a:lnTo>
                  <a:lnTo>
                    <a:pt x="116" y="60"/>
                  </a:lnTo>
                  <a:lnTo>
                    <a:pt x="118" y="54"/>
                  </a:lnTo>
                  <a:lnTo>
                    <a:pt x="116" y="48"/>
                  </a:lnTo>
                  <a:lnTo>
                    <a:pt x="112" y="42"/>
                  </a:lnTo>
                  <a:lnTo>
                    <a:pt x="108" y="40"/>
                  </a:lnTo>
                  <a:lnTo>
                    <a:pt x="102" y="40"/>
                  </a:lnTo>
                  <a:lnTo>
                    <a:pt x="100" y="42"/>
                  </a:lnTo>
                  <a:lnTo>
                    <a:pt x="94" y="48"/>
                  </a:lnTo>
                  <a:lnTo>
                    <a:pt x="86" y="48"/>
                  </a:lnTo>
                  <a:lnTo>
                    <a:pt x="80" y="50"/>
                  </a:lnTo>
                  <a:lnTo>
                    <a:pt x="72" y="56"/>
                  </a:lnTo>
                  <a:lnTo>
                    <a:pt x="66" y="58"/>
                  </a:lnTo>
                  <a:lnTo>
                    <a:pt x="60" y="60"/>
                  </a:lnTo>
                  <a:lnTo>
                    <a:pt x="56" y="60"/>
                  </a:lnTo>
                  <a:lnTo>
                    <a:pt x="52" y="60"/>
                  </a:lnTo>
                  <a:lnTo>
                    <a:pt x="42" y="52"/>
                  </a:lnTo>
                  <a:lnTo>
                    <a:pt x="44" y="46"/>
                  </a:lnTo>
                  <a:lnTo>
                    <a:pt x="54" y="46"/>
                  </a:lnTo>
                  <a:lnTo>
                    <a:pt x="58" y="46"/>
                  </a:lnTo>
                  <a:lnTo>
                    <a:pt x="54" y="42"/>
                  </a:lnTo>
                  <a:lnTo>
                    <a:pt x="54" y="30"/>
                  </a:lnTo>
                  <a:lnTo>
                    <a:pt x="50" y="32"/>
                  </a:lnTo>
                  <a:lnTo>
                    <a:pt x="36" y="44"/>
                  </a:lnTo>
                  <a:lnTo>
                    <a:pt x="32" y="46"/>
                  </a:lnTo>
                  <a:lnTo>
                    <a:pt x="28" y="4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4" name="Google Shape;4491;p64">
              <a:extLst>
                <a:ext uri="{FF2B5EF4-FFF2-40B4-BE49-F238E27FC236}">
                  <a16:creationId xmlns:a16="http://schemas.microsoft.com/office/drawing/2014/main" id="{7A2486E8-0423-F54A-1E30-D3A275183D7B}"/>
                </a:ext>
              </a:extLst>
            </p:cNvPr>
            <p:cNvSpPr/>
            <p:nvPr/>
          </p:nvSpPr>
          <p:spPr>
            <a:xfrm>
              <a:off x="5636107" y="6116670"/>
              <a:ext cx="3938" cy="3938"/>
            </a:xfrm>
            <a:custGeom>
              <a:avLst/>
              <a:gdLst/>
              <a:ahLst/>
              <a:cxnLst/>
              <a:rect l="l" t="t" r="r" b="b"/>
              <a:pathLst>
                <a:path w="12" h="12" extrusionOk="0">
                  <a:moveTo>
                    <a:pt x="12" y="10"/>
                  </a:moveTo>
                  <a:lnTo>
                    <a:pt x="12" y="6"/>
                  </a:lnTo>
                  <a:lnTo>
                    <a:pt x="8" y="2"/>
                  </a:lnTo>
                  <a:lnTo>
                    <a:pt x="6" y="0"/>
                  </a:lnTo>
                  <a:lnTo>
                    <a:pt x="0" y="4"/>
                  </a:lnTo>
                  <a:lnTo>
                    <a:pt x="4" y="10"/>
                  </a:lnTo>
                  <a:lnTo>
                    <a:pt x="8" y="12"/>
                  </a:lnTo>
                  <a:lnTo>
                    <a:pt x="1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5" name="Google Shape;4492;p64">
              <a:extLst>
                <a:ext uri="{FF2B5EF4-FFF2-40B4-BE49-F238E27FC236}">
                  <a16:creationId xmlns:a16="http://schemas.microsoft.com/office/drawing/2014/main" id="{A94FCD68-4387-39B0-3C30-13939D1E542D}"/>
                </a:ext>
              </a:extLst>
            </p:cNvPr>
            <p:cNvCxnSpPr/>
            <p:nvPr/>
          </p:nvCxnSpPr>
          <p:spPr>
            <a:xfrm>
              <a:off x="5640045" y="6119952"/>
              <a:ext cx="0" cy="0"/>
            </a:xfrm>
            <a:prstGeom prst="straightConnector1">
              <a:avLst/>
            </a:prstGeom>
            <a:grpFill/>
            <a:ln w="9525" cap="flat" cmpd="sng">
              <a:solidFill>
                <a:schemeClr val="bg2"/>
              </a:solidFill>
              <a:prstDash val="solid"/>
              <a:round/>
              <a:headEnd type="none" w="med" len="med"/>
              <a:tailEnd type="none" w="med" len="med"/>
            </a:ln>
          </p:spPr>
        </p:cxnSp>
        <p:sp>
          <p:nvSpPr>
            <p:cNvPr id="26" name="Google Shape;4493;p64">
              <a:extLst>
                <a:ext uri="{FF2B5EF4-FFF2-40B4-BE49-F238E27FC236}">
                  <a16:creationId xmlns:a16="http://schemas.microsoft.com/office/drawing/2014/main" id="{DA8D14EF-44BC-2F74-1C08-26CC77D9893D}"/>
                </a:ext>
              </a:extLst>
            </p:cNvPr>
            <p:cNvSpPr/>
            <p:nvPr/>
          </p:nvSpPr>
          <p:spPr>
            <a:xfrm>
              <a:off x="6012832" y="6198053"/>
              <a:ext cx="5251" cy="5907"/>
            </a:xfrm>
            <a:custGeom>
              <a:avLst/>
              <a:gdLst/>
              <a:ahLst/>
              <a:cxnLst/>
              <a:rect l="l" t="t" r="r" b="b"/>
              <a:pathLst>
                <a:path w="16" h="18" extrusionOk="0">
                  <a:moveTo>
                    <a:pt x="8" y="18"/>
                  </a:moveTo>
                  <a:lnTo>
                    <a:pt x="10" y="16"/>
                  </a:lnTo>
                  <a:lnTo>
                    <a:pt x="16" y="6"/>
                  </a:lnTo>
                  <a:lnTo>
                    <a:pt x="14" y="0"/>
                  </a:lnTo>
                  <a:lnTo>
                    <a:pt x="6" y="0"/>
                  </a:lnTo>
                  <a:lnTo>
                    <a:pt x="0" y="0"/>
                  </a:lnTo>
                  <a:lnTo>
                    <a:pt x="0" y="4"/>
                  </a:lnTo>
                  <a:lnTo>
                    <a:pt x="0" y="8"/>
                  </a:lnTo>
                  <a:lnTo>
                    <a:pt x="2" y="12"/>
                  </a:lnTo>
                  <a:lnTo>
                    <a:pt x="2" y="16"/>
                  </a:lnTo>
                  <a:lnTo>
                    <a:pt x="4" y="18"/>
                  </a:lnTo>
                  <a:lnTo>
                    <a:pt x="8"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7" name="Google Shape;4494;p64">
              <a:extLst>
                <a:ext uri="{FF2B5EF4-FFF2-40B4-BE49-F238E27FC236}">
                  <a16:creationId xmlns:a16="http://schemas.microsoft.com/office/drawing/2014/main" id="{0A9E6D6A-CBA3-991E-814D-E5BE47148869}"/>
                </a:ext>
              </a:extLst>
            </p:cNvPr>
            <p:cNvCxnSpPr/>
            <p:nvPr/>
          </p:nvCxnSpPr>
          <p:spPr>
            <a:xfrm>
              <a:off x="5640045" y="6119952"/>
              <a:ext cx="0" cy="0"/>
            </a:xfrm>
            <a:prstGeom prst="straightConnector1">
              <a:avLst/>
            </a:prstGeom>
            <a:grpFill/>
            <a:ln w="9525" cap="flat" cmpd="sng">
              <a:solidFill>
                <a:schemeClr val="bg2"/>
              </a:solidFill>
              <a:prstDash val="solid"/>
              <a:round/>
              <a:headEnd type="none" w="med" len="med"/>
              <a:tailEnd type="none" w="med" len="med"/>
            </a:ln>
          </p:spPr>
        </p:cxnSp>
        <p:sp>
          <p:nvSpPr>
            <p:cNvPr id="28" name="Google Shape;4495;p64">
              <a:extLst>
                <a:ext uri="{FF2B5EF4-FFF2-40B4-BE49-F238E27FC236}">
                  <a16:creationId xmlns:a16="http://schemas.microsoft.com/office/drawing/2014/main" id="{5CFC2C45-4F37-B37F-AC38-C6420A12053B}"/>
                </a:ext>
              </a:extLst>
            </p:cNvPr>
            <p:cNvSpPr/>
            <p:nvPr/>
          </p:nvSpPr>
          <p:spPr>
            <a:xfrm>
              <a:off x="3193304" y="4614694"/>
              <a:ext cx="4594" cy="3938"/>
            </a:xfrm>
            <a:custGeom>
              <a:avLst/>
              <a:gdLst/>
              <a:ahLst/>
              <a:cxnLst/>
              <a:rect l="l" t="t" r="r" b="b"/>
              <a:pathLst>
                <a:path w="14" h="12" extrusionOk="0">
                  <a:moveTo>
                    <a:pt x="12" y="8"/>
                  </a:moveTo>
                  <a:lnTo>
                    <a:pt x="14" y="8"/>
                  </a:lnTo>
                  <a:lnTo>
                    <a:pt x="14" y="6"/>
                  </a:lnTo>
                  <a:lnTo>
                    <a:pt x="14" y="4"/>
                  </a:lnTo>
                  <a:lnTo>
                    <a:pt x="12" y="4"/>
                  </a:lnTo>
                  <a:lnTo>
                    <a:pt x="10" y="2"/>
                  </a:lnTo>
                  <a:lnTo>
                    <a:pt x="6" y="0"/>
                  </a:lnTo>
                  <a:lnTo>
                    <a:pt x="0" y="4"/>
                  </a:lnTo>
                  <a:lnTo>
                    <a:pt x="2" y="6"/>
                  </a:lnTo>
                  <a:lnTo>
                    <a:pt x="2" y="10"/>
                  </a:lnTo>
                  <a:lnTo>
                    <a:pt x="10" y="12"/>
                  </a:lnTo>
                  <a:lnTo>
                    <a:pt x="1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 name="Google Shape;4496;p64">
              <a:extLst>
                <a:ext uri="{FF2B5EF4-FFF2-40B4-BE49-F238E27FC236}">
                  <a16:creationId xmlns:a16="http://schemas.microsoft.com/office/drawing/2014/main" id="{CC5FBC5B-67E8-BD6D-B300-8A55C219088E}"/>
                </a:ext>
              </a:extLst>
            </p:cNvPr>
            <p:cNvSpPr/>
            <p:nvPr/>
          </p:nvSpPr>
          <p:spPr>
            <a:xfrm>
              <a:off x="3193960" y="4602224"/>
              <a:ext cx="2625" cy="3938"/>
            </a:xfrm>
            <a:custGeom>
              <a:avLst/>
              <a:gdLst/>
              <a:ahLst/>
              <a:cxnLst/>
              <a:rect l="l" t="t" r="r" b="b"/>
              <a:pathLst>
                <a:path w="8" h="12" extrusionOk="0">
                  <a:moveTo>
                    <a:pt x="8" y="10"/>
                  </a:moveTo>
                  <a:lnTo>
                    <a:pt x="8" y="4"/>
                  </a:lnTo>
                  <a:lnTo>
                    <a:pt x="6" y="2"/>
                  </a:lnTo>
                  <a:lnTo>
                    <a:pt x="4" y="2"/>
                  </a:lnTo>
                  <a:lnTo>
                    <a:pt x="2" y="0"/>
                  </a:lnTo>
                  <a:lnTo>
                    <a:pt x="0" y="0"/>
                  </a:lnTo>
                  <a:lnTo>
                    <a:pt x="0" y="2"/>
                  </a:lnTo>
                  <a:lnTo>
                    <a:pt x="2" y="8"/>
                  </a:lnTo>
                  <a:lnTo>
                    <a:pt x="8" y="12"/>
                  </a:lnTo>
                  <a:lnTo>
                    <a:pt x="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0" name="Google Shape;4497;p64">
              <a:extLst>
                <a:ext uri="{FF2B5EF4-FFF2-40B4-BE49-F238E27FC236}">
                  <a16:creationId xmlns:a16="http://schemas.microsoft.com/office/drawing/2014/main" id="{A44553BD-79D4-C10D-784F-A76A8EC40CD1}"/>
                </a:ext>
              </a:extLst>
            </p:cNvPr>
            <p:cNvCxnSpPr/>
            <p:nvPr/>
          </p:nvCxnSpPr>
          <p:spPr>
            <a:xfrm>
              <a:off x="3196586" y="4605506"/>
              <a:ext cx="0" cy="0"/>
            </a:xfrm>
            <a:prstGeom prst="straightConnector1">
              <a:avLst/>
            </a:prstGeom>
            <a:grpFill/>
            <a:ln w="9525" cap="flat" cmpd="sng">
              <a:solidFill>
                <a:schemeClr val="bg2"/>
              </a:solidFill>
              <a:prstDash val="solid"/>
              <a:round/>
              <a:headEnd type="none" w="med" len="med"/>
              <a:tailEnd type="none" w="med" len="med"/>
            </a:ln>
          </p:spPr>
        </p:cxnSp>
        <p:cxnSp>
          <p:nvCxnSpPr>
            <p:cNvPr id="31" name="Google Shape;4498;p64">
              <a:extLst>
                <a:ext uri="{FF2B5EF4-FFF2-40B4-BE49-F238E27FC236}">
                  <a16:creationId xmlns:a16="http://schemas.microsoft.com/office/drawing/2014/main" id="{48836020-9608-BC14-D99F-3191A69346C1}"/>
                </a:ext>
              </a:extLst>
            </p:cNvPr>
            <p:cNvCxnSpPr/>
            <p:nvPr/>
          </p:nvCxnSpPr>
          <p:spPr>
            <a:xfrm>
              <a:off x="3196586" y="4605506"/>
              <a:ext cx="0" cy="0"/>
            </a:xfrm>
            <a:prstGeom prst="straightConnector1">
              <a:avLst/>
            </a:prstGeom>
            <a:grpFill/>
            <a:ln w="9525" cap="flat" cmpd="sng">
              <a:solidFill>
                <a:schemeClr val="bg2"/>
              </a:solidFill>
              <a:prstDash val="solid"/>
              <a:round/>
              <a:headEnd type="none" w="med" len="med"/>
              <a:tailEnd type="none" w="med" len="med"/>
            </a:ln>
          </p:spPr>
        </p:cxnSp>
        <p:sp>
          <p:nvSpPr>
            <p:cNvPr id="32" name="Google Shape;4499;p64">
              <a:extLst>
                <a:ext uri="{FF2B5EF4-FFF2-40B4-BE49-F238E27FC236}">
                  <a16:creationId xmlns:a16="http://schemas.microsoft.com/office/drawing/2014/main" id="{E77DE57F-1C1C-567A-681C-8575ADA2F862}"/>
                </a:ext>
              </a:extLst>
            </p:cNvPr>
            <p:cNvSpPr/>
            <p:nvPr/>
          </p:nvSpPr>
          <p:spPr>
            <a:xfrm>
              <a:off x="7941412" y="6392322"/>
              <a:ext cx="2625" cy="10501"/>
            </a:xfrm>
            <a:custGeom>
              <a:avLst/>
              <a:gdLst/>
              <a:ahLst/>
              <a:cxnLst/>
              <a:rect l="l" t="t" r="r" b="b"/>
              <a:pathLst>
                <a:path w="8" h="32" extrusionOk="0">
                  <a:moveTo>
                    <a:pt x="4" y="28"/>
                  </a:moveTo>
                  <a:lnTo>
                    <a:pt x="8" y="12"/>
                  </a:lnTo>
                  <a:lnTo>
                    <a:pt x="8" y="0"/>
                  </a:lnTo>
                  <a:lnTo>
                    <a:pt x="6" y="4"/>
                  </a:lnTo>
                  <a:lnTo>
                    <a:pt x="0" y="26"/>
                  </a:lnTo>
                  <a:lnTo>
                    <a:pt x="2" y="32"/>
                  </a:lnTo>
                  <a:lnTo>
                    <a:pt x="4" y="2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3" name="Google Shape;4500;p64">
              <a:extLst>
                <a:ext uri="{FF2B5EF4-FFF2-40B4-BE49-F238E27FC236}">
                  <a16:creationId xmlns:a16="http://schemas.microsoft.com/office/drawing/2014/main" id="{A8711555-521B-5C2C-A0CF-69C5C582C7C0}"/>
                </a:ext>
              </a:extLst>
            </p:cNvPr>
            <p:cNvSpPr/>
            <p:nvPr/>
          </p:nvSpPr>
          <p:spPr>
            <a:xfrm>
              <a:off x="6953659" y="5206690"/>
              <a:ext cx="875524" cy="827284"/>
            </a:xfrm>
            <a:custGeom>
              <a:avLst/>
              <a:gdLst/>
              <a:ahLst/>
              <a:cxnLst/>
              <a:rect l="l" t="t" r="r" b="b"/>
              <a:pathLst>
                <a:path w="6356680" h="6006442" extrusionOk="0">
                  <a:moveTo>
                    <a:pt x="5370300" y="5934966"/>
                  </a:moveTo>
                  <a:lnTo>
                    <a:pt x="5375064" y="5934966"/>
                  </a:lnTo>
                  <a:lnTo>
                    <a:pt x="5379832" y="5949262"/>
                  </a:lnTo>
                  <a:lnTo>
                    <a:pt x="5379832" y="5958794"/>
                  </a:lnTo>
                  <a:lnTo>
                    <a:pt x="5375064" y="5982618"/>
                  </a:lnTo>
                  <a:lnTo>
                    <a:pt x="5360768" y="5977854"/>
                  </a:lnTo>
                  <a:lnTo>
                    <a:pt x="5351240" y="5982618"/>
                  </a:lnTo>
                  <a:lnTo>
                    <a:pt x="5341708" y="5968322"/>
                  </a:lnTo>
                  <a:lnTo>
                    <a:pt x="5341708" y="5963558"/>
                  </a:lnTo>
                  <a:lnTo>
                    <a:pt x="5351240" y="5968322"/>
                  </a:lnTo>
                  <a:lnTo>
                    <a:pt x="5356004" y="5963558"/>
                  </a:lnTo>
                  <a:lnTo>
                    <a:pt x="5356004" y="5954026"/>
                  </a:lnTo>
                  <a:lnTo>
                    <a:pt x="5360768" y="5954026"/>
                  </a:lnTo>
                  <a:lnTo>
                    <a:pt x="5360768" y="5944498"/>
                  </a:lnTo>
                  <a:close/>
                  <a:moveTo>
                    <a:pt x="5379832" y="5892078"/>
                  </a:moveTo>
                  <a:lnTo>
                    <a:pt x="5389360" y="5901610"/>
                  </a:lnTo>
                  <a:lnTo>
                    <a:pt x="5394128" y="5925438"/>
                  </a:lnTo>
                  <a:lnTo>
                    <a:pt x="5384596" y="5925438"/>
                  </a:lnTo>
                  <a:lnTo>
                    <a:pt x="5379832" y="5925438"/>
                  </a:lnTo>
                  <a:lnTo>
                    <a:pt x="5379832" y="5915906"/>
                  </a:lnTo>
                  <a:lnTo>
                    <a:pt x="5370300" y="5911142"/>
                  </a:lnTo>
                  <a:lnTo>
                    <a:pt x="5375064" y="5906374"/>
                  </a:lnTo>
                  <a:lnTo>
                    <a:pt x="5375064" y="5901610"/>
                  </a:lnTo>
                  <a:close/>
                  <a:moveTo>
                    <a:pt x="5494192" y="5787246"/>
                  </a:moveTo>
                  <a:lnTo>
                    <a:pt x="5503724" y="5792014"/>
                  </a:lnTo>
                  <a:lnTo>
                    <a:pt x="5508488" y="5801542"/>
                  </a:lnTo>
                  <a:lnTo>
                    <a:pt x="5498960" y="5806310"/>
                  </a:lnTo>
                  <a:lnTo>
                    <a:pt x="5498960" y="5815838"/>
                  </a:lnTo>
                  <a:lnTo>
                    <a:pt x="5489428" y="5815838"/>
                  </a:lnTo>
                  <a:lnTo>
                    <a:pt x="5484664" y="5815838"/>
                  </a:lnTo>
                  <a:lnTo>
                    <a:pt x="5484664" y="5801542"/>
                  </a:lnTo>
                  <a:lnTo>
                    <a:pt x="5484664" y="5796778"/>
                  </a:lnTo>
                  <a:close/>
                  <a:moveTo>
                    <a:pt x="4970028" y="5386978"/>
                  </a:moveTo>
                  <a:lnTo>
                    <a:pt x="4984324" y="5396506"/>
                  </a:lnTo>
                  <a:lnTo>
                    <a:pt x="5017680" y="5410802"/>
                  </a:lnTo>
                  <a:lnTo>
                    <a:pt x="5036740" y="5410802"/>
                  </a:lnTo>
                  <a:lnTo>
                    <a:pt x="5046272" y="5406038"/>
                  </a:lnTo>
                  <a:lnTo>
                    <a:pt x="5055800" y="5406038"/>
                  </a:lnTo>
                  <a:lnTo>
                    <a:pt x="5065332" y="5420334"/>
                  </a:lnTo>
                  <a:lnTo>
                    <a:pt x="5079628" y="5425098"/>
                  </a:lnTo>
                  <a:lnTo>
                    <a:pt x="5089156" y="5425098"/>
                  </a:lnTo>
                  <a:lnTo>
                    <a:pt x="5093924" y="5425098"/>
                  </a:lnTo>
                  <a:lnTo>
                    <a:pt x="5103452" y="5434630"/>
                  </a:lnTo>
                  <a:lnTo>
                    <a:pt x="5117748" y="5439394"/>
                  </a:lnTo>
                  <a:lnTo>
                    <a:pt x="5127280" y="5448922"/>
                  </a:lnTo>
                  <a:lnTo>
                    <a:pt x="5132044" y="5453690"/>
                  </a:lnTo>
                  <a:lnTo>
                    <a:pt x="5141572" y="5458454"/>
                  </a:lnTo>
                  <a:lnTo>
                    <a:pt x="5184460" y="5477514"/>
                  </a:lnTo>
                  <a:lnTo>
                    <a:pt x="5217816" y="5487046"/>
                  </a:lnTo>
                  <a:lnTo>
                    <a:pt x="5260700" y="5482278"/>
                  </a:lnTo>
                  <a:lnTo>
                    <a:pt x="5270232" y="5477514"/>
                  </a:lnTo>
                  <a:lnTo>
                    <a:pt x="5279764" y="5472750"/>
                  </a:lnTo>
                  <a:lnTo>
                    <a:pt x="5289292" y="5477514"/>
                  </a:lnTo>
                  <a:lnTo>
                    <a:pt x="5298824" y="5487046"/>
                  </a:lnTo>
                  <a:lnTo>
                    <a:pt x="5298824" y="5477514"/>
                  </a:lnTo>
                  <a:lnTo>
                    <a:pt x="5303588" y="5467986"/>
                  </a:lnTo>
                  <a:lnTo>
                    <a:pt x="5313120" y="5458454"/>
                  </a:lnTo>
                  <a:lnTo>
                    <a:pt x="5322648" y="5453690"/>
                  </a:lnTo>
                  <a:lnTo>
                    <a:pt x="5341708" y="5453690"/>
                  </a:lnTo>
                  <a:lnTo>
                    <a:pt x="5360768" y="5448922"/>
                  </a:lnTo>
                  <a:lnTo>
                    <a:pt x="5365536" y="5444158"/>
                  </a:lnTo>
                  <a:lnTo>
                    <a:pt x="5375064" y="5444158"/>
                  </a:lnTo>
                  <a:lnTo>
                    <a:pt x="5384596" y="5453690"/>
                  </a:lnTo>
                  <a:lnTo>
                    <a:pt x="5394124" y="5453690"/>
                  </a:lnTo>
                  <a:lnTo>
                    <a:pt x="5403656" y="5448922"/>
                  </a:lnTo>
                  <a:lnTo>
                    <a:pt x="5413184" y="5429862"/>
                  </a:lnTo>
                  <a:lnTo>
                    <a:pt x="5422716" y="5425098"/>
                  </a:lnTo>
                  <a:lnTo>
                    <a:pt x="5451308" y="5429862"/>
                  </a:lnTo>
                  <a:lnTo>
                    <a:pt x="5460836" y="5429862"/>
                  </a:lnTo>
                  <a:lnTo>
                    <a:pt x="5475132" y="5410802"/>
                  </a:lnTo>
                  <a:lnTo>
                    <a:pt x="5484664" y="5410802"/>
                  </a:lnTo>
                  <a:lnTo>
                    <a:pt x="5513252" y="5425098"/>
                  </a:lnTo>
                  <a:lnTo>
                    <a:pt x="5527548" y="5444158"/>
                  </a:lnTo>
                  <a:lnTo>
                    <a:pt x="5527548" y="5477514"/>
                  </a:lnTo>
                  <a:lnTo>
                    <a:pt x="5527548" y="5491810"/>
                  </a:lnTo>
                  <a:lnTo>
                    <a:pt x="5527548" y="5501338"/>
                  </a:lnTo>
                  <a:lnTo>
                    <a:pt x="5527548" y="5525166"/>
                  </a:lnTo>
                  <a:lnTo>
                    <a:pt x="5527548" y="5548990"/>
                  </a:lnTo>
                  <a:lnTo>
                    <a:pt x="5527548" y="5568050"/>
                  </a:lnTo>
                  <a:lnTo>
                    <a:pt x="5527548" y="5587114"/>
                  </a:lnTo>
                  <a:lnTo>
                    <a:pt x="5527548" y="5625234"/>
                  </a:lnTo>
                  <a:lnTo>
                    <a:pt x="5532312" y="5649058"/>
                  </a:lnTo>
                  <a:lnTo>
                    <a:pt x="5527548" y="5663354"/>
                  </a:lnTo>
                  <a:lnTo>
                    <a:pt x="5527548" y="5672886"/>
                  </a:lnTo>
                  <a:lnTo>
                    <a:pt x="5532312" y="5677650"/>
                  </a:lnTo>
                  <a:lnTo>
                    <a:pt x="5532312" y="5687178"/>
                  </a:lnTo>
                  <a:lnTo>
                    <a:pt x="5532312" y="5696710"/>
                  </a:lnTo>
                  <a:lnTo>
                    <a:pt x="5532312" y="5706242"/>
                  </a:lnTo>
                  <a:lnTo>
                    <a:pt x="5532312" y="5720534"/>
                  </a:lnTo>
                  <a:lnTo>
                    <a:pt x="5527548" y="5715770"/>
                  </a:lnTo>
                  <a:lnTo>
                    <a:pt x="5522784" y="5711006"/>
                  </a:lnTo>
                  <a:lnTo>
                    <a:pt x="5527548" y="5701474"/>
                  </a:lnTo>
                  <a:lnTo>
                    <a:pt x="5522784" y="5691946"/>
                  </a:lnTo>
                  <a:lnTo>
                    <a:pt x="5522784" y="5682414"/>
                  </a:lnTo>
                  <a:lnTo>
                    <a:pt x="5508488" y="5677650"/>
                  </a:lnTo>
                  <a:lnTo>
                    <a:pt x="5513252" y="5672886"/>
                  </a:lnTo>
                  <a:lnTo>
                    <a:pt x="5518020" y="5668118"/>
                  </a:lnTo>
                  <a:lnTo>
                    <a:pt x="5513252" y="5658590"/>
                  </a:lnTo>
                  <a:lnTo>
                    <a:pt x="5508488" y="5663354"/>
                  </a:lnTo>
                  <a:lnTo>
                    <a:pt x="5503724" y="5677650"/>
                  </a:lnTo>
                  <a:lnTo>
                    <a:pt x="5503724" y="5682414"/>
                  </a:lnTo>
                  <a:lnTo>
                    <a:pt x="5503724" y="5687178"/>
                  </a:lnTo>
                  <a:lnTo>
                    <a:pt x="5489428" y="5701474"/>
                  </a:lnTo>
                  <a:lnTo>
                    <a:pt x="5484664" y="5715770"/>
                  </a:lnTo>
                  <a:lnTo>
                    <a:pt x="5479896" y="5734830"/>
                  </a:lnTo>
                  <a:lnTo>
                    <a:pt x="5484664" y="5753890"/>
                  </a:lnTo>
                  <a:lnTo>
                    <a:pt x="5475132" y="5768186"/>
                  </a:lnTo>
                  <a:lnTo>
                    <a:pt x="5470368" y="5782482"/>
                  </a:lnTo>
                  <a:lnTo>
                    <a:pt x="5465604" y="5801542"/>
                  </a:lnTo>
                  <a:lnTo>
                    <a:pt x="5465604" y="5834898"/>
                  </a:lnTo>
                  <a:lnTo>
                    <a:pt x="5475132" y="5868254"/>
                  </a:lnTo>
                  <a:lnTo>
                    <a:pt x="5479896" y="5906374"/>
                  </a:lnTo>
                  <a:lnTo>
                    <a:pt x="5470368" y="5915906"/>
                  </a:lnTo>
                  <a:lnTo>
                    <a:pt x="5456072" y="5915906"/>
                  </a:lnTo>
                  <a:lnTo>
                    <a:pt x="5446540" y="5920670"/>
                  </a:lnTo>
                  <a:lnTo>
                    <a:pt x="5432248" y="5901610"/>
                  </a:lnTo>
                  <a:lnTo>
                    <a:pt x="5427480" y="5877786"/>
                  </a:lnTo>
                  <a:lnTo>
                    <a:pt x="5432248" y="5868254"/>
                  </a:lnTo>
                  <a:lnTo>
                    <a:pt x="5446540" y="5877786"/>
                  </a:lnTo>
                  <a:lnTo>
                    <a:pt x="5451308" y="5868254"/>
                  </a:lnTo>
                  <a:lnTo>
                    <a:pt x="5451308" y="5863490"/>
                  </a:lnTo>
                  <a:lnTo>
                    <a:pt x="5451308" y="5858726"/>
                  </a:lnTo>
                  <a:lnTo>
                    <a:pt x="5432248" y="5849194"/>
                  </a:lnTo>
                  <a:lnTo>
                    <a:pt x="5413184" y="5844430"/>
                  </a:lnTo>
                  <a:lnTo>
                    <a:pt x="5408420" y="5849194"/>
                  </a:lnTo>
                  <a:lnTo>
                    <a:pt x="5408420" y="5868254"/>
                  </a:lnTo>
                  <a:lnTo>
                    <a:pt x="5408420" y="5873018"/>
                  </a:lnTo>
                  <a:lnTo>
                    <a:pt x="5394124" y="5882550"/>
                  </a:lnTo>
                  <a:lnTo>
                    <a:pt x="5389360" y="5853958"/>
                  </a:lnTo>
                  <a:lnTo>
                    <a:pt x="5370300" y="5830134"/>
                  </a:lnTo>
                  <a:lnTo>
                    <a:pt x="5370300" y="5839662"/>
                  </a:lnTo>
                  <a:lnTo>
                    <a:pt x="5379832" y="5858726"/>
                  </a:lnTo>
                  <a:lnTo>
                    <a:pt x="5379832" y="5868254"/>
                  </a:lnTo>
                  <a:lnTo>
                    <a:pt x="5375064" y="5877786"/>
                  </a:lnTo>
                  <a:lnTo>
                    <a:pt x="5370300" y="5882550"/>
                  </a:lnTo>
                  <a:lnTo>
                    <a:pt x="5365536" y="5892082"/>
                  </a:lnTo>
                  <a:lnTo>
                    <a:pt x="5365536" y="5901610"/>
                  </a:lnTo>
                  <a:lnTo>
                    <a:pt x="5365536" y="5920670"/>
                  </a:lnTo>
                  <a:lnTo>
                    <a:pt x="5351240" y="5930202"/>
                  </a:lnTo>
                  <a:lnTo>
                    <a:pt x="5322648" y="5906374"/>
                  </a:lnTo>
                  <a:lnTo>
                    <a:pt x="5322648" y="5915906"/>
                  </a:lnTo>
                  <a:lnTo>
                    <a:pt x="5322648" y="5920670"/>
                  </a:lnTo>
                  <a:lnTo>
                    <a:pt x="5336944" y="5934966"/>
                  </a:lnTo>
                  <a:lnTo>
                    <a:pt x="5332180" y="5944498"/>
                  </a:lnTo>
                  <a:lnTo>
                    <a:pt x="5327412" y="5954026"/>
                  </a:lnTo>
                  <a:lnTo>
                    <a:pt x="5317884" y="5982618"/>
                  </a:lnTo>
                  <a:lnTo>
                    <a:pt x="5303588" y="6006442"/>
                  </a:lnTo>
                  <a:lnTo>
                    <a:pt x="5298824" y="6006442"/>
                  </a:lnTo>
                  <a:lnTo>
                    <a:pt x="5279764" y="6001678"/>
                  </a:lnTo>
                  <a:lnTo>
                    <a:pt x="5255936" y="5982618"/>
                  </a:lnTo>
                  <a:lnTo>
                    <a:pt x="5232112" y="5987382"/>
                  </a:lnTo>
                  <a:lnTo>
                    <a:pt x="5198756" y="5982618"/>
                  </a:lnTo>
                  <a:lnTo>
                    <a:pt x="5174928" y="5992146"/>
                  </a:lnTo>
                  <a:lnTo>
                    <a:pt x="5170164" y="5968322"/>
                  </a:lnTo>
                  <a:lnTo>
                    <a:pt x="5165400" y="5963558"/>
                  </a:lnTo>
                  <a:lnTo>
                    <a:pt x="5170164" y="5954026"/>
                  </a:lnTo>
                  <a:lnTo>
                    <a:pt x="5184460" y="5949262"/>
                  </a:lnTo>
                  <a:lnTo>
                    <a:pt x="5203520" y="5949262"/>
                  </a:lnTo>
                  <a:lnTo>
                    <a:pt x="5198756" y="5944498"/>
                  </a:lnTo>
                  <a:lnTo>
                    <a:pt x="5193992" y="5939730"/>
                  </a:lnTo>
                  <a:lnTo>
                    <a:pt x="5189224" y="5939730"/>
                  </a:lnTo>
                  <a:lnTo>
                    <a:pt x="5165400" y="5934966"/>
                  </a:lnTo>
                  <a:lnTo>
                    <a:pt x="5151104" y="5939730"/>
                  </a:lnTo>
                  <a:lnTo>
                    <a:pt x="5136808" y="5925434"/>
                  </a:lnTo>
                  <a:lnTo>
                    <a:pt x="5117748" y="5892082"/>
                  </a:lnTo>
                  <a:lnTo>
                    <a:pt x="5108216" y="5873018"/>
                  </a:lnTo>
                  <a:lnTo>
                    <a:pt x="5103452" y="5868254"/>
                  </a:lnTo>
                  <a:lnTo>
                    <a:pt x="5093924" y="5863490"/>
                  </a:lnTo>
                  <a:lnTo>
                    <a:pt x="5089156" y="5858726"/>
                  </a:lnTo>
                  <a:lnTo>
                    <a:pt x="5055800" y="5777718"/>
                  </a:lnTo>
                  <a:lnTo>
                    <a:pt x="5051036" y="5758658"/>
                  </a:lnTo>
                  <a:lnTo>
                    <a:pt x="5041508" y="5711006"/>
                  </a:lnTo>
                  <a:lnTo>
                    <a:pt x="5070096" y="5734830"/>
                  </a:lnTo>
                  <a:lnTo>
                    <a:pt x="5079628" y="5749126"/>
                  </a:lnTo>
                  <a:lnTo>
                    <a:pt x="5084392" y="5768186"/>
                  </a:lnTo>
                  <a:lnTo>
                    <a:pt x="5093924" y="5744362"/>
                  </a:lnTo>
                  <a:lnTo>
                    <a:pt x="5093924" y="5739598"/>
                  </a:lnTo>
                  <a:lnTo>
                    <a:pt x="5070096" y="5711006"/>
                  </a:lnTo>
                  <a:lnTo>
                    <a:pt x="5065332" y="5701474"/>
                  </a:lnTo>
                  <a:lnTo>
                    <a:pt x="5065332" y="5691946"/>
                  </a:lnTo>
                  <a:lnTo>
                    <a:pt x="5060568" y="5701474"/>
                  </a:lnTo>
                  <a:lnTo>
                    <a:pt x="5051036" y="5706242"/>
                  </a:lnTo>
                  <a:lnTo>
                    <a:pt x="5051036" y="5687178"/>
                  </a:lnTo>
                  <a:lnTo>
                    <a:pt x="5051036" y="5668118"/>
                  </a:lnTo>
                  <a:lnTo>
                    <a:pt x="5022444" y="5625234"/>
                  </a:lnTo>
                  <a:lnTo>
                    <a:pt x="4998620" y="5587114"/>
                  </a:lnTo>
                  <a:lnTo>
                    <a:pt x="4979560" y="5539462"/>
                  </a:lnTo>
                  <a:lnTo>
                    <a:pt x="4974796" y="5534694"/>
                  </a:lnTo>
                  <a:lnTo>
                    <a:pt x="4974796" y="5525166"/>
                  </a:lnTo>
                  <a:lnTo>
                    <a:pt x="4965264" y="5491810"/>
                  </a:lnTo>
                  <a:lnTo>
                    <a:pt x="4960500" y="5472750"/>
                  </a:lnTo>
                  <a:lnTo>
                    <a:pt x="4955736" y="5448922"/>
                  </a:lnTo>
                  <a:lnTo>
                    <a:pt x="4965264" y="5410802"/>
                  </a:lnTo>
                  <a:close/>
                  <a:moveTo>
                    <a:pt x="5498960" y="5353622"/>
                  </a:moveTo>
                  <a:lnTo>
                    <a:pt x="5513252" y="5353622"/>
                  </a:lnTo>
                  <a:lnTo>
                    <a:pt x="5518020" y="5353622"/>
                  </a:lnTo>
                  <a:lnTo>
                    <a:pt x="5508488" y="5372682"/>
                  </a:lnTo>
                  <a:lnTo>
                    <a:pt x="5498960" y="5358386"/>
                  </a:lnTo>
                  <a:close/>
                  <a:moveTo>
                    <a:pt x="4979560" y="5339326"/>
                  </a:moveTo>
                  <a:lnTo>
                    <a:pt x="4979560" y="5353622"/>
                  </a:lnTo>
                  <a:lnTo>
                    <a:pt x="4974792" y="5367918"/>
                  </a:lnTo>
                  <a:lnTo>
                    <a:pt x="4965264" y="5348858"/>
                  </a:lnTo>
                  <a:lnTo>
                    <a:pt x="4974792" y="5344090"/>
                  </a:lnTo>
                  <a:close/>
                  <a:moveTo>
                    <a:pt x="5532316" y="5310734"/>
                  </a:moveTo>
                  <a:lnTo>
                    <a:pt x="5546608" y="5325030"/>
                  </a:lnTo>
                  <a:lnTo>
                    <a:pt x="5556140" y="5339326"/>
                  </a:lnTo>
                  <a:lnTo>
                    <a:pt x="5546608" y="5348854"/>
                  </a:lnTo>
                  <a:lnTo>
                    <a:pt x="5537080" y="5348854"/>
                  </a:lnTo>
                  <a:lnTo>
                    <a:pt x="5532316" y="5339326"/>
                  </a:lnTo>
                  <a:lnTo>
                    <a:pt x="5513252" y="5344090"/>
                  </a:lnTo>
                  <a:lnTo>
                    <a:pt x="5498960" y="5339326"/>
                  </a:lnTo>
                  <a:lnTo>
                    <a:pt x="5484664" y="5329794"/>
                  </a:lnTo>
                  <a:lnTo>
                    <a:pt x="5484664" y="5325030"/>
                  </a:lnTo>
                  <a:lnTo>
                    <a:pt x="5489428" y="5320266"/>
                  </a:lnTo>
                  <a:lnTo>
                    <a:pt x="5513252" y="5320266"/>
                  </a:lnTo>
                  <a:close/>
                  <a:moveTo>
                    <a:pt x="5470368" y="5191606"/>
                  </a:moveTo>
                  <a:lnTo>
                    <a:pt x="5479896" y="5201138"/>
                  </a:lnTo>
                  <a:lnTo>
                    <a:pt x="5508488" y="5234494"/>
                  </a:lnTo>
                  <a:lnTo>
                    <a:pt x="5522784" y="5244022"/>
                  </a:lnTo>
                  <a:lnTo>
                    <a:pt x="5527548" y="5244022"/>
                  </a:lnTo>
                  <a:lnTo>
                    <a:pt x="5527548" y="5263082"/>
                  </a:lnTo>
                  <a:lnTo>
                    <a:pt x="5522784" y="5267850"/>
                  </a:lnTo>
                  <a:lnTo>
                    <a:pt x="5532312" y="5277378"/>
                  </a:lnTo>
                  <a:lnTo>
                    <a:pt x="5532312" y="5282146"/>
                  </a:lnTo>
                  <a:lnTo>
                    <a:pt x="5527548" y="5282146"/>
                  </a:lnTo>
                  <a:lnTo>
                    <a:pt x="5513252" y="5296438"/>
                  </a:lnTo>
                  <a:lnTo>
                    <a:pt x="5498960" y="5301206"/>
                  </a:lnTo>
                  <a:lnTo>
                    <a:pt x="5494192" y="5296438"/>
                  </a:lnTo>
                  <a:lnTo>
                    <a:pt x="5489428" y="5291674"/>
                  </a:lnTo>
                  <a:lnTo>
                    <a:pt x="5484664" y="5282146"/>
                  </a:lnTo>
                  <a:lnTo>
                    <a:pt x="5465604" y="5253554"/>
                  </a:lnTo>
                  <a:lnTo>
                    <a:pt x="5465604" y="5244022"/>
                  </a:lnTo>
                  <a:lnTo>
                    <a:pt x="5460836" y="5229730"/>
                  </a:lnTo>
                  <a:lnTo>
                    <a:pt x="5451308" y="5229730"/>
                  </a:lnTo>
                  <a:lnTo>
                    <a:pt x="5446544" y="5220198"/>
                  </a:lnTo>
                  <a:lnTo>
                    <a:pt x="5456072" y="5215434"/>
                  </a:lnTo>
                  <a:close/>
                  <a:moveTo>
                    <a:pt x="4846136" y="5163014"/>
                  </a:moveTo>
                  <a:lnTo>
                    <a:pt x="4855664" y="5163014"/>
                  </a:lnTo>
                  <a:lnTo>
                    <a:pt x="4869960" y="5177310"/>
                  </a:lnTo>
                  <a:lnTo>
                    <a:pt x="4874724" y="5205902"/>
                  </a:lnTo>
                  <a:lnTo>
                    <a:pt x="4874724" y="5224962"/>
                  </a:lnTo>
                  <a:lnTo>
                    <a:pt x="4879492" y="5239258"/>
                  </a:lnTo>
                  <a:lnTo>
                    <a:pt x="4874724" y="5253554"/>
                  </a:lnTo>
                  <a:lnTo>
                    <a:pt x="4860432" y="5263082"/>
                  </a:lnTo>
                  <a:lnTo>
                    <a:pt x="4846136" y="5272614"/>
                  </a:lnTo>
                  <a:lnTo>
                    <a:pt x="4841372" y="5272614"/>
                  </a:lnTo>
                  <a:lnTo>
                    <a:pt x="4836604" y="5263082"/>
                  </a:lnTo>
                  <a:lnTo>
                    <a:pt x="4841372" y="5244022"/>
                  </a:lnTo>
                  <a:lnTo>
                    <a:pt x="4831840" y="5229726"/>
                  </a:lnTo>
                  <a:lnTo>
                    <a:pt x="4836604" y="5215434"/>
                  </a:lnTo>
                  <a:lnTo>
                    <a:pt x="4836604" y="5196370"/>
                  </a:lnTo>
                  <a:lnTo>
                    <a:pt x="4836604" y="5186842"/>
                  </a:lnTo>
                  <a:lnTo>
                    <a:pt x="4846136" y="5177310"/>
                  </a:lnTo>
                  <a:close/>
                  <a:moveTo>
                    <a:pt x="5046272" y="4939054"/>
                  </a:moveTo>
                  <a:lnTo>
                    <a:pt x="5055800" y="4939054"/>
                  </a:lnTo>
                  <a:lnTo>
                    <a:pt x="5060568" y="4943822"/>
                  </a:lnTo>
                  <a:lnTo>
                    <a:pt x="5065332" y="4953350"/>
                  </a:lnTo>
                  <a:lnTo>
                    <a:pt x="5070096" y="4958118"/>
                  </a:lnTo>
                  <a:lnTo>
                    <a:pt x="5055800" y="4948586"/>
                  </a:lnTo>
                  <a:lnTo>
                    <a:pt x="5031976" y="4953350"/>
                  </a:lnTo>
                  <a:close/>
                  <a:moveTo>
                    <a:pt x="5060568" y="4910462"/>
                  </a:moveTo>
                  <a:lnTo>
                    <a:pt x="5079628" y="4910462"/>
                  </a:lnTo>
                  <a:lnTo>
                    <a:pt x="5089156" y="4919994"/>
                  </a:lnTo>
                  <a:lnTo>
                    <a:pt x="5065332" y="4929526"/>
                  </a:lnTo>
                  <a:lnTo>
                    <a:pt x="5055800" y="4924758"/>
                  </a:lnTo>
                  <a:lnTo>
                    <a:pt x="5055800" y="4915230"/>
                  </a:lnTo>
                  <a:close/>
                  <a:moveTo>
                    <a:pt x="3816868" y="4376770"/>
                  </a:moveTo>
                  <a:lnTo>
                    <a:pt x="3845460" y="4381534"/>
                  </a:lnTo>
                  <a:lnTo>
                    <a:pt x="3854988" y="4381534"/>
                  </a:lnTo>
                  <a:lnTo>
                    <a:pt x="3864520" y="4391066"/>
                  </a:lnTo>
                  <a:lnTo>
                    <a:pt x="3854988" y="4400594"/>
                  </a:lnTo>
                  <a:lnTo>
                    <a:pt x="3854988" y="4405358"/>
                  </a:lnTo>
                  <a:lnTo>
                    <a:pt x="3893112" y="4410126"/>
                  </a:lnTo>
                  <a:lnTo>
                    <a:pt x="3907408" y="4400594"/>
                  </a:lnTo>
                  <a:lnTo>
                    <a:pt x="3926468" y="4410126"/>
                  </a:lnTo>
                  <a:lnTo>
                    <a:pt x="3940760" y="4429186"/>
                  </a:lnTo>
                  <a:lnTo>
                    <a:pt x="3931232" y="4438714"/>
                  </a:lnTo>
                  <a:lnTo>
                    <a:pt x="3921700" y="4438714"/>
                  </a:lnTo>
                  <a:lnTo>
                    <a:pt x="3893112" y="4429186"/>
                  </a:lnTo>
                  <a:lnTo>
                    <a:pt x="3869284" y="4433950"/>
                  </a:lnTo>
                  <a:lnTo>
                    <a:pt x="3859756" y="4443482"/>
                  </a:lnTo>
                  <a:lnTo>
                    <a:pt x="3854988" y="4462542"/>
                  </a:lnTo>
                  <a:lnTo>
                    <a:pt x="3831164" y="4472074"/>
                  </a:lnTo>
                  <a:lnTo>
                    <a:pt x="3821632" y="4457778"/>
                  </a:lnTo>
                  <a:lnTo>
                    <a:pt x="3797808" y="4453010"/>
                  </a:lnTo>
                  <a:lnTo>
                    <a:pt x="3788276" y="4462542"/>
                  </a:lnTo>
                  <a:lnTo>
                    <a:pt x="3769216" y="4462542"/>
                  </a:lnTo>
                  <a:lnTo>
                    <a:pt x="3750156" y="4467306"/>
                  </a:lnTo>
                  <a:lnTo>
                    <a:pt x="3726332" y="4462542"/>
                  </a:lnTo>
                  <a:lnTo>
                    <a:pt x="3697740" y="4443482"/>
                  </a:lnTo>
                  <a:lnTo>
                    <a:pt x="3692976" y="4433950"/>
                  </a:lnTo>
                  <a:lnTo>
                    <a:pt x="3697740" y="4419654"/>
                  </a:lnTo>
                  <a:lnTo>
                    <a:pt x="3707272" y="4405358"/>
                  </a:lnTo>
                  <a:lnTo>
                    <a:pt x="3778748" y="4391066"/>
                  </a:lnTo>
                  <a:close/>
                  <a:moveTo>
                    <a:pt x="6328092" y="2875754"/>
                  </a:moveTo>
                  <a:lnTo>
                    <a:pt x="6342384" y="2875754"/>
                  </a:lnTo>
                  <a:lnTo>
                    <a:pt x="6347152" y="2880518"/>
                  </a:lnTo>
                  <a:lnTo>
                    <a:pt x="6332856" y="2928170"/>
                  </a:lnTo>
                  <a:lnTo>
                    <a:pt x="6328092" y="2928170"/>
                  </a:lnTo>
                  <a:lnTo>
                    <a:pt x="6323324" y="2923406"/>
                  </a:lnTo>
                  <a:lnTo>
                    <a:pt x="6323324" y="2894814"/>
                  </a:lnTo>
                  <a:close/>
                  <a:moveTo>
                    <a:pt x="6328088" y="2809042"/>
                  </a:moveTo>
                  <a:lnTo>
                    <a:pt x="6332856" y="2809042"/>
                  </a:lnTo>
                  <a:lnTo>
                    <a:pt x="6328088" y="2837634"/>
                  </a:lnTo>
                  <a:lnTo>
                    <a:pt x="6332856" y="2861458"/>
                  </a:lnTo>
                  <a:lnTo>
                    <a:pt x="6328088" y="2861458"/>
                  </a:lnTo>
                  <a:lnTo>
                    <a:pt x="6323324" y="2847162"/>
                  </a:lnTo>
                  <a:lnTo>
                    <a:pt x="6318560" y="2828102"/>
                  </a:lnTo>
                  <a:lnTo>
                    <a:pt x="6323324" y="2813806"/>
                  </a:lnTo>
                  <a:close/>
                  <a:moveTo>
                    <a:pt x="4768" y="2546962"/>
                  </a:moveTo>
                  <a:lnTo>
                    <a:pt x="9532" y="2546962"/>
                  </a:lnTo>
                  <a:lnTo>
                    <a:pt x="28592" y="2599378"/>
                  </a:lnTo>
                  <a:lnTo>
                    <a:pt x="33356" y="2608906"/>
                  </a:lnTo>
                  <a:lnTo>
                    <a:pt x="33356" y="2623202"/>
                  </a:lnTo>
                  <a:lnTo>
                    <a:pt x="38120" y="2623202"/>
                  </a:lnTo>
                  <a:lnTo>
                    <a:pt x="42888" y="2637498"/>
                  </a:lnTo>
                  <a:lnTo>
                    <a:pt x="38120" y="2647030"/>
                  </a:lnTo>
                  <a:lnTo>
                    <a:pt x="9532" y="2589846"/>
                  </a:lnTo>
                  <a:lnTo>
                    <a:pt x="0" y="2556490"/>
                  </a:lnTo>
                  <a:close/>
                  <a:moveTo>
                    <a:pt x="6304264" y="2408774"/>
                  </a:moveTo>
                  <a:lnTo>
                    <a:pt x="6304264" y="2413538"/>
                  </a:lnTo>
                  <a:lnTo>
                    <a:pt x="6309028" y="2442126"/>
                  </a:lnTo>
                  <a:lnTo>
                    <a:pt x="6318560" y="2451658"/>
                  </a:lnTo>
                  <a:lnTo>
                    <a:pt x="6318560" y="2465954"/>
                  </a:lnTo>
                  <a:lnTo>
                    <a:pt x="6285204" y="2546962"/>
                  </a:lnTo>
                  <a:lnTo>
                    <a:pt x="6275672" y="2575550"/>
                  </a:lnTo>
                  <a:lnTo>
                    <a:pt x="6275672" y="2585082"/>
                  </a:lnTo>
                  <a:lnTo>
                    <a:pt x="6270908" y="2589846"/>
                  </a:lnTo>
                  <a:lnTo>
                    <a:pt x="6261380" y="2580318"/>
                  </a:lnTo>
                  <a:lnTo>
                    <a:pt x="6256612" y="2551726"/>
                  </a:lnTo>
                  <a:lnTo>
                    <a:pt x="6261380" y="2532666"/>
                  </a:lnTo>
                  <a:lnTo>
                    <a:pt x="6270908" y="2518370"/>
                  </a:lnTo>
                  <a:lnTo>
                    <a:pt x="6270908" y="2508838"/>
                  </a:lnTo>
                  <a:lnTo>
                    <a:pt x="6266144" y="2489778"/>
                  </a:lnTo>
                  <a:lnTo>
                    <a:pt x="6289968" y="2470718"/>
                  </a:lnTo>
                  <a:lnTo>
                    <a:pt x="6299500" y="2456422"/>
                  </a:lnTo>
                  <a:lnTo>
                    <a:pt x="6299500" y="2442126"/>
                  </a:lnTo>
                  <a:lnTo>
                    <a:pt x="6289968" y="2427834"/>
                  </a:lnTo>
                  <a:lnTo>
                    <a:pt x="6285204" y="2423066"/>
                  </a:lnTo>
                  <a:lnTo>
                    <a:pt x="6289968" y="2418302"/>
                  </a:lnTo>
                  <a:lnTo>
                    <a:pt x="6294736" y="2413538"/>
                  </a:lnTo>
                  <a:close/>
                  <a:moveTo>
                    <a:pt x="5961176" y="2194342"/>
                  </a:moveTo>
                  <a:lnTo>
                    <a:pt x="5970704" y="2199106"/>
                  </a:lnTo>
                  <a:lnTo>
                    <a:pt x="5980236" y="2203870"/>
                  </a:lnTo>
                  <a:lnTo>
                    <a:pt x="5985000" y="2203870"/>
                  </a:lnTo>
                  <a:lnTo>
                    <a:pt x="5985000" y="2218166"/>
                  </a:lnTo>
                  <a:lnTo>
                    <a:pt x="5994532" y="2227698"/>
                  </a:lnTo>
                  <a:lnTo>
                    <a:pt x="5994532" y="2237226"/>
                  </a:lnTo>
                  <a:lnTo>
                    <a:pt x="5989764" y="2241990"/>
                  </a:lnTo>
                  <a:lnTo>
                    <a:pt x="5985000" y="2246758"/>
                  </a:lnTo>
                  <a:lnTo>
                    <a:pt x="5980236" y="2241990"/>
                  </a:lnTo>
                  <a:lnTo>
                    <a:pt x="5956408" y="2203870"/>
                  </a:lnTo>
                  <a:close/>
                  <a:moveTo>
                    <a:pt x="5870640" y="1979910"/>
                  </a:moveTo>
                  <a:lnTo>
                    <a:pt x="5875404" y="1984674"/>
                  </a:lnTo>
                  <a:lnTo>
                    <a:pt x="5880168" y="1998970"/>
                  </a:lnTo>
                  <a:lnTo>
                    <a:pt x="5875404" y="1998970"/>
                  </a:lnTo>
                  <a:lnTo>
                    <a:pt x="5870640" y="1998970"/>
                  </a:lnTo>
                  <a:lnTo>
                    <a:pt x="5865872" y="1998970"/>
                  </a:lnTo>
                  <a:lnTo>
                    <a:pt x="5870640" y="1989442"/>
                  </a:lnTo>
                  <a:close/>
                  <a:moveTo>
                    <a:pt x="5780100" y="1951318"/>
                  </a:moveTo>
                  <a:lnTo>
                    <a:pt x="5780100" y="1970378"/>
                  </a:lnTo>
                  <a:lnTo>
                    <a:pt x="5780100" y="1979910"/>
                  </a:lnTo>
                  <a:lnTo>
                    <a:pt x="5775336" y="1984674"/>
                  </a:lnTo>
                  <a:lnTo>
                    <a:pt x="5775336" y="1970378"/>
                  </a:lnTo>
                  <a:lnTo>
                    <a:pt x="5775336" y="1956086"/>
                  </a:lnTo>
                  <a:close/>
                  <a:moveTo>
                    <a:pt x="395508" y="1722594"/>
                  </a:moveTo>
                  <a:lnTo>
                    <a:pt x="400272" y="1732122"/>
                  </a:lnTo>
                  <a:lnTo>
                    <a:pt x="395508" y="1741654"/>
                  </a:lnTo>
                  <a:lnTo>
                    <a:pt x="385976" y="1755950"/>
                  </a:lnTo>
                  <a:lnTo>
                    <a:pt x="376448" y="1751182"/>
                  </a:lnTo>
                  <a:lnTo>
                    <a:pt x="376448" y="1746418"/>
                  </a:lnTo>
                  <a:lnTo>
                    <a:pt x="381212" y="1736890"/>
                  </a:lnTo>
                  <a:close/>
                  <a:moveTo>
                    <a:pt x="5632384" y="1636822"/>
                  </a:moveTo>
                  <a:lnTo>
                    <a:pt x="5637148" y="1646350"/>
                  </a:lnTo>
                  <a:lnTo>
                    <a:pt x="5646680" y="1655882"/>
                  </a:lnTo>
                  <a:lnTo>
                    <a:pt x="5641912" y="1660646"/>
                  </a:lnTo>
                  <a:lnTo>
                    <a:pt x="5637148" y="1660646"/>
                  </a:lnTo>
                  <a:lnTo>
                    <a:pt x="5627616" y="1655882"/>
                  </a:lnTo>
                  <a:close/>
                  <a:moveTo>
                    <a:pt x="5632380" y="1617762"/>
                  </a:moveTo>
                  <a:lnTo>
                    <a:pt x="5632380" y="1632058"/>
                  </a:lnTo>
                  <a:lnTo>
                    <a:pt x="5627616" y="1636822"/>
                  </a:lnTo>
                  <a:lnTo>
                    <a:pt x="5622852" y="1636822"/>
                  </a:lnTo>
                  <a:lnTo>
                    <a:pt x="5618088" y="1636822"/>
                  </a:lnTo>
                  <a:lnTo>
                    <a:pt x="5622852" y="1627290"/>
                  </a:lnTo>
                  <a:lnTo>
                    <a:pt x="5627616" y="1622526"/>
                  </a:lnTo>
                  <a:close/>
                  <a:moveTo>
                    <a:pt x="5208284" y="1317558"/>
                  </a:moveTo>
                  <a:lnTo>
                    <a:pt x="5213052" y="1317558"/>
                  </a:lnTo>
                  <a:lnTo>
                    <a:pt x="5217816" y="1336618"/>
                  </a:lnTo>
                  <a:lnTo>
                    <a:pt x="5222580" y="1346150"/>
                  </a:lnTo>
                  <a:lnTo>
                    <a:pt x="5217816" y="1355678"/>
                  </a:lnTo>
                  <a:lnTo>
                    <a:pt x="5217816" y="1360446"/>
                  </a:lnTo>
                  <a:lnTo>
                    <a:pt x="5208284" y="1355678"/>
                  </a:lnTo>
                  <a:lnTo>
                    <a:pt x="5198756" y="1341382"/>
                  </a:lnTo>
                  <a:lnTo>
                    <a:pt x="5189224" y="1327090"/>
                  </a:lnTo>
                  <a:lnTo>
                    <a:pt x="5184460" y="1322322"/>
                  </a:lnTo>
                  <a:lnTo>
                    <a:pt x="5198756" y="1322322"/>
                  </a:lnTo>
                  <a:lnTo>
                    <a:pt x="5203520" y="1322322"/>
                  </a:lnTo>
                  <a:close/>
                  <a:moveTo>
                    <a:pt x="4150428" y="1112658"/>
                  </a:moveTo>
                  <a:lnTo>
                    <a:pt x="4164724" y="1122186"/>
                  </a:lnTo>
                  <a:lnTo>
                    <a:pt x="4164724" y="1131718"/>
                  </a:lnTo>
                  <a:lnTo>
                    <a:pt x="4145664" y="1136482"/>
                  </a:lnTo>
                  <a:lnTo>
                    <a:pt x="4140896" y="1136482"/>
                  </a:lnTo>
                  <a:lnTo>
                    <a:pt x="4140896" y="1131718"/>
                  </a:lnTo>
                  <a:lnTo>
                    <a:pt x="4145664" y="1126954"/>
                  </a:lnTo>
                  <a:close/>
                  <a:moveTo>
                    <a:pt x="4164724" y="1017354"/>
                  </a:moveTo>
                  <a:lnTo>
                    <a:pt x="4169488" y="1017354"/>
                  </a:lnTo>
                  <a:lnTo>
                    <a:pt x="4183784" y="1036414"/>
                  </a:lnTo>
                  <a:lnTo>
                    <a:pt x="4164724" y="1041182"/>
                  </a:lnTo>
                  <a:lnTo>
                    <a:pt x="4155192" y="1045946"/>
                  </a:lnTo>
                  <a:lnTo>
                    <a:pt x="4140896" y="1060242"/>
                  </a:lnTo>
                  <a:lnTo>
                    <a:pt x="4136132" y="1060242"/>
                  </a:lnTo>
                  <a:lnTo>
                    <a:pt x="4131368" y="1065006"/>
                  </a:lnTo>
                  <a:lnTo>
                    <a:pt x="4121836" y="1069770"/>
                  </a:lnTo>
                  <a:lnTo>
                    <a:pt x="4112308" y="1069770"/>
                  </a:lnTo>
                  <a:lnTo>
                    <a:pt x="4098012" y="1074538"/>
                  </a:lnTo>
                  <a:lnTo>
                    <a:pt x="4098012" y="1069770"/>
                  </a:lnTo>
                  <a:lnTo>
                    <a:pt x="4102776" y="1055478"/>
                  </a:lnTo>
                  <a:lnTo>
                    <a:pt x="4112308" y="1041182"/>
                  </a:lnTo>
                  <a:lnTo>
                    <a:pt x="4121836" y="1031650"/>
                  </a:lnTo>
                  <a:lnTo>
                    <a:pt x="4145664" y="1026886"/>
                  </a:lnTo>
                  <a:close/>
                  <a:moveTo>
                    <a:pt x="3764452" y="888698"/>
                  </a:moveTo>
                  <a:lnTo>
                    <a:pt x="3773984" y="898226"/>
                  </a:lnTo>
                  <a:lnTo>
                    <a:pt x="3773984" y="912522"/>
                  </a:lnTo>
                  <a:lnTo>
                    <a:pt x="3778748" y="917286"/>
                  </a:lnTo>
                  <a:lnTo>
                    <a:pt x="3769216" y="926818"/>
                  </a:lnTo>
                  <a:lnTo>
                    <a:pt x="3764452" y="917286"/>
                  </a:lnTo>
                  <a:lnTo>
                    <a:pt x="3759688" y="907758"/>
                  </a:lnTo>
                  <a:lnTo>
                    <a:pt x="3754920" y="907758"/>
                  </a:lnTo>
                  <a:lnTo>
                    <a:pt x="3759688" y="898226"/>
                  </a:lnTo>
                  <a:close/>
                  <a:moveTo>
                    <a:pt x="3688212" y="879166"/>
                  </a:moveTo>
                  <a:lnTo>
                    <a:pt x="3697740" y="879166"/>
                  </a:lnTo>
                  <a:lnTo>
                    <a:pt x="3702504" y="879166"/>
                  </a:lnTo>
                  <a:lnTo>
                    <a:pt x="3697740" y="893462"/>
                  </a:lnTo>
                  <a:lnTo>
                    <a:pt x="3688212" y="893462"/>
                  </a:lnTo>
                  <a:lnTo>
                    <a:pt x="3683444" y="888698"/>
                  </a:lnTo>
                  <a:close/>
                  <a:moveTo>
                    <a:pt x="3745392" y="874402"/>
                  </a:moveTo>
                  <a:lnTo>
                    <a:pt x="3745392" y="888698"/>
                  </a:lnTo>
                  <a:lnTo>
                    <a:pt x="3740624" y="893462"/>
                  </a:lnTo>
                  <a:lnTo>
                    <a:pt x="3740624" y="879166"/>
                  </a:lnTo>
                  <a:close/>
                  <a:moveTo>
                    <a:pt x="1815516" y="836282"/>
                  </a:moveTo>
                  <a:lnTo>
                    <a:pt x="1820280" y="836282"/>
                  </a:lnTo>
                  <a:lnTo>
                    <a:pt x="1820280" y="841046"/>
                  </a:lnTo>
                  <a:lnTo>
                    <a:pt x="1825048" y="850574"/>
                  </a:lnTo>
                  <a:lnTo>
                    <a:pt x="1825048" y="855342"/>
                  </a:lnTo>
                  <a:lnTo>
                    <a:pt x="1820280" y="860106"/>
                  </a:lnTo>
                  <a:lnTo>
                    <a:pt x="1815516" y="860106"/>
                  </a:lnTo>
                  <a:lnTo>
                    <a:pt x="1815516" y="855342"/>
                  </a:lnTo>
                  <a:lnTo>
                    <a:pt x="1805984" y="845810"/>
                  </a:lnTo>
                  <a:lnTo>
                    <a:pt x="1810752" y="841046"/>
                  </a:lnTo>
                  <a:close/>
                  <a:moveTo>
                    <a:pt x="1915584" y="702858"/>
                  </a:moveTo>
                  <a:lnTo>
                    <a:pt x="1920348" y="707622"/>
                  </a:lnTo>
                  <a:lnTo>
                    <a:pt x="1920348" y="717150"/>
                  </a:lnTo>
                  <a:lnTo>
                    <a:pt x="1920348" y="721918"/>
                  </a:lnTo>
                  <a:lnTo>
                    <a:pt x="1910816" y="736214"/>
                  </a:lnTo>
                  <a:lnTo>
                    <a:pt x="1901288" y="726682"/>
                  </a:lnTo>
                  <a:lnTo>
                    <a:pt x="1906052" y="707622"/>
                  </a:lnTo>
                  <a:close/>
                  <a:moveTo>
                    <a:pt x="3707272" y="578962"/>
                  </a:moveTo>
                  <a:lnTo>
                    <a:pt x="3716800" y="578962"/>
                  </a:lnTo>
                  <a:lnTo>
                    <a:pt x="3716800" y="588494"/>
                  </a:lnTo>
                  <a:lnTo>
                    <a:pt x="3716800" y="598022"/>
                  </a:lnTo>
                  <a:lnTo>
                    <a:pt x="3726332" y="607554"/>
                  </a:lnTo>
                  <a:lnTo>
                    <a:pt x="3731096" y="602790"/>
                  </a:lnTo>
                  <a:lnTo>
                    <a:pt x="3740628" y="588494"/>
                  </a:lnTo>
                  <a:lnTo>
                    <a:pt x="3745392" y="593258"/>
                  </a:lnTo>
                  <a:lnTo>
                    <a:pt x="3745392" y="598022"/>
                  </a:lnTo>
                  <a:lnTo>
                    <a:pt x="3750156" y="602790"/>
                  </a:lnTo>
                  <a:lnTo>
                    <a:pt x="3735860" y="612318"/>
                  </a:lnTo>
                  <a:lnTo>
                    <a:pt x="3735860" y="617086"/>
                  </a:lnTo>
                  <a:lnTo>
                    <a:pt x="3731096" y="621850"/>
                  </a:lnTo>
                  <a:lnTo>
                    <a:pt x="3721564" y="640910"/>
                  </a:lnTo>
                  <a:lnTo>
                    <a:pt x="3726332" y="650442"/>
                  </a:lnTo>
                  <a:lnTo>
                    <a:pt x="3731096" y="655206"/>
                  </a:lnTo>
                  <a:lnTo>
                    <a:pt x="3745392" y="659970"/>
                  </a:lnTo>
                  <a:lnTo>
                    <a:pt x="3754920" y="659970"/>
                  </a:lnTo>
                  <a:lnTo>
                    <a:pt x="3750156" y="669502"/>
                  </a:lnTo>
                  <a:lnTo>
                    <a:pt x="3745392" y="679030"/>
                  </a:lnTo>
                  <a:lnTo>
                    <a:pt x="3726332" y="674266"/>
                  </a:lnTo>
                  <a:lnTo>
                    <a:pt x="3707272" y="674266"/>
                  </a:lnTo>
                  <a:lnTo>
                    <a:pt x="3678680" y="669502"/>
                  </a:lnTo>
                  <a:lnTo>
                    <a:pt x="3664384" y="664734"/>
                  </a:lnTo>
                  <a:lnTo>
                    <a:pt x="3659620" y="664734"/>
                  </a:lnTo>
                  <a:lnTo>
                    <a:pt x="3669148" y="659970"/>
                  </a:lnTo>
                  <a:lnTo>
                    <a:pt x="3673916" y="650442"/>
                  </a:lnTo>
                  <a:lnTo>
                    <a:pt x="3669148" y="631378"/>
                  </a:lnTo>
                  <a:lnTo>
                    <a:pt x="3673916" y="607554"/>
                  </a:lnTo>
                  <a:lnTo>
                    <a:pt x="3688208" y="598022"/>
                  </a:lnTo>
                  <a:lnTo>
                    <a:pt x="3697740" y="583730"/>
                  </a:lnTo>
                  <a:close/>
                  <a:moveTo>
                    <a:pt x="3640560" y="578962"/>
                  </a:moveTo>
                  <a:lnTo>
                    <a:pt x="3645324" y="583730"/>
                  </a:lnTo>
                  <a:lnTo>
                    <a:pt x="3650088" y="598022"/>
                  </a:lnTo>
                  <a:lnTo>
                    <a:pt x="3645324" y="602790"/>
                  </a:lnTo>
                  <a:lnTo>
                    <a:pt x="3640560" y="602790"/>
                  </a:lnTo>
                  <a:lnTo>
                    <a:pt x="3626264" y="602790"/>
                  </a:lnTo>
                  <a:lnTo>
                    <a:pt x="3626264" y="593258"/>
                  </a:lnTo>
                  <a:lnTo>
                    <a:pt x="3631028" y="588494"/>
                  </a:lnTo>
                  <a:close/>
                  <a:moveTo>
                    <a:pt x="3678680" y="228726"/>
                  </a:moveTo>
                  <a:lnTo>
                    <a:pt x="3683444" y="228726"/>
                  </a:lnTo>
                  <a:lnTo>
                    <a:pt x="3678680" y="233490"/>
                  </a:lnTo>
                  <a:lnTo>
                    <a:pt x="3664384" y="247786"/>
                  </a:lnTo>
                  <a:lnTo>
                    <a:pt x="3659620" y="247786"/>
                  </a:lnTo>
                  <a:lnTo>
                    <a:pt x="3635792" y="262082"/>
                  </a:lnTo>
                  <a:lnTo>
                    <a:pt x="3650088" y="243022"/>
                  </a:lnTo>
                  <a:close/>
                  <a:moveTo>
                    <a:pt x="2716124" y="204902"/>
                  </a:moveTo>
                  <a:lnTo>
                    <a:pt x="2720888" y="204902"/>
                  </a:lnTo>
                  <a:lnTo>
                    <a:pt x="2730420" y="219194"/>
                  </a:lnTo>
                  <a:lnTo>
                    <a:pt x="2730420" y="233490"/>
                  </a:lnTo>
                  <a:lnTo>
                    <a:pt x="2735184" y="247786"/>
                  </a:lnTo>
                  <a:lnTo>
                    <a:pt x="2739948" y="262082"/>
                  </a:lnTo>
                  <a:lnTo>
                    <a:pt x="2754244" y="266846"/>
                  </a:lnTo>
                  <a:lnTo>
                    <a:pt x="2759008" y="271610"/>
                  </a:lnTo>
                  <a:lnTo>
                    <a:pt x="2763776" y="276378"/>
                  </a:lnTo>
                  <a:lnTo>
                    <a:pt x="2763776" y="281142"/>
                  </a:lnTo>
                  <a:lnTo>
                    <a:pt x="2749480" y="285906"/>
                  </a:lnTo>
                  <a:lnTo>
                    <a:pt x="2720888" y="276378"/>
                  </a:lnTo>
                  <a:lnTo>
                    <a:pt x="2692300" y="285906"/>
                  </a:lnTo>
                  <a:lnTo>
                    <a:pt x="2682768" y="285906"/>
                  </a:lnTo>
                  <a:lnTo>
                    <a:pt x="2678004" y="276378"/>
                  </a:lnTo>
                  <a:lnTo>
                    <a:pt x="2682768" y="262082"/>
                  </a:lnTo>
                  <a:lnTo>
                    <a:pt x="2692300" y="262082"/>
                  </a:lnTo>
                  <a:lnTo>
                    <a:pt x="2701828" y="257318"/>
                  </a:lnTo>
                  <a:lnTo>
                    <a:pt x="2697064" y="238254"/>
                  </a:lnTo>
                  <a:lnTo>
                    <a:pt x="2692300" y="228726"/>
                  </a:lnTo>
                  <a:lnTo>
                    <a:pt x="2711360" y="209666"/>
                  </a:lnTo>
                  <a:close/>
                  <a:moveTo>
                    <a:pt x="2730420" y="181074"/>
                  </a:moveTo>
                  <a:lnTo>
                    <a:pt x="2735184" y="181074"/>
                  </a:lnTo>
                  <a:lnTo>
                    <a:pt x="2749480" y="195370"/>
                  </a:lnTo>
                  <a:lnTo>
                    <a:pt x="2759008" y="200134"/>
                  </a:lnTo>
                  <a:lnTo>
                    <a:pt x="2768540" y="214430"/>
                  </a:lnTo>
                  <a:lnTo>
                    <a:pt x="2787600" y="214430"/>
                  </a:lnTo>
                  <a:lnTo>
                    <a:pt x="2811428" y="200134"/>
                  </a:lnTo>
                  <a:lnTo>
                    <a:pt x="2825720" y="204898"/>
                  </a:lnTo>
                  <a:lnTo>
                    <a:pt x="2830488" y="204898"/>
                  </a:lnTo>
                  <a:lnTo>
                    <a:pt x="2849548" y="195370"/>
                  </a:lnTo>
                  <a:lnTo>
                    <a:pt x="2859076" y="190606"/>
                  </a:lnTo>
                  <a:lnTo>
                    <a:pt x="2868608" y="181074"/>
                  </a:lnTo>
                  <a:lnTo>
                    <a:pt x="2878140" y="190606"/>
                  </a:lnTo>
                  <a:lnTo>
                    <a:pt x="2892432" y="204898"/>
                  </a:lnTo>
                  <a:lnTo>
                    <a:pt x="2901964" y="214430"/>
                  </a:lnTo>
                  <a:lnTo>
                    <a:pt x="2906728" y="219194"/>
                  </a:lnTo>
                  <a:lnTo>
                    <a:pt x="2911496" y="223962"/>
                  </a:lnTo>
                  <a:lnTo>
                    <a:pt x="2897200" y="233490"/>
                  </a:lnTo>
                  <a:lnTo>
                    <a:pt x="2897200" y="247786"/>
                  </a:lnTo>
                  <a:lnTo>
                    <a:pt x="2887668" y="247786"/>
                  </a:lnTo>
                  <a:lnTo>
                    <a:pt x="2873372" y="266846"/>
                  </a:lnTo>
                  <a:lnTo>
                    <a:pt x="2816192" y="300202"/>
                  </a:lnTo>
                  <a:lnTo>
                    <a:pt x="2768540" y="271610"/>
                  </a:lnTo>
                  <a:lnTo>
                    <a:pt x="2749480" y="252550"/>
                  </a:lnTo>
                  <a:lnTo>
                    <a:pt x="2735184" y="223962"/>
                  </a:lnTo>
                  <a:lnTo>
                    <a:pt x="2735184" y="200134"/>
                  </a:lnTo>
                  <a:lnTo>
                    <a:pt x="2725656" y="185838"/>
                  </a:lnTo>
                  <a:lnTo>
                    <a:pt x="2730420" y="185838"/>
                  </a:lnTo>
                  <a:close/>
                  <a:moveTo>
                    <a:pt x="3726332" y="152482"/>
                  </a:moveTo>
                  <a:lnTo>
                    <a:pt x="3721564" y="185838"/>
                  </a:lnTo>
                  <a:lnTo>
                    <a:pt x="3702504" y="214430"/>
                  </a:lnTo>
                  <a:lnTo>
                    <a:pt x="3688208" y="223962"/>
                  </a:lnTo>
                  <a:lnTo>
                    <a:pt x="3688208" y="214430"/>
                  </a:lnTo>
                  <a:lnTo>
                    <a:pt x="3692976" y="209666"/>
                  </a:lnTo>
                  <a:lnTo>
                    <a:pt x="3707272" y="185838"/>
                  </a:lnTo>
                  <a:lnTo>
                    <a:pt x="3712036" y="181074"/>
                  </a:lnTo>
                  <a:lnTo>
                    <a:pt x="3716800" y="176310"/>
                  </a:lnTo>
                  <a:lnTo>
                    <a:pt x="3721564" y="171542"/>
                  </a:lnTo>
                  <a:lnTo>
                    <a:pt x="3721564" y="157250"/>
                  </a:lnTo>
                  <a:close/>
                  <a:moveTo>
                    <a:pt x="3073508" y="147718"/>
                  </a:moveTo>
                  <a:lnTo>
                    <a:pt x="3073508" y="152482"/>
                  </a:lnTo>
                  <a:lnTo>
                    <a:pt x="3073508" y="171542"/>
                  </a:lnTo>
                  <a:lnTo>
                    <a:pt x="3078272" y="181074"/>
                  </a:lnTo>
                  <a:lnTo>
                    <a:pt x="3073508" y="200134"/>
                  </a:lnTo>
                  <a:lnTo>
                    <a:pt x="3073508" y="204902"/>
                  </a:lnTo>
                  <a:lnTo>
                    <a:pt x="3059212" y="176310"/>
                  </a:lnTo>
                  <a:lnTo>
                    <a:pt x="3063980" y="171542"/>
                  </a:lnTo>
                  <a:lnTo>
                    <a:pt x="3059212" y="157250"/>
                  </a:lnTo>
                  <a:lnTo>
                    <a:pt x="3063980" y="157250"/>
                  </a:lnTo>
                  <a:close/>
                  <a:moveTo>
                    <a:pt x="4617412" y="104834"/>
                  </a:moveTo>
                  <a:lnTo>
                    <a:pt x="4626940" y="104834"/>
                  </a:lnTo>
                  <a:lnTo>
                    <a:pt x="4636472" y="114362"/>
                  </a:lnTo>
                  <a:lnTo>
                    <a:pt x="4631704" y="123894"/>
                  </a:lnTo>
                  <a:lnTo>
                    <a:pt x="4631704" y="133422"/>
                  </a:lnTo>
                  <a:lnTo>
                    <a:pt x="4655532" y="152482"/>
                  </a:lnTo>
                  <a:lnTo>
                    <a:pt x="4665060" y="171542"/>
                  </a:lnTo>
                  <a:lnTo>
                    <a:pt x="4669828" y="185838"/>
                  </a:lnTo>
                  <a:lnTo>
                    <a:pt x="4674592" y="200134"/>
                  </a:lnTo>
                  <a:lnTo>
                    <a:pt x="4674592" y="219194"/>
                  </a:lnTo>
                  <a:lnTo>
                    <a:pt x="4674592" y="252550"/>
                  </a:lnTo>
                  <a:lnTo>
                    <a:pt x="4679356" y="285906"/>
                  </a:lnTo>
                  <a:lnTo>
                    <a:pt x="4688888" y="290670"/>
                  </a:lnTo>
                  <a:lnTo>
                    <a:pt x="4698416" y="300202"/>
                  </a:lnTo>
                  <a:lnTo>
                    <a:pt x="4712712" y="300202"/>
                  </a:lnTo>
                  <a:lnTo>
                    <a:pt x="4727008" y="304966"/>
                  </a:lnTo>
                  <a:lnTo>
                    <a:pt x="4722244" y="324026"/>
                  </a:lnTo>
                  <a:lnTo>
                    <a:pt x="4717480" y="338322"/>
                  </a:lnTo>
                  <a:lnTo>
                    <a:pt x="4717480" y="347854"/>
                  </a:lnTo>
                  <a:lnTo>
                    <a:pt x="4717480" y="362150"/>
                  </a:lnTo>
                  <a:lnTo>
                    <a:pt x="4731772" y="371678"/>
                  </a:lnTo>
                  <a:lnTo>
                    <a:pt x="4741304" y="376446"/>
                  </a:lnTo>
                  <a:lnTo>
                    <a:pt x="4746068" y="390738"/>
                  </a:lnTo>
                  <a:lnTo>
                    <a:pt x="4765128" y="414566"/>
                  </a:lnTo>
                  <a:lnTo>
                    <a:pt x="4760364" y="428862"/>
                  </a:lnTo>
                  <a:lnTo>
                    <a:pt x="4769896" y="447922"/>
                  </a:lnTo>
                  <a:lnTo>
                    <a:pt x="4779424" y="483658"/>
                  </a:lnTo>
                  <a:lnTo>
                    <a:pt x="4784192" y="517014"/>
                  </a:lnTo>
                  <a:lnTo>
                    <a:pt x="4793720" y="540842"/>
                  </a:lnTo>
                  <a:lnTo>
                    <a:pt x="4784192" y="588494"/>
                  </a:lnTo>
                  <a:lnTo>
                    <a:pt x="4793720" y="607554"/>
                  </a:lnTo>
                  <a:lnTo>
                    <a:pt x="4798484" y="626614"/>
                  </a:lnTo>
                  <a:lnTo>
                    <a:pt x="4812780" y="655206"/>
                  </a:lnTo>
                  <a:lnTo>
                    <a:pt x="4817544" y="688562"/>
                  </a:lnTo>
                  <a:lnTo>
                    <a:pt x="4827076" y="693326"/>
                  </a:lnTo>
                  <a:lnTo>
                    <a:pt x="4850900" y="702854"/>
                  </a:lnTo>
                  <a:lnTo>
                    <a:pt x="4874728" y="693326"/>
                  </a:lnTo>
                  <a:lnTo>
                    <a:pt x="4889024" y="679030"/>
                  </a:lnTo>
                  <a:lnTo>
                    <a:pt x="4908084" y="674266"/>
                  </a:lnTo>
                  <a:lnTo>
                    <a:pt x="4931908" y="669498"/>
                  </a:lnTo>
                  <a:lnTo>
                    <a:pt x="4946204" y="688562"/>
                  </a:lnTo>
                  <a:lnTo>
                    <a:pt x="4955736" y="712386"/>
                  </a:lnTo>
                  <a:lnTo>
                    <a:pt x="4998620" y="740978"/>
                  </a:lnTo>
                  <a:lnTo>
                    <a:pt x="5022448" y="760038"/>
                  </a:lnTo>
                  <a:lnTo>
                    <a:pt x="5041508" y="769566"/>
                  </a:lnTo>
                  <a:lnTo>
                    <a:pt x="5055800" y="783862"/>
                  </a:lnTo>
                  <a:lnTo>
                    <a:pt x="5055800" y="798158"/>
                  </a:lnTo>
                  <a:lnTo>
                    <a:pt x="5051036" y="807690"/>
                  </a:lnTo>
                  <a:lnTo>
                    <a:pt x="5055800" y="826750"/>
                  </a:lnTo>
                  <a:lnTo>
                    <a:pt x="5060568" y="845810"/>
                  </a:lnTo>
                  <a:lnTo>
                    <a:pt x="5055800" y="869634"/>
                  </a:lnTo>
                  <a:lnTo>
                    <a:pt x="5065332" y="907758"/>
                  </a:lnTo>
                  <a:lnTo>
                    <a:pt x="5070096" y="936346"/>
                  </a:lnTo>
                  <a:lnTo>
                    <a:pt x="5084392" y="964938"/>
                  </a:lnTo>
                  <a:lnTo>
                    <a:pt x="5084392" y="993530"/>
                  </a:lnTo>
                  <a:lnTo>
                    <a:pt x="5079628" y="1003058"/>
                  </a:lnTo>
                  <a:lnTo>
                    <a:pt x="5079628" y="1017354"/>
                  </a:lnTo>
                  <a:lnTo>
                    <a:pt x="5089160" y="1041178"/>
                  </a:lnTo>
                  <a:lnTo>
                    <a:pt x="5098688" y="1055474"/>
                  </a:lnTo>
                  <a:lnTo>
                    <a:pt x="5112984" y="1069770"/>
                  </a:lnTo>
                  <a:lnTo>
                    <a:pt x="5132044" y="1098362"/>
                  </a:lnTo>
                  <a:lnTo>
                    <a:pt x="5141576" y="1103126"/>
                  </a:lnTo>
                  <a:lnTo>
                    <a:pt x="5155872" y="1103126"/>
                  </a:lnTo>
                  <a:lnTo>
                    <a:pt x="5155872" y="1126950"/>
                  </a:lnTo>
                  <a:lnTo>
                    <a:pt x="5174932" y="1179370"/>
                  </a:lnTo>
                  <a:lnTo>
                    <a:pt x="5189224" y="1222254"/>
                  </a:lnTo>
                  <a:lnTo>
                    <a:pt x="5179696" y="1279438"/>
                  </a:lnTo>
                  <a:lnTo>
                    <a:pt x="5170164" y="1308026"/>
                  </a:lnTo>
                  <a:lnTo>
                    <a:pt x="5174932" y="1327086"/>
                  </a:lnTo>
                  <a:lnTo>
                    <a:pt x="5203520" y="1365210"/>
                  </a:lnTo>
                  <a:lnTo>
                    <a:pt x="5222580" y="1369974"/>
                  </a:lnTo>
                  <a:lnTo>
                    <a:pt x="5217816" y="1389034"/>
                  </a:lnTo>
                  <a:lnTo>
                    <a:pt x="5213052" y="1417626"/>
                  </a:lnTo>
                  <a:lnTo>
                    <a:pt x="5227348" y="1441450"/>
                  </a:lnTo>
                  <a:lnTo>
                    <a:pt x="5246408" y="1460510"/>
                  </a:lnTo>
                  <a:lnTo>
                    <a:pt x="5260704" y="1470042"/>
                  </a:lnTo>
                  <a:lnTo>
                    <a:pt x="5275000" y="1474806"/>
                  </a:lnTo>
                  <a:lnTo>
                    <a:pt x="5298824" y="1484338"/>
                  </a:lnTo>
                  <a:lnTo>
                    <a:pt x="5327416" y="1489102"/>
                  </a:lnTo>
                  <a:lnTo>
                    <a:pt x="5336944" y="1498630"/>
                  </a:lnTo>
                  <a:lnTo>
                    <a:pt x="5346476" y="1512926"/>
                  </a:lnTo>
                  <a:lnTo>
                    <a:pt x="5370300" y="1512926"/>
                  </a:lnTo>
                  <a:lnTo>
                    <a:pt x="5379832" y="1512926"/>
                  </a:lnTo>
                  <a:lnTo>
                    <a:pt x="5389360" y="1508162"/>
                  </a:lnTo>
                  <a:lnTo>
                    <a:pt x="5398892" y="1512926"/>
                  </a:lnTo>
                  <a:lnTo>
                    <a:pt x="5403656" y="1522458"/>
                  </a:lnTo>
                  <a:lnTo>
                    <a:pt x="5417952" y="1546282"/>
                  </a:lnTo>
                  <a:lnTo>
                    <a:pt x="5441776" y="1574874"/>
                  </a:lnTo>
                  <a:lnTo>
                    <a:pt x="5456072" y="1574874"/>
                  </a:lnTo>
                  <a:lnTo>
                    <a:pt x="5470368" y="1589170"/>
                  </a:lnTo>
                  <a:lnTo>
                    <a:pt x="5479900" y="1593934"/>
                  </a:lnTo>
                  <a:lnTo>
                    <a:pt x="5494192" y="1593934"/>
                  </a:lnTo>
                  <a:lnTo>
                    <a:pt x="5508488" y="1603466"/>
                  </a:lnTo>
                  <a:lnTo>
                    <a:pt x="5537080" y="1627290"/>
                  </a:lnTo>
                  <a:lnTo>
                    <a:pt x="5565672" y="1627290"/>
                  </a:lnTo>
                  <a:lnTo>
                    <a:pt x="5575200" y="1636822"/>
                  </a:lnTo>
                  <a:lnTo>
                    <a:pt x="5599028" y="1660646"/>
                  </a:lnTo>
                  <a:lnTo>
                    <a:pt x="5608556" y="1670178"/>
                  </a:lnTo>
                  <a:lnTo>
                    <a:pt x="5618088" y="1689238"/>
                  </a:lnTo>
                  <a:lnTo>
                    <a:pt x="5608556" y="1694002"/>
                  </a:lnTo>
                  <a:lnTo>
                    <a:pt x="5594260" y="1689238"/>
                  </a:lnTo>
                  <a:lnTo>
                    <a:pt x="5589496" y="1708298"/>
                  </a:lnTo>
                  <a:lnTo>
                    <a:pt x="5603792" y="1732122"/>
                  </a:lnTo>
                  <a:lnTo>
                    <a:pt x="5622852" y="1751182"/>
                  </a:lnTo>
                  <a:lnTo>
                    <a:pt x="5646680" y="1770246"/>
                  </a:lnTo>
                  <a:lnTo>
                    <a:pt x="5670504" y="1798834"/>
                  </a:lnTo>
                  <a:lnTo>
                    <a:pt x="5675268" y="1817894"/>
                  </a:lnTo>
                  <a:lnTo>
                    <a:pt x="5680032" y="1827426"/>
                  </a:lnTo>
                  <a:lnTo>
                    <a:pt x="5689564" y="1856018"/>
                  </a:lnTo>
                  <a:lnTo>
                    <a:pt x="5708624" y="1875078"/>
                  </a:lnTo>
                  <a:lnTo>
                    <a:pt x="5708624" y="1908434"/>
                  </a:lnTo>
                  <a:lnTo>
                    <a:pt x="5718156" y="1951318"/>
                  </a:lnTo>
                  <a:lnTo>
                    <a:pt x="5732452" y="1989442"/>
                  </a:lnTo>
                  <a:lnTo>
                    <a:pt x="5737216" y="1998970"/>
                  </a:lnTo>
                  <a:lnTo>
                    <a:pt x="5746744" y="2018030"/>
                  </a:lnTo>
                  <a:lnTo>
                    <a:pt x="5756276" y="2018030"/>
                  </a:lnTo>
                  <a:lnTo>
                    <a:pt x="5765808" y="2013266"/>
                  </a:lnTo>
                  <a:lnTo>
                    <a:pt x="5780100" y="2032326"/>
                  </a:lnTo>
                  <a:lnTo>
                    <a:pt x="5789632" y="2037090"/>
                  </a:lnTo>
                  <a:lnTo>
                    <a:pt x="5794396" y="2032326"/>
                  </a:lnTo>
                  <a:lnTo>
                    <a:pt x="5784868" y="1998970"/>
                  </a:lnTo>
                  <a:lnTo>
                    <a:pt x="5789632" y="1975146"/>
                  </a:lnTo>
                  <a:lnTo>
                    <a:pt x="5799160" y="1975146"/>
                  </a:lnTo>
                  <a:lnTo>
                    <a:pt x="5803928" y="1975146"/>
                  </a:lnTo>
                  <a:lnTo>
                    <a:pt x="5818224" y="1989442"/>
                  </a:lnTo>
                  <a:lnTo>
                    <a:pt x="5827752" y="2008502"/>
                  </a:lnTo>
                  <a:lnTo>
                    <a:pt x="5856344" y="2022798"/>
                  </a:lnTo>
                  <a:lnTo>
                    <a:pt x="5880168" y="2041858"/>
                  </a:lnTo>
                  <a:lnTo>
                    <a:pt x="5884936" y="2037090"/>
                  </a:lnTo>
                  <a:lnTo>
                    <a:pt x="5880168" y="2027562"/>
                  </a:lnTo>
                  <a:lnTo>
                    <a:pt x="5880168" y="2008502"/>
                  </a:lnTo>
                  <a:lnTo>
                    <a:pt x="5889700" y="2008502"/>
                  </a:lnTo>
                  <a:lnTo>
                    <a:pt x="5899232" y="2018030"/>
                  </a:lnTo>
                  <a:lnTo>
                    <a:pt x="5913524" y="2041858"/>
                  </a:lnTo>
                  <a:lnTo>
                    <a:pt x="5918292" y="2099038"/>
                  </a:lnTo>
                  <a:lnTo>
                    <a:pt x="5918292" y="2146690"/>
                  </a:lnTo>
                  <a:lnTo>
                    <a:pt x="5923056" y="2194342"/>
                  </a:lnTo>
                  <a:lnTo>
                    <a:pt x="5937352" y="2203870"/>
                  </a:lnTo>
                  <a:lnTo>
                    <a:pt x="5946880" y="2218166"/>
                  </a:lnTo>
                  <a:lnTo>
                    <a:pt x="5961176" y="2232462"/>
                  </a:lnTo>
                  <a:lnTo>
                    <a:pt x="5975472" y="2246758"/>
                  </a:lnTo>
                  <a:lnTo>
                    <a:pt x="5985000" y="2256286"/>
                  </a:lnTo>
                  <a:lnTo>
                    <a:pt x="6027888" y="2284878"/>
                  </a:lnTo>
                  <a:lnTo>
                    <a:pt x="6037420" y="2289642"/>
                  </a:lnTo>
                  <a:lnTo>
                    <a:pt x="6056480" y="2289642"/>
                  </a:lnTo>
                  <a:lnTo>
                    <a:pt x="6080304" y="2303938"/>
                  </a:lnTo>
                  <a:lnTo>
                    <a:pt x="6089836" y="2318234"/>
                  </a:lnTo>
                  <a:lnTo>
                    <a:pt x="6113660" y="2370650"/>
                  </a:lnTo>
                  <a:lnTo>
                    <a:pt x="6127956" y="2384946"/>
                  </a:lnTo>
                  <a:lnTo>
                    <a:pt x="6151780" y="2404006"/>
                  </a:lnTo>
                  <a:lnTo>
                    <a:pt x="6161312" y="2408770"/>
                  </a:lnTo>
                  <a:lnTo>
                    <a:pt x="6175608" y="2423066"/>
                  </a:lnTo>
                  <a:lnTo>
                    <a:pt x="6180372" y="2442126"/>
                  </a:lnTo>
                  <a:lnTo>
                    <a:pt x="6185136" y="2451658"/>
                  </a:lnTo>
                  <a:lnTo>
                    <a:pt x="6194668" y="2470718"/>
                  </a:lnTo>
                  <a:lnTo>
                    <a:pt x="6208964" y="2489778"/>
                  </a:lnTo>
                  <a:lnTo>
                    <a:pt x="6228024" y="2504074"/>
                  </a:lnTo>
                  <a:lnTo>
                    <a:pt x="6247084" y="2532666"/>
                  </a:lnTo>
                  <a:lnTo>
                    <a:pt x="6251848" y="2575550"/>
                  </a:lnTo>
                  <a:lnTo>
                    <a:pt x="6261380" y="2599378"/>
                  </a:lnTo>
                  <a:lnTo>
                    <a:pt x="6266144" y="2608906"/>
                  </a:lnTo>
                  <a:lnTo>
                    <a:pt x="6280440" y="2618438"/>
                  </a:lnTo>
                  <a:lnTo>
                    <a:pt x="6289968" y="2623202"/>
                  </a:lnTo>
                  <a:lnTo>
                    <a:pt x="6275676" y="2685150"/>
                  </a:lnTo>
                  <a:lnTo>
                    <a:pt x="6289968" y="2799510"/>
                  </a:lnTo>
                  <a:lnTo>
                    <a:pt x="6280440" y="2837634"/>
                  </a:lnTo>
                  <a:lnTo>
                    <a:pt x="6294736" y="2875754"/>
                  </a:lnTo>
                  <a:lnTo>
                    <a:pt x="6323328" y="2937702"/>
                  </a:lnTo>
                  <a:lnTo>
                    <a:pt x="6328092" y="2961526"/>
                  </a:lnTo>
                  <a:lnTo>
                    <a:pt x="6332856" y="2990118"/>
                  </a:lnTo>
                  <a:lnTo>
                    <a:pt x="6351916" y="3023474"/>
                  </a:lnTo>
                  <a:lnTo>
                    <a:pt x="6351916" y="3075890"/>
                  </a:lnTo>
                  <a:lnTo>
                    <a:pt x="6356680" y="3099714"/>
                  </a:lnTo>
                  <a:lnTo>
                    <a:pt x="6356680" y="3133070"/>
                  </a:lnTo>
                  <a:lnTo>
                    <a:pt x="6332856" y="3166426"/>
                  </a:lnTo>
                  <a:lnTo>
                    <a:pt x="6318560" y="3209314"/>
                  </a:lnTo>
                  <a:lnTo>
                    <a:pt x="6313796" y="3247434"/>
                  </a:lnTo>
                  <a:lnTo>
                    <a:pt x="6304264" y="3318910"/>
                  </a:lnTo>
                  <a:lnTo>
                    <a:pt x="6294736" y="3337970"/>
                  </a:lnTo>
                  <a:lnTo>
                    <a:pt x="6289968" y="3366562"/>
                  </a:lnTo>
                  <a:lnTo>
                    <a:pt x="6266144" y="3438038"/>
                  </a:lnTo>
                  <a:lnTo>
                    <a:pt x="6266144" y="3466630"/>
                  </a:lnTo>
                  <a:lnTo>
                    <a:pt x="6270908" y="3499986"/>
                  </a:lnTo>
                  <a:lnTo>
                    <a:pt x="6266144" y="3533342"/>
                  </a:lnTo>
                  <a:lnTo>
                    <a:pt x="6261380" y="3557166"/>
                  </a:lnTo>
                  <a:lnTo>
                    <a:pt x="6251848" y="3600054"/>
                  </a:lnTo>
                  <a:lnTo>
                    <a:pt x="6228024" y="3662002"/>
                  </a:lnTo>
                  <a:lnTo>
                    <a:pt x="6194668" y="3709650"/>
                  </a:lnTo>
                  <a:lnTo>
                    <a:pt x="6189904" y="3747774"/>
                  </a:lnTo>
                  <a:lnTo>
                    <a:pt x="6185136" y="3762066"/>
                  </a:lnTo>
                  <a:lnTo>
                    <a:pt x="6180372" y="3781130"/>
                  </a:lnTo>
                  <a:lnTo>
                    <a:pt x="6156548" y="3804954"/>
                  </a:lnTo>
                  <a:lnTo>
                    <a:pt x="6142252" y="3814486"/>
                  </a:lnTo>
                  <a:lnTo>
                    <a:pt x="6137488" y="3828778"/>
                  </a:lnTo>
                  <a:lnTo>
                    <a:pt x="6127956" y="3828778"/>
                  </a:lnTo>
                  <a:lnTo>
                    <a:pt x="6127956" y="3833546"/>
                  </a:lnTo>
                  <a:lnTo>
                    <a:pt x="6137488" y="3833546"/>
                  </a:lnTo>
                  <a:lnTo>
                    <a:pt x="6132720" y="3843074"/>
                  </a:lnTo>
                  <a:lnTo>
                    <a:pt x="6099364" y="3852606"/>
                  </a:lnTo>
                  <a:lnTo>
                    <a:pt x="6075540" y="3866902"/>
                  </a:lnTo>
                  <a:lnTo>
                    <a:pt x="6056480" y="3905022"/>
                  </a:lnTo>
                  <a:lnTo>
                    <a:pt x="6046948" y="3924082"/>
                  </a:lnTo>
                  <a:lnTo>
                    <a:pt x="6032652" y="3943142"/>
                  </a:lnTo>
                  <a:lnTo>
                    <a:pt x="6023124" y="3952674"/>
                  </a:lnTo>
                  <a:lnTo>
                    <a:pt x="6023124" y="3962202"/>
                  </a:lnTo>
                  <a:lnTo>
                    <a:pt x="6018360" y="3986030"/>
                  </a:lnTo>
                  <a:lnTo>
                    <a:pt x="6004064" y="3990794"/>
                  </a:lnTo>
                  <a:lnTo>
                    <a:pt x="5994532" y="3995558"/>
                  </a:lnTo>
                  <a:lnTo>
                    <a:pt x="5999296" y="4019386"/>
                  </a:lnTo>
                  <a:lnTo>
                    <a:pt x="5994532" y="4043210"/>
                  </a:lnTo>
                  <a:lnTo>
                    <a:pt x="5994532" y="4062270"/>
                  </a:lnTo>
                  <a:lnTo>
                    <a:pt x="5989768" y="4071802"/>
                  </a:lnTo>
                  <a:lnTo>
                    <a:pt x="5980236" y="4067038"/>
                  </a:lnTo>
                  <a:lnTo>
                    <a:pt x="5975472" y="4067038"/>
                  </a:lnTo>
                  <a:lnTo>
                    <a:pt x="5970708" y="4076566"/>
                  </a:lnTo>
                  <a:lnTo>
                    <a:pt x="5980236" y="4076566"/>
                  </a:lnTo>
                  <a:lnTo>
                    <a:pt x="5985000" y="4081330"/>
                  </a:lnTo>
                  <a:lnTo>
                    <a:pt x="5965940" y="4105158"/>
                  </a:lnTo>
                  <a:lnTo>
                    <a:pt x="5942116" y="4128982"/>
                  </a:lnTo>
                  <a:lnTo>
                    <a:pt x="5937352" y="4148042"/>
                  </a:lnTo>
                  <a:lnTo>
                    <a:pt x="5927820" y="4167102"/>
                  </a:lnTo>
                  <a:lnTo>
                    <a:pt x="5923056" y="4214754"/>
                  </a:lnTo>
                  <a:lnTo>
                    <a:pt x="5913524" y="4243346"/>
                  </a:lnTo>
                  <a:lnTo>
                    <a:pt x="5918292" y="4262406"/>
                  </a:lnTo>
                  <a:lnTo>
                    <a:pt x="5918292" y="4267170"/>
                  </a:lnTo>
                  <a:lnTo>
                    <a:pt x="5913524" y="4267170"/>
                  </a:lnTo>
                  <a:lnTo>
                    <a:pt x="5903996" y="4271938"/>
                  </a:lnTo>
                  <a:lnTo>
                    <a:pt x="5899232" y="4276702"/>
                  </a:lnTo>
                  <a:lnTo>
                    <a:pt x="5903996" y="4286230"/>
                  </a:lnTo>
                  <a:lnTo>
                    <a:pt x="5903996" y="4290998"/>
                  </a:lnTo>
                  <a:lnTo>
                    <a:pt x="5903996" y="4295762"/>
                  </a:lnTo>
                  <a:lnTo>
                    <a:pt x="5899232" y="4295762"/>
                  </a:lnTo>
                  <a:lnTo>
                    <a:pt x="5894464" y="4295762"/>
                  </a:lnTo>
                  <a:lnTo>
                    <a:pt x="5880168" y="4305294"/>
                  </a:lnTo>
                  <a:lnTo>
                    <a:pt x="5851580" y="4376770"/>
                  </a:lnTo>
                  <a:lnTo>
                    <a:pt x="5837284" y="4395830"/>
                  </a:lnTo>
                  <a:lnTo>
                    <a:pt x="5822988" y="4424422"/>
                  </a:lnTo>
                  <a:lnTo>
                    <a:pt x="5818224" y="4448246"/>
                  </a:lnTo>
                  <a:lnTo>
                    <a:pt x="5813456" y="4476838"/>
                  </a:lnTo>
                  <a:lnTo>
                    <a:pt x="5808692" y="4529254"/>
                  </a:lnTo>
                  <a:lnTo>
                    <a:pt x="5803928" y="4562610"/>
                  </a:lnTo>
                  <a:lnTo>
                    <a:pt x="5789632" y="4595966"/>
                  </a:lnTo>
                  <a:lnTo>
                    <a:pt x="5784868" y="4619790"/>
                  </a:lnTo>
                  <a:lnTo>
                    <a:pt x="5784868" y="4667442"/>
                  </a:lnTo>
                  <a:lnTo>
                    <a:pt x="5789632" y="4700798"/>
                  </a:lnTo>
                  <a:lnTo>
                    <a:pt x="5789632" y="4719858"/>
                  </a:lnTo>
                  <a:lnTo>
                    <a:pt x="5789632" y="4738918"/>
                  </a:lnTo>
                  <a:lnTo>
                    <a:pt x="5784868" y="4753214"/>
                  </a:lnTo>
                  <a:lnTo>
                    <a:pt x="5765808" y="4757978"/>
                  </a:lnTo>
                  <a:lnTo>
                    <a:pt x="5746744" y="4772274"/>
                  </a:lnTo>
                  <a:lnTo>
                    <a:pt x="5727684" y="4791334"/>
                  </a:lnTo>
                  <a:lnTo>
                    <a:pt x="5713392" y="4800866"/>
                  </a:lnTo>
                  <a:lnTo>
                    <a:pt x="5684800" y="4805630"/>
                  </a:lnTo>
                  <a:lnTo>
                    <a:pt x="5627616" y="4805630"/>
                  </a:lnTo>
                  <a:lnTo>
                    <a:pt x="5522784" y="4815162"/>
                  </a:lnTo>
                  <a:lnTo>
                    <a:pt x="5503724" y="4819926"/>
                  </a:lnTo>
                  <a:lnTo>
                    <a:pt x="5460840" y="4834222"/>
                  </a:lnTo>
                  <a:lnTo>
                    <a:pt x="5422716" y="4858046"/>
                  </a:lnTo>
                  <a:lnTo>
                    <a:pt x="5384596" y="4891402"/>
                  </a:lnTo>
                  <a:lnTo>
                    <a:pt x="5303588" y="4977178"/>
                  </a:lnTo>
                  <a:lnTo>
                    <a:pt x="5236876" y="4986706"/>
                  </a:lnTo>
                  <a:lnTo>
                    <a:pt x="5222580" y="4986706"/>
                  </a:lnTo>
                  <a:lnTo>
                    <a:pt x="5213052" y="4986706"/>
                  </a:lnTo>
                  <a:lnTo>
                    <a:pt x="5203520" y="4991470"/>
                  </a:lnTo>
                  <a:lnTo>
                    <a:pt x="5203520" y="5001002"/>
                  </a:lnTo>
                  <a:lnTo>
                    <a:pt x="5213052" y="5015298"/>
                  </a:lnTo>
                  <a:lnTo>
                    <a:pt x="5222580" y="5024826"/>
                  </a:lnTo>
                  <a:lnTo>
                    <a:pt x="5236876" y="5010534"/>
                  </a:lnTo>
                  <a:lnTo>
                    <a:pt x="5241640" y="5015298"/>
                  </a:lnTo>
                  <a:lnTo>
                    <a:pt x="5246408" y="5043886"/>
                  </a:lnTo>
                  <a:lnTo>
                    <a:pt x="5246408" y="5058182"/>
                  </a:lnTo>
                  <a:lnTo>
                    <a:pt x="5241640" y="5067714"/>
                  </a:lnTo>
                  <a:lnTo>
                    <a:pt x="5232112" y="5077246"/>
                  </a:lnTo>
                  <a:lnTo>
                    <a:pt x="5222580" y="5072478"/>
                  </a:lnTo>
                  <a:lnTo>
                    <a:pt x="5222580" y="5062950"/>
                  </a:lnTo>
                  <a:lnTo>
                    <a:pt x="5208288" y="5039122"/>
                  </a:lnTo>
                  <a:lnTo>
                    <a:pt x="5193992" y="5020062"/>
                  </a:lnTo>
                  <a:lnTo>
                    <a:pt x="5179696" y="5015298"/>
                  </a:lnTo>
                  <a:lnTo>
                    <a:pt x="5170164" y="5020062"/>
                  </a:lnTo>
                  <a:lnTo>
                    <a:pt x="5160636" y="5024826"/>
                  </a:lnTo>
                  <a:lnTo>
                    <a:pt x="5146340" y="5001002"/>
                  </a:lnTo>
                  <a:lnTo>
                    <a:pt x="5136808" y="4981942"/>
                  </a:lnTo>
                  <a:lnTo>
                    <a:pt x="5122512" y="4977178"/>
                  </a:lnTo>
                  <a:lnTo>
                    <a:pt x="5108220" y="4977178"/>
                  </a:lnTo>
                  <a:lnTo>
                    <a:pt x="5093924" y="4967646"/>
                  </a:lnTo>
                  <a:lnTo>
                    <a:pt x="5074864" y="4953350"/>
                  </a:lnTo>
                  <a:lnTo>
                    <a:pt x="5079628" y="4943822"/>
                  </a:lnTo>
                  <a:lnTo>
                    <a:pt x="5084392" y="4929526"/>
                  </a:lnTo>
                  <a:lnTo>
                    <a:pt x="5098688" y="4924758"/>
                  </a:lnTo>
                  <a:lnTo>
                    <a:pt x="5093924" y="4910462"/>
                  </a:lnTo>
                  <a:lnTo>
                    <a:pt x="5084392" y="4896170"/>
                  </a:lnTo>
                  <a:lnTo>
                    <a:pt x="5070096" y="4891402"/>
                  </a:lnTo>
                  <a:lnTo>
                    <a:pt x="5060568" y="4896170"/>
                  </a:lnTo>
                  <a:lnTo>
                    <a:pt x="5051036" y="4905698"/>
                  </a:lnTo>
                  <a:lnTo>
                    <a:pt x="5041508" y="4924758"/>
                  </a:lnTo>
                  <a:lnTo>
                    <a:pt x="5008152" y="4948586"/>
                  </a:lnTo>
                  <a:lnTo>
                    <a:pt x="4989092" y="4934290"/>
                  </a:lnTo>
                  <a:lnTo>
                    <a:pt x="4970032" y="4915230"/>
                  </a:lnTo>
                  <a:lnTo>
                    <a:pt x="4979560" y="4915230"/>
                  </a:lnTo>
                  <a:lnTo>
                    <a:pt x="4998620" y="4915230"/>
                  </a:lnTo>
                  <a:lnTo>
                    <a:pt x="5017680" y="4900934"/>
                  </a:lnTo>
                  <a:lnTo>
                    <a:pt x="5022448" y="4886638"/>
                  </a:lnTo>
                  <a:lnTo>
                    <a:pt x="5031976" y="4862814"/>
                  </a:lnTo>
                  <a:lnTo>
                    <a:pt x="5022448" y="4848518"/>
                  </a:lnTo>
                  <a:lnTo>
                    <a:pt x="5012916" y="4838986"/>
                  </a:lnTo>
                  <a:lnTo>
                    <a:pt x="4993856" y="4829458"/>
                  </a:lnTo>
                  <a:lnTo>
                    <a:pt x="4941440" y="4862814"/>
                  </a:lnTo>
                  <a:lnTo>
                    <a:pt x="4927144" y="4867578"/>
                  </a:lnTo>
                  <a:lnTo>
                    <a:pt x="4917612" y="4872342"/>
                  </a:lnTo>
                  <a:lnTo>
                    <a:pt x="4936672" y="4881874"/>
                  </a:lnTo>
                  <a:lnTo>
                    <a:pt x="4946204" y="4877106"/>
                  </a:lnTo>
                  <a:lnTo>
                    <a:pt x="4960500" y="4886638"/>
                  </a:lnTo>
                  <a:lnTo>
                    <a:pt x="4941440" y="4905698"/>
                  </a:lnTo>
                  <a:lnTo>
                    <a:pt x="4927144" y="4905698"/>
                  </a:lnTo>
                  <a:lnTo>
                    <a:pt x="4908084" y="4915230"/>
                  </a:lnTo>
                  <a:lnTo>
                    <a:pt x="4869960" y="4939054"/>
                  </a:lnTo>
                  <a:lnTo>
                    <a:pt x="4827076" y="4986706"/>
                  </a:lnTo>
                  <a:lnTo>
                    <a:pt x="4808016" y="5001002"/>
                  </a:lnTo>
                  <a:lnTo>
                    <a:pt x="4784192" y="5010534"/>
                  </a:lnTo>
                  <a:lnTo>
                    <a:pt x="4750832" y="4996238"/>
                  </a:lnTo>
                  <a:lnTo>
                    <a:pt x="4736540" y="4996238"/>
                  </a:lnTo>
                  <a:lnTo>
                    <a:pt x="4712712" y="4977178"/>
                  </a:lnTo>
                  <a:lnTo>
                    <a:pt x="4674592" y="4962882"/>
                  </a:lnTo>
                  <a:lnTo>
                    <a:pt x="4641236" y="4939054"/>
                  </a:lnTo>
                  <a:lnTo>
                    <a:pt x="4612644" y="4924758"/>
                  </a:lnTo>
                  <a:lnTo>
                    <a:pt x="4598352" y="4919994"/>
                  </a:lnTo>
                  <a:lnTo>
                    <a:pt x="4574524" y="4924758"/>
                  </a:lnTo>
                  <a:lnTo>
                    <a:pt x="4531640" y="4905698"/>
                  </a:lnTo>
                  <a:lnTo>
                    <a:pt x="4503048" y="4900934"/>
                  </a:lnTo>
                  <a:lnTo>
                    <a:pt x="4479220" y="4924758"/>
                  </a:lnTo>
                  <a:lnTo>
                    <a:pt x="4464928" y="4924758"/>
                  </a:lnTo>
                  <a:lnTo>
                    <a:pt x="4455396" y="4919994"/>
                  </a:lnTo>
                  <a:lnTo>
                    <a:pt x="4422040" y="4881874"/>
                  </a:lnTo>
                  <a:lnTo>
                    <a:pt x="4388684" y="4862814"/>
                  </a:lnTo>
                  <a:lnTo>
                    <a:pt x="4331504" y="4853282"/>
                  </a:lnTo>
                  <a:lnTo>
                    <a:pt x="4293384" y="4824690"/>
                  </a:lnTo>
                  <a:lnTo>
                    <a:pt x="4264792" y="4777042"/>
                  </a:lnTo>
                  <a:lnTo>
                    <a:pt x="4212376" y="4719858"/>
                  </a:lnTo>
                  <a:lnTo>
                    <a:pt x="4198080" y="4700798"/>
                  </a:lnTo>
                  <a:lnTo>
                    <a:pt x="4193312" y="4676974"/>
                  </a:lnTo>
                  <a:lnTo>
                    <a:pt x="4193312" y="4662678"/>
                  </a:lnTo>
                  <a:lnTo>
                    <a:pt x="4198080" y="4629322"/>
                  </a:lnTo>
                  <a:lnTo>
                    <a:pt x="4207608" y="4600730"/>
                  </a:lnTo>
                  <a:lnTo>
                    <a:pt x="4207608" y="4586434"/>
                  </a:lnTo>
                  <a:lnTo>
                    <a:pt x="4188548" y="4529254"/>
                  </a:lnTo>
                  <a:lnTo>
                    <a:pt x="4159960" y="4476838"/>
                  </a:lnTo>
                  <a:lnTo>
                    <a:pt x="4150428" y="4457778"/>
                  </a:lnTo>
                  <a:lnTo>
                    <a:pt x="4112308" y="4424422"/>
                  </a:lnTo>
                  <a:lnTo>
                    <a:pt x="4078952" y="4395830"/>
                  </a:lnTo>
                  <a:lnTo>
                    <a:pt x="4074184" y="4381534"/>
                  </a:lnTo>
                  <a:lnTo>
                    <a:pt x="4069420" y="4376770"/>
                  </a:lnTo>
                  <a:lnTo>
                    <a:pt x="4083716" y="4376770"/>
                  </a:lnTo>
                  <a:lnTo>
                    <a:pt x="4093248" y="4367238"/>
                  </a:lnTo>
                  <a:lnTo>
                    <a:pt x="4102776" y="4362474"/>
                  </a:lnTo>
                  <a:lnTo>
                    <a:pt x="4112308" y="4376770"/>
                  </a:lnTo>
                  <a:lnTo>
                    <a:pt x="4121836" y="4381534"/>
                  </a:lnTo>
                  <a:lnTo>
                    <a:pt x="4121836" y="4357710"/>
                  </a:lnTo>
                  <a:lnTo>
                    <a:pt x="4126604" y="4348178"/>
                  </a:lnTo>
                  <a:lnTo>
                    <a:pt x="4121836" y="4338650"/>
                  </a:lnTo>
                  <a:lnTo>
                    <a:pt x="4121836" y="4333882"/>
                  </a:lnTo>
                  <a:lnTo>
                    <a:pt x="4107540" y="4329118"/>
                  </a:lnTo>
                  <a:lnTo>
                    <a:pt x="4088480" y="4338650"/>
                  </a:lnTo>
                  <a:lnTo>
                    <a:pt x="4078952" y="4348178"/>
                  </a:lnTo>
                  <a:lnTo>
                    <a:pt x="4059892" y="4357710"/>
                  </a:lnTo>
                  <a:lnTo>
                    <a:pt x="4055124" y="4367238"/>
                  </a:lnTo>
                  <a:lnTo>
                    <a:pt x="4040832" y="4367238"/>
                  </a:lnTo>
                  <a:lnTo>
                    <a:pt x="4031300" y="4372006"/>
                  </a:lnTo>
                  <a:lnTo>
                    <a:pt x="4002708" y="4386298"/>
                  </a:lnTo>
                  <a:lnTo>
                    <a:pt x="3978884" y="4386298"/>
                  </a:lnTo>
                  <a:lnTo>
                    <a:pt x="3945528" y="4381534"/>
                  </a:lnTo>
                  <a:lnTo>
                    <a:pt x="3959824" y="4357710"/>
                  </a:lnTo>
                  <a:lnTo>
                    <a:pt x="3969352" y="4343414"/>
                  </a:lnTo>
                  <a:lnTo>
                    <a:pt x="3983648" y="4324354"/>
                  </a:lnTo>
                  <a:lnTo>
                    <a:pt x="3997944" y="4267170"/>
                  </a:lnTo>
                  <a:lnTo>
                    <a:pt x="3997944" y="4219522"/>
                  </a:lnTo>
                  <a:lnTo>
                    <a:pt x="3988412" y="4200458"/>
                  </a:lnTo>
                  <a:lnTo>
                    <a:pt x="3959824" y="4157574"/>
                  </a:lnTo>
                  <a:lnTo>
                    <a:pt x="3950292" y="4133746"/>
                  </a:lnTo>
                  <a:lnTo>
                    <a:pt x="3931232" y="4105158"/>
                  </a:lnTo>
                  <a:lnTo>
                    <a:pt x="3926468" y="4119454"/>
                  </a:lnTo>
                  <a:lnTo>
                    <a:pt x="3921700" y="4138514"/>
                  </a:lnTo>
                  <a:lnTo>
                    <a:pt x="3907408" y="4162338"/>
                  </a:lnTo>
                  <a:lnTo>
                    <a:pt x="3897876" y="4214754"/>
                  </a:lnTo>
                  <a:lnTo>
                    <a:pt x="3869284" y="4290998"/>
                  </a:lnTo>
                  <a:lnTo>
                    <a:pt x="3850224" y="4290998"/>
                  </a:lnTo>
                  <a:lnTo>
                    <a:pt x="3835928" y="4290998"/>
                  </a:lnTo>
                  <a:lnTo>
                    <a:pt x="3807340" y="4295762"/>
                  </a:lnTo>
                  <a:lnTo>
                    <a:pt x="3783512" y="4310058"/>
                  </a:lnTo>
                  <a:lnTo>
                    <a:pt x="3769216" y="4310058"/>
                  </a:lnTo>
                  <a:lnTo>
                    <a:pt x="3759688" y="4314822"/>
                  </a:lnTo>
                  <a:lnTo>
                    <a:pt x="3745392" y="4310058"/>
                  </a:lnTo>
                  <a:lnTo>
                    <a:pt x="3764452" y="4248110"/>
                  </a:lnTo>
                  <a:lnTo>
                    <a:pt x="3783512" y="4248110"/>
                  </a:lnTo>
                  <a:lnTo>
                    <a:pt x="3802572" y="4248110"/>
                  </a:lnTo>
                  <a:lnTo>
                    <a:pt x="3812104" y="4248110"/>
                  </a:lnTo>
                  <a:lnTo>
                    <a:pt x="3826400" y="4248110"/>
                  </a:lnTo>
                  <a:lnTo>
                    <a:pt x="3835928" y="4219522"/>
                  </a:lnTo>
                  <a:lnTo>
                    <a:pt x="3840696" y="4186166"/>
                  </a:lnTo>
                  <a:lnTo>
                    <a:pt x="3835928" y="4167102"/>
                  </a:lnTo>
                  <a:lnTo>
                    <a:pt x="3835928" y="4148042"/>
                  </a:lnTo>
                  <a:lnTo>
                    <a:pt x="3840696" y="4124218"/>
                  </a:lnTo>
                  <a:lnTo>
                    <a:pt x="3840696" y="4105158"/>
                  </a:lnTo>
                  <a:lnTo>
                    <a:pt x="3864520" y="4047974"/>
                  </a:lnTo>
                  <a:lnTo>
                    <a:pt x="3883580" y="4019386"/>
                  </a:lnTo>
                  <a:lnTo>
                    <a:pt x="3907408" y="3995558"/>
                  </a:lnTo>
                  <a:lnTo>
                    <a:pt x="3907408" y="3971734"/>
                  </a:lnTo>
                  <a:lnTo>
                    <a:pt x="3897876" y="3947906"/>
                  </a:lnTo>
                  <a:lnTo>
                    <a:pt x="3897876" y="3924082"/>
                  </a:lnTo>
                  <a:lnTo>
                    <a:pt x="3907408" y="3919318"/>
                  </a:lnTo>
                  <a:lnTo>
                    <a:pt x="3916936" y="3905022"/>
                  </a:lnTo>
                  <a:lnTo>
                    <a:pt x="3907408" y="3843074"/>
                  </a:lnTo>
                  <a:lnTo>
                    <a:pt x="3897876" y="3828778"/>
                  </a:lnTo>
                  <a:lnTo>
                    <a:pt x="3883580" y="3809718"/>
                  </a:lnTo>
                  <a:lnTo>
                    <a:pt x="3883580" y="3833546"/>
                  </a:lnTo>
                  <a:lnTo>
                    <a:pt x="3888344" y="3852606"/>
                  </a:lnTo>
                  <a:lnTo>
                    <a:pt x="3869284" y="3881198"/>
                  </a:lnTo>
                  <a:lnTo>
                    <a:pt x="3845460" y="3905022"/>
                  </a:lnTo>
                  <a:lnTo>
                    <a:pt x="3831164" y="3924082"/>
                  </a:lnTo>
                  <a:lnTo>
                    <a:pt x="3816868" y="3966970"/>
                  </a:lnTo>
                  <a:lnTo>
                    <a:pt x="3802572" y="4005090"/>
                  </a:lnTo>
                  <a:lnTo>
                    <a:pt x="3783512" y="4019386"/>
                  </a:lnTo>
                  <a:lnTo>
                    <a:pt x="3769216" y="4024150"/>
                  </a:lnTo>
                  <a:lnTo>
                    <a:pt x="3754924" y="4028914"/>
                  </a:lnTo>
                  <a:lnTo>
                    <a:pt x="3731096" y="4043210"/>
                  </a:lnTo>
                  <a:lnTo>
                    <a:pt x="3707272" y="4057506"/>
                  </a:lnTo>
                  <a:lnTo>
                    <a:pt x="3688212" y="4071802"/>
                  </a:lnTo>
                  <a:lnTo>
                    <a:pt x="3673916" y="4081330"/>
                  </a:lnTo>
                  <a:lnTo>
                    <a:pt x="3626264" y="4157574"/>
                  </a:lnTo>
                  <a:lnTo>
                    <a:pt x="3602440" y="4181398"/>
                  </a:lnTo>
                  <a:lnTo>
                    <a:pt x="3597672" y="4190930"/>
                  </a:lnTo>
                  <a:lnTo>
                    <a:pt x="3588144" y="4200458"/>
                  </a:lnTo>
                  <a:lnTo>
                    <a:pt x="3592908" y="4209990"/>
                  </a:lnTo>
                  <a:lnTo>
                    <a:pt x="3597672" y="4219522"/>
                  </a:lnTo>
                  <a:lnTo>
                    <a:pt x="3607204" y="4252874"/>
                  </a:lnTo>
                  <a:lnTo>
                    <a:pt x="3602440" y="4262406"/>
                  </a:lnTo>
                  <a:lnTo>
                    <a:pt x="3592908" y="4257642"/>
                  </a:lnTo>
                  <a:lnTo>
                    <a:pt x="3573848" y="4238582"/>
                  </a:lnTo>
                  <a:lnTo>
                    <a:pt x="3564316" y="4243346"/>
                  </a:lnTo>
                  <a:lnTo>
                    <a:pt x="3550020" y="4252874"/>
                  </a:lnTo>
                  <a:lnTo>
                    <a:pt x="3526196" y="4219522"/>
                  </a:lnTo>
                  <a:lnTo>
                    <a:pt x="3516664" y="4209990"/>
                  </a:lnTo>
                  <a:lnTo>
                    <a:pt x="3502372" y="4195694"/>
                  </a:lnTo>
                  <a:lnTo>
                    <a:pt x="3488076" y="4186166"/>
                  </a:lnTo>
                  <a:lnTo>
                    <a:pt x="3478544" y="4181398"/>
                  </a:lnTo>
                  <a:lnTo>
                    <a:pt x="3469016" y="4186166"/>
                  </a:lnTo>
                  <a:lnTo>
                    <a:pt x="3469016" y="4176634"/>
                  </a:lnTo>
                  <a:lnTo>
                    <a:pt x="3478544" y="4167102"/>
                  </a:lnTo>
                  <a:lnTo>
                    <a:pt x="3483312" y="4167102"/>
                  </a:lnTo>
                  <a:lnTo>
                    <a:pt x="3497604" y="4176634"/>
                  </a:lnTo>
                  <a:lnTo>
                    <a:pt x="3511900" y="4186166"/>
                  </a:lnTo>
                  <a:lnTo>
                    <a:pt x="3516664" y="4190930"/>
                  </a:lnTo>
                  <a:lnTo>
                    <a:pt x="3521432" y="4186166"/>
                  </a:lnTo>
                  <a:lnTo>
                    <a:pt x="3507136" y="4143278"/>
                  </a:lnTo>
                  <a:lnTo>
                    <a:pt x="3497604" y="4109922"/>
                  </a:lnTo>
                  <a:lnTo>
                    <a:pt x="3497604" y="4100390"/>
                  </a:lnTo>
                  <a:lnTo>
                    <a:pt x="3483312" y="4067038"/>
                  </a:lnTo>
                  <a:lnTo>
                    <a:pt x="3478544" y="4057506"/>
                  </a:lnTo>
                  <a:lnTo>
                    <a:pt x="3459484" y="4033682"/>
                  </a:lnTo>
                  <a:lnTo>
                    <a:pt x="3435660" y="4005090"/>
                  </a:lnTo>
                  <a:lnTo>
                    <a:pt x="3426128" y="3971734"/>
                  </a:lnTo>
                  <a:lnTo>
                    <a:pt x="3416600" y="3947906"/>
                  </a:lnTo>
                  <a:lnTo>
                    <a:pt x="3407068" y="3933614"/>
                  </a:lnTo>
                  <a:lnTo>
                    <a:pt x="3388008" y="3924082"/>
                  </a:lnTo>
                  <a:lnTo>
                    <a:pt x="3340356" y="3919318"/>
                  </a:lnTo>
                  <a:lnTo>
                    <a:pt x="3321296" y="3881198"/>
                  </a:lnTo>
                  <a:lnTo>
                    <a:pt x="3311764" y="3838310"/>
                  </a:lnTo>
                  <a:lnTo>
                    <a:pt x="3321296" y="3838310"/>
                  </a:lnTo>
                  <a:lnTo>
                    <a:pt x="3330824" y="3838310"/>
                  </a:lnTo>
                  <a:lnTo>
                    <a:pt x="3335592" y="3824014"/>
                  </a:lnTo>
                  <a:lnTo>
                    <a:pt x="3330824" y="3804954"/>
                  </a:lnTo>
                  <a:lnTo>
                    <a:pt x="3283176" y="3776362"/>
                  </a:lnTo>
                  <a:lnTo>
                    <a:pt x="3259348" y="3752538"/>
                  </a:lnTo>
                  <a:lnTo>
                    <a:pt x="3240288" y="3738242"/>
                  </a:lnTo>
                  <a:lnTo>
                    <a:pt x="3225992" y="3733478"/>
                  </a:lnTo>
                  <a:lnTo>
                    <a:pt x="3202168" y="3738242"/>
                  </a:lnTo>
                  <a:lnTo>
                    <a:pt x="3173576" y="3733478"/>
                  </a:lnTo>
                  <a:lnTo>
                    <a:pt x="3102100" y="3695358"/>
                  </a:lnTo>
                  <a:lnTo>
                    <a:pt x="3083040" y="3690590"/>
                  </a:lnTo>
                  <a:lnTo>
                    <a:pt x="3035388" y="3704886"/>
                  </a:lnTo>
                  <a:lnTo>
                    <a:pt x="3016328" y="3704886"/>
                  </a:lnTo>
                  <a:lnTo>
                    <a:pt x="2940084" y="3647706"/>
                  </a:lnTo>
                  <a:lnTo>
                    <a:pt x="2887668" y="3619114"/>
                  </a:lnTo>
                  <a:lnTo>
                    <a:pt x="2868608" y="3614350"/>
                  </a:lnTo>
                  <a:lnTo>
                    <a:pt x="2849548" y="3609582"/>
                  </a:lnTo>
                  <a:lnTo>
                    <a:pt x="2830488" y="3614350"/>
                  </a:lnTo>
                  <a:lnTo>
                    <a:pt x="2816192" y="3623878"/>
                  </a:lnTo>
                  <a:lnTo>
                    <a:pt x="2792368" y="3628646"/>
                  </a:lnTo>
                  <a:lnTo>
                    <a:pt x="2692300" y="3623878"/>
                  </a:lnTo>
                  <a:lnTo>
                    <a:pt x="2601760" y="3633410"/>
                  </a:lnTo>
                  <a:lnTo>
                    <a:pt x="2544580" y="3638174"/>
                  </a:lnTo>
                  <a:lnTo>
                    <a:pt x="2506460" y="3647706"/>
                  </a:lnTo>
                  <a:lnTo>
                    <a:pt x="2444512" y="3681062"/>
                  </a:lnTo>
                  <a:lnTo>
                    <a:pt x="2368272" y="3714418"/>
                  </a:lnTo>
                  <a:lnTo>
                    <a:pt x="2306324" y="3728710"/>
                  </a:lnTo>
                  <a:lnTo>
                    <a:pt x="2249144" y="3752538"/>
                  </a:lnTo>
                  <a:lnTo>
                    <a:pt x="2215788" y="3757302"/>
                  </a:lnTo>
                  <a:lnTo>
                    <a:pt x="2168136" y="3762066"/>
                  </a:lnTo>
                  <a:lnTo>
                    <a:pt x="2068068" y="3747774"/>
                  </a:lnTo>
                  <a:lnTo>
                    <a:pt x="2029948" y="3757302"/>
                  </a:lnTo>
                  <a:lnTo>
                    <a:pt x="1977528" y="3795422"/>
                  </a:lnTo>
                  <a:lnTo>
                    <a:pt x="1963236" y="3804954"/>
                  </a:lnTo>
                  <a:lnTo>
                    <a:pt x="1929880" y="3814486"/>
                  </a:lnTo>
                  <a:lnTo>
                    <a:pt x="1848872" y="3866902"/>
                  </a:lnTo>
                  <a:lnTo>
                    <a:pt x="1815516" y="3876430"/>
                  </a:lnTo>
                  <a:lnTo>
                    <a:pt x="1791688" y="3881198"/>
                  </a:lnTo>
                  <a:lnTo>
                    <a:pt x="1772628" y="3890726"/>
                  </a:lnTo>
                  <a:lnTo>
                    <a:pt x="1753568" y="3909786"/>
                  </a:lnTo>
                  <a:lnTo>
                    <a:pt x="1729744" y="3971734"/>
                  </a:lnTo>
                  <a:lnTo>
                    <a:pt x="1710684" y="4000326"/>
                  </a:lnTo>
                  <a:lnTo>
                    <a:pt x="1677328" y="4043210"/>
                  </a:lnTo>
                  <a:lnTo>
                    <a:pt x="1653500" y="4057506"/>
                  </a:lnTo>
                  <a:lnTo>
                    <a:pt x="1634440" y="4057506"/>
                  </a:lnTo>
                  <a:lnTo>
                    <a:pt x="1610616" y="4071802"/>
                  </a:lnTo>
                  <a:lnTo>
                    <a:pt x="1586788" y="4057506"/>
                  </a:lnTo>
                  <a:lnTo>
                    <a:pt x="1567728" y="4052742"/>
                  </a:lnTo>
                  <a:lnTo>
                    <a:pt x="1539136" y="4052742"/>
                  </a:lnTo>
                  <a:lnTo>
                    <a:pt x="1443836" y="4071802"/>
                  </a:lnTo>
                  <a:lnTo>
                    <a:pt x="1429540" y="4052742"/>
                  </a:lnTo>
                  <a:lnTo>
                    <a:pt x="1410480" y="4047974"/>
                  </a:lnTo>
                  <a:lnTo>
                    <a:pt x="1377124" y="4047974"/>
                  </a:lnTo>
                  <a:lnTo>
                    <a:pt x="1324708" y="4043210"/>
                  </a:lnTo>
                  <a:lnTo>
                    <a:pt x="1234168" y="4047974"/>
                  </a:lnTo>
                  <a:lnTo>
                    <a:pt x="1191284" y="4057506"/>
                  </a:lnTo>
                  <a:lnTo>
                    <a:pt x="1172224" y="4067038"/>
                  </a:lnTo>
                  <a:lnTo>
                    <a:pt x="1138868" y="4062270"/>
                  </a:lnTo>
                  <a:lnTo>
                    <a:pt x="1086452" y="4071802"/>
                  </a:lnTo>
                  <a:lnTo>
                    <a:pt x="1067392" y="4081330"/>
                  </a:lnTo>
                  <a:lnTo>
                    <a:pt x="1048328" y="4090862"/>
                  </a:lnTo>
                  <a:lnTo>
                    <a:pt x="1024504" y="4143278"/>
                  </a:lnTo>
                  <a:lnTo>
                    <a:pt x="991148" y="4162338"/>
                  </a:lnTo>
                  <a:lnTo>
                    <a:pt x="962556" y="4162338"/>
                  </a:lnTo>
                  <a:lnTo>
                    <a:pt x="933968" y="4167102"/>
                  </a:lnTo>
                  <a:lnTo>
                    <a:pt x="876784" y="4214754"/>
                  </a:lnTo>
                  <a:lnTo>
                    <a:pt x="814840" y="4262406"/>
                  </a:lnTo>
                  <a:lnTo>
                    <a:pt x="795780" y="4267170"/>
                  </a:lnTo>
                  <a:lnTo>
                    <a:pt x="771952" y="4276702"/>
                  </a:lnTo>
                  <a:lnTo>
                    <a:pt x="743360" y="4276702"/>
                  </a:lnTo>
                  <a:lnTo>
                    <a:pt x="729068" y="4281466"/>
                  </a:lnTo>
                  <a:lnTo>
                    <a:pt x="662356" y="4271938"/>
                  </a:lnTo>
                  <a:lnTo>
                    <a:pt x="619468" y="4267170"/>
                  </a:lnTo>
                  <a:lnTo>
                    <a:pt x="562288" y="4262406"/>
                  </a:lnTo>
                  <a:lnTo>
                    <a:pt x="514636" y="4238582"/>
                  </a:lnTo>
                  <a:lnTo>
                    <a:pt x="481280" y="4224286"/>
                  </a:lnTo>
                  <a:lnTo>
                    <a:pt x="438392" y="4171870"/>
                  </a:lnTo>
                  <a:lnTo>
                    <a:pt x="414568" y="4152810"/>
                  </a:lnTo>
                  <a:lnTo>
                    <a:pt x="371680" y="4133746"/>
                  </a:lnTo>
                  <a:lnTo>
                    <a:pt x="357388" y="4133746"/>
                  </a:lnTo>
                  <a:lnTo>
                    <a:pt x="347856" y="4138514"/>
                  </a:lnTo>
                  <a:lnTo>
                    <a:pt x="328796" y="4124218"/>
                  </a:lnTo>
                  <a:lnTo>
                    <a:pt x="328796" y="4100390"/>
                  </a:lnTo>
                  <a:lnTo>
                    <a:pt x="324032" y="4086098"/>
                  </a:lnTo>
                  <a:lnTo>
                    <a:pt x="324032" y="4038446"/>
                  </a:lnTo>
                  <a:lnTo>
                    <a:pt x="324032" y="3981262"/>
                  </a:lnTo>
                  <a:lnTo>
                    <a:pt x="343092" y="3995558"/>
                  </a:lnTo>
                  <a:lnTo>
                    <a:pt x="357388" y="4005090"/>
                  </a:lnTo>
                  <a:lnTo>
                    <a:pt x="381212" y="4005090"/>
                  </a:lnTo>
                  <a:lnTo>
                    <a:pt x="405036" y="3986030"/>
                  </a:lnTo>
                  <a:lnTo>
                    <a:pt x="419332" y="3957438"/>
                  </a:lnTo>
                  <a:lnTo>
                    <a:pt x="433628" y="3924082"/>
                  </a:lnTo>
                  <a:lnTo>
                    <a:pt x="433628" y="3885962"/>
                  </a:lnTo>
                  <a:lnTo>
                    <a:pt x="424100" y="3824014"/>
                  </a:lnTo>
                  <a:lnTo>
                    <a:pt x="428864" y="3809718"/>
                  </a:lnTo>
                  <a:lnTo>
                    <a:pt x="438392" y="3804954"/>
                  </a:lnTo>
                  <a:lnTo>
                    <a:pt x="438392" y="3776362"/>
                  </a:lnTo>
                  <a:lnTo>
                    <a:pt x="443160" y="3681062"/>
                  </a:lnTo>
                  <a:lnTo>
                    <a:pt x="438392" y="3647706"/>
                  </a:lnTo>
                  <a:lnTo>
                    <a:pt x="400272" y="3576226"/>
                  </a:lnTo>
                  <a:lnTo>
                    <a:pt x="371680" y="3514282"/>
                  </a:lnTo>
                  <a:lnTo>
                    <a:pt x="352620" y="3485690"/>
                  </a:lnTo>
                  <a:lnTo>
                    <a:pt x="338324" y="3438038"/>
                  </a:lnTo>
                  <a:lnTo>
                    <a:pt x="324032" y="3376094"/>
                  </a:lnTo>
                  <a:lnTo>
                    <a:pt x="324032" y="3342738"/>
                  </a:lnTo>
                  <a:lnTo>
                    <a:pt x="319264" y="3285554"/>
                  </a:lnTo>
                  <a:lnTo>
                    <a:pt x="324032" y="3256966"/>
                  </a:lnTo>
                  <a:lnTo>
                    <a:pt x="319264" y="3237902"/>
                  </a:lnTo>
                  <a:lnTo>
                    <a:pt x="304972" y="3185486"/>
                  </a:lnTo>
                  <a:lnTo>
                    <a:pt x="266848" y="3133070"/>
                  </a:lnTo>
                  <a:lnTo>
                    <a:pt x="262084" y="3118774"/>
                  </a:lnTo>
                  <a:lnTo>
                    <a:pt x="262084" y="3099714"/>
                  </a:lnTo>
                  <a:lnTo>
                    <a:pt x="252552" y="3075890"/>
                  </a:lnTo>
                  <a:lnTo>
                    <a:pt x="223964" y="3033002"/>
                  </a:lnTo>
                  <a:lnTo>
                    <a:pt x="195372" y="2994882"/>
                  </a:lnTo>
                  <a:lnTo>
                    <a:pt x="190608" y="2975822"/>
                  </a:lnTo>
                  <a:lnTo>
                    <a:pt x="185840" y="2899578"/>
                  </a:lnTo>
                  <a:lnTo>
                    <a:pt x="176312" y="2866222"/>
                  </a:lnTo>
                  <a:lnTo>
                    <a:pt x="123896" y="2775686"/>
                  </a:lnTo>
                  <a:lnTo>
                    <a:pt x="66712" y="2704210"/>
                  </a:lnTo>
                  <a:lnTo>
                    <a:pt x="52420" y="2670854"/>
                  </a:lnTo>
                  <a:lnTo>
                    <a:pt x="42888" y="2661322"/>
                  </a:lnTo>
                  <a:lnTo>
                    <a:pt x="47652" y="2661322"/>
                  </a:lnTo>
                  <a:lnTo>
                    <a:pt x="52420" y="2661322"/>
                  </a:lnTo>
                  <a:lnTo>
                    <a:pt x="61948" y="2670854"/>
                  </a:lnTo>
                  <a:lnTo>
                    <a:pt x="66712" y="2670854"/>
                  </a:lnTo>
                  <a:lnTo>
                    <a:pt x="66712" y="2666090"/>
                  </a:lnTo>
                  <a:lnTo>
                    <a:pt x="66712" y="2651794"/>
                  </a:lnTo>
                  <a:lnTo>
                    <a:pt x="71480" y="2642262"/>
                  </a:lnTo>
                  <a:lnTo>
                    <a:pt x="76244" y="2647026"/>
                  </a:lnTo>
                  <a:lnTo>
                    <a:pt x="81008" y="2666090"/>
                  </a:lnTo>
                  <a:lnTo>
                    <a:pt x="100068" y="2704210"/>
                  </a:lnTo>
                  <a:lnTo>
                    <a:pt x="104836" y="2728034"/>
                  </a:lnTo>
                  <a:lnTo>
                    <a:pt x="128660" y="2732802"/>
                  </a:lnTo>
                  <a:lnTo>
                    <a:pt x="138192" y="2728034"/>
                  </a:lnTo>
                  <a:lnTo>
                    <a:pt x="142956" y="2718506"/>
                  </a:lnTo>
                  <a:lnTo>
                    <a:pt x="147720" y="2689914"/>
                  </a:lnTo>
                  <a:lnTo>
                    <a:pt x="133424" y="2675618"/>
                  </a:lnTo>
                  <a:lnTo>
                    <a:pt x="123896" y="2670854"/>
                  </a:lnTo>
                  <a:lnTo>
                    <a:pt x="104836" y="2647026"/>
                  </a:lnTo>
                  <a:lnTo>
                    <a:pt x="95304" y="2613670"/>
                  </a:lnTo>
                  <a:lnTo>
                    <a:pt x="76244" y="2580318"/>
                  </a:lnTo>
                  <a:lnTo>
                    <a:pt x="76244" y="2570786"/>
                  </a:lnTo>
                  <a:lnTo>
                    <a:pt x="85776" y="2561254"/>
                  </a:lnTo>
                  <a:lnTo>
                    <a:pt x="100068" y="2566022"/>
                  </a:lnTo>
                  <a:lnTo>
                    <a:pt x="109600" y="2585082"/>
                  </a:lnTo>
                  <a:lnTo>
                    <a:pt x="123896" y="2599378"/>
                  </a:lnTo>
                  <a:lnTo>
                    <a:pt x="123896" y="2632734"/>
                  </a:lnTo>
                  <a:lnTo>
                    <a:pt x="119132" y="2637498"/>
                  </a:lnTo>
                  <a:lnTo>
                    <a:pt x="123896" y="2647026"/>
                  </a:lnTo>
                  <a:lnTo>
                    <a:pt x="128660" y="2651794"/>
                  </a:lnTo>
                  <a:lnTo>
                    <a:pt x="133424" y="2656558"/>
                  </a:lnTo>
                  <a:lnTo>
                    <a:pt x="142956" y="2651794"/>
                  </a:lnTo>
                  <a:lnTo>
                    <a:pt x="147720" y="2632734"/>
                  </a:lnTo>
                  <a:lnTo>
                    <a:pt x="152484" y="2632734"/>
                  </a:lnTo>
                  <a:lnTo>
                    <a:pt x="162016" y="2675618"/>
                  </a:lnTo>
                  <a:lnTo>
                    <a:pt x="171548" y="2685150"/>
                  </a:lnTo>
                  <a:lnTo>
                    <a:pt x="185840" y="2699446"/>
                  </a:lnTo>
                  <a:lnTo>
                    <a:pt x="200136" y="2689914"/>
                  </a:lnTo>
                  <a:lnTo>
                    <a:pt x="204904" y="2680382"/>
                  </a:lnTo>
                  <a:lnTo>
                    <a:pt x="200136" y="2651794"/>
                  </a:lnTo>
                  <a:lnTo>
                    <a:pt x="204904" y="2623202"/>
                  </a:lnTo>
                  <a:lnTo>
                    <a:pt x="204904" y="2604142"/>
                  </a:lnTo>
                  <a:lnTo>
                    <a:pt x="171548" y="2551726"/>
                  </a:lnTo>
                  <a:lnTo>
                    <a:pt x="138192" y="2485014"/>
                  </a:lnTo>
                  <a:lnTo>
                    <a:pt x="119132" y="2451658"/>
                  </a:lnTo>
                  <a:lnTo>
                    <a:pt x="104836" y="2404006"/>
                  </a:lnTo>
                  <a:lnTo>
                    <a:pt x="90540" y="2384946"/>
                  </a:lnTo>
                  <a:lnTo>
                    <a:pt x="81008" y="2361122"/>
                  </a:lnTo>
                  <a:lnTo>
                    <a:pt x="81008" y="2327766"/>
                  </a:lnTo>
                  <a:lnTo>
                    <a:pt x="81008" y="2308702"/>
                  </a:lnTo>
                  <a:lnTo>
                    <a:pt x="90540" y="2261054"/>
                  </a:lnTo>
                  <a:lnTo>
                    <a:pt x="100068" y="2237226"/>
                  </a:lnTo>
                  <a:lnTo>
                    <a:pt x="133424" y="2184810"/>
                  </a:lnTo>
                  <a:lnTo>
                    <a:pt x="133424" y="2160986"/>
                  </a:lnTo>
                  <a:lnTo>
                    <a:pt x="133424" y="2146690"/>
                  </a:lnTo>
                  <a:lnTo>
                    <a:pt x="138192" y="2118098"/>
                  </a:lnTo>
                  <a:lnTo>
                    <a:pt x="138192" y="2099038"/>
                  </a:lnTo>
                  <a:lnTo>
                    <a:pt x="133424" y="2084742"/>
                  </a:lnTo>
                  <a:lnTo>
                    <a:pt x="119132" y="2051386"/>
                  </a:lnTo>
                  <a:lnTo>
                    <a:pt x="138192" y="2003734"/>
                  </a:lnTo>
                  <a:lnTo>
                    <a:pt x="162016" y="1937022"/>
                  </a:lnTo>
                  <a:lnTo>
                    <a:pt x="171548" y="1927494"/>
                  </a:lnTo>
                  <a:lnTo>
                    <a:pt x="190608" y="1917962"/>
                  </a:lnTo>
                  <a:lnTo>
                    <a:pt x="190608" y="1932258"/>
                  </a:lnTo>
                  <a:lnTo>
                    <a:pt x="185840" y="1975146"/>
                  </a:lnTo>
                  <a:lnTo>
                    <a:pt x="195372" y="1998970"/>
                  </a:lnTo>
                  <a:lnTo>
                    <a:pt x="190608" y="2027562"/>
                  </a:lnTo>
                  <a:lnTo>
                    <a:pt x="204904" y="2022798"/>
                  </a:lnTo>
                  <a:lnTo>
                    <a:pt x="219196" y="2018030"/>
                  </a:lnTo>
                  <a:lnTo>
                    <a:pt x="228728" y="2003734"/>
                  </a:lnTo>
                  <a:lnTo>
                    <a:pt x="238260" y="1989442"/>
                  </a:lnTo>
                  <a:lnTo>
                    <a:pt x="266848" y="1937022"/>
                  </a:lnTo>
                  <a:lnTo>
                    <a:pt x="281144" y="1917962"/>
                  </a:lnTo>
                  <a:lnTo>
                    <a:pt x="304972" y="1903666"/>
                  </a:lnTo>
                  <a:lnTo>
                    <a:pt x="352620" y="1884606"/>
                  </a:lnTo>
                  <a:lnTo>
                    <a:pt x="400272" y="1860782"/>
                  </a:lnTo>
                  <a:lnTo>
                    <a:pt x="419332" y="1836958"/>
                  </a:lnTo>
                  <a:lnTo>
                    <a:pt x="447924" y="1817894"/>
                  </a:lnTo>
                  <a:lnTo>
                    <a:pt x="466984" y="1798834"/>
                  </a:lnTo>
                  <a:lnTo>
                    <a:pt x="486044" y="1784538"/>
                  </a:lnTo>
                  <a:lnTo>
                    <a:pt x="576584" y="1732122"/>
                  </a:lnTo>
                  <a:lnTo>
                    <a:pt x="595644" y="1717826"/>
                  </a:lnTo>
                  <a:lnTo>
                    <a:pt x="614704" y="1717826"/>
                  </a:lnTo>
                  <a:lnTo>
                    <a:pt x="638528" y="1722594"/>
                  </a:lnTo>
                  <a:lnTo>
                    <a:pt x="662356" y="1717826"/>
                  </a:lnTo>
                  <a:lnTo>
                    <a:pt x="686180" y="1732122"/>
                  </a:lnTo>
                  <a:lnTo>
                    <a:pt x="700476" y="1732122"/>
                  </a:lnTo>
                  <a:lnTo>
                    <a:pt x="748128" y="1717826"/>
                  </a:lnTo>
                  <a:lnTo>
                    <a:pt x="767188" y="1708298"/>
                  </a:lnTo>
                  <a:lnTo>
                    <a:pt x="810072" y="1679706"/>
                  </a:lnTo>
                  <a:lnTo>
                    <a:pt x="824368" y="1674942"/>
                  </a:lnTo>
                  <a:lnTo>
                    <a:pt x="867256" y="1665410"/>
                  </a:lnTo>
                  <a:lnTo>
                    <a:pt x="914908" y="1655882"/>
                  </a:lnTo>
                  <a:lnTo>
                    <a:pt x="967324" y="1608230"/>
                  </a:lnTo>
                  <a:lnTo>
                    <a:pt x="1005444" y="1612994"/>
                  </a:lnTo>
                  <a:lnTo>
                    <a:pt x="1043564" y="1617762"/>
                  </a:lnTo>
                  <a:lnTo>
                    <a:pt x="1072156" y="1603466"/>
                  </a:lnTo>
                  <a:lnTo>
                    <a:pt x="1138868" y="1593934"/>
                  </a:lnTo>
                  <a:lnTo>
                    <a:pt x="1176988" y="1584406"/>
                  </a:lnTo>
                  <a:lnTo>
                    <a:pt x="1243700" y="1555814"/>
                  </a:lnTo>
                  <a:lnTo>
                    <a:pt x="1262760" y="1546282"/>
                  </a:lnTo>
                  <a:lnTo>
                    <a:pt x="1291352" y="1522458"/>
                  </a:lnTo>
                  <a:lnTo>
                    <a:pt x="1315176" y="1498630"/>
                  </a:lnTo>
                  <a:lnTo>
                    <a:pt x="1339004" y="1460510"/>
                  </a:lnTo>
                  <a:lnTo>
                    <a:pt x="1358064" y="1431922"/>
                  </a:lnTo>
                  <a:lnTo>
                    <a:pt x="1362828" y="1412858"/>
                  </a:lnTo>
                  <a:lnTo>
                    <a:pt x="1377124" y="1389034"/>
                  </a:lnTo>
                  <a:lnTo>
                    <a:pt x="1386656" y="1369974"/>
                  </a:lnTo>
                  <a:lnTo>
                    <a:pt x="1396184" y="1360442"/>
                  </a:lnTo>
                  <a:lnTo>
                    <a:pt x="1420008" y="1346146"/>
                  </a:lnTo>
                  <a:lnTo>
                    <a:pt x="1462896" y="1308026"/>
                  </a:lnTo>
                  <a:lnTo>
                    <a:pt x="1472428" y="1298498"/>
                  </a:lnTo>
                  <a:lnTo>
                    <a:pt x="1477192" y="1284202"/>
                  </a:lnTo>
                  <a:lnTo>
                    <a:pt x="1467660" y="1279438"/>
                  </a:lnTo>
                  <a:lnTo>
                    <a:pt x="1458132" y="1274670"/>
                  </a:lnTo>
                  <a:lnTo>
                    <a:pt x="1448600" y="1236550"/>
                  </a:lnTo>
                  <a:lnTo>
                    <a:pt x="1443836" y="1207958"/>
                  </a:lnTo>
                  <a:lnTo>
                    <a:pt x="1443836" y="1188898"/>
                  </a:lnTo>
                  <a:lnTo>
                    <a:pt x="1443836" y="1169838"/>
                  </a:lnTo>
                  <a:lnTo>
                    <a:pt x="1462896" y="1141246"/>
                  </a:lnTo>
                  <a:lnTo>
                    <a:pt x="1472428" y="1126950"/>
                  </a:lnTo>
                  <a:lnTo>
                    <a:pt x="1486720" y="1112658"/>
                  </a:lnTo>
                  <a:lnTo>
                    <a:pt x="1501016" y="1107890"/>
                  </a:lnTo>
                  <a:lnTo>
                    <a:pt x="1515312" y="1093598"/>
                  </a:lnTo>
                  <a:lnTo>
                    <a:pt x="1534372" y="1084066"/>
                  </a:lnTo>
                  <a:lnTo>
                    <a:pt x="1539136" y="1069770"/>
                  </a:lnTo>
                  <a:lnTo>
                    <a:pt x="1553432" y="1045946"/>
                  </a:lnTo>
                  <a:lnTo>
                    <a:pt x="1562964" y="1022118"/>
                  </a:lnTo>
                  <a:lnTo>
                    <a:pt x="1572496" y="1026886"/>
                  </a:lnTo>
                  <a:lnTo>
                    <a:pt x="1586788" y="1069770"/>
                  </a:lnTo>
                  <a:lnTo>
                    <a:pt x="1596320" y="1093598"/>
                  </a:lnTo>
                  <a:lnTo>
                    <a:pt x="1620144" y="1122186"/>
                  </a:lnTo>
                  <a:lnTo>
                    <a:pt x="1634440" y="1165074"/>
                  </a:lnTo>
                  <a:lnTo>
                    <a:pt x="1653500" y="1184134"/>
                  </a:lnTo>
                  <a:lnTo>
                    <a:pt x="1658268" y="1193662"/>
                  </a:lnTo>
                  <a:lnTo>
                    <a:pt x="1663032" y="1203194"/>
                  </a:lnTo>
                  <a:lnTo>
                    <a:pt x="1667796" y="1193662"/>
                  </a:lnTo>
                  <a:lnTo>
                    <a:pt x="1663032" y="1184134"/>
                  </a:lnTo>
                  <a:lnTo>
                    <a:pt x="1672560" y="1150778"/>
                  </a:lnTo>
                  <a:lnTo>
                    <a:pt x="1667796" y="1131718"/>
                  </a:lnTo>
                  <a:lnTo>
                    <a:pt x="1667796" y="1122186"/>
                  </a:lnTo>
                  <a:lnTo>
                    <a:pt x="1672560" y="1117422"/>
                  </a:lnTo>
                  <a:lnTo>
                    <a:pt x="1682092" y="1122186"/>
                  </a:lnTo>
                  <a:lnTo>
                    <a:pt x="1696388" y="1131718"/>
                  </a:lnTo>
                  <a:lnTo>
                    <a:pt x="1701152" y="1136482"/>
                  </a:lnTo>
                  <a:lnTo>
                    <a:pt x="1705916" y="1136482"/>
                  </a:lnTo>
                  <a:lnTo>
                    <a:pt x="1705916" y="1117422"/>
                  </a:lnTo>
                  <a:lnTo>
                    <a:pt x="1710684" y="1103126"/>
                  </a:lnTo>
                  <a:lnTo>
                    <a:pt x="1710684" y="1093598"/>
                  </a:lnTo>
                  <a:lnTo>
                    <a:pt x="1696388" y="1093598"/>
                  </a:lnTo>
                  <a:lnTo>
                    <a:pt x="1691624" y="1084066"/>
                  </a:lnTo>
                  <a:lnTo>
                    <a:pt x="1682092" y="1069770"/>
                  </a:lnTo>
                  <a:lnTo>
                    <a:pt x="1672560" y="1065006"/>
                  </a:lnTo>
                  <a:lnTo>
                    <a:pt x="1658268" y="1041178"/>
                  </a:lnTo>
                  <a:lnTo>
                    <a:pt x="1653500" y="1031650"/>
                  </a:lnTo>
                  <a:lnTo>
                    <a:pt x="1658268" y="1031650"/>
                  </a:lnTo>
                  <a:lnTo>
                    <a:pt x="1667796" y="1031650"/>
                  </a:lnTo>
                  <a:lnTo>
                    <a:pt x="1672560" y="1022118"/>
                  </a:lnTo>
                  <a:lnTo>
                    <a:pt x="1677328" y="1007822"/>
                  </a:lnTo>
                  <a:lnTo>
                    <a:pt x="1672560" y="988762"/>
                  </a:lnTo>
                  <a:lnTo>
                    <a:pt x="1677328" y="983998"/>
                  </a:lnTo>
                  <a:lnTo>
                    <a:pt x="1691624" y="983998"/>
                  </a:lnTo>
                  <a:lnTo>
                    <a:pt x="1710684" y="1017354"/>
                  </a:lnTo>
                  <a:lnTo>
                    <a:pt x="1720212" y="1012590"/>
                  </a:lnTo>
                  <a:lnTo>
                    <a:pt x="1724976" y="998294"/>
                  </a:lnTo>
                  <a:lnTo>
                    <a:pt x="1739272" y="998294"/>
                  </a:lnTo>
                  <a:lnTo>
                    <a:pt x="1753568" y="998294"/>
                  </a:lnTo>
                  <a:lnTo>
                    <a:pt x="1763100" y="1007822"/>
                  </a:lnTo>
                  <a:lnTo>
                    <a:pt x="1777396" y="1017354"/>
                  </a:lnTo>
                  <a:lnTo>
                    <a:pt x="1801220" y="1017354"/>
                  </a:lnTo>
                  <a:lnTo>
                    <a:pt x="1815516" y="1017354"/>
                  </a:lnTo>
                  <a:lnTo>
                    <a:pt x="1839340" y="1017354"/>
                  </a:lnTo>
                  <a:lnTo>
                    <a:pt x="1853636" y="1017354"/>
                  </a:lnTo>
                  <a:lnTo>
                    <a:pt x="1848872" y="1012590"/>
                  </a:lnTo>
                  <a:lnTo>
                    <a:pt x="1834576" y="1007822"/>
                  </a:lnTo>
                  <a:lnTo>
                    <a:pt x="1820280" y="1007822"/>
                  </a:lnTo>
                  <a:lnTo>
                    <a:pt x="1805984" y="1007822"/>
                  </a:lnTo>
                  <a:lnTo>
                    <a:pt x="1796456" y="1003058"/>
                  </a:lnTo>
                  <a:lnTo>
                    <a:pt x="1791688" y="988762"/>
                  </a:lnTo>
                  <a:lnTo>
                    <a:pt x="1796456" y="974466"/>
                  </a:lnTo>
                  <a:lnTo>
                    <a:pt x="1801220" y="969702"/>
                  </a:lnTo>
                  <a:lnTo>
                    <a:pt x="1810752" y="974466"/>
                  </a:lnTo>
                  <a:lnTo>
                    <a:pt x="1825044" y="974466"/>
                  </a:lnTo>
                  <a:lnTo>
                    <a:pt x="1825044" y="955406"/>
                  </a:lnTo>
                  <a:lnTo>
                    <a:pt x="1829812" y="945878"/>
                  </a:lnTo>
                  <a:lnTo>
                    <a:pt x="1834576" y="931582"/>
                  </a:lnTo>
                  <a:lnTo>
                    <a:pt x="1834576" y="922050"/>
                  </a:lnTo>
                  <a:lnTo>
                    <a:pt x="1825044" y="926818"/>
                  </a:lnTo>
                  <a:lnTo>
                    <a:pt x="1810752" y="950642"/>
                  </a:lnTo>
                  <a:lnTo>
                    <a:pt x="1805984" y="931582"/>
                  </a:lnTo>
                  <a:lnTo>
                    <a:pt x="1791688" y="912522"/>
                  </a:lnTo>
                  <a:lnTo>
                    <a:pt x="1796456" y="893462"/>
                  </a:lnTo>
                  <a:lnTo>
                    <a:pt x="1801220" y="869634"/>
                  </a:lnTo>
                  <a:lnTo>
                    <a:pt x="1810752" y="869634"/>
                  </a:lnTo>
                  <a:lnTo>
                    <a:pt x="1820280" y="874402"/>
                  </a:lnTo>
                  <a:lnTo>
                    <a:pt x="1834576" y="860106"/>
                  </a:lnTo>
                  <a:lnTo>
                    <a:pt x="1839340" y="850574"/>
                  </a:lnTo>
                  <a:lnTo>
                    <a:pt x="1839340" y="841046"/>
                  </a:lnTo>
                  <a:lnTo>
                    <a:pt x="1839340" y="836278"/>
                  </a:lnTo>
                  <a:lnTo>
                    <a:pt x="1848872" y="836278"/>
                  </a:lnTo>
                  <a:lnTo>
                    <a:pt x="1882228" y="855338"/>
                  </a:lnTo>
                  <a:lnTo>
                    <a:pt x="1891756" y="869634"/>
                  </a:lnTo>
                  <a:lnTo>
                    <a:pt x="1901288" y="864870"/>
                  </a:lnTo>
                  <a:lnTo>
                    <a:pt x="1901288" y="850574"/>
                  </a:lnTo>
                  <a:lnTo>
                    <a:pt x="1901288" y="841046"/>
                  </a:lnTo>
                  <a:lnTo>
                    <a:pt x="1891756" y="841046"/>
                  </a:lnTo>
                  <a:lnTo>
                    <a:pt x="1872696" y="841046"/>
                  </a:lnTo>
                  <a:lnTo>
                    <a:pt x="1872696" y="836278"/>
                  </a:lnTo>
                  <a:lnTo>
                    <a:pt x="1872696" y="831514"/>
                  </a:lnTo>
                  <a:lnTo>
                    <a:pt x="1863168" y="817218"/>
                  </a:lnTo>
                  <a:lnTo>
                    <a:pt x="1877464" y="807690"/>
                  </a:lnTo>
                  <a:lnTo>
                    <a:pt x="1886992" y="807690"/>
                  </a:lnTo>
                  <a:lnTo>
                    <a:pt x="1891756" y="802922"/>
                  </a:lnTo>
                  <a:lnTo>
                    <a:pt x="1891756" y="793394"/>
                  </a:lnTo>
                  <a:lnTo>
                    <a:pt x="1896524" y="793394"/>
                  </a:lnTo>
                  <a:lnTo>
                    <a:pt x="1901288" y="798158"/>
                  </a:lnTo>
                  <a:lnTo>
                    <a:pt x="1915584" y="798158"/>
                  </a:lnTo>
                  <a:lnTo>
                    <a:pt x="1934644" y="807690"/>
                  </a:lnTo>
                  <a:lnTo>
                    <a:pt x="1944172" y="812454"/>
                  </a:lnTo>
                  <a:lnTo>
                    <a:pt x="1948940" y="807690"/>
                  </a:lnTo>
                  <a:lnTo>
                    <a:pt x="1948940" y="793394"/>
                  </a:lnTo>
                  <a:lnTo>
                    <a:pt x="1925112" y="783862"/>
                  </a:lnTo>
                  <a:lnTo>
                    <a:pt x="1925112" y="769566"/>
                  </a:lnTo>
                  <a:lnTo>
                    <a:pt x="1915584" y="760038"/>
                  </a:lnTo>
                  <a:lnTo>
                    <a:pt x="1915584" y="745742"/>
                  </a:lnTo>
                  <a:lnTo>
                    <a:pt x="1929880" y="736210"/>
                  </a:lnTo>
                  <a:lnTo>
                    <a:pt x="1934644" y="726682"/>
                  </a:lnTo>
                  <a:lnTo>
                    <a:pt x="1939408" y="721918"/>
                  </a:lnTo>
                  <a:lnTo>
                    <a:pt x="1958468" y="721918"/>
                  </a:lnTo>
                  <a:lnTo>
                    <a:pt x="1968000" y="712386"/>
                  </a:lnTo>
                  <a:lnTo>
                    <a:pt x="1977528" y="707622"/>
                  </a:lnTo>
                  <a:lnTo>
                    <a:pt x="1982296" y="688562"/>
                  </a:lnTo>
                  <a:lnTo>
                    <a:pt x="1982296" y="674266"/>
                  </a:lnTo>
                  <a:lnTo>
                    <a:pt x="1987060" y="674266"/>
                  </a:lnTo>
                  <a:lnTo>
                    <a:pt x="2001356" y="679030"/>
                  </a:lnTo>
                  <a:lnTo>
                    <a:pt x="1996592" y="693326"/>
                  </a:lnTo>
                  <a:lnTo>
                    <a:pt x="1996592" y="707622"/>
                  </a:lnTo>
                  <a:lnTo>
                    <a:pt x="1991824" y="717150"/>
                  </a:lnTo>
                  <a:lnTo>
                    <a:pt x="1996592" y="717150"/>
                  </a:lnTo>
                  <a:lnTo>
                    <a:pt x="2001356" y="712386"/>
                  </a:lnTo>
                  <a:lnTo>
                    <a:pt x="2006120" y="702854"/>
                  </a:lnTo>
                  <a:lnTo>
                    <a:pt x="2015652" y="707622"/>
                  </a:lnTo>
                  <a:lnTo>
                    <a:pt x="2020416" y="717150"/>
                  </a:lnTo>
                  <a:lnTo>
                    <a:pt x="2020416" y="726682"/>
                  </a:lnTo>
                  <a:lnTo>
                    <a:pt x="2029948" y="731446"/>
                  </a:lnTo>
                  <a:lnTo>
                    <a:pt x="2034712" y="712386"/>
                  </a:lnTo>
                  <a:lnTo>
                    <a:pt x="2049008" y="712386"/>
                  </a:lnTo>
                  <a:lnTo>
                    <a:pt x="2049008" y="688562"/>
                  </a:lnTo>
                  <a:lnTo>
                    <a:pt x="2053772" y="674266"/>
                  </a:lnTo>
                  <a:lnTo>
                    <a:pt x="2053772" y="664734"/>
                  </a:lnTo>
                  <a:lnTo>
                    <a:pt x="2058536" y="659970"/>
                  </a:lnTo>
                  <a:lnTo>
                    <a:pt x="2063304" y="650438"/>
                  </a:lnTo>
                  <a:lnTo>
                    <a:pt x="2058536" y="640910"/>
                  </a:lnTo>
                  <a:lnTo>
                    <a:pt x="2053772" y="626614"/>
                  </a:lnTo>
                  <a:lnTo>
                    <a:pt x="2063304" y="621850"/>
                  </a:lnTo>
                  <a:lnTo>
                    <a:pt x="2072832" y="631378"/>
                  </a:lnTo>
                  <a:lnTo>
                    <a:pt x="2082364" y="650438"/>
                  </a:lnTo>
                  <a:lnTo>
                    <a:pt x="2087128" y="655206"/>
                  </a:lnTo>
                  <a:lnTo>
                    <a:pt x="2091892" y="650438"/>
                  </a:lnTo>
                  <a:lnTo>
                    <a:pt x="2096656" y="640910"/>
                  </a:lnTo>
                  <a:lnTo>
                    <a:pt x="2106188" y="631378"/>
                  </a:lnTo>
                  <a:lnTo>
                    <a:pt x="2120484" y="640910"/>
                  </a:lnTo>
                  <a:lnTo>
                    <a:pt x="2134780" y="655206"/>
                  </a:lnTo>
                  <a:lnTo>
                    <a:pt x="2149076" y="645674"/>
                  </a:lnTo>
                  <a:lnTo>
                    <a:pt x="2168136" y="621850"/>
                  </a:lnTo>
                  <a:lnTo>
                    <a:pt x="2163368" y="607554"/>
                  </a:lnTo>
                  <a:lnTo>
                    <a:pt x="2168136" y="598022"/>
                  </a:lnTo>
                  <a:lnTo>
                    <a:pt x="2187196" y="588494"/>
                  </a:lnTo>
                  <a:lnTo>
                    <a:pt x="2201492" y="593258"/>
                  </a:lnTo>
                  <a:lnTo>
                    <a:pt x="2215788" y="607554"/>
                  </a:lnTo>
                  <a:lnTo>
                    <a:pt x="2244376" y="621850"/>
                  </a:lnTo>
                  <a:lnTo>
                    <a:pt x="2272968" y="636142"/>
                  </a:lnTo>
                  <a:lnTo>
                    <a:pt x="2282496" y="645674"/>
                  </a:lnTo>
                  <a:lnTo>
                    <a:pt x="2306324" y="659970"/>
                  </a:lnTo>
                  <a:lnTo>
                    <a:pt x="2320620" y="679030"/>
                  </a:lnTo>
                  <a:lnTo>
                    <a:pt x="2339680" y="707622"/>
                  </a:lnTo>
                  <a:lnTo>
                    <a:pt x="2387332" y="745742"/>
                  </a:lnTo>
                  <a:lnTo>
                    <a:pt x="2387332" y="750506"/>
                  </a:lnTo>
                  <a:lnTo>
                    <a:pt x="2382564" y="764802"/>
                  </a:lnTo>
                  <a:lnTo>
                    <a:pt x="2377800" y="779098"/>
                  </a:lnTo>
                  <a:lnTo>
                    <a:pt x="2368272" y="807690"/>
                  </a:lnTo>
                  <a:lnTo>
                    <a:pt x="2368272" y="845810"/>
                  </a:lnTo>
                  <a:lnTo>
                    <a:pt x="2373036" y="841046"/>
                  </a:lnTo>
                  <a:lnTo>
                    <a:pt x="2382564" y="826750"/>
                  </a:lnTo>
                  <a:lnTo>
                    <a:pt x="2387332" y="831514"/>
                  </a:lnTo>
                  <a:lnTo>
                    <a:pt x="2396860" y="841046"/>
                  </a:lnTo>
                  <a:lnTo>
                    <a:pt x="2396860" y="831514"/>
                  </a:lnTo>
                  <a:lnTo>
                    <a:pt x="2392096" y="826750"/>
                  </a:lnTo>
                  <a:lnTo>
                    <a:pt x="2382564" y="807690"/>
                  </a:lnTo>
                  <a:lnTo>
                    <a:pt x="2382564" y="798158"/>
                  </a:lnTo>
                  <a:lnTo>
                    <a:pt x="2392096" y="793394"/>
                  </a:lnTo>
                  <a:lnTo>
                    <a:pt x="2401628" y="783862"/>
                  </a:lnTo>
                  <a:lnTo>
                    <a:pt x="2411156" y="774334"/>
                  </a:lnTo>
                  <a:lnTo>
                    <a:pt x="2420688" y="769566"/>
                  </a:lnTo>
                  <a:lnTo>
                    <a:pt x="2420688" y="764802"/>
                  </a:lnTo>
                  <a:lnTo>
                    <a:pt x="2430216" y="755270"/>
                  </a:lnTo>
                  <a:lnTo>
                    <a:pt x="2449276" y="755270"/>
                  </a:lnTo>
                  <a:lnTo>
                    <a:pt x="2458808" y="755270"/>
                  </a:lnTo>
                  <a:lnTo>
                    <a:pt x="2520756" y="774334"/>
                  </a:lnTo>
                  <a:lnTo>
                    <a:pt x="2539816" y="788626"/>
                  </a:lnTo>
                  <a:lnTo>
                    <a:pt x="2539816" y="812454"/>
                  </a:lnTo>
                  <a:lnTo>
                    <a:pt x="2549344" y="817218"/>
                  </a:lnTo>
                  <a:lnTo>
                    <a:pt x="2549344" y="802922"/>
                  </a:lnTo>
                  <a:lnTo>
                    <a:pt x="2549344" y="774334"/>
                  </a:lnTo>
                  <a:lnTo>
                    <a:pt x="2554112" y="769566"/>
                  </a:lnTo>
                  <a:lnTo>
                    <a:pt x="2573172" y="774334"/>
                  </a:lnTo>
                  <a:lnTo>
                    <a:pt x="2582700" y="779098"/>
                  </a:lnTo>
                  <a:lnTo>
                    <a:pt x="2601760" y="798158"/>
                  </a:lnTo>
                  <a:lnTo>
                    <a:pt x="2606528" y="807690"/>
                  </a:lnTo>
                  <a:lnTo>
                    <a:pt x="2611292" y="812454"/>
                  </a:lnTo>
                  <a:lnTo>
                    <a:pt x="2616056" y="807690"/>
                  </a:lnTo>
                  <a:lnTo>
                    <a:pt x="2611292" y="793394"/>
                  </a:lnTo>
                  <a:lnTo>
                    <a:pt x="2611292" y="779098"/>
                  </a:lnTo>
                  <a:lnTo>
                    <a:pt x="2611292" y="769566"/>
                  </a:lnTo>
                  <a:lnTo>
                    <a:pt x="2635116" y="764802"/>
                  </a:lnTo>
                  <a:lnTo>
                    <a:pt x="2644648" y="764802"/>
                  </a:lnTo>
                  <a:lnTo>
                    <a:pt x="2639884" y="760038"/>
                  </a:lnTo>
                  <a:lnTo>
                    <a:pt x="2630352" y="760038"/>
                  </a:lnTo>
                  <a:lnTo>
                    <a:pt x="2616056" y="745742"/>
                  </a:lnTo>
                  <a:lnTo>
                    <a:pt x="2606528" y="736210"/>
                  </a:lnTo>
                  <a:lnTo>
                    <a:pt x="2620824" y="721918"/>
                  </a:lnTo>
                  <a:lnTo>
                    <a:pt x="2606528" y="721918"/>
                  </a:lnTo>
                  <a:lnTo>
                    <a:pt x="2587464" y="707622"/>
                  </a:lnTo>
                  <a:lnTo>
                    <a:pt x="2573172" y="693326"/>
                  </a:lnTo>
                  <a:lnTo>
                    <a:pt x="2582700" y="664734"/>
                  </a:lnTo>
                  <a:lnTo>
                    <a:pt x="2611292" y="636142"/>
                  </a:lnTo>
                  <a:lnTo>
                    <a:pt x="2625588" y="626614"/>
                  </a:lnTo>
                  <a:lnTo>
                    <a:pt x="2625588" y="617082"/>
                  </a:lnTo>
                  <a:lnTo>
                    <a:pt x="2630352" y="598022"/>
                  </a:lnTo>
                  <a:lnTo>
                    <a:pt x="2635116" y="583726"/>
                  </a:lnTo>
                  <a:lnTo>
                    <a:pt x="2639884" y="574198"/>
                  </a:lnTo>
                  <a:lnTo>
                    <a:pt x="2644648" y="559902"/>
                  </a:lnTo>
                  <a:lnTo>
                    <a:pt x="2658944" y="550370"/>
                  </a:lnTo>
                  <a:lnTo>
                    <a:pt x="2682768" y="545606"/>
                  </a:lnTo>
                  <a:lnTo>
                    <a:pt x="2692300" y="540842"/>
                  </a:lnTo>
                  <a:lnTo>
                    <a:pt x="2701828" y="531310"/>
                  </a:lnTo>
                  <a:lnTo>
                    <a:pt x="2711360" y="517014"/>
                  </a:lnTo>
                  <a:lnTo>
                    <a:pt x="2692300" y="493190"/>
                  </a:lnTo>
                  <a:lnTo>
                    <a:pt x="2692300" y="478894"/>
                  </a:lnTo>
                  <a:lnTo>
                    <a:pt x="2697064" y="466982"/>
                  </a:lnTo>
                  <a:lnTo>
                    <a:pt x="2720888" y="452686"/>
                  </a:lnTo>
                  <a:lnTo>
                    <a:pt x="2730420" y="424094"/>
                  </a:lnTo>
                  <a:lnTo>
                    <a:pt x="2739952" y="419330"/>
                  </a:lnTo>
                  <a:lnTo>
                    <a:pt x="2759012" y="419330"/>
                  </a:lnTo>
                  <a:lnTo>
                    <a:pt x="2768540" y="414566"/>
                  </a:lnTo>
                  <a:lnTo>
                    <a:pt x="2763776" y="390738"/>
                  </a:lnTo>
                  <a:lnTo>
                    <a:pt x="2768540" y="381210"/>
                  </a:lnTo>
                  <a:lnTo>
                    <a:pt x="2773304" y="376446"/>
                  </a:lnTo>
                  <a:lnTo>
                    <a:pt x="2782836" y="381210"/>
                  </a:lnTo>
                  <a:lnTo>
                    <a:pt x="2792368" y="390738"/>
                  </a:lnTo>
                  <a:lnTo>
                    <a:pt x="2806664" y="400270"/>
                  </a:lnTo>
                  <a:lnTo>
                    <a:pt x="2811428" y="395506"/>
                  </a:lnTo>
                  <a:lnTo>
                    <a:pt x="2806664" y="385974"/>
                  </a:lnTo>
                  <a:lnTo>
                    <a:pt x="2806664" y="371678"/>
                  </a:lnTo>
                  <a:lnTo>
                    <a:pt x="2820956" y="366914"/>
                  </a:lnTo>
                  <a:lnTo>
                    <a:pt x="2830488" y="366914"/>
                  </a:lnTo>
                  <a:lnTo>
                    <a:pt x="2830488" y="357382"/>
                  </a:lnTo>
                  <a:lnTo>
                    <a:pt x="2830488" y="347854"/>
                  </a:lnTo>
                  <a:lnTo>
                    <a:pt x="2830488" y="343090"/>
                  </a:lnTo>
                  <a:lnTo>
                    <a:pt x="2859080" y="343090"/>
                  </a:lnTo>
                  <a:lnTo>
                    <a:pt x="2868608" y="328794"/>
                  </a:lnTo>
                  <a:lnTo>
                    <a:pt x="2873372" y="324026"/>
                  </a:lnTo>
                  <a:lnTo>
                    <a:pt x="2873372" y="328794"/>
                  </a:lnTo>
                  <a:lnTo>
                    <a:pt x="2878140" y="347854"/>
                  </a:lnTo>
                  <a:lnTo>
                    <a:pt x="2892436" y="357382"/>
                  </a:lnTo>
                  <a:lnTo>
                    <a:pt x="2940084" y="357382"/>
                  </a:lnTo>
                  <a:lnTo>
                    <a:pt x="2963912" y="347854"/>
                  </a:lnTo>
                  <a:lnTo>
                    <a:pt x="2973440" y="352618"/>
                  </a:lnTo>
                  <a:lnTo>
                    <a:pt x="2992504" y="357382"/>
                  </a:lnTo>
                  <a:lnTo>
                    <a:pt x="3011564" y="347854"/>
                  </a:lnTo>
                  <a:lnTo>
                    <a:pt x="3021092" y="343090"/>
                  </a:lnTo>
                  <a:lnTo>
                    <a:pt x="3040152" y="352618"/>
                  </a:lnTo>
                  <a:lnTo>
                    <a:pt x="3044920" y="357382"/>
                  </a:lnTo>
                  <a:lnTo>
                    <a:pt x="3049684" y="338322"/>
                  </a:lnTo>
                  <a:lnTo>
                    <a:pt x="3063980" y="333558"/>
                  </a:lnTo>
                  <a:lnTo>
                    <a:pt x="3073508" y="328794"/>
                  </a:lnTo>
                  <a:lnTo>
                    <a:pt x="3087804" y="333558"/>
                  </a:lnTo>
                  <a:lnTo>
                    <a:pt x="3092568" y="333558"/>
                  </a:lnTo>
                  <a:lnTo>
                    <a:pt x="3078276" y="319262"/>
                  </a:lnTo>
                  <a:lnTo>
                    <a:pt x="3083040" y="304966"/>
                  </a:lnTo>
                  <a:lnTo>
                    <a:pt x="3078276" y="285906"/>
                  </a:lnTo>
                  <a:lnTo>
                    <a:pt x="3083040" y="266846"/>
                  </a:lnTo>
                  <a:lnTo>
                    <a:pt x="3087804" y="257318"/>
                  </a:lnTo>
                  <a:lnTo>
                    <a:pt x="3054448" y="228726"/>
                  </a:lnTo>
                  <a:lnTo>
                    <a:pt x="3025856" y="228726"/>
                  </a:lnTo>
                  <a:lnTo>
                    <a:pt x="3002032" y="233490"/>
                  </a:lnTo>
                  <a:lnTo>
                    <a:pt x="2992504" y="228726"/>
                  </a:lnTo>
                  <a:lnTo>
                    <a:pt x="2973440" y="209666"/>
                  </a:lnTo>
                  <a:lnTo>
                    <a:pt x="2954380" y="200134"/>
                  </a:lnTo>
                  <a:lnTo>
                    <a:pt x="2954380" y="195370"/>
                  </a:lnTo>
                  <a:lnTo>
                    <a:pt x="2973440" y="181074"/>
                  </a:lnTo>
                  <a:lnTo>
                    <a:pt x="2982972" y="185838"/>
                  </a:lnTo>
                  <a:lnTo>
                    <a:pt x="2997268" y="195370"/>
                  </a:lnTo>
                  <a:lnTo>
                    <a:pt x="3006796" y="204898"/>
                  </a:lnTo>
                  <a:lnTo>
                    <a:pt x="3011564" y="200134"/>
                  </a:lnTo>
                  <a:lnTo>
                    <a:pt x="3016328" y="190606"/>
                  </a:lnTo>
                  <a:lnTo>
                    <a:pt x="3021092" y="185838"/>
                  </a:lnTo>
                  <a:lnTo>
                    <a:pt x="3035388" y="190606"/>
                  </a:lnTo>
                  <a:lnTo>
                    <a:pt x="3068744" y="209666"/>
                  </a:lnTo>
                  <a:lnTo>
                    <a:pt x="3087804" y="233490"/>
                  </a:lnTo>
                  <a:lnTo>
                    <a:pt x="3097336" y="228726"/>
                  </a:lnTo>
                  <a:lnTo>
                    <a:pt x="3116396" y="214430"/>
                  </a:lnTo>
                  <a:lnTo>
                    <a:pt x="3130692" y="219194"/>
                  </a:lnTo>
                  <a:lnTo>
                    <a:pt x="3140220" y="223962"/>
                  </a:lnTo>
                  <a:lnTo>
                    <a:pt x="3154516" y="252550"/>
                  </a:lnTo>
                  <a:lnTo>
                    <a:pt x="3168812" y="266846"/>
                  </a:lnTo>
                  <a:lnTo>
                    <a:pt x="3192636" y="266846"/>
                  </a:lnTo>
                  <a:lnTo>
                    <a:pt x="3206932" y="271610"/>
                  </a:lnTo>
                  <a:lnTo>
                    <a:pt x="3221228" y="281142"/>
                  </a:lnTo>
                  <a:lnTo>
                    <a:pt x="3240288" y="281142"/>
                  </a:lnTo>
                  <a:lnTo>
                    <a:pt x="3278408" y="285906"/>
                  </a:lnTo>
                  <a:lnTo>
                    <a:pt x="3316532" y="304966"/>
                  </a:lnTo>
                  <a:lnTo>
                    <a:pt x="3330824" y="314498"/>
                  </a:lnTo>
                  <a:lnTo>
                    <a:pt x="3349888" y="314498"/>
                  </a:lnTo>
                  <a:lnTo>
                    <a:pt x="3359416" y="319262"/>
                  </a:lnTo>
                  <a:lnTo>
                    <a:pt x="3378476" y="324026"/>
                  </a:lnTo>
                  <a:lnTo>
                    <a:pt x="3407068" y="309734"/>
                  </a:lnTo>
                  <a:lnTo>
                    <a:pt x="3421364" y="319262"/>
                  </a:lnTo>
                  <a:lnTo>
                    <a:pt x="3426128" y="328794"/>
                  </a:lnTo>
                  <a:lnTo>
                    <a:pt x="3454720" y="343090"/>
                  </a:lnTo>
                  <a:lnTo>
                    <a:pt x="3483312" y="347854"/>
                  </a:lnTo>
                  <a:lnTo>
                    <a:pt x="3507136" y="333558"/>
                  </a:lnTo>
                  <a:lnTo>
                    <a:pt x="3535728" y="324026"/>
                  </a:lnTo>
                  <a:lnTo>
                    <a:pt x="3559552" y="304966"/>
                  </a:lnTo>
                  <a:lnTo>
                    <a:pt x="3573848" y="295438"/>
                  </a:lnTo>
                  <a:lnTo>
                    <a:pt x="3588144" y="285906"/>
                  </a:lnTo>
                  <a:lnTo>
                    <a:pt x="3592908" y="285906"/>
                  </a:lnTo>
                  <a:lnTo>
                    <a:pt x="3583376" y="295438"/>
                  </a:lnTo>
                  <a:lnTo>
                    <a:pt x="3578612" y="304966"/>
                  </a:lnTo>
                  <a:lnTo>
                    <a:pt x="3592908" y="309734"/>
                  </a:lnTo>
                  <a:lnTo>
                    <a:pt x="3588144" y="309734"/>
                  </a:lnTo>
                  <a:lnTo>
                    <a:pt x="3573848" y="319262"/>
                  </a:lnTo>
                  <a:lnTo>
                    <a:pt x="3559552" y="338322"/>
                  </a:lnTo>
                  <a:lnTo>
                    <a:pt x="3559552" y="347854"/>
                  </a:lnTo>
                  <a:lnTo>
                    <a:pt x="3569084" y="352618"/>
                  </a:lnTo>
                  <a:lnTo>
                    <a:pt x="3573848" y="347854"/>
                  </a:lnTo>
                  <a:lnTo>
                    <a:pt x="3583376" y="343090"/>
                  </a:lnTo>
                  <a:lnTo>
                    <a:pt x="3597672" y="338322"/>
                  </a:lnTo>
                  <a:lnTo>
                    <a:pt x="3607204" y="343090"/>
                  </a:lnTo>
                  <a:lnTo>
                    <a:pt x="3611968" y="366914"/>
                  </a:lnTo>
                  <a:lnTo>
                    <a:pt x="3621500" y="381210"/>
                  </a:lnTo>
                  <a:lnTo>
                    <a:pt x="3635796" y="381210"/>
                  </a:lnTo>
                  <a:lnTo>
                    <a:pt x="3645324" y="381210"/>
                  </a:lnTo>
                  <a:lnTo>
                    <a:pt x="3659620" y="362150"/>
                  </a:lnTo>
                  <a:lnTo>
                    <a:pt x="3650088" y="343090"/>
                  </a:lnTo>
                  <a:lnTo>
                    <a:pt x="3645324" y="338322"/>
                  </a:lnTo>
                  <a:lnTo>
                    <a:pt x="3650088" y="333558"/>
                  </a:lnTo>
                  <a:lnTo>
                    <a:pt x="3673916" y="304966"/>
                  </a:lnTo>
                  <a:lnTo>
                    <a:pt x="3692976" y="304966"/>
                  </a:lnTo>
                  <a:lnTo>
                    <a:pt x="3702504" y="333558"/>
                  </a:lnTo>
                  <a:lnTo>
                    <a:pt x="3721568" y="347854"/>
                  </a:lnTo>
                  <a:lnTo>
                    <a:pt x="3735860" y="347854"/>
                  </a:lnTo>
                  <a:lnTo>
                    <a:pt x="3745392" y="352618"/>
                  </a:lnTo>
                  <a:lnTo>
                    <a:pt x="3754924" y="366914"/>
                  </a:lnTo>
                  <a:lnTo>
                    <a:pt x="3692976" y="438390"/>
                  </a:lnTo>
                  <a:lnTo>
                    <a:pt x="3688212" y="443158"/>
                  </a:lnTo>
                  <a:lnTo>
                    <a:pt x="3697740" y="457450"/>
                  </a:lnTo>
                  <a:lnTo>
                    <a:pt x="3697740" y="469366"/>
                  </a:lnTo>
                  <a:lnTo>
                    <a:pt x="3678680" y="507486"/>
                  </a:lnTo>
                  <a:lnTo>
                    <a:pt x="3669152" y="507486"/>
                  </a:lnTo>
                  <a:lnTo>
                    <a:pt x="3664384" y="497954"/>
                  </a:lnTo>
                  <a:lnTo>
                    <a:pt x="3654856" y="493190"/>
                  </a:lnTo>
                  <a:lnTo>
                    <a:pt x="3645324" y="497954"/>
                  </a:lnTo>
                  <a:lnTo>
                    <a:pt x="3631028" y="497954"/>
                  </a:lnTo>
                  <a:lnTo>
                    <a:pt x="3597672" y="517014"/>
                  </a:lnTo>
                  <a:lnTo>
                    <a:pt x="3597672" y="569430"/>
                  </a:lnTo>
                  <a:lnTo>
                    <a:pt x="3607204" y="598022"/>
                  </a:lnTo>
                  <a:lnTo>
                    <a:pt x="3597672" y="621850"/>
                  </a:lnTo>
                  <a:lnTo>
                    <a:pt x="3588144" y="655206"/>
                  </a:lnTo>
                  <a:lnTo>
                    <a:pt x="3578612" y="669498"/>
                  </a:lnTo>
                  <a:lnTo>
                    <a:pt x="3569084" y="679030"/>
                  </a:lnTo>
                  <a:lnTo>
                    <a:pt x="3535728" y="726682"/>
                  </a:lnTo>
                  <a:lnTo>
                    <a:pt x="3526196" y="736210"/>
                  </a:lnTo>
                  <a:lnTo>
                    <a:pt x="3511900" y="750506"/>
                  </a:lnTo>
                  <a:lnTo>
                    <a:pt x="3516664" y="769566"/>
                  </a:lnTo>
                  <a:lnTo>
                    <a:pt x="3521432" y="779098"/>
                  </a:lnTo>
                  <a:lnTo>
                    <a:pt x="3535728" y="793394"/>
                  </a:lnTo>
                  <a:lnTo>
                    <a:pt x="3578612" y="817218"/>
                  </a:lnTo>
                  <a:lnTo>
                    <a:pt x="3602440" y="836278"/>
                  </a:lnTo>
                  <a:lnTo>
                    <a:pt x="3640560" y="855338"/>
                  </a:lnTo>
                  <a:lnTo>
                    <a:pt x="3645324" y="869634"/>
                  </a:lnTo>
                  <a:lnTo>
                    <a:pt x="3650088" y="883930"/>
                  </a:lnTo>
                  <a:lnTo>
                    <a:pt x="3678680" y="898226"/>
                  </a:lnTo>
                  <a:lnTo>
                    <a:pt x="3697740" y="907758"/>
                  </a:lnTo>
                  <a:lnTo>
                    <a:pt x="3702504" y="902990"/>
                  </a:lnTo>
                  <a:lnTo>
                    <a:pt x="3707272" y="902990"/>
                  </a:lnTo>
                  <a:lnTo>
                    <a:pt x="3712036" y="902990"/>
                  </a:lnTo>
                  <a:lnTo>
                    <a:pt x="3716800" y="902990"/>
                  </a:lnTo>
                  <a:lnTo>
                    <a:pt x="3716800" y="912522"/>
                  </a:lnTo>
                  <a:lnTo>
                    <a:pt x="3712036" y="917286"/>
                  </a:lnTo>
                  <a:lnTo>
                    <a:pt x="3716800" y="926818"/>
                  </a:lnTo>
                  <a:lnTo>
                    <a:pt x="3731096" y="936346"/>
                  </a:lnTo>
                  <a:lnTo>
                    <a:pt x="3750156" y="936346"/>
                  </a:lnTo>
                  <a:lnTo>
                    <a:pt x="3764452" y="936346"/>
                  </a:lnTo>
                  <a:lnTo>
                    <a:pt x="3778748" y="945878"/>
                  </a:lnTo>
                  <a:lnTo>
                    <a:pt x="3788280" y="950642"/>
                  </a:lnTo>
                  <a:lnTo>
                    <a:pt x="3807340" y="964938"/>
                  </a:lnTo>
                  <a:lnTo>
                    <a:pt x="3845460" y="979234"/>
                  </a:lnTo>
                  <a:lnTo>
                    <a:pt x="3874052" y="993530"/>
                  </a:lnTo>
                  <a:lnTo>
                    <a:pt x="3907408" y="1031650"/>
                  </a:lnTo>
                  <a:lnTo>
                    <a:pt x="3931232" y="1055474"/>
                  </a:lnTo>
                  <a:lnTo>
                    <a:pt x="3959824" y="1069770"/>
                  </a:lnTo>
                  <a:lnTo>
                    <a:pt x="3997944" y="1084066"/>
                  </a:lnTo>
                  <a:lnTo>
                    <a:pt x="4017004" y="1079302"/>
                  </a:lnTo>
                  <a:lnTo>
                    <a:pt x="4045596" y="1093598"/>
                  </a:lnTo>
                  <a:lnTo>
                    <a:pt x="4078952" y="1098362"/>
                  </a:lnTo>
                  <a:lnTo>
                    <a:pt x="4093248" y="1117422"/>
                  </a:lnTo>
                  <a:lnTo>
                    <a:pt x="4098012" y="1131718"/>
                  </a:lnTo>
                  <a:lnTo>
                    <a:pt x="4098012" y="1146014"/>
                  </a:lnTo>
                  <a:lnTo>
                    <a:pt x="4112308" y="1169838"/>
                  </a:lnTo>
                  <a:lnTo>
                    <a:pt x="4145664" y="1179370"/>
                  </a:lnTo>
                  <a:lnTo>
                    <a:pt x="4183784" y="1203194"/>
                  </a:lnTo>
                  <a:lnTo>
                    <a:pt x="4217140" y="1217490"/>
                  </a:lnTo>
                  <a:lnTo>
                    <a:pt x="4221904" y="1222254"/>
                  </a:lnTo>
                  <a:lnTo>
                    <a:pt x="4236200" y="1231786"/>
                  </a:lnTo>
                  <a:lnTo>
                    <a:pt x="4264792" y="1231786"/>
                  </a:lnTo>
                  <a:lnTo>
                    <a:pt x="4312444" y="1217490"/>
                  </a:lnTo>
                  <a:lnTo>
                    <a:pt x="4331504" y="1207958"/>
                  </a:lnTo>
                  <a:lnTo>
                    <a:pt x="4360092" y="1184134"/>
                  </a:lnTo>
                  <a:lnTo>
                    <a:pt x="4374388" y="1146014"/>
                  </a:lnTo>
                  <a:lnTo>
                    <a:pt x="4383920" y="1117422"/>
                  </a:lnTo>
                  <a:lnTo>
                    <a:pt x="4422040" y="1060242"/>
                  </a:lnTo>
                  <a:lnTo>
                    <a:pt x="4431572" y="1031650"/>
                  </a:lnTo>
                  <a:lnTo>
                    <a:pt x="4441100" y="988762"/>
                  </a:lnTo>
                  <a:lnTo>
                    <a:pt x="4450632" y="964938"/>
                  </a:lnTo>
                  <a:lnTo>
                    <a:pt x="4450632" y="936346"/>
                  </a:lnTo>
                  <a:lnTo>
                    <a:pt x="4460160" y="888694"/>
                  </a:lnTo>
                  <a:lnTo>
                    <a:pt x="4479220" y="821982"/>
                  </a:lnTo>
                  <a:lnTo>
                    <a:pt x="4483988" y="802922"/>
                  </a:lnTo>
                  <a:lnTo>
                    <a:pt x="4483988" y="769566"/>
                  </a:lnTo>
                  <a:lnTo>
                    <a:pt x="4469692" y="707622"/>
                  </a:lnTo>
                  <a:lnTo>
                    <a:pt x="4474456" y="683794"/>
                  </a:lnTo>
                  <a:lnTo>
                    <a:pt x="4479220" y="655206"/>
                  </a:lnTo>
                  <a:lnTo>
                    <a:pt x="4469692" y="631378"/>
                  </a:lnTo>
                  <a:lnTo>
                    <a:pt x="4464928" y="617082"/>
                  </a:lnTo>
                  <a:lnTo>
                    <a:pt x="4460160" y="598022"/>
                  </a:lnTo>
                  <a:lnTo>
                    <a:pt x="4469692" y="559902"/>
                  </a:lnTo>
                  <a:lnTo>
                    <a:pt x="4479220" y="536078"/>
                  </a:lnTo>
                  <a:lnTo>
                    <a:pt x="4488752" y="512250"/>
                  </a:lnTo>
                  <a:lnTo>
                    <a:pt x="4483988" y="462218"/>
                  </a:lnTo>
                  <a:lnTo>
                    <a:pt x="4503048" y="443158"/>
                  </a:lnTo>
                  <a:lnTo>
                    <a:pt x="4507812" y="438390"/>
                  </a:lnTo>
                  <a:lnTo>
                    <a:pt x="4526872" y="438390"/>
                  </a:lnTo>
                  <a:lnTo>
                    <a:pt x="4531640" y="443158"/>
                  </a:lnTo>
                  <a:lnTo>
                    <a:pt x="4531640" y="428862"/>
                  </a:lnTo>
                  <a:lnTo>
                    <a:pt x="4526872" y="419330"/>
                  </a:lnTo>
                  <a:lnTo>
                    <a:pt x="4526872" y="409802"/>
                  </a:lnTo>
                  <a:lnTo>
                    <a:pt x="4522108" y="405034"/>
                  </a:lnTo>
                  <a:lnTo>
                    <a:pt x="4512576" y="405034"/>
                  </a:lnTo>
                  <a:lnTo>
                    <a:pt x="4503048" y="395506"/>
                  </a:lnTo>
                  <a:lnTo>
                    <a:pt x="4493516" y="390738"/>
                  </a:lnTo>
                  <a:lnTo>
                    <a:pt x="4493516" y="366914"/>
                  </a:lnTo>
                  <a:lnTo>
                    <a:pt x="4512576" y="324026"/>
                  </a:lnTo>
                  <a:lnTo>
                    <a:pt x="4522108" y="309734"/>
                  </a:lnTo>
                  <a:lnTo>
                    <a:pt x="4531640" y="314498"/>
                  </a:lnTo>
                  <a:lnTo>
                    <a:pt x="4536404" y="319262"/>
                  </a:lnTo>
                  <a:lnTo>
                    <a:pt x="4541168" y="309734"/>
                  </a:lnTo>
                  <a:lnTo>
                    <a:pt x="4536404" y="295438"/>
                  </a:lnTo>
                  <a:lnTo>
                    <a:pt x="4550700" y="252550"/>
                  </a:lnTo>
                  <a:lnTo>
                    <a:pt x="4564992" y="195370"/>
                  </a:lnTo>
                  <a:lnTo>
                    <a:pt x="4569760" y="142954"/>
                  </a:lnTo>
                  <a:lnTo>
                    <a:pt x="4593584" y="133422"/>
                  </a:lnTo>
                  <a:lnTo>
                    <a:pt x="4607880" y="123894"/>
                  </a:lnTo>
                  <a:close/>
                  <a:moveTo>
                    <a:pt x="4574524" y="85774"/>
                  </a:moveTo>
                  <a:lnTo>
                    <a:pt x="4588820" y="104834"/>
                  </a:lnTo>
                  <a:lnTo>
                    <a:pt x="4574524" y="114362"/>
                  </a:lnTo>
                  <a:lnTo>
                    <a:pt x="4564992" y="109598"/>
                  </a:lnTo>
                  <a:lnTo>
                    <a:pt x="4564992" y="100066"/>
                  </a:lnTo>
                  <a:lnTo>
                    <a:pt x="4564992" y="95302"/>
                  </a:lnTo>
                  <a:close/>
                  <a:moveTo>
                    <a:pt x="4588820" y="14296"/>
                  </a:moveTo>
                  <a:lnTo>
                    <a:pt x="4598348" y="23826"/>
                  </a:lnTo>
                  <a:lnTo>
                    <a:pt x="4588820" y="33358"/>
                  </a:lnTo>
                  <a:lnTo>
                    <a:pt x="4579288" y="33358"/>
                  </a:lnTo>
                  <a:lnTo>
                    <a:pt x="4574524" y="23826"/>
                  </a:lnTo>
                  <a:lnTo>
                    <a:pt x="4579288" y="19062"/>
                  </a:lnTo>
                  <a:close/>
                  <a:moveTo>
                    <a:pt x="4564992" y="0"/>
                  </a:moveTo>
                  <a:lnTo>
                    <a:pt x="4574524" y="9530"/>
                  </a:lnTo>
                  <a:lnTo>
                    <a:pt x="4569760" y="19060"/>
                  </a:lnTo>
                  <a:lnTo>
                    <a:pt x="4564992" y="23826"/>
                  </a:lnTo>
                  <a:lnTo>
                    <a:pt x="4560228" y="1429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 name="Google Shape;4501;p64">
              <a:extLst>
                <a:ext uri="{FF2B5EF4-FFF2-40B4-BE49-F238E27FC236}">
                  <a16:creationId xmlns:a16="http://schemas.microsoft.com/office/drawing/2014/main" id="{99FC99AB-C94F-FF88-0502-D22632D805B5}"/>
                </a:ext>
              </a:extLst>
            </p:cNvPr>
            <p:cNvSpPr/>
            <p:nvPr/>
          </p:nvSpPr>
          <p:spPr>
            <a:xfrm>
              <a:off x="4729737" y="3777237"/>
              <a:ext cx="164079" cy="82695"/>
            </a:xfrm>
            <a:custGeom>
              <a:avLst/>
              <a:gdLst/>
              <a:ahLst/>
              <a:cxnLst/>
              <a:rect l="l" t="t" r="r" b="b"/>
              <a:pathLst>
                <a:path w="500" h="252" extrusionOk="0">
                  <a:moveTo>
                    <a:pt x="488" y="38"/>
                  </a:moveTo>
                  <a:lnTo>
                    <a:pt x="486" y="36"/>
                  </a:lnTo>
                  <a:lnTo>
                    <a:pt x="482" y="28"/>
                  </a:lnTo>
                  <a:lnTo>
                    <a:pt x="480" y="28"/>
                  </a:lnTo>
                  <a:lnTo>
                    <a:pt x="476" y="26"/>
                  </a:lnTo>
                  <a:lnTo>
                    <a:pt x="472" y="26"/>
                  </a:lnTo>
                  <a:lnTo>
                    <a:pt x="464" y="20"/>
                  </a:lnTo>
                  <a:lnTo>
                    <a:pt x="460" y="20"/>
                  </a:lnTo>
                  <a:lnTo>
                    <a:pt x="456" y="20"/>
                  </a:lnTo>
                  <a:lnTo>
                    <a:pt x="452" y="22"/>
                  </a:lnTo>
                  <a:lnTo>
                    <a:pt x="450" y="26"/>
                  </a:lnTo>
                  <a:lnTo>
                    <a:pt x="440" y="26"/>
                  </a:lnTo>
                  <a:lnTo>
                    <a:pt x="428" y="24"/>
                  </a:lnTo>
                  <a:lnTo>
                    <a:pt x="414" y="12"/>
                  </a:lnTo>
                  <a:lnTo>
                    <a:pt x="410" y="12"/>
                  </a:lnTo>
                  <a:lnTo>
                    <a:pt x="406" y="14"/>
                  </a:lnTo>
                  <a:lnTo>
                    <a:pt x="398" y="10"/>
                  </a:lnTo>
                  <a:lnTo>
                    <a:pt x="386" y="4"/>
                  </a:lnTo>
                  <a:lnTo>
                    <a:pt x="380" y="2"/>
                  </a:lnTo>
                  <a:lnTo>
                    <a:pt x="376" y="2"/>
                  </a:lnTo>
                  <a:lnTo>
                    <a:pt x="372" y="4"/>
                  </a:lnTo>
                  <a:lnTo>
                    <a:pt x="370" y="4"/>
                  </a:lnTo>
                  <a:lnTo>
                    <a:pt x="368" y="2"/>
                  </a:lnTo>
                  <a:lnTo>
                    <a:pt x="364" y="0"/>
                  </a:lnTo>
                  <a:lnTo>
                    <a:pt x="360" y="0"/>
                  </a:lnTo>
                  <a:lnTo>
                    <a:pt x="358" y="0"/>
                  </a:lnTo>
                  <a:lnTo>
                    <a:pt x="356" y="16"/>
                  </a:lnTo>
                  <a:lnTo>
                    <a:pt x="354" y="22"/>
                  </a:lnTo>
                  <a:lnTo>
                    <a:pt x="348" y="22"/>
                  </a:lnTo>
                  <a:lnTo>
                    <a:pt x="346" y="24"/>
                  </a:lnTo>
                  <a:lnTo>
                    <a:pt x="340" y="32"/>
                  </a:lnTo>
                  <a:lnTo>
                    <a:pt x="340" y="38"/>
                  </a:lnTo>
                  <a:lnTo>
                    <a:pt x="330" y="38"/>
                  </a:lnTo>
                  <a:lnTo>
                    <a:pt x="326" y="36"/>
                  </a:lnTo>
                  <a:lnTo>
                    <a:pt x="322" y="38"/>
                  </a:lnTo>
                  <a:lnTo>
                    <a:pt x="318" y="42"/>
                  </a:lnTo>
                  <a:lnTo>
                    <a:pt x="306" y="42"/>
                  </a:lnTo>
                  <a:lnTo>
                    <a:pt x="298" y="38"/>
                  </a:lnTo>
                  <a:lnTo>
                    <a:pt x="294" y="30"/>
                  </a:lnTo>
                  <a:lnTo>
                    <a:pt x="288" y="26"/>
                  </a:lnTo>
                  <a:lnTo>
                    <a:pt x="284" y="24"/>
                  </a:lnTo>
                  <a:lnTo>
                    <a:pt x="282" y="22"/>
                  </a:lnTo>
                  <a:lnTo>
                    <a:pt x="280" y="24"/>
                  </a:lnTo>
                  <a:lnTo>
                    <a:pt x="280" y="30"/>
                  </a:lnTo>
                  <a:lnTo>
                    <a:pt x="280" y="36"/>
                  </a:lnTo>
                  <a:lnTo>
                    <a:pt x="280" y="40"/>
                  </a:lnTo>
                  <a:lnTo>
                    <a:pt x="276" y="44"/>
                  </a:lnTo>
                  <a:lnTo>
                    <a:pt x="274" y="46"/>
                  </a:lnTo>
                  <a:lnTo>
                    <a:pt x="272" y="46"/>
                  </a:lnTo>
                  <a:lnTo>
                    <a:pt x="260" y="40"/>
                  </a:lnTo>
                  <a:lnTo>
                    <a:pt x="260" y="42"/>
                  </a:lnTo>
                  <a:lnTo>
                    <a:pt x="258" y="42"/>
                  </a:lnTo>
                  <a:lnTo>
                    <a:pt x="256" y="60"/>
                  </a:lnTo>
                  <a:lnTo>
                    <a:pt x="252" y="62"/>
                  </a:lnTo>
                  <a:lnTo>
                    <a:pt x="250" y="66"/>
                  </a:lnTo>
                  <a:lnTo>
                    <a:pt x="242" y="68"/>
                  </a:lnTo>
                  <a:lnTo>
                    <a:pt x="238" y="70"/>
                  </a:lnTo>
                  <a:lnTo>
                    <a:pt x="234" y="72"/>
                  </a:lnTo>
                  <a:lnTo>
                    <a:pt x="222" y="78"/>
                  </a:lnTo>
                  <a:lnTo>
                    <a:pt x="216" y="82"/>
                  </a:lnTo>
                  <a:lnTo>
                    <a:pt x="212" y="88"/>
                  </a:lnTo>
                  <a:lnTo>
                    <a:pt x="212" y="90"/>
                  </a:lnTo>
                  <a:lnTo>
                    <a:pt x="218" y="100"/>
                  </a:lnTo>
                  <a:lnTo>
                    <a:pt x="226" y="108"/>
                  </a:lnTo>
                  <a:lnTo>
                    <a:pt x="226" y="116"/>
                  </a:lnTo>
                  <a:lnTo>
                    <a:pt x="222" y="124"/>
                  </a:lnTo>
                  <a:lnTo>
                    <a:pt x="222" y="126"/>
                  </a:lnTo>
                  <a:lnTo>
                    <a:pt x="224" y="126"/>
                  </a:lnTo>
                  <a:lnTo>
                    <a:pt x="228" y="126"/>
                  </a:lnTo>
                  <a:lnTo>
                    <a:pt x="230" y="128"/>
                  </a:lnTo>
                  <a:lnTo>
                    <a:pt x="232" y="132"/>
                  </a:lnTo>
                  <a:lnTo>
                    <a:pt x="232" y="140"/>
                  </a:lnTo>
                  <a:lnTo>
                    <a:pt x="230" y="146"/>
                  </a:lnTo>
                  <a:lnTo>
                    <a:pt x="230" y="150"/>
                  </a:lnTo>
                  <a:lnTo>
                    <a:pt x="226" y="150"/>
                  </a:lnTo>
                  <a:lnTo>
                    <a:pt x="220" y="146"/>
                  </a:lnTo>
                  <a:lnTo>
                    <a:pt x="216" y="142"/>
                  </a:lnTo>
                  <a:lnTo>
                    <a:pt x="214" y="140"/>
                  </a:lnTo>
                  <a:lnTo>
                    <a:pt x="214" y="138"/>
                  </a:lnTo>
                  <a:lnTo>
                    <a:pt x="214" y="136"/>
                  </a:lnTo>
                  <a:lnTo>
                    <a:pt x="214" y="134"/>
                  </a:lnTo>
                  <a:lnTo>
                    <a:pt x="208" y="130"/>
                  </a:lnTo>
                  <a:lnTo>
                    <a:pt x="202" y="132"/>
                  </a:lnTo>
                  <a:lnTo>
                    <a:pt x="198" y="134"/>
                  </a:lnTo>
                  <a:lnTo>
                    <a:pt x="194" y="134"/>
                  </a:lnTo>
                  <a:lnTo>
                    <a:pt x="192" y="130"/>
                  </a:lnTo>
                  <a:lnTo>
                    <a:pt x="186" y="128"/>
                  </a:lnTo>
                  <a:lnTo>
                    <a:pt x="180" y="128"/>
                  </a:lnTo>
                  <a:lnTo>
                    <a:pt x="176" y="126"/>
                  </a:lnTo>
                  <a:lnTo>
                    <a:pt x="176" y="126"/>
                  </a:lnTo>
                  <a:lnTo>
                    <a:pt x="176" y="132"/>
                  </a:lnTo>
                  <a:lnTo>
                    <a:pt x="174" y="136"/>
                  </a:lnTo>
                  <a:lnTo>
                    <a:pt x="144" y="138"/>
                  </a:lnTo>
                  <a:lnTo>
                    <a:pt x="134" y="142"/>
                  </a:lnTo>
                  <a:lnTo>
                    <a:pt x="128" y="146"/>
                  </a:lnTo>
                  <a:lnTo>
                    <a:pt x="122" y="148"/>
                  </a:lnTo>
                  <a:lnTo>
                    <a:pt x="122" y="150"/>
                  </a:lnTo>
                  <a:lnTo>
                    <a:pt x="116" y="154"/>
                  </a:lnTo>
                  <a:lnTo>
                    <a:pt x="112" y="156"/>
                  </a:lnTo>
                  <a:lnTo>
                    <a:pt x="110" y="154"/>
                  </a:lnTo>
                  <a:lnTo>
                    <a:pt x="106" y="156"/>
                  </a:lnTo>
                  <a:lnTo>
                    <a:pt x="100" y="158"/>
                  </a:lnTo>
                  <a:lnTo>
                    <a:pt x="96" y="156"/>
                  </a:lnTo>
                  <a:lnTo>
                    <a:pt x="94" y="154"/>
                  </a:lnTo>
                  <a:lnTo>
                    <a:pt x="90" y="150"/>
                  </a:lnTo>
                  <a:lnTo>
                    <a:pt x="88" y="146"/>
                  </a:lnTo>
                  <a:lnTo>
                    <a:pt x="88" y="144"/>
                  </a:lnTo>
                  <a:lnTo>
                    <a:pt x="80" y="144"/>
                  </a:lnTo>
                  <a:lnTo>
                    <a:pt x="74" y="142"/>
                  </a:lnTo>
                  <a:lnTo>
                    <a:pt x="64" y="142"/>
                  </a:lnTo>
                  <a:lnTo>
                    <a:pt x="60" y="142"/>
                  </a:lnTo>
                  <a:lnTo>
                    <a:pt x="60" y="142"/>
                  </a:lnTo>
                  <a:lnTo>
                    <a:pt x="58" y="156"/>
                  </a:lnTo>
                  <a:lnTo>
                    <a:pt x="56" y="160"/>
                  </a:lnTo>
                  <a:lnTo>
                    <a:pt x="52" y="166"/>
                  </a:lnTo>
                  <a:lnTo>
                    <a:pt x="48" y="168"/>
                  </a:lnTo>
                  <a:lnTo>
                    <a:pt x="44" y="168"/>
                  </a:lnTo>
                  <a:lnTo>
                    <a:pt x="44" y="164"/>
                  </a:lnTo>
                  <a:lnTo>
                    <a:pt x="44" y="160"/>
                  </a:lnTo>
                  <a:lnTo>
                    <a:pt x="42" y="160"/>
                  </a:lnTo>
                  <a:lnTo>
                    <a:pt x="38" y="158"/>
                  </a:lnTo>
                  <a:lnTo>
                    <a:pt x="36" y="158"/>
                  </a:lnTo>
                  <a:lnTo>
                    <a:pt x="36" y="154"/>
                  </a:lnTo>
                  <a:lnTo>
                    <a:pt x="36" y="152"/>
                  </a:lnTo>
                  <a:lnTo>
                    <a:pt x="34" y="150"/>
                  </a:lnTo>
                  <a:lnTo>
                    <a:pt x="30" y="146"/>
                  </a:lnTo>
                  <a:lnTo>
                    <a:pt x="22" y="142"/>
                  </a:lnTo>
                  <a:lnTo>
                    <a:pt x="16" y="140"/>
                  </a:lnTo>
                  <a:lnTo>
                    <a:pt x="14" y="142"/>
                  </a:lnTo>
                  <a:lnTo>
                    <a:pt x="12" y="142"/>
                  </a:lnTo>
                  <a:lnTo>
                    <a:pt x="14" y="144"/>
                  </a:lnTo>
                  <a:lnTo>
                    <a:pt x="14" y="146"/>
                  </a:lnTo>
                  <a:lnTo>
                    <a:pt x="10" y="146"/>
                  </a:lnTo>
                  <a:lnTo>
                    <a:pt x="2" y="146"/>
                  </a:lnTo>
                  <a:lnTo>
                    <a:pt x="8" y="150"/>
                  </a:lnTo>
                  <a:lnTo>
                    <a:pt x="6" y="158"/>
                  </a:lnTo>
                  <a:lnTo>
                    <a:pt x="0" y="170"/>
                  </a:lnTo>
                  <a:lnTo>
                    <a:pt x="2" y="170"/>
                  </a:lnTo>
                  <a:lnTo>
                    <a:pt x="2" y="172"/>
                  </a:lnTo>
                  <a:lnTo>
                    <a:pt x="2" y="174"/>
                  </a:lnTo>
                  <a:lnTo>
                    <a:pt x="2" y="178"/>
                  </a:lnTo>
                  <a:lnTo>
                    <a:pt x="4" y="180"/>
                  </a:lnTo>
                  <a:lnTo>
                    <a:pt x="6" y="182"/>
                  </a:lnTo>
                  <a:lnTo>
                    <a:pt x="6" y="184"/>
                  </a:lnTo>
                  <a:lnTo>
                    <a:pt x="6" y="188"/>
                  </a:lnTo>
                  <a:lnTo>
                    <a:pt x="4" y="190"/>
                  </a:lnTo>
                  <a:lnTo>
                    <a:pt x="6" y="190"/>
                  </a:lnTo>
                  <a:lnTo>
                    <a:pt x="14" y="192"/>
                  </a:lnTo>
                  <a:lnTo>
                    <a:pt x="22" y="194"/>
                  </a:lnTo>
                  <a:lnTo>
                    <a:pt x="22" y="198"/>
                  </a:lnTo>
                  <a:lnTo>
                    <a:pt x="24" y="202"/>
                  </a:lnTo>
                  <a:lnTo>
                    <a:pt x="32" y="206"/>
                  </a:lnTo>
                  <a:lnTo>
                    <a:pt x="40" y="210"/>
                  </a:lnTo>
                  <a:lnTo>
                    <a:pt x="44" y="208"/>
                  </a:lnTo>
                  <a:lnTo>
                    <a:pt x="54" y="196"/>
                  </a:lnTo>
                  <a:lnTo>
                    <a:pt x="58" y="198"/>
                  </a:lnTo>
                  <a:lnTo>
                    <a:pt x="62" y="204"/>
                  </a:lnTo>
                  <a:lnTo>
                    <a:pt x="62" y="208"/>
                  </a:lnTo>
                  <a:lnTo>
                    <a:pt x="64" y="210"/>
                  </a:lnTo>
                  <a:lnTo>
                    <a:pt x="70" y="210"/>
                  </a:lnTo>
                  <a:lnTo>
                    <a:pt x="76" y="210"/>
                  </a:lnTo>
                  <a:lnTo>
                    <a:pt x="82" y="216"/>
                  </a:lnTo>
                  <a:lnTo>
                    <a:pt x="86" y="216"/>
                  </a:lnTo>
                  <a:lnTo>
                    <a:pt x="92" y="218"/>
                  </a:lnTo>
                  <a:lnTo>
                    <a:pt x="96" y="216"/>
                  </a:lnTo>
                  <a:lnTo>
                    <a:pt x="98" y="214"/>
                  </a:lnTo>
                  <a:lnTo>
                    <a:pt x="102" y="208"/>
                  </a:lnTo>
                  <a:lnTo>
                    <a:pt x="106" y="202"/>
                  </a:lnTo>
                  <a:lnTo>
                    <a:pt x="114" y="198"/>
                  </a:lnTo>
                  <a:lnTo>
                    <a:pt x="126" y="196"/>
                  </a:lnTo>
                  <a:lnTo>
                    <a:pt x="132" y="196"/>
                  </a:lnTo>
                  <a:lnTo>
                    <a:pt x="138" y="196"/>
                  </a:lnTo>
                  <a:lnTo>
                    <a:pt x="142" y="196"/>
                  </a:lnTo>
                  <a:lnTo>
                    <a:pt x="148" y="196"/>
                  </a:lnTo>
                  <a:lnTo>
                    <a:pt x="160" y="192"/>
                  </a:lnTo>
                  <a:lnTo>
                    <a:pt x="174" y="188"/>
                  </a:lnTo>
                  <a:lnTo>
                    <a:pt x="176" y="188"/>
                  </a:lnTo>
                  <a:lnTo>
                    <a:pt x="176" y="190"/>
                  </a:lnTo>
                  <a:lnTo>
                    <a:pt x="174" y="192"/>
                  </a:lnTo>
                  <a:lnTo>
                    <a:pt x="172" y="196"/>
                  </a:lnTo>
                  <a:lnTo>
                    <a:pt x="172" y="202"/>
                  </a:lnTo>
                  <a:lnTo>
                    <a:pt x="180" y="210"/>
                  </a:lnTo>
                  <a:lnTo>
                    <a:pt x="184" y="218"/>
                  </a:lnTo>
                  <a:lnTo>
                    <a:pt x="188" y="224"/>
                  </a:lnTo>
                  <a:lnTo>
                    <a:pt x="194" y="226"/>
                  </a:lnTo>
                  <a:lnTo>
                    <a:pt x="202" y="228"/>
                  </a:lnTo>
                  <a:lnTo>
                    <a:pt x="208" y="230"/>
                  </a:lnTo>
                  <a:lnTo>
                    <a:pt x="216" y="232"/>
                  </a:lnTo>
                  <a:lnTo>
                    <a:pt x="240" y="236"/>
                  </a:lnTo>
                  <a:lnTo>
                    <a:pt x="252" y="238"/>
                  </a:lnTo>
                  <a:lnTo>
                    <a:pt x="260" y="238"/>
                  </a:lnTo>
                  <a:lnTo>
                    <a:pt x="274" y="242"/>
                  </a:lnTo>
                  <a:lnTo>
                    <a:pt x="278" y="242"/>
                  </a:lnTo>
                  <a:lnTo>
                    <a:pt x="282" y="242"/>
                  </a:lnTo>
                  <a:lnTo>
                    <a:pt x="290" y="244"/>
                  </a:lnTo>
                  <a:lnTo>
                    <a:pt x="296" y="244"/>
                  </a:lnTo>
                  <a:lnTo>
                    <a:pt x="300" y="246"/>
                  </a:lnTo>
                  <a:lnTo>
                    <a:pt x="312" y="248"/>
                  </a:lnTo>
                  <a:lnTo>
                    <a:pt x="322" y="250"/>
                  </a:lnTo>
                  <a:lnTo>
                    <a:pt x="324" y="250"/>
                  </a:lnTo>
                  <a:lnTo>
                    <a:pt x="326" y="250"/>
                  </a:lnTo>
                  <a:lnTo>
                    <a:pt x="330" y="252"/>
                  </a:lnTo>
                  <a:lnTo>
                    <a:pt x="332" y="252"/>
                  </a:lnTo>
                  <a:lnTo>
                    <a:pt x="334" y="250"/>
                  </a:lnTo>
                  <a:lnTo>
                    <a:pt x="338" y="246"/>
                  </a:lnTo>
                  <a:lnTo>
                    <a:pt x="344" y="244"/>
                  </a:lnTo>
                  <a:lnTo>
                    <a:pt x="346" y="238"/>
                  </a:lnTo>
                  <a:lnTo>
                    <a:pt x="348" y="236"/>
                  </a:lnTo>
                  <a:lnTo>
                    <a:pt x="352" y="232"/>
                  </a:lnTo>
                  <a:lnTo>
                    <a:pt x="356" y="232"/>
                  </a:lnTo>
                  <a:lnTo>
                    <a:pt x="360" y="232"/>
                  </a:lnTo>
                  <a:lnTo>
                    <a:pt x="374" y="230"/>
                  </a:lnTo>
                  <a:lnTo>
                    <a:pt x="388" y="230"/>
                  </a:lnTo>
                  <a:lnTo>
                    <a:pt x="396" y="228"/>
                  </a:lnTo>
                  <a:lnTo>
                    <a:pt x="400" y="224"/>
                  </a:lnTo>
                  <a:lnTo>
                    <a:pt x="410" y="222"/>
                  </a:lnTo>
                  <a:lnTo>
                    <a:pt x="410" y="222"/>
                  </a:lnTo>
                  <a:lnTo>
                    <a:pt x="422" y="226"/>
                  </a:lnTo>
                  <a:lnTo>
                    <a:pt x="424" y="224"/>
                  </a:lnTo>
                  <a:lnTo>
                    <a:pt x="424" y="224"/>
                  </a:lnTo>
                  <a:lnTo>
                    <a:pt x="424" y="214"/>
                  </a:lnTo>
                  <a:lnTo>
                    <a:pt x="428" y="210"/>
                  </a:lnTo>
                  <a:lnTo>
                    <a:pt x="430" y="208"/>
                  </a:lnTo>
                  <a:lnTo>
                    <a:pt x="442" y="198"/>
                  </a:lnTo>
                  <a:lnTo>
                    <a:pt x="446" y="194"/>
                  </a:lnTo>
                  <a:lnTo>
                    <a:pt x="452" y="196"/>
                  </a:lnTo>
                  <a:lnTo>
                    <a:pt x="454" y="194"/>
                  </a:lnTo>
                  <a:lnTo>
                    <a:pt x="456" y="192"/>
                  </a:lnTo>
                  <a:lnTo>
                    <a:pt x="456" y="190"/>
                  </a:lnTo>
                  <a:lnTo>
                    <a:pt x="456" y="186"/>
                  </a:lnTo>
                  <a:lnTo>
                    <a:pt x="458" y="184"/>
                  </a:lnTo>
                  <a:lnTo>
                    <a:pt x="456" y="182"/>
                  </a:lnTo>
                  <a:lnTo>
                    <a:pt x="454" y="182"/>
                  </a:lnTo>
                  <a:lnTo>
                    <a:pt x="452" y="174"/>
                  </a:lnTo>
                  <a:lnTo>
                    <a:pt x="454" y="170"/>
                  </a:lnTo>
                  <a:lnTo>
                    <a:pt x="456" y="168"/>
                  </a:lnTo>
                  <a:lnTo>
                    <a:pt x="454" y="160"/>
                  </a:lnTo>
                  <a:lnTo>
                    <a:pt x="454" y="156"/>
                  </a:lnTo>
                  <a:lnTo>
                    <a:pt x="458" y="156"/>
                  </a:lnTo>
                  <a:lnTo>
                    <a:pt x="462" y="154"/>
                  </a:lnTo>
                  <a:lnTo>
                    <a:pt x="466" y="152"/>
                  </a:lnTo>
                  <a:lnTo>
                    <a:pt x="466" y="150"/>
                  </a:lnTo>
                  <a:lnTo>
                    <a:pt x="470" y="144"/>
                  </a:lnTo>
                  <a:lnTo>
                    <a:pt x="466" y="136"/>
                  </a:lnTo>
                  <a:lnTo>
                    <a:pt x="454" y="132"/>
                  </a:lnTo>
                  <a:lnTo>
                    <a:pt x="452" y="130"/>
                  </a:lnTo>
                  <a:lnTo>
                    <a:pt x="456" y="128"/>
                  </a:lnTo>
                  <a:lnTo>
                    <a:pt x="460" y="126"/>
                  </a:lnTo>
                  <a:lnTo>
                    <a:pt x="462" y="122"/>
                  </a:lnTo>
                  <a:lnTo>
                    <a:pt x="464" y="122"/>
                  </a:lnTo>
                  <a:lnTo>
                    <a:pt x="468" y="124"/>
                  </a:lnTo>
                  <a:lnTo>
                    <a:pt x="474" y="128"/>
                  </a:lnTo>
                  <a:lnTo>
                    <a:pt x="476" y="130"/>
                  </a:lnTo>
                  <a:lnTo>
                    <a:pt x="478" y="128"/>
                  </a:lnTo>
                  <a:lnTo>
                    <a:pt x="482" y="128"/>
                  </a:lnTo>
                  <a:lnTo>
                    <a:pt x="488" y="128"/>
                  </a:lnTo>
                  <a:lnTo>
                    <a:pt x="494" y="126"/>
                  </a:lnTo>
                  <a:lnTo>
                    <a:pt x="494" y="122"/>
                  </a:lnTo>
                  <a:lnTo>
                    <a:pt x="494" y="118"/>
                  </a:lnTo>
                  <a:lnTo>
                    <a:pt x="492" y="114"/>
                  </a:lnTo>
                  <a:lnTo>
                    <a:pt x="494" y="110"/>
                  </a:lnTo>
                  <a:lnTo>
                    <a:pt x="496" y="108"/>
                  </a:lnTo>
                  <a:lnTo>
                    <a:pt x="496" y="102"/>
                  </a:lnTo>
                  <a:lnTo>
                    <a:pt x="500" y="98"/>
                  </a:lnTo>
                  <a:lnTo>
                    <a:pt x="496" y="94"/>
                  </a:lnTo>
                  <a:lnTo>
                    <a:pt x="494" y="90"/>
                  </a:lnTo>
                  <a:lnTo>
                    <a:pt x="488" y="78"/>
                  </a:lnTo>
                  <a:lnTo>
                    <a:pt x="482" y="60"/>
                  </a:lnTo>
                  <a:lnTo>
                    <a:pt x="482" y="54"/>
                  </a:lnTo>
                  <a:lnTo>
                    <a:pt x="484" y="48"/>
                  </a:lnTo>
                  <a:lnTo>
                    <a:pt x="486" y="44"/>
                  </a:lnTo>
                  <a:lnTo>
                    <a:pt x="488" y="40"/>
                  </a:lnTo>
                  <a:lnTo>
                    <a:pt x="488" y="3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 name="Google Shape;4502;p64">
              <a:extLst>
                <a:ext uri="{FF2B5EF4-FFF2-40B4-BE49-F238E27FC236}">
                  <a16:creationId xmlns:a16="http://schemas.microsoft.com/office/drawing/2014/main" id="{986349A4-0F02-50A3-B94F-8B4C9D45A29A}"/>
                </a:ext>
              </a:extLst>
            </p:cNvPr>
            <p:cNvSpPr/>
            <p:nvPr/>
          </p:nvSpPr>
          <p:spPr>
            <a:xfrm>
              <a:off x="5488436" y="4055514"/>
              <a:ext cx="28878" cy="24940"/>
            </a:xfrm>
            <a:custGeom>
              <a:avLst/>
              <a:gdLst/>
              <a:ahLst/>
              <a:cxnLst/>
              <a:rect l="l" t="t" r="r" b="b"/>
              <a:pathLst>
                <a:path w="88" h="76" extrusionOk="0">
                  <a:moveTo>
                    <a:pt x="24" y="16"/>
                  </a:moveTo>
                  <a:lnTo>
                    <a:pt x="24" y="10"/>
                  </a:lnTo>
                  <a:lnTo>
                    <a:pt x="22" y="6"/>
                  </a:lnTo>
                  <a:lnTo>
                    <a:pt x="20" y="2"/>
                  </a:lnTo>
                  <a:lnTo>
                    <a:pt x="16" y="0"/>
                  </a:lnTo>
                  <a:lnTo>
                    <a:pt x="6" y="6"/>
                  </a:lnTo>
                  <a:lnTo>
                    <a:pt x="0" y="6"/>
                  </a:lnTo>
                  <a:lnTo>
                    <a:pt x="0" y="8"/>
                  </a:lnTo>
                  <a:lnTo>
                    <a:pt x="2" y="10"/>
                  </a:lnTo>
                  <a:lnTo>
                    <a:pt x="4" y="12"/>
                  </a:lnTo>
                  <a:lnTo>
                    <a:pt x="14" y="30"/>
                  </a:lnTo>
                  <a:lnTo>
                    <a:pt x="18" y="36"/>
                  </a:lnTo>
                  <a:lnTo>
                    <a:pt x="22" y="40"/>
                  </a:lnTo>
                  <a:lnTo>
                    <a:pt x="24" y="44"/>
                  </a:lnTo>
                  <a:lnTo>
                    <a:pt x="26" y="48"/>
                  </a:lnTo>
                  <a:lnTo>
                    <a:pt x="30" y="50"/>
                  </a:lnTo>
                  <a:lnTo>
                    <a:pt x="36" y="54"/>
                  </a:lnTo>
                  <a:lnTo>
                    <a:pt x="40" y="58"/>
                  </a:lnTo>
                  <a:lnTo>
                    <a:pt x="46" y="66"/>
                  </a:lnTo>
                  <a:lnTo>
                    <a:pt x="52" y="68"/>
                  </a:lnTo>
                  <a:lnTo>
                    <a:pt x="74" y="74"/>
                  </a:lnTo>
                  <a:lnTo>
                    <a:pt x="88" y="76"/>
                  </a:lnTo>
                  <a:lnTo>
                    <a:pt x="84" y="70"/>
                  </a:lnTo>
                  <a:lnTo>
                    <a:pt x="82" y="64"/>
                  </a:lnTo>
                  <a:lnTo>
                    <a:pt x="76" y="50"/>
                  </a:lnTo>
                  <a:lnTo>
                    <a:pt x="78" y="46"/>
                  </a:lnTo>
                  <a:lnTo>
                    <a:pt x="74" y="42"/>
                  </a:lnTo>
                  <a:lnTo>
                    <a:pt x="66" y="36"/>
                  </a:lnTo>
                  <a:lnTo>
                    <a:pt x="64" y="34"/>
                  </a:lnTo>
                  <a:lnTo>
                    <a:pt x="66" y="30"/>
                  </a:lnTo>
                  <a:lnTo>
                    <a:pt x="66" y="24"/>
                  </a:lnTo>
                  <a:lnTo>
                    <a:pt x="66" y="20"/>
                  </a:lnTo>
                  <a:lnTo>
                    <a:pt x="64" y="18"/>
                  </a:lnTo>
                  <a:lnTo>
                    <a:pt x="60" y="18"/>
                  </a:lnTo>
                  <a:lnTo>
                    <a:pt x="54" y="20"/>
                  </a:lnTo>
                  <a:lnTo>
                    <a:pt x="44" y="24"/>
                  </a:lnTo>
                  <a:lnTo>
                    <a:pt x="38" y="22"/>
                  </a:lnTo>
                  <a:lnTo>
                    <a:pt x="34" y="18"/>
                  </a:lnTo>
                  <a:lnTo>
                    <a:pt x="30" y="16"/>
                  </a:lnTo>
                  <a:lnTo>
                    <a:pt x="26" y="18"/>
                  </a:lnTo>
                  <a:lnTo>
                    <a:pt x="24"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6" name="Google Shape;4503;p64">
              <a:extLst>
                <a:ext uri="{FF2B5EF4-FFF2-40B4-BE49-F238E27FC236}">
                  <a16:creationId xmlns:a16="http://schemas.microsoft.com/office/drawing/2014/main" id="{F1474BC1-B2C0-1482-DDBE-740E0F9DF041}"/>
                </a:ext>
              </a:extLst>
            </p:cNvPr>
            <p:cNvSpPr/>
            <p:nvPr/>
          </p:nvSpPr>
          <p:spPr>
            <a:xfrm>
              <a:off x="5493031" y="3995133"/>
              <a:ext cx="115511" cy="98446"/>
            </a:xfrm>
            <a:custGeom>
              <a:avLst/>
              <a:gdLst/>
              <a:ahLst/>
              <a:cxnLst/>
              <a:rect l="l" t="t" r="r" b="b"/>
              <a:pathLst>
                <a:path w="352" h="300" extrusionOk="0">
                  <a:moveTo>
                    <a:pt x="102" y="8"/>
                  </a:moveTo>
                  <a:lnTo>
                    <a:pt x="102" y="2"/>
                  </a:lnTo>
                  <a:lnTo>
                    <a:pt x="94" y="0"/>
                  </a:lnTo>
                  <a:lnTo>
                    <a:pt x="92" y="4"/>
                  </a:lnTo>
                  <a:lnTo>
                    <a:pt x="88" y="10"/>
                  </a:lnTo>
                  <a:lnTo>
                    <a:pt x="86" y="12"/>
                  </a:lnTo>
                  <a:lnTo>
                    <a:pt x="82" y="12"/>
                  </a:lnTo>
                  <a:lnTo>
                    <a:pt x="78" y="14"/>
                  </a:lnTo>
                  <a:lnTo>
                    <a:pt x="78" y="18"/>
                  </a:lnTo>
                  <a:lnTo>
                    <a:pt x="78" y="22"/>
                  </a:lnTo>
                  <a:lnTo>
                    <a:pt x="78" y="24"/>
                  </a:lnTo>
                  <a:lnTo>
                    <a:pt x="80" y="26"/>
                  </a:lnTo>
                  <a:lnTo>
                    <a:pt x="82" y="26"/>
                  </a:lnTo>
                  <a:lnTo>
                    <a:pt x="86" y="34"/>
                  </a:lnTo>
                  <a:lnTo>
                    <a:pt x="90" y="38"/>
                  </a:lnTo>
                  <a:lnTo>
                    <a:pt x="98" y="44"/>
                  </a:lnTo>
                  <a:lnTo>
                    <a:pt x="106" y="48"/>
                  </a:lnTo>
                  <a:lnTo>
                    <a:pt x="110" y="54"/>
                  </a:lnTo>
                  <a:lnTo>
                    <a:pt x="108" y="58"/>
                  </a:lnTo>
                  <a:lnTo>
                    <a:pt x="106" y="64"/>
                  </a:lnTo>
                  <a:lnTo>
                    <a:pt x="100" y="70"/>
                  </a:lnTo>
                  <a:lnTo>
                    <a:pt x="96" y="72"/>
                  </a:lnTo>
                  <a:lnTo>
                    <a:pt x="94" y="72"/>
                  </a:lnTo>
                  <a:lnTo>
                    <a:pt x="90" y="70"/>
                  </a:lnTo>
                  <a:lnTo>
                    <a:pt x="84" y="66"/>
                  </a:lnTo>
                  <a:lnTo>
                    <a:pt x="78" y="62"/>
                  </a:lnTo>
                  <a:lnTo>
                    <a:pt x="72" y="62"/>
                  </a:lnTo>
                  <a:lnTo>
                    <a:pt x="68" y="64"/>
                  </a:lnTo>
                  <a:lnTo>
                    <a:pt x="60" y="62"/>
                  </a:lnTo>
                  <a:lnTo>
                    <a:pt x="52" y="60"/>
                  </a:lnTo>
                  <a:lnTo>
                    <a:pt x="48" y="56"/>
                  </a:lnTo>
                  <a:lnTo>
                    <a:pt x="46" y="54"/>
                  </a:lnTo>
                  <a:lnTo>
                    <a:pt x="48" y="50"/>
                  </a:lnTo>
                  <a:lnTo>
                    <a:pt x="28" y="42"/>
                  </a:lnTo>
                  <a:lnTo>
                    <a:pt x="18" y="40"/>
                  </a:lnTo>
                  <a:lnTo>
                    <a:pt x="14" y="42"/>
                  </a:lnTo>
                  <a:lnTo>
                    <a:pt x="0" y="54"/>
                  </a:lnTo>
                  <a:lnTo>
                    <a:pt x="2" y="58"/>
                  </a:lnTo>
                  <a:lnTo>
                    <a:pt x="6" y="62"/>
                  </a:lnTo>
                  <a:lnTo>
                    <a:pt x="10" y="64"/>
                  </a:lnTo>
                  <a:lnTo>
                    <a:pt x="12" y="66"/>
                  </a:lnTo>
                  <a:lnTo>
                    <a:pt x="12" y="68"/>
                  </a:lnTo>
                  <a:lnTo>
                    <a:pt x="4" y="70"/>
                  </a:lnTo>
                  <a:lnTo>
                    <a:pt x="4" y="70"/>
                  </a:lnTo>
                  <a:lnTo>
                    <a:pt x="4" y="72"/>
                  </a:lnTo>
                  <a:lnTo>
                    <a:pt x="8" y="72"/>
                  </a:lnTo>
                  <a:lnTo>
                    <a:pt x="18" y="78"/>
                  </a:lnTo>
                  <a:lnTo>
                    <a:pt x="24" y="78"/>
                  </a:lnTo>
                  <a:lnTo>
                    <a:pt x="28" y="80"/>
                  </a:lnTo>
                  <a:lnTo>
                    <a:pt x="30" y="84"/>
                  </a:lnTo>
                  <a:lnTo>
                    <a:pt x="34" y="88"/>
                  </a:lnTo>
                  <a:lnTo>
                    <a:pt x="38" y="92"/>
                  </a:lnTo>
                  <a:lnTo>
                    <a:pt x="38" y="94"/>
                  </a:lnTo>
                  <a:lnTo>
                    <a:pt x="38" y="96"/>
                  </a:lnTo>
                  <a:lnTo>
                    <a:pt x="26" y="104"/>
                  </a:lnTo>
                  <a:lnTo>
                    <a:pt x="24" y="108"/>
                  </a:lnTo>
                  <a:lnTo>
                    <a:pt x="24" y="110"/>
                  </a:lnTo>
                  <a:lnTo>
                    <a:pt x="30" y="120"/>
                  </a:lnTo>
                  <a:lnTo>
                    <a:pt x="38" y="130"/>
                  </a:lnTo>
                  <a:lnTo>
                    <a:pt x="48" y="136"/>
                  </a:lnTo>
                  <a:lnTo>
                    <a:pt x="64" y="144"/>
                  </a:lnTo>
                  <a:lnTo>
                    <a:pt x="64" y="150"/>
                  </a:lnTo>
                  <a:lnTo>
                    <a:pt x="62" y="156"/>
                  </a:lnTo>
                  <a:lnTo>
                    <a:pt x="60" y="160"/>
                  </a:lnTo>
                  <a:lnTo>
                    <a:pt x="58" y="162"/>
                  </a:lnTo>
                  <a:lnTo>
                    <a:pt x="56" y="164"/>
                  </a:lnTo>
                  <a:lnTo>
                    <a:pt x="42" y="164"/>
                  </a:lnTo>
                  <a:lnTo>
                    <a:pt x="40" y="164"/>
                  </a:lnTo>
                  <a:lnTo>
                    <a:pt x="38" y="166"/>
                  </a:lnTo>
                  <a:lnTo>
                    <a:pt x="38" y="166"/>
                  </a:lnTo>
                  <a:lnTo>
                    <a:pt x="44" y="168"/>
                  </a:lnTo>
                  <a:lnTo>
                    <a:pt x="52" y="176"/>
                  </a:lnTo>
                  <a:lnTo>
                    <a:pt x="56" y="182"/>
                  </a:lnTo>
                  <a:lnTo>
                    <a:pt x="62" y="184"/>
                  </a:lnTo>
                  <a:lnTo>
                    <a:pt x="68" y="190"/>
                  </a:lnTo>
                  <a:lnTo>
                    <a:pt x="72" y="194"/>
                  </a:lnTo>
                  <a:lnTo>
                    <a:pt x="78" y="200"/>
                  </a:lnTo>
                  <a:lnTo>
                    <a:pt x="86" y="198"/>
                  </a:lnTo>
                  <a:lnTo>
                    <a:pt x="98" y="202"/>
                  </a:lnTo>
                  <a:lnTo>
                    <a:pt x="98" y="206"/>
                  </a:lnTo>
                  <a:lnTo>
                    <a:pt x="98" y="210"/>
                  </a:lnTo>
                  <a:lnTo>
                    <a:pt x="90" y="214"/>
                  </a:lnTo>
                  <a:lnTo>
                    <a:pt x="90" y="214"/>
                  </a:lnTo>
                  <a:lnTo>
                    <a:pt x="90" y="216"/>
                  </a:lnTo>
                  <a:lnTo>
                    <a:pt x="90" y="218"/>
                  </a:lnTo>
                  <a:lnTo>
                    <a:pt x="94" y="220"/>
                  </a:lnTo>
                  <a:lnTo>
                    <a:pt x="98" y="224"/>
                  </a:lnTo>
                  <a:lnTo>
                    <a:pt x="104" y="232"/>
                  </a:lnTo>
                  <a:lnTo>
                    <a:pt x="102" y="232"/>
                  </a:lnTo>
                  <a:lnTo>
                    <a:pt x="96" y="234"/>
                  </a:lnTo>
                  <a:lnTo>
                    <a:pt x="94" y="232"/>
                  </a:lnTo>
                  <a:lnTo>
                    <a:pt x="92" y="234"/>
                  </a:lnTo>
                  <a:lnTo>
                    <a:pt x="92" y="236"/>
                  </a:lnTo>
                  <a:lnTo>
                    <a:pt x="96" y="240"/>
                  </a:lnTo>
                  <a:lnTo>
                    <a:pt x="98" y="244"/>
                  </a:lnTo>
                  <a:lnTo>
                    <a:pt x="98" y="258"/>
                  </a:lnTo>
                  <a:lnTo>
                    <a:pt x="102" y="258"/>
                  </a:lnTo>
                  <a:lnTo>
                    <a:pt x="118" y="242"/>
                  </a:lnTo>
                  <a:lnTo>
                    <a:pt x="122" y="238"/>
                  </a:lnTo>
                  <a:lnTo>
                    <a:pt x="130" y="234"/>
                  </a:lnTo>
                  <a:lnTo>
                    <a:pt x="136" y="228"/>
                  </a:lnTo>
                  <a:lnTo>
                    <a:pt x="144" y="220"/>
                  </a:lnTo>
                  <a:lnTo>
                    <a:pt x="154" y="214"/>
                  </a:lnTo>
                  <a:lnTo>
                    <a:pt x="162" y="208"/>
                  </a:lnTo>
                  <a:lnTo>
                    <a:pt x="170" y="204"/>
                  </a:lnTo>
                  <a:lnTo>
                    <a:pt x="182" y="194"/>
                  </a:lnTo>
                  <a:lnTo>
                    <a:pt x="190" y="192"/>
                  </a:lnTo>
                  <a:lnTo>
                    <a:pt x="196" y="192"/>
                  </a:lnTo>
                  <a:lnTo>
                    <a:pt x="206" y="202"/>
                  </a:lnTo>
                  <a:lnTo>
                    <a:pt x="216" y="212"/>
                  </a:lnTo>
                  <a:lnTo>
                    <a:pt x="218" y="216"/>
                  </a:lnTo>
                  <a:lnTo>
                    <a:pt x="214" y="220"/>
                  </a:lnTo>
                  <a:lnTo>
                    <a:pt x="206" y="224"/>
                  </a:lnTo>
                  <a:lnTo>
                    <a:pt x="204" y="226"/>
                  </a:lnTo>
                  <a:lnTo>
                    <a:pt x="204" y="230"/>
                  </a:lnTo>
                  <a:lnTo>
                    <a:pt x="204" y="232"/>
                  </a:lnTo>
                  <a:lnTo>
                    <a:pt x="204" y="236"/>
                  </a:lnTo>
                  <a:lnTo>
                    <a:pt x="214" y="242"/>
                  </a:lnTo>
                  <a:lnTo>
                    <a:pt x="216" y="244"/>
                  </a:lnTo>
                  <a:lnTo>
                    <a:pt x="216" y="248"/>
                  </a:lnTo>
                  <a:lnTo>
                    <a:pt x="214" y="250"/>
                  </a:lnTo>
                  <a:lnTo>
                    <a:pt x="212" y="252"/>
                  </a:lnTo>
                  <a:lnTo>
                    <a:pt x="206" y="254"/>
                  </a:lnTo>
                  <a:lnTo>
                    <a:pt x="200" y="256"/>
                  </a:lnTo>
                  <a:lnTo>
                    <a:pt x="198" y="258"/>
                  </a:lnTo>
                  <a:lnTo>
                    <a:pt x="196" y="260"/>
                  </a:lnTo>
                  <a:lnTo>
                    <a:pt x="196" y="262"/>
                  </a:lnTo>
                  <a:lnTo>
                    <a:pt x="198" y="266"/>
                  </a:lnTo>
                  <a:lnTo>
                    <a:pt x="210" y="274"/>
                  </a:lnTo>
                  <a:lnTo>
                    <a:pt x="212" y="276"/>
                  </a:lnTo>
                  <a:lnTo>
                    <a:pt x="214" y="280"/>
                  </a:lnTo>
                  <a:lnTo>
                    <a:pt x="216" y="282"/>
                  </a:lnTo>
                  <a:lnTo>
                    <a:pt x="222" y="284"/>
                  </a:lnTo>
                  <a:lnTo>
                    <a:pt x="224" y="284"/>
                  </a:lnTo>
                  <a:lnTo>
                    <a:pt x="236" y="300"/>
                  </a:lnTo>
                  <a:lnTo>
                    <a:pt x="238" y="300"/>
                  </a:lnTo>
                  <a:lnTo>
                    <a:pt x="252" y="298"/>
                  </a:lnTo>
                  <a:lnTo>
                    <a:pt x="254" y="298"/>
                  </a:lnTo>
                  <a:lnTo>
                    <a:pt x="252" y="266"/>
                  </a:lnTo>
                  <a:lnTo>
                    <a:pt x="252" y="264"/>
                  </a:lnTo>
                  <a:lnTo>
                    <a:pt x="258" y="254"/>
                  </a:lnTo>
                  <a:lnTo>
                    <a:pt x="260" y="244"/>
                  </a:lnTo>
                  <a:lnTo>
                    <a:pt x="264" y="238"/>
                  </a:lnTo>
                  <a:lnTo>
                    <a:pt x="270" y="242"/>
                  </a:lnTo>
                  <a:lnTo>
                    <a:pt x="270" y="248"/>
                  </a:lnTo>
                  <a:lnTo>
                    <a:pt x="270" y="250"/>
                  </a:lnTo>
                  <a:lnTo>
                    <a:pt x="274" y="248"/>
                  </a:lnTo>
                  <a:lnTo>
                    <a:pt x="276" y="244"/>
                  </a:lnTo>
                  <a:lnTo>
                    <a:pt x="280" y="226"/>
                  </a:lnTo>
                  <a:lnTo>
                    <a:pt x="284" y="222"/>
                  </a:lnTo>
                  <a:lnTo>
                    <a:pt x="286" y="220"/>
                  </a:lnTo>
                  <a:lnTo>
                    <a:pt x="286" y="216"/>
                  </a:lnTo>
                  <a:lnTo>
                    <a:pt x="284" y="208"/>
                  </a:lnTo>
                  <a:lnTo>
                    <a:pt x="284" y="198"/>
                  </a:lnTo>
                  <a:lnTo>
                    <a:pt x="290" y="178"/>
                  </a:lnTo>
                  <a:lnTo>
                    <a:pt x="294" y="158"/>
                  </a:lnTo>
                  <a:lnTo>
                    <a:pt x="298" y="148"/>
                  </a:lnTo>
                  <a:lnTo>
                    <a:pt x="306" y="144"/>
                  </a:lnTo>
                  <a:lnTo>
                    <a:pt x="314" y="140"/>
                  </a:lnTo>
                  <a:lnTo>
                    <a:pt x="322" y="138"/>
                  </a:lnTo>
                  <a:lnTo>
                    <a:pt x="338" y="138"/>
                  </a:lnTo>
                  <a:lnTo>
                    <a:pt x="352" y="142"/>
                  </a:lnTo>
                  <a:lnTo>
                    <a:pt x="348" y="130"/>
                  </a:lnTo>
                  <a:lnTo>
                    <a:pt x="344" y="126"/>
                  </a:lnTo>
                  <a:lnTo>
                    <a:pt x="340" y="122"/>
                  </a:lnTo>
                  <a:lnTo>
                    <a:pt x="336" y="118"/>
                  </a:lnTo>
                  <a:lnTo>
                    <a:pt x="328" y="116"/>
                  </a:lnTo>
                  <a:lnTo>
                    <a:pt x="318" y="116"/>
                  </a:lnTo>
                  <a:lnTo>
                    <a:pt x="314" y="114"/>
                  </a:lnTo>
                  <a:lnTo>
                    <a:pt x="310" y="112"/>
                  </a:lnTo>
                  <a:lnTo>
                    <a:pt x="298" y="104"/>
                  </a:lnTo>
                  <a:lnTo>
                    <a:pt x="292" y="96"/>
                  </a:lnTo>
                  <a:lnTo>
                    <a:pt x="278" y="76"/>
                  </a:lnTo>
                  <a:lnTo>
                    <a:pt x="274" y="68"/>
                  </a:lnTo>
                  <a:lnTo>
                    <a:pt x="272" y="60"/>
                  </a:lnTo>
                  <a:lnTo>
                    <a:pt x="270" y="52"/>
                  </a:lnTo>
                  <a:lnTo>
                    <a:pt x="266" y="46"/>
                  </a:lnTo>
                  <a:lnTo>
                    <a:pt x="250" y="24"/>
                  </a:lnTo>
                  <a:lnTo>
                    <a:pt x="240" y="10"/>
                  </a:lnTo>
                  <a:lnTo>
                    <a:pt x="234" y="4"/>
                  </a:lnTo>
                  <a:lnTo>
                    <a:pt x="230" y="10"/>
                  </a:lnTo>
                  <a:lnTo>
                    <a:pt x="226" y="20"/>
                  </a:lnTo>
                  <a:lnTo>
                    <a:pt x="222" y="26"/>
                  </a:lnTo>
                  <a:lnTo>
                    <a:pt x="216" y="32"/>
                  </a:lnTo>
                  <a:lnTo>
                    <a:pt x="206" y="36"/>
                  </a:lnTo>
                  <a:lnTo>
                    <a:pt x="200" y="38"/>
                  </a:lnTo>
                  <a:lnTo>
                    <a:pt x="194" y="50"/>
                  </a:lnTo>
                  <a:lnTo>
                    <a:pt x="188" y="60"/>
                  </a:lnTo>
                  <a:lnTo>
                    <a:pt x="184" y="62"/>
                  </a:lnTo>
                  <a:lnTo>
                    <a:pt x="170" y="60"/>
                  </a:lnTo>
                  <a:lnTo>
                    <a:pt x="166" y="58"/>
                  </a:lnTo>
                  <a:lnTo>
                    <a:pt x="152" y="54"/>
                  </a:lnTo>
                  <a:lnTo>
                    <a:pt x="148" y="52"/>
                  </a:lnTo>
                  <a:lnTo>
                    <a:pt x="144" y="38"/>
                  </a:lnTo>
                  <a:lnTo>
                    <a:pt x="140" y="34"/>
                  </a:lnTo>
                  <a:lnTo>
                    <a:pt x="136" y="30"/>
                  </a:lnTo>
                  <a:lnTo>
                    <a:pt x="132" y="28"/>
                  </a:lnTo>
                  <a:lnTo>
                    <a:pt x="130" y="24"/>
                  </a:lnTo>
                  <a:lnTo>
                    <a:pt x="126" y="20"/>
                  </a:lnTo>
                  <a:lnTo>
                    <a:pt x="120" y="14"/>
                  </a:lnTo>
                  <a:lnTo>
                    <a:pt x="114" y="8"/>
                  </a:lnTo>
                  <a:lnTo>
                    <a:pt x="112" y="6"/>
                  </a:lnTo>
                  <a:lnTo>
                    <a:pt x="106" y="8"/>
                  </a:lnTo>
                  <a:lnTo>
                    <a:pt x="104" y="8"/>
                  </a:lnTo>
                  <a:lnTo>
                    <a:pt x="10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7" name="Google Shape;4504;p64">
              <a:extLst>
                <a:ext uri="{FF2B5EF4-FFF2-40B4-BE49-F238E27FC236}">
                  <a16:creationId xmlns:a16="http://schemas.microsoft.com/office/drawing/2014/main" id="{A90ABC1C-3A65-B710-0099-2F71EA95205D}"/>
                </a:ext>
              </a:extLst>
            </p:cNvPr>
            <p:cNvSpPr/>
            <p:nvPr/>
          </p:nvSpPr>
          <p:spPr>
            <a:xfrm>
              <a:off x="5149121" y="5039329"/>
              <a:ext cx="38723" cy="45942"/>
            </a:xfrm>
            <a:custGeom>
              <a:avLst/>
              <a:gdLst/>
              <a:ahLst/>
              <a:cxnLst/>
              <a:rect l="l" t="t" r="r" b="b"/>
              <a:pathLst>
                <a:path w="118" h="140" extrusionOk="0">
                  <a:moveTo>
                    <a:pt x="102" y="6"/>
                  </a:moveTo>
                  <a:lnTo>
                    <a:pt x="100" y="6"/>
                  </a:lnTo>
                  <a:lnTo>
                    <a:pt x="96" y="4"/>
                  </a:lnTo>
                  <a:lnTo>
                    <a:pt x="92" y="0"/>
                  </a:lnTo>
                  <a:lnTo>
                    <a:pt x="82" y="2"/>
                  </a:lnTo>
                  <a:lnTo>
                    <a:pt x="80" y="2"/>
                  </a:lnTo>
                  <a:lnTo>
                    <a:pt x="76" y="4"/>
                  </a:lnTo>
                  <a:lnTo>
                    <a:pt x="74" y="6"/>
                  </a:lnTo>
                  <a:lnTo>
                    <a:pt x="72" y="8"/>
                  </a:lnTo>
                  <a:lnTo>
                    <a:pt x="70" y="6"/>
                  </a:lnTo>
                  <a:lnTo>
                    <a:pt x="62" y="2"/>
                  </a:lnTo>
                  <a:lnTo>
                    <a:pt x="60" y="2"/>
                  </a:lnTo>
                  <a:lnTo>
                    <a:pt x="60" y="16"/>
                  </a:lnTo>
                  <a:lnTo>
                    <a:pt x="58" y="24"/>
                  </a:lnTo>
                  <a:lnTo>
                    <a:pt x="56" y="26"/>
                  </a:lnTo>
                  <a:lnTo>
                    <a:pt x="50" y="30"/>
                  </a:lnTo>
                  <a:lnTo>
                    <a:pt x="44" y="32"/>
                  </a:lnTo>
                  <a:lnTo>
                    <a:pt x="42" y="32"/>
                  </a:lnTo>
                  <a:lnTo>
                    <a:pt x="30" y="32"/>
                  </a:lnTo>
                  <a:lnTo>
                    <a:pt x="24" y="32"/>
                  </a:lnTo>
                  <a:lnTo>
                    <a:pt x="22" y="32"/>
                  </a:lnTo>
                  <a:lnTo>
                    <a:pt x="18" y="24"/>
                  </a:lnTo>
                  <a:lnTo>
                    <a:pt x="12" y="20"/>
                  </a:lnTo>
                  <a:lnTo>
                    <a:pt x="6" y="18"/>
                  </a:lnTo>
                  <a:lnTo>
                    <a:pt x="4" y="20"/>
                  </a:lnTo>
                  <a:lnTo>
                    <a:pt x="2" y="24"/>
                  </a:lnTo>
                  <a:lnTo>
                    <a:pt x="0" y="26"/>
                  </a:lnTo>
                  <a:lnTo>
                    <a:pt x="0" y="32"/>
                  </a:lnTo>
                  <a:lnTo>
                    <a:pt x="4" y="36"/>
                  </a:lnTo>
                  <a:lnTo>
                    <a:pt x="10" y="42"/>
                  </a:lnTo>
                  <a:lnTo>
                    <a:pt x="14" y="48"/>
                  </a:lnTo>
                  <a:lnTo>
                    <a:pt x="14" y="54"/>
                  </a:lnTo>
                  <a:lnTo>
                    <a:pt x="14" y="64"/>
                  </a:lnTo>
                  <a:lnTo>
                    <a:pt x="12" y="68"/>
                  </a:lnTo>
                  <a:lnTo>
                    <a:pt x="18" y="68"/>
                  </a:lnTo>
                  <a:lnTo>
                    <a:pt x="20" y="70"/>
                  </a:lnTo>
                  <a:lnTo>
                    <a:pt x="20" y="76"/>
                  </a:lnTo>
                  <a:lnTo>
                    <a:pt x="22" y="88"/>
                  </a:lnTo>
                  <a:lnTo>
                    <a:pt x="22" y="98"/>
                  </a:lnTo>
                  <a:lnTo>
                    <a:pt x="24" y="102"/>
                  </a:lnTo>
                  <a:lnTo>
                    <a:pt x="28" y="110"/>
                  </a:lnTo>
                  <a:lnTo>
                    <a:pt x="28" y="112"/>
                  </a:lnTo>
                  <a:lnTo>
                    <a:pt x="34" y="124"/>
                  </a:lnTo>
                  <a:lnTo>
                    <a:pt x="38" y="130"/>
                  </a:lnTo>
                  <a:lnTo>
                    <a:pt x="40" y="134"/>
                  </a:lnTo>
                  <a:lnTo>
                    <a:pt x="42" y="138"/>
                  </a:lnTo>
                  <a:lnTo>
                    <a:pt x="42" y="140"/>
                  </a:lnTo>
                  <a:lnTo>
                    <a:pt x="46" y="140"/>
                  </a:lnTo>
                  <a:lnTo>
                    <a:pt x="50" y="138"/>
                  </a:lnTo>
                  <a:lnTo>
                    <a:pt x="62" y="132"/>
                  </a:lnTo>
                  <a:lnTo>
                    <a:pt x="74" y="116"/>
                  </a:lnTo>
                  <a:lnTo>
                    <a:pt x="78" y="110"/>
                  </a:lnTo>
                  <a:lnTo>
                    <a:pt x="82" y="102"/>
                  </a:lnTo>
                  <a:lnTo>
                    <a:pt x="88" y="96"/>
                  </a:lnTo>
                  <a:lnTo>
                    <a:pt x="90" y="94"/>
                  </a:lnTo>
                  <a:lnTo>
                    <a:pt x="92" y="88"/>
                  </a:lnTo>
                  <a:lnTo>
                    <a:pt x="92" y="84"/>
                  </a:lnTo>
                  <a:lnTo>
                    <a:pt x="100" y="78"/>
                  </a:lnTo>
                  <a:lnTo>
                    <a:pt x="106" y="72"/>
                  </a:lnTo>
                  <a:lnTo>
                    <a:pt x="106" y="70"/>
                  </a:lnTo>
                  <a:lnTo>
                    <a:pt x="106" y="70"/>
                  </a:lnTo>
                  <a:lnTo>
                    <a:pt x="106" y="68"/>
                  </a:lnTo>
                  <a:lnTo>
                    <a:pt x="110" y="66"/>
                  </a:lnTo>
                  <a:lnTo>
                    <a:pt x="116" y="64"/>
                  </a:lnTo>
                  <a:lnTo>
                    <a:pt x="118" y="58"/>
                  </a:lnTo>
                  <a:lnTo>
                    <a:pt x="118" y="52"/>
                  </a:lnTo>
                  <a:lnTo>
                    <a:pt x="116" y="50"/>
                  </a:lnTo>
                  <a:lnTo>
                    <a:pt x="118" y="46"/>
                  </a:lnTo>
                  <a:lnTo>
                    <a:pt x="116" y="44"/>
                  </a:lnTo>
                  <a:lnTo>
                    <a:pt x="112" y="44"/>
                  </a:lnTo>
                  <a:lnTo>
                    <a:pt x="104" y="42"/>
                  </a:lnTo>
                  <a:lnTo>
                    <a:pt x="98" y="40"/>
                  </a:lnTo>
                  <a:lnTo>
                    <a:pt x="94" y="38"/>
                  </a:lnTo>
                  <a:lnTo>
                    <a:pt x="94" y="36"/>
                  </a:lnTo>
                  <a:lnTo>
                    <a:pt x="92" y="34"/>
                  </a:lnTo>
                  <a:lnTo>
                    <a:pt x="94" y="30"/>
                  </a:lnTo>
                  <a:lnTo>
                    <a:pt x="94" y="30"/>
                  </a:lnTo>
                  <a:lnTo>
                    <a:pt x="96" y="26"/>
                  </a:lnTo>
                  <a:lnTo>
                    <a:pt x="94" y="22"/>
                  </a:lnTo>
                  <a:lnTo>
                    <a:pt x="92" y="22"/>
                  </a:lnTo>
                  <a:lnTo>
                    <a:pt x="94" y="20"/>
                  </a:lnTo>
                  <a:lnTo>
                    <a:pt x="100" y="8"/>
                  </a:lnTo>
                  <a:lnTo>
                    <a:pt x="10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 name="Google Shape;4505;p64">
              <a:extLst>
                <a:ext uri="{FF2B5EF4-FFF2-40B4-BE49-F238E27FC236}">
                  <a16:creationId xmlns:a16="http://schemas.microsoft.com/office/drawing/2014/main" id="{73766177-23B3-57B5-5BD9-CD4238A75B14}"/>
                </a:ext>
              </a:extLst>
            </p:cNvPr>
            <p:cNvSpPr/>
            <p:nvPr/>
          </p:nvSpPr>
          <p:spPr>
            <a:xfrm>
              <a:off x="4579441" y="3693228"/>
              <a:ext cx="82695" cy="66943"/>
            </a:xfrm>
            <a:custGeom>
              <a:avLst/>
              <a:gdLst/>
              <a:ahLst/>
              <a:cxnLst/>
              <a:rect l="l" t="t" r="r" b="b"/>
              <a:pathLst>
                <a:path w="252" h="204" extrusionOk="0">
                  <a:moveTo>
                    <a:pt x="150" y="6"/>
                  </a:moveTo>
                  <a:lnTo>
                    <a:pt x="150" y="4"/>
                  </a:lnTo>
                  <a:lnTo>
                    <a:pt x="148" y="2"/>
                  </a:lnTo>
                  <a:lnTo>
                    <a:pt x="146" y="0"/>
                  </a:lnTo>
                  <a:lnTo>
                    <a:pt x="138" y="6"/>
                  </a:lnTo>
                  <a:lnTo>
                    <a:pt x="136" y="6"/>
                  </a:lnTo>
                  <a:lnTo>
                    <a:pt x="132" y="4"/>
                  </a:lnTo>
                  <a:lnTo>
                    <a:pt x="130" y="2"/>
                  </a:lnTo>
                  <a:lnTo>
                    <a:pt x="126" y="4"/>
                  </a:lnTo>
                  <a:lnTo>
                    <a:pt x="122" y="6"/>
                  </a:lnTo>
                  <a:lnTo>
                    <a:pt x="122" y="12"/>
                  </a:lnTo>
                  <a:lnTo>
                    <a:pt x="120" y="14"/>
                  </a:lnTo>
                  <a:lnTo>
                    <a:pt x="116" y="14"/>
                  </a:lnTo>
                  <a:lnTo>
                    <a:pt x="112" y="10"/>
                  </a:lnTo>
                  <a:lnTo>
                    <a:pt x="110" y="14"/>
                  </a:lnTo>
                  <a:lnTo>
                    <a:pt x="108" y="20"/>
                  </a:lnTo>
                  <a:lnTo>
                    <a:pt x="98" y="26"/>
                  </a:lnTo>
                  <a:lnTo>
                    <a:pt x="90" y="30"/>
                  </a:lnTo>
                  <a:lnTo>
                    <a:pt x="86" y="28"/>
                  </a:lnTo>
                  <a:lnTo>
                    <a:pt x="82" y="26"/>
                  </a:lnTo>
                  <a:lnTo>
                    <a:pt x="80" y="24"/>
                  </a:lnTo>
                  <a:lnTo>
                    <a:pt x="76" y="22"/>
                  </a:lnTo>
                  <a:lnTo>
                    <a:pt x="68" y="22"/>
                  </a:lnTo>
                  <a:lnTo>
                    <a:pt x="64" y="24"/>
                  </a:lnTo>
                  <a:lnTo>
                    <a:pt x="62" y="26"/>
                  </a:lnTo>
                  <a:lnTo>
                    <a:pt x="58" y="26"/>
                  </a:lnTo>
                  <a:lnTo>
                    <a:pt x="58" y="24"/>
                  </a:lnTo>
                  <a:lnTo>
                    <a:pt x="56" y="20"/>
                  </a:lnTo>
                  <a:lnTo>
                    <a:pt x="54" y="12"/>
                  </a:lnTo>
                  <a:lnTo>
                    <a:pt x="46" y="14"/>
                  </a:lnTo>
                  <a:lnTo>
                    <a:pt x="28" y="24"/>
                  </a:lnTo>
                  <a:lnTo>
                    <a:pt x="0" y="40"/>
                  </a:lnTo>
                  <a:lnTo>
                    <a:pt x="0" y="46"/>
                  </a:lnTo>
                  <a:lnTo>
                    <a:pt x="4" y="52"/>
                  </a:lnTo>
                  <a:lnTo>
                    <a:pt x="4" y="56"/>
                  </a:lnTo>
                  <a:lnTo>
                    <a:pt x="4" y="60"/>
                  </a:lnTo>
                  <a:lnTo>
                    <a:pt x="4" y="64"/>
                  </a:lnTo>
                  <a:lnTo>
                    <a:pt x="8" y="70"/>
                  </a:lnTo>
                  <a:lnTo>
                    <a:pt x="14" y="78"/>
                  </a:lnTo>
                  <a:lnTo>
                    <a:pt x="20" y="82"/>
                  </a:lnTo>
                  <a:lnTo>
                    <a:pt x="22" y="80"/>
                  </a:lnTo>
                  <a:lnTo>
                    <a:pt x="26" y="80"/>
                  </a:lnTo>
                  <a:lnTo>
                    <a:pt x="32" y="76"/>
                  </a:lnTo>
                  <a:lnTo>
                    <a:pt x="38" y="74"/>
                  </a:lnTo>
                  <a:lnTo>
                    <a:pt x="42" y="80"/>
                  </a:lnTo>
                  <a:lnTo>
                    <a:pt x="46" y="86"/>
                  </a:lnTo>
                  <a:lnTo>
                    <a:pt x="48" y="94"/>
                  </a:lnTo>
                  <a:lnTo>
                    <a:pt x="48" y="100"/>
                  </a:lnTo>
                  <a:lnTo>
                    <a:pt x="52" y="102"/>
                  </a:lnTo>
                  <a:lnTo>
                    <a:pt x="62" y="104"/>
                  </a:lnTo>
                  <a:lnTo>
                    <a:pt x="70" y="106"/>
                  </a:lnTo>
                  <a:lnTo>
                    <a:pt x="72" y="108"/>
                  </a:lnTo>
                  <a:lnTo>
                    <a:pt x="74" y="120"/>
                  </a:lnTo>
                  <a:lnTo>
                    <a:pt x="76" y="122"/>
                  </a:lnTo>
                  <a:lnTo>
                    <a:pt x="78" y="122"/>
                  </a:lnTo>
                  <a:lnTo>
                    <a:pt x="80" y="120"/>
                  </a:lnTo>
                  <a:lnTo>
                    <a:pt x="82" y="118"/>
                  </a:lnTo>
                  <a:lnTo>
                    <a:pt x="88" y="120"/>
                  </a:lnTo>
                  <a:lnTo>
                    <a:pt x="92" y="120"/>
                  </a:lnTo>
                  <a:lnTo>
                    <a:pt x="100" y="122"/>
                  </a:lnTo>
                  <a:lnTo>
                    <a:pt x="108" y="128"/>
                  </a:lnTo>
                  <a:lnTo>
                    <a:pt x="108" y="132"/>
                  </a:lnTo>
                  <a:lnTo>
                    <a:pt x="106" y="136"/>
                  </a:lnTo>
                  <a:lnTo>
                    <a:pt x="106" y="140"/>
                  </a:lnTo>
                  <a:lnTo>
                    <a:pt x="106" y="142"/>
                  </a:lnTo>
                  <a:lnTo>
                    <a:pt x="108" y="144"/>
                  </a:lnTo>
                  <a:lnTo>
                    <a:pt x="108" y="148"/>
                  </a:lnTo>
                  <a:lnTo>
                    <a:pt x="106" y="152"/>
                  </a:lnTo>
                  <a:lnTo>
                    <a:pt x="106" y="154"/>
                  </a:lnTo>
                  <a:lnTo>
                    <a:pt x="106" y="156"/>
                  </a:lnTo>
                  <a:lnTo>
                    <a:pt x="106" y="158"/>
                  </a:lnTo>
                  <a:lnTo>
                    <a:pt x="108" y="158"/>
                  </a:lnTo>
                  <a:lnTo>
                    <a:pt x="120" y="160"/>
                  </a:lnTo>
                  <a:lnTo>
                    <a:pt x="132" y="158"/>
                  </a:lnTo>
                  <a:lnTo>
                    <a:pt x="140" y="154"/>
                  </a:lnTo>
                  <a:lnTo>
                    <a:pt x="140" y="150"/>
                  </a:lnTo>
                  <a:lnTo>
                    <a:pt x="142" y="144"/>
                  </a:lnTo>
                  <a:lnTo>
                    <a:pt x="146" y="140"/>
                  </a:lnTo>
                  <a:lnTo>
                    <a:pt x="150" y="138"/>
                  </a:lnTo>
                  <a:lnTo>
                    <a:pt x="152" y="140"/>
                  </a:lnTo>
                  <a:lnTo>
                    <a:pt x="148" y="158"/>
                  </a:lnTo>
                  <a:lnTo>
                    <a:pt x="152" y="162"/>
                  </a:lnTo>
                  <a:lnTo>
                    <a:pt x="152" y="170"/>
                  </a:lnTo>
                  <a:lnTo>
                    <a:pt x="154" y="176"/>
                  </a:lnTo>
                  <a:lnTo>
                    <a:pt x="158" y="176"/>
                  </a:lnTo>
                  <a:lnTo>
                    <a:pt x="162" y="176"/>
                  </a:lnTo>
                  <a:lnTo>
                    <a:pt x="166" y="178"/>
                  </a:lnTo>
                  <a:lnTo>
                    <a:pt x="170" y="182"/>
                  </a:lnTo>
                  <a:lnTo>
                    <a:pt x="176" y="186"/>
                  </a:lnTo>
                  <a:lnTo>
                    <a:pt x="180" y="186"/>
                  </a:lnTo>
                  <a:lnTo>
                    <a:pt x="182" y="190"/>
                  </a:lnTo>
                  <a:lnTo>
                    <a:pt x="186" y="192"/>
                  </a:lnTo>
                  <a:lnTo>
                    <a:pt x="190" y="200"/>
                  </a:lnTo>
                  <a:lnTo>
                    <a:pt x="196" y="204"/>
                  </a:lnTo>
                  <a:lnTo>
                    <a:pt x="198" y="204"/>
                  </a:lnTo>
                  <a:lnTo>
                    <a:pt x="202" y="202"/>
                  </a:lnTo>
                  <a:lnTo>
                    <a:pt x="208" y="202"/>
                  </a:lnTo>
                  <a:lnTo>
                    <a:pt x="214" y="202"/>
                  </a:lnTo>
                  <a:lnTo>
                    <a:pt x="216" y="200"/>
                  </a:lnTo>
                  <a:lnTo>
                    <a:pt x="216" y="198"/>
                  </a:lnTo>
                  <a:lnTo>
                    <a:pt x="218" y="194"/>
                  </a:lnTo>
                  <a:lnTo>
                    <a:pt x="220" y="190"/>
                  </a:lnTo>
                  <a:lnTo>
                    <a:pt x="214" y="182"/>
                  </a:lnTo>
                  <a:lnTo>
                    <a:pt x="214" y="178"/>
                  </a:lnTo>
                  <a:lnTo>
                    <a:pt x="210" y="174"/>
                  </a:lnTo>
                  <a:lnTo>
                    <a:pt x="210" y="172"/>
                  </a:lnTo>
                  <a:lnTo>
                    <a:pt x="210" y="168"/>
                  </a:lnTo>
                  <a:lnTo>
                    <a:pt x="210" y="166"/>
                  </a:lnTo>
                  <a:lnTo>
                    <a:pt x="210" y="162"/>
                  </a:lnTo>
                  <a:lnTo>
                    <a:pt x="214" y="158"/>
                  </a:lnTo>
                  <a:lnTo>
                    <a:pt x="216" y="152"/>
                  </a:lnTo>
                  <a:lnTo>
                    <a:pt x="218" y="146"/>
                  </a:lnTo>
                  <a:lnTo>
                    <a:pt x="226" y="138"/>
                  </a:lnTo>
                  <a:lnTo>
                    <a:pt x="230" y="138"/>
                  </a:lnTo>
                  <a:lnTo>
                    <a:pt x="234" y="138"/>
                  </a:lnTo>
                  <a:lnTo>
                    <a:pt x="234" y="142"/>
                  </a:lnTo>
                  <a:lnTo>
                    <a:pt x="236" y="142"/>
                  </a:lnTo>
                  <a:lnTo>
                    <a:pt x="236" y="140"/>
                  </a:lnTo>
                  <a:lnTo>
                    <a:pt x="238" y="130"/>
                  </a:lnTo>
                  <a:lnTo>
                    <a:pt x="252" y="122"/>
                  </a:lnTo>
                  <a:lnTo>
                    <a:pt x="250" y="114"/>
                  </a:lnTo>
                  <a:lnTo>
                    <a:pt x="250" y="108"/>
                  </a:lnTo>
                  <a:lnTo>
                    <a:pt x="246" y="104"/>
                  </a:lnTo>
                  <a:lnTo>
                    <a:pt x="240" y="104"/>
                  </a:lnTo>
                  <a:lnTo>
                    <a:pt x="240" y="100"/>
                  </a:lnTo>
                  <a:lnTo>
                    <a:pt x="238" y="98"/>
                  </a:lnTo>
                  <a:lnTo>
                    <a:pt x="242" y="94"/>
                  </a:lnTo>
                  <a:lnTo>
                    <a:pt x="238" y="88"/>
                  </a:lnTo>
                  <a:lnTo>
                    <a:pt x="236" y="84"/>
                  </a:lnTo>
                  <a:lnTo>
                    <a:pt x="228" y="78"/>
                  </a:lnTo>
                  <a:lnTo>
                    <a:pt x="228" y="78"/>
                  </a:lnTo>
                  <a:lnTo>
                    <a:pt x="220" y="76"/>
                  </a:lnTo>
                  <a:lnTo>
                    <a:pt x="216" y="70"/>
                  </a:lnTo>
                  <a:lnTo>
                    <a:pt x="208" y="74"/>
                  </a:lnTo>
                  <a:lnTo>
                    <a:pt x="208" y="74"/>
                  </a:lnTo>
                  <a:lnTo>
                    <a:pt x="204" y="68"/>
                  </a:lnTo>
                  <a:lnTo>
                    <a:pt x="204" y="66"/>
                  </a:lnTo>
                  <a:lnTo>
                    <a:pt x="210" y="58"/>
                  </a:lnTo>
                  <a:lnTo>
                    <a:pt x="212" y="56"/>
                  </a:lnTo>
                  <a:lnTo>
                    <a:pt x="210" y="56"/>
                  </a:lnTo>
                  <a:lnTo>
                    <a:pt x="212" y="52"/>
                  </a:lnTo>
                  <a:lnTo>
                    <a:pt x="216" y="42"/>
                  </a:lnTo>
                  <a:lnTo>
                    <a:pt x="216" y="38"/>
                  </a:lnTo>
                  <a:lnTo>
                    <a:pt x="214" y="36"/>
                  </a:lnTo>
                  <a:lnTo>
                    <a:pt x="212" y="34"/>
                  </a:lnTo>
                  <a:lnTo>
                    <a:pt x="202" y="30"/>
                  </a:lnTo>
                  <a:lnTo>
                    <a:pt x="198" y="26"/>
                  </a:lnTo>
                  <a:lnTo>
                    <a:pt x="196" y="22"/>
                  </a:lnTo>
                  <a:lnTo>
                    <a:pt x="194" y="22"/>
                  </a:lnTo>
                  <a:lnTo>
                    <a:pt x="190" y="22"/>
                  </a:lnTo>
                  <a:lnTo>
                    <a:pt x="182" y="24"/>
                  </a:lnTo>
                  <a:lnTo>
                    <a:pt x="176" y="22"/>
                  </a:lnTo>
                  <a:lnTo>
                    <a:pt x="168" y="14"/>
                  </a:lnTo>
                  <a:lnTo>
                    <a:pt x="166" y="8"/>
                  </a:lnTo>
                  <a:lnTo>
                    <a:pt x="166" y="4"/>
                  </a:lnTo>
                  <a:lnTo>
                    <a:pt x="164" y="2"/>
                  </a:lnTo>
                  <a:lnTo>
                    <a:pt x="162" y="4"/>
                  </a:lnTo>
                  <a:lnTo>
                    <a:pt x="158" y="8"/>
                  </a:lnTo>
                  <a:lnTo>
                    <a:pt x="152" y="10"/>
                  </a:lnTo>
                  <a:lnTo>
                    <a:pt x="150" y="8"/>
                  </a:lnTo>
                  <a:lnTo>
                    <a:pt x="150"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 name="Google Shape;4506;p64">
              <a:extLst>
                <a:ext uri="{FF2B5EF4-FFF2-40B4-BE49-F238E27FC236}">
                  <a16:creationId xmlns:a16="http://schemas.microsoft.com/office/drawing/2014/main" id="{4960EB90-3721-66B8-AF77-F78B574D09FE}"/>
                </a:ext>
              </a:extLst>
            </p:cNvPr>
            <p:cNvSpPr/>
            <p:nvPr/>
          </p:nvSpPr>
          <p:spPr>
            <a:xfrm>
              <a:off x="4541374" y="4721017"/>
              <a:ext cx="66288" cy="134545"/>
            </a:xfrm>
            <a:custGeom>
              <a:avLst/>
              <a:gdLst/>
              <a:ahLst/>
              <a:cxnLst/>
              <a:rect l="l" t="t" r="r" b="b"/>
              <a:pathLst>
                <a:path w="202" h="410" extrusionOk="0">
                  <a:moveTo>
                    <a:pt x="186" y="46"/>
                  </a:moveTo>
                  <a:lnTo>
                    <a:pt x="182" y="40"/>
                  </a:lnTo>
                  <a:lnTo>
                    <a:pt x="176" y="36"/>
                  </a:lnTo>
                  <a:lnTo>
                    <a:pt x="170" y="34"/>
                  </a:lnTo>
                  <a:lnTo>
                    <a:pt x="166" y="30"/>
                  </a:lnTo>
                  <a:lnTo>
                    <a:pt x="164" y="26"/>
                  </a:lnTo>
                  <a:lnTo>
                    <a:pt x="156" y="18"/>
                  </a:lnTo>
                  <a:lnTo>
                    <a:pt x="138" y="2"/>
                  </a:lnTo>
                  <a:lnTo>
                    <a:pt x="138" y="0"/>
                  </a:lnTo>
                  <a:lnTo>
                    <a:pt x="134" y="0"/>
                  </a:lnTo>
                  <a:lnTo>
                    <a:pt x="130" y="2"/>
                  </a:lnTo>
                  <a:lnTo>
                    <a:pt x="126" y="6"/>
                  </a:lnTo>
                  <a:lnTo>
                    <a:pt x="124" y="6"/>
                  </a:lnTo>
                  <a:lnTo>
                    <a:pt x="120" y="6"/>
                  </a:lnTo>
                  <a:lnTo>
                    <a:pt x="112" y="8"/>
                  </a:lnTo>
                  <a:lnTo>
                    <a:pt x="106" y="12"/>
                  </a:lnTo>
                  <a:lnTo>
                    <a:pt x="106" y="14"/>
                  </a:lnTo>
                  <a:lnTo>
                    <a:pt x="108" y="26"/>
                  </a:lnTo>
                  <a:lnTo>
                    <a:pt x="106" y="32"/>
                  </a:lnTo>
                  <a:lnTo>
                    <a:pt x="106" y="36"/>
                  </a:lnTo>
                  <a:lnTo>
                    <a:pt x="100" y="46"/>
                  </a:lnTo>
                  <a:lnTo>
                    <a:pt x="96" y="50"/>
                  </a:lnTo>
                  <a:lnTo>
                    <a:pt x="80" y="66"/>
                  </a:lnTo>
                  <a:lnTo>
                    <a:pt x="72" y="64"/>
                  </a:lnTo>
                  <a:lnTo>
                    <a:pt x="56" y="66"/>
                  </a:lnTo>
                  <a:lnTo>
                    <a:pt x="52" y="64"/>
                  </a:lnTo>
                  <a:lnTo>
                    <a:pt x="48" y="62"/>
                  </a:lnTo>
                  <a:lnTo>
                    <a:pt x="44" y="64"/>
                  </a:lnTo>
                  <a:lnTo>
                    <a:pt x="42" y="64"/>
                  </a:lnTo>
                  <a:lnTo>
                    <a:pt x="42" y="66"/>
                  </a:lnTo>
                  <a:lnTo>
                    <a:pt x="40" y="68"/>
                  </a:lnTo>
                  <a:lnTo>
                    <a:pt x="36" y="74"/>
                  </a:lnTo>
                  <a:lnTo>
                    <a:pt x="34" y="74"/>
                  </a:lnTo>
                  <a:lnTo>
                    <a:pt x="32" y="76"/>
                  </a:lnTo>
                  <a:lnTo>
                    <a:pt x="28" y="76"/>
                  </a:lnTo>
                  <a:lnTo>
                    <a:pt x="26" y="76"/>
                  </a:lnTo>
                  <a:lnTo>
                    <a:pt x="26" y="78"/>
                  </a:lnTo>
                  <a:lnTo>
                    <a:pt x="24" y="82"/>
                  </a:lnTo>
                  <a:lnTo>
                    <a:pt x="22" y="82"/>
                  </a:lnTo>
                  <a:lnTo>
                    <a:pt x="22" y="86"/>
                  </a:lnTo>
                  <a:lnTo>
                    <a:pt x="22" y="88"/>
                  </a:lnTo>
                  <a:lnTo>
                    <a:pt x="20" y="90"/>
                  </a:lnTo>
                  <a:lnTo>
                    <a:pt x="16" y="88"/>
                  </a:lnTo>
                  <a:lnTo>
                    <a:pt x="14" y="88"/>
                  </a:lnTo>
                  <a:lnTo>
                    <a:pt x="12" y="92"/>
                  </a:lnTo>
                  <a:lnTo>
                    <a:pt x="10" y="94"/>
                  </a:lnTo>
                  <a:lnTo>
                    <a:pt x="10" y="94"/>
                  </a:lnTo>
                  <a:lnTo>
                    <a:pt x="8" y="100"/>
                  </a:lnTo>
                  <a:lnTo>
                    <a:pt x="4" y="110"/>
                  </a:lnTo>
                  <a:lnTo>
                    <a:pt x="2" y="112"/>
                  </a:lnTo>
                  <a:lnTo>
                    <a:pt x="0" y="134"/>
                  </a:lnTo>
                  <a:lnTo>
                    <a:pt x="2" y="136"/>
                  </a:lnTo>
                  <a:lnTo>
                    <a:pt x="2" y="136"/>
                  </a:lnTo>
                  <a:lnTo>
                    <a:pt x="14" y="144"/>
                  </a:lnTo>
                  <a:lnTo>
                    <a:pt x="28" y="154"/>
                  </a:lnTo>
                  <a:lnTo>
                    <a:pt x="38" y="160"/>
                  </a:lnTo>
                  <a:lnTo>
                    <a:pt x="38" y="162"/>
                  </a:lnTo>
                  <a:lnTo>
                    <a:pt x="38" y="176"/>
                  </a:lnTo>
                  <a:lnTo>
                    <a:pt x="38" y="188"/>
                  </a:lnTo>
                  <a:lnTo>
                    <a:pt x="40" y="196"/>
                  </a:lnTo>
                  <a:lnTo>
                    <a:pt x="40" y="202"/>
                  </a:lnTo>
                  <a:lnTo>
                    <a:pt x="44" y="208"/>
                  </a:lnTo>
                  <a:lnTo>
                    <a:pt x="52" y="216"/>
                  </a:lnTo>
                  <a:lnTo>
                    <a:pt x="56" y="222"/>
                  </a:lnTo>
                  <a:lnTo>
                    <a:pt x="56" y="242"/>
                  </a:lnTo>
                  <a:lnTo>
                    <a:pt x="56" y="256"/>
                  </a:lnTo>
                  <a:lnTo>
                    <a:pt x="56" y="274"/>
                  </a:lnTo>
                  <a:lnTo>
                    <a:pt x="56" y="358"/>
                  </a:lnTo>
                  <a:lnTo>
                    <a:pt x="50" y="360"/>
                  </a:lnTo>
                  <a:lnTo>
                    <a:pt x="54" y="366"/>
                  </a:lnTo>
                  <a:lnTo>
                    <a:pt x="54" y="374"/>
                  </a:lnTo>
                  <a:lnTo>
                    <a:pt x="56" y="376"/>
                  </a:lnTo>
                  <a:lnTo>
                    <a:pt x="54" y="380"/>
                  </a:lnTo>
                  <a:lnTo>
                    <a:pt x="54" y="384"/>
                  </a:lnTo>
                  <a:lnTo>
                    <a:pt x="58" y="386"/>
                  </a:lnTo>
                  <a:lnTo>
                    <a:pt x="64" y="396"/>
                  </a:lnTo>
                  <a:lnTo>
                    <a:pt x="66" y="404"/>
                  </a:lnTo>
                  <a:lnTo>
                    <a:pt x="56" y="408"/>
                  </a:lnTo>
                  <a:lnTo>
                    <a:pt x="56" y="410"/>
                  </a:lnTo>
                  <a:lnTo>
                    <a:pt x="70" y="408"/>
                  </a:lnTo>
                  <a:lnTo>
                    <a:pt x="100" y="402"/>
                  </a:lnTo>
                  <a:lnTo>
                    <a:pt x="128" y="400"/>
                  </a:lnTo>
                  <a:lnTo>
                    <a:pt x="128" y="396"/>
                  </a:lnTo>
                  <a:lnTo>
                    <a:pt x="130" y="386"/>
                  </a:lnTo>
                  <a:lnTo>
                    <a:pt x="130" y="380"/>
                  </a:lnTo>
                  <a:lnTo>
                    <a:pt x="132" y="378"/>
                  </a:lnTo>
                  <a:lnTo>
                    <a:pt x="130" y="374"/>
                  </a:lnTo>
                  <a:lnTo>
                    <a:pt x="130" y="368"/>
                  </a:lnTo>
                  <a:lnTo>
                    <a:pt x="128" y="360"/>
                  </a:lnTo>
                  <a:lnTo>
                    <a:pt x="130" y="358"/>
                  </a:lnTo>
                  <a:lnTo>
                    <a:pt x="130" y="354"/>
                  </a:lnTo>
                  <a:lnTo>
                    <a:pt x="130" y="348"/>
                  </a:lnTo>
                  <a:lnTo>
                    <a:pt x="130" y="332"/>
                  </a:lnTo>
                  <a:lnTo>
                    <a:pt x="132" y="330"/>
                  </a:lnTo>
                  <a:lnTo>
                    <a:pt x="132" y="330"/>
                  </a:lnTo>
                  <a:lnTo>
                    <a:pt x="132" y="328"/>
                  </a:lnTo>
                  <a:lnTo>
                    <a:pt x="130" y="322"/>
                  </a:lnTo>
                  <a:lnTo>
                    <a:pt x="128" y="318"/>
                  </a:lnTo>
                  <a:lnTo>
                    <a:pt x="128" y="310"/>
                  </a:lnTo>
                  <a:lnTo>
                    <a:pt x="128" y="304"/>
                  </a:lnTo>
                  <a:lnTo>
                    <a:pt x="126" y="300"/>
                  </a:lnTo>
                  <a:lnTo>
                    <a:pt x="128" y="290"/>
                  </a:lnTo>
                  <a:lnTo>
                    <a:pt x="128" y="274"/>
                  </a:lnTo>
                  <a:lnTo>
                    <a:pt x="128" y="268"/>
                  </a:lnTo>
                  <a:lnTo>
                    <a:pt x="128" y="264"/>
                  </a:lnTo>
                  <a:lnTo>
                    <a:pt x="130" y="252"/>
                  </a:lnTo>
                  <a:lnTo>
                    <a:pt x="130" y="240"/>
                  </a:lnTo>
                  <a:lnTo>
                    <a:pt x="132" y="222"/>
                  </a:lnTo>
                  <a:lnTo>
                    <a:pt x="140" y="222"/>
                  </a:lnTo>
                  <a:lnTo>
                    <a:pt x="150" y="220"/>
                  </a:lnTo>
                  <a:lnTo>
                    <a:pt x="154" y="214"/>
                  </a:lnTo>
                  <a:lnTo>
                    <a:pt x="156" y="204"/>
                  </a:lnTo>
                  <a:lnTo>
                    <a:pt x="156" y="196"/>
                  </a:lnTo>
                  <a:lnTo>
                    <a:pt x="158" y="194"/>
                  </a:lnTo>
                  <a:lnTo>
                    <a:pt x="162" y="188"/>
                  </a:lnTo>
                  <a:lnTo>
                    <a:pt x="168" y="182"/>
                  </a:lnTo>
                  <a:lnTo>
                    <a:pt x="168" y="174"/>
                  </a:lnTo>
                  <a:lnTo>
                    <a:pt x="170" y="172"/>
                  </a:lnTo>
                  <a:lnTo>
                    <a:pt x="174" y="170"/>
                  </a:lnTo>
                  <a:lnTo>
                    <a:pt x="178" y="170"/>
                  </a:lnTo>
                  <a:lnTo>
                    <a:pt x="184" y="166"/>
                  </a:lnTo>
                  <a:lnTo>
                    <a:pt x="186" y="160"/>
                  </a:lnTo>
                  <a:lnTo>
                    <a:pt x="190" y="148"/>
                  </a:lnTo>
                  <a:lnTo>
                    <a:pt x="184" y="142"/>
                  </a:lnTo>
                  <a:lnTo>
                    <a:pt x="184" y="140"/>
                  </a:lnTo>
                  <a:lnTo>
                    <a:pt x="186" y="136"/>
                  </a:lnTo>
                  <a:lnTo>
                    <a:pt x="190" y="132"/>
                  </a:lnTo>
                  <a:lnTo>
                    <a:pt x="192" y="132"/>
                  </a:lnTo>
                  <a:lnTo>
                    <a:pt x="196" y="132"/>
                  </a:lnTo>
                  <a:lnTo>
                    <a:pt x="198" y="132"/>
                  </a:lnTo>
                  <a:lnTo>
                    <a:pt x="198" y="130"/>
                  </a:lnTo>
                  <a:lnTo>
                    <a:pt x="202" y="120"/>
                  </a:lnTo>
                  <a:lnTo>
                    <a:pt x="202" y="116"/>
                  </a:lnTo>
                  <a:lnTo>
                    <a:pt x="196" y="108"/>
                  </a:lnTo>
                  <a:lnTo>
                    <a:pt x="196" y="104"/>
                  </a:lnTo>
                  <a:lnTo>
                    <a:pt x="194" y="94"/>
                  </a:lnTo>
                  <a:lnTo>
                    <a:pt x="194" y="88"/>
                  </a:lnTo>
                  <a:lnTo>
                    <a:pt x="192" y="84"/>
                  </a:lnTo>
                  <a:lnTo>
                    <a:pt x="190" y="82"/>
                  </a:lnTo>
                  <a:lnTo>
                    <a:pt x="188" y="82"/>
                  </a:lnTo>
                  <a:lnTo>
                    <a:pt x="178" y="66"/>
                  </a:lnTo>
                  <a:lnTo>
                    <a:pt x="178" y="60"/>
                  </a:lnTo>
                  <a:lnTo>
                    <a:pt x="184" y="50"/>
                  </a:lnTo>
                  <a:lnTo>
                    <a:pt x="186" y="4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0" name="Google Shape;4507;p64">
              <a:extLst>
                <a:ext uri="{FF2B5EF4-FFF2-40B4-BE49-F238E27FC236}">
                  <a16:creationId xmlns:a16="http://schemas.microsoft.com/office/drawing/2014/main" id="{0C600BAA-315C-B2DD-AB6F-88E3732E14FA}"/>
                </a:ext>
              </a:extLst>
            </p:cNvPr>
            <p:cNvSpPr/>
            <p:nvPr/>
          </p:nvSpPr>
          <p:spPr>
            <a:xfrm>
              <a:off x="4406174" y="4661293"/>
              <a:ext cx="169985" cy="124700"/>
            </a:xfrm>
            <a:custGeom>
              <a:avLst/>
              <a:gdLst/>
              <a:ahLst/>
              <a:cxnLst/>
              <a:rect l="l" t="t" r="r" b="b"/>
              <a:pathLst>
                <a:path w="518" h="380" extrusionOk="0">
                  <a:moveTo>
                    <a:pt x="376" y="12"/>
                  </a:moveTo>
                  <a:lnTo>
                    <a:pt x="362" y="6"/>
                  </a:lnTo>
                  <a:lnTo>
                    <a:pt x="346" y="2"/>
                  </a:lnTo>
                  <a:lnTo>
                    <a:pt x="336" y="4"/>
                  </a:lnTo>
                  <a:lnTo>
                    <a:pt x="334" y="4"/>
                  </a:lnTo>
                  <a:lnTo>
                    <a:pt x="332" y="2"/>
                  </a:lnTo>
                  <a:lnTo>
                    <a:pt x="326" y="0"/>
                  </a:lnTo>
                  <a:lnTo>
                    <a:pt x="318" y="2"/>
                  </a:lnTo>
                  <a:lnTo>
                    <a:pt x="312" y="2"/>
                  </a:lnTo>
                  <a:lnTo>
                    <a:pt x="302" y="10"/>
                  </a:lnTo>
                  <a:lnTo>
                    <a:pt x="296" y="16"/>
                  </a:lnTo>
                  <a:lnTo>
                    <a:pt x="294" y="18"/>
                  </a:lnTo>
                  <a:lnTo>
                    <a:pt x="282" y="22"/>
                  </a:lnTo>
                  <a:lnTo>
                    <a:pt x="264" y="32"/>
                  </a:lnTo>
                  <a:lnTo>
                    <a:pt x="254" y="38"/>
                  </a:lnTo>
                  <a:lnTo>
                    <a:pt x="250" y="40"/>
                  </a:lnTo>
                  <a:lnTo>
                    <a:pt x="246" y="40"/>
                  </a:lnTo>
                  <a:lnTo>
                    <a:pt x="238" y="40"/>
                  </a:lnTo>
                  <a:lnTo>
                    <a:pt x="232" y="42"/>
                  </a:lnTo>
                  <a:lnTo>
                    <a:pt x="228" y="60"/>
                  </a:lnTo>
                  <a:lnTo>
                    <a:pt x="224" y="62"/>
                  </a:lnTo>
                  <a:lnTo>
                    <a:pt x="200" y="56"/>
                  </a:lnTo>
                  <a:lnTo>
                    <a:pt x="196" y="56"/>
                  </a:lnTo>
                  <a:lnTo>
                    <a:pt x="192" y="58"/>
                  </a:lnTo>
                  <a:lnTo>
                    <a:pt x="180" y="68"/>
                  </a:lnTo>
                  <a:lnTo>
                    <a:pt x="174" y="76"/>
                  </a:lnTo>
                  <a:lnTo>
                    <a:pt x="170" y="88"/>
                  </a:lnTo>
                  <a:lnTo>
                    <a:pt x="170" y="92"/>
                  </a:lnTo>
                  <a:lnTo>
                    <a:pt x="170" y="94"/>
                  </a:lnTo>
                  <a:lnTo>
                    <a:pt x="168" y="98"/>
                  </a:lnTo>
                  <a:lnTo>
                    <a:pt x="166" y="98"/>
                  </a:lnTo>
                  <a:lnTo>
                    <a:pt x="162" y="98"/>
                  </a:lnTo>
                  <a:lnTo>
                    <a:pt x="152" y="96"/>
                  </a:lnTo>
                  <a:lnTo>
                    <a:pt x="150" y="96"/>
                  </a:lnTo>
                  <a:lnTo>
                    <a:pt x="148" y="102"/>
                  </a:lnTo>
                  <a:lnTo>
                    <a:pt x="148" y="114"/>
                  </a:lnTo>
                  <a:lnTo>
                    <a:pt x="146" y="122"/>
                  </a:lnTo>
                  <a:lnTo>
                    <a:pt x="140" y="124"/>
                  </a:lnTo>
                  <a:lnTo>
                    <a:pt x="134" y="128"/>
                  </a:lnTo>
                  <a:lnTo>
                    <a:pt x="130" y="128"/>
                  </a:lnTo>
                  <a:lnTo>
                    <a:pt x="128" y="128"/>
                  </a:lnTo>
                  <a:lnTo>
                    <a:pt x="110" y="116"/>
                  </a:lnTo>
                  <a:lnTo>
                    <a:pt x="104" y="114"/>
                  </a:lnTo>
                  <a:lnTo>
                    <a:pt x="96" y="116"/>
                  </a:lnTo>
                  <a:lnTo>
                    <a:pt x="90" y="120"/>
                  </a:lnTo>
                  <a:lnTo>
                    <a:pt x="86" y="124"/>
                  </a:lnTo>
                  <a:lnTo>
                    <a:pt x="82" y="128"/>
                  </a:lnTo>
                  <a:lnTo>
                    <a:pt x="78" y="132"/>
                  </a:lnTo>
                  <a:lnTo>
                    <a:pt x="80" y="138"/>
                  </a:lnTo>
                  <a:lnTo>
                    <a:pt x="82" y="142"/>
                  </a:lnTo>
                  <a:lnTo>
                    <a:pt x="86" y="150"/>
                  </a:lnTo>
                  <a:lnTo>
                    <a:pt x="84" y="154"/>
                  </a:lnTo>
                  <a:lnTo>
                    <a:pt x="68" y="164"/>
                  </a:lnTo>
                  <a:lnTo>
                    <a:pt x="70" y="166"/>
                  </a:lnTo>
                  <a:lnTo>
                    <a:pt x="72" y="168"/>
                  </a:lnTo>
                  <a:lnTo>
                    <a:pt x="72" y="174"/>
                  </a:lnTo>
                  <a:lnTo>
                    <a:pt x="72" y="186"/>
                  </a:lnTo>
                  <a:lnTo>
                    <a:pt x="68" y="190"/>
                  </a:lnTo>
                  <a:lnTo>
                    <a:pt x="64" y="192"/>
                  </a:lnTo>
                  <a:lnTo>
                    <a:pt x="62" y="198"/>
                  </a:lnTo>
                  <a:lnTo>
                    <a:pt x="58" y="200"/>
                  </a:lnTo>
                  <a:lnTo>
                    <a:pt x="54" y="204"/>
                  </a:lnTo>
                  <a:lnTo>
                    <a:pt x="48" y="206"/>
                  </a:lnTo>
                  <a:lnTo>
                    <a:pt x="36" y="208"/>
                  </a:lnTo>
                  <a:lnTo>
                    <a:pt x="28" y="210"/>
                  </a:lnTo>
                  <a:lnTo>
                    <a:pt x="24" y="212"/>
                  </a:lnTo>
                  <a:lnTo>
                    <a:pt x="20" y="216"/>
                  </a:lnTo>
                  <a:lnTo>
                    <a:pt x="16" y="220"/>
                  </a:lnTo>
                  <a:lnTo>
                    <a:pt x="14" y="224"/>
                  </a:lnTo>
                  <a:lnTo>
                    <a:pt x="16" y="230"/>
                  </a:lnTo>
                  <a:lnTo>
                    <a:pt x="16" y="234"/>
                  </a:lnTo>
                  <a:lnTo>
                    <a:pt x="18" y="236"/>
                  </a:lnTo>
                  <a:lnTo>
                    <a:pt x="20" y="240"/>
                  </a:lnTo>
                  <a:lnTo>
                    <a:pt x="18" y="250"/>
                  </a:lnTo>
                  <a:lnTo>
                    <a:pt x="14" y="260"/>
                  </a:lnTo>
                  <a:lnTo>
                    <a:pt x="12" y="266"/>
                  </a:lnTo>
                  <a:lnTo>
                    <a:pt x="6" y="270"/>
                  </a:lnTo>
                  <a:lnTo>
                    <a:pt x="2" y="272"/>
                  </a:lnTo>
                  <a:lnTo>
                    <a:pt x="4" y="280"/>
                  </a:lnTo>
                  <a:lnTo>
                    <a:pt x="4" y="290"/>
                  </a:lnTo>
                  <a:lnTo>
                    <a:pt x="4" y="298"/>
                  </a:lnTo>
                  <a:lnTo>
                    <a:pt x="2" y="304"/>
                  </a:lnTo>
                  <a:lnTo>
                    <a:pt x="2" y="310"/>
                  </a:lnTo>
                  <a:lnTo>
                    <a:pt x="0" y="314"/>
                  </a:lnTo>
                  <a:lnTo>
                    <a:pt x="4" y="318"/>
                  </a:lnTo>
                  <a:lnTo>
                    <a:pt x="10" y="320"/>
                  </a:lnTo>
                  <a:lnTo>
                    <a:pt x="18" y="320"/>
                  </a:lnTo>
                  <a:lnTo>
                    <a:pt x="22" y="322"/>
                  </a:lnTo>
                  <a:lnTo>
                    <a:pt x="28" y="326"/>
                  </a:lnTo>
                  <a:lnTo>
                    <a:pt x="32" y="332"/>
                  </a:lnTo>
                  <a:lnTo>
                    <a:pt x="34" y="338"/>
                  </a:lnTo>
                  <a:lnTo>
                    <a:pt x="36" y="346"/>
                  </a:lnTo>
                  <a:lnTo>
                    <a:pt x="42" y="350"/>
                  </a:lnTo>
                  <a:lnTo>
                    <a:pt x="46" y="352"/>
                  </a:lnTo>
                  <a:lnTo>
                    <a:pt x="52" y="358"/>
                  </a:lnTo>
                  <a:lnTo>
                    <a:pt x="58" y="360"/>
                  </a:lnTo>
                  <a:lnTo>
                    <a:pt x="66" y="360"/>
                  </a:lnTo>
                  <a:lnTo>
                    <a:pt x="68" y="362"/>
                  </a:lnTo>
                  <a:lnTo>
                    <a:pt x="74" y="364"/>
                  </a:lnTo>
                  <a:lnTo>
                    <a:pt x="78" y="366"/>
                  </a:lnTo>
                  <a:lnTo>
                    <a:pt x="82" y="358"/>
                  </a:lnTo>
                  <a:lnTo>
                    <a:pt x="88" y="356"/>
                  </a:lnTo>
                  <a:lnTo>
                    <a:pt x="102" y="352"/>
                  </a:lnTo>
                  <a:lnTo>
                    <a:pt x="108" y="348"/>
                  </a:lnTo>
                  <a:lnTo>
                    <a:pt x="114" y="348"/>
                  </a:lnTo>
                  <a:lnTo>
                    <a:pt x="128" y="346"/>
                  </a:lnTo>
                  <a:lnTo>
                    <a:pt x="140" y="348"/>
                  </a:lnTo>
                  <a:lnTo>
                    <a:pt x="146" y="350"/>
                  </a:lnTo>
                  <a:lnTo>
                    <a:pt x="150" y="348"/>
                  </a:lnTo>
                  <a:lnTo>
                    <a:pt x="154" y="352"/>
                  </a:lnTo>
                  <a:lnTo>
                    <a:pt x="160" y="358"/>
                  </a:lnTo>
                  <a:lnTo>
                    <a:pt x="162" y="360"/>
                  </a:lnTo>
                  <a:lnTo>
                    <a:pt x="166" y="362"/>
                  </a:lnTo>
                  <a:lnTo>
                    <a:pt x="168" y="368"/>
                  </a:lnTo>
                  <a:lnTo>
                    <a:pt x="172" y="372"/>
                  </a:lnTo>
                  <a:lnTo>
                    <a:pt x="174" y="374"/>
                  </a:lnTo>
                  <a:lnTo>
                    <a:pt x="178" y="380"/>
                  </a:lnTo>
                  <a:lnTo>
                    <a:pt x="180" y="380"/>
                  </a:lnTo>
                  <a:lnTo>
                    <a:pt x="184" y="378"/>
                  </a:lnTo>
                  <a:lnTo>
                    <a:pt x="186" y="376"/>
                  </a:lnTo>
                  <a:lnTo>
                    <a:pt x="184" y="372"/>
                  </a:lnTo>
                  <a:lnTo>
                    <a:pt x="180" y="364"/>
                  </a:lnTo>
                  <a:lnTo>
                    <a:pt x="180" y="358"/>
                  </a:lnTo>
                  <a:lnTo>
                    <a:pt x="182" y="356"/>
                  </a:lnTo>
                  <a:lnTo>
                    <a:pt x="182" y="348"/>
                  </a:lnTo>
                  <a:lnTo>
                    <a:pt x="180" y="336"/>
                  </a:lnTo>
                  <a:lnTo>
                    <a:pt x="180" y="328"/>
                  </a:lnTo>
                  <a:lnTo>
                    <a:pt x="180" y="326"/>
                  </a:lnTo>
                  <a:lnTo>
                    <a:pt x="180" y="322"/>
                  </a:lnTo>
                  <a:lnTo>
                    <a:pt x="178" y="320"/>
                  </a:lnTo>
                  <a:lnTo>
                    <a:pt x="178" y="318"/>
                  </a:lnTo>
                  <a:lnTo>
                    <a:pt x="180" y="314"/>
                  </a:lnTo>
                  <a:lnTo>
                    <a:pt x="180" y="312"/>
                  </a:lnTo>
                  <a:lnTo>
                    <a:pt x="176" y="312"/>
                  </a:lnTo>
                  <a:lnTo>
                    <a:pt x="174" y="308"/>
                  </a:lnTo>
                  <a:lnTo>
                    <a:pt x="172" y="302"/>
                  </a:lnTo>
                  <a:lnTo>
                    <a:pt x="172" y="292"/>
                  </a:lnTo>
                  <a:lnTo>
                    <a:pt x="176" y="276"/>
                  </a:lnTo>
                  <a:lnTo>
                    <a:pt x="176" y="274"/>
                  </a:lnTo>
                  <a:lnTo>
                    <a:pt x="182" y="276"/>
                  </a:lnTo>
                  <a:lnTo>
                    <a:pt x="182" y="276"/>
                  </a:lnTo>
                  <a:lnTo>
                    <a:pt x="198" y="276"/>
                  </a:lnTo>
                  <a:lnTo>
                    <a:pt x="216" y="276"/>
                  </a:lnTo>
                  <a:lnTo>
                    <a:pt x="238" y="276"/>
                  </a:lnTo>
                  <a:lnTo>
                    <a:pt x="258" y="276"/>
                  </a:lnTo>
                  <a:lnTo>
                    <a:pt x="258" y="274"/>
                  </a:lnTo>
                  <a:lnTo>
                    <a:pt x="262" y="274"/>
                  </a:lnTo>
                  <a:lnTo>
                    <a:pt x="282" y="276"/>
                  </a:lnTo>
                  <a:lnTo>
                    <a:pt x="294" y="274"/>
                  </a:lnTo>
                  <a:lnTo>
                    <a:pt x="298" y="274"/>
                  </a:lnTo>
                  <a:lnTo>
                    <a:pt x="302" y="276"/>
                  </a:lnTo>
                  <a:lnTo>
                    <a:pt x="312" y="276"/>
                  </a:lnTo>
                  <a:lnTo>
                    <a:pt x="316" y="276"/>
                  </a:lnTo>
                  <a:lnTo>
                    <a:pt x="320" y="280"/>
                  </a:lnTo>
                  <a:lnTo>
                    <a:pt x="320" y="280"/>
                  </a:lnTo>
                  <a:lnTo>
                    <a:pt x="322" y="278"/>
                  </a:lnTo>
                  <a:lnTo>
                    <a:pt x="326" y="276"/>
                  </a:lnTo>
                  <a:lnTo>
                    <a:pt x="330" y="274"/>
                  </a:lnTo>
                  <a:lnTo>
                    <a:pt x="332" y="272"/>
                  </a:lnTo>
                  <a:lnTo>
                    <a:pt x="334" y="268"/>
                  </a:lnTo>
                  <a:lnTo>
                    <a:pt x="336" y="270"/>
                  </a:lnTo>
                  <a:lnTo>
                    <a:pt x="340" y="270"/>
                  </a:lnTo>
                  <a:lnTo>
                    <a:pt x="342" y="266"/>
                  </a:lnTo>
                  <a:lnTo>
                    <a:pt x="342" y="264"/>
                  </a:lnTo>
                  <a:lnTo>
                    <a:pt x="358" y="268"/>
                  </a:lnTo>
                  <a:lnTo>
                    <a:pt x="372" y="270"/>
                  </a:lnTo>
                  <a:lnTo>
                    <a:pt x="394" y="276"/>
                  </a:lnTo>
                  <a:lnTo>
                    <a:pt x="394" y="276"/>
                  </a:lnTo>
                  <a:lnTo>
                    <a:pt x="394" y="278"/>
                  </a:lnTo>
                  <a:lnTo>
                    <a:pt x="398" y="278"/>
                  </a:lnTo>
                  <a:lnTo>
                    <a:pt x="404" y="276"/>
                  </a:lnTo>
                  <a:lnTo>
                    <a:pt x="422" y="276"/>
                  </a:lnTo>
                  <a:lnTo>
                    <a:pt x="422" y="276"/>
                  </a:lnTo>
                  <a:lnTo>
                    <a:pt x="424" y="274"/>
                  </a:lnTo>
                  <a:lnTo>
                    <a:pt x="426" y="270"/>
                  </a:lnTo>
                  <a:lnTo>
                    <a:pt x="428" y="270"/>
                  </a:lnTo>
                  <a:lnTo>
                    <a:pt x="432" y="272"/>
                  </a:lnTo>
                  <a:lnTo>
                    <a:pt x="434" y="270"/>
                  </a:lnTo>
                  <a:lnTo>
                    <a:pt x="434" y="268"/>
                  </a:lnTo>
                  <a:lnTo>
                    <a:pt x="434" y="264"/>
                  </a:lnTo>
                  <a:lnTo>
                    <a:pt x="436" y="264"/>
                  </a:lnTo>
                  <a:lnTo>
                    <a:pt x="438" y="260"/>
                  </a:lnTo>
                  <a:lnTo>
                    <a:pt x="438" y="258"/>
                  </a:lnTo>
                  <a:lnTo>
                    <a:pt x="440" y="258"/>
                  </a:lnTo>
                  <a:lnTo>
                    <a:pt x="444" y="258"/>
                  </a:lnTo>
                  <a:lnTo>
                    <a:pt x="446" y="256"/>
                  </a:lnTo>
                  <a:lnTo>
                    <a:pt x="448" y="256"/>
                  </a:lnTo>
                  <a:lnTo>
                    <a:pt x="452" y="250"/>
                  </a:lnTo>
                  <a:lnTo>
                    <a:pt x="454" y="248"/>
                  </a:lnTo>
                  <a:lnTo>
                    <a:pt x="454" y="246"/>
                  </a:lnTo>
                  <a:lnTo>
                    <a:pt x="456" y="246"/>
                  </a:lnTo>
                  <a:lnTo>
                    <a:pt x="460" y="244"/>
                  </a:lnTo>
                  <a:lnTo>
                    <a:pt x="464" y="246"/>
                  </a:lnTo>
                  <a:lnTo>
                    <a:pt x="468" y="248"/>
                  </a:lnTo>
                  <a:lnTo>
                    <a:pt x="484" y="246"/>
                  </a:lnTo>
                  <a:lnTo>
                    <a:pt x="492" y="248"/>
                  </a:lnTo>
                  <a:lnTo>
                    <a:pt x="508" y="232"/>
                  </a:lnTo>
                  <a:lnTo>
                    <a:pt x="512" y="228"/>
                  </a:lnTo>
                  <a:lnTo>
                    <a:pt x="518" y="218"/>
                  </a:lnTo>
                  <a:lnTo>
                    <a:pt x="518" y="214"/>
                  </a:lnTo>
                  <a:lnTo>
                    <a:pt x="516" y="212"/>
                  </a:lnTo>
                  <a:lnTo>
                    <a:pt x="506" y="198"/>
                  </a:lnTo>
                  <a:lnTo>
                    <a:pt x="500" y="190"/>
                  </a:lnTo>
                  <a:lnTo>
                    <a:pt x="498" y="188"/>
                  </a:lnTo>
                  <a:lnTo>
                    <a:pt x="498" y="184"/>
                  </a:lnTo>
                  <a:lnTo>
                    <a:pt x="498" y="182"/>
                  </a:lnTo>
                  <a:lnTo>
                    <a:pt x="500" y="182"/>
                  </a:lnTo>
                  <a:lnTo>
                    <a:pt x="506" y="180"/>
                  </a:lnTo>
                  <a:lnTo>
                    <a:pt x="508" y="180"/>
                  </a:lnTo>
                  <a:lnTo>
                    <a:pt x="508" y="176"/>
                  </a:lnTo>
                  <a:lnTo>
                    <a:pt x="508" y="172"/>
                  </a:lnTo>
                  <a:lnTo>
                    <a:pt x="504" y="166"/>
                  </a:lnTo>
                  <a:lnTo>
                    <a:pt x="500" y="160"/>
                  </a:lnTo>
                  <a:lnTo>
                    <a:pt x="498" y="160"/>
                  </a:lnTo>
                  <a:lnTo>
                    <a:pt x="494" y="160"/>
                  </a:lnTo>
                  <a:lnTo>
                    <a:pt x="490" y="160"/>
                  </a:lnTo>
                  <a:lnTo>
                    <a:pt x="482" y="166"/>
                  </a:lnTo>
                  <a:lnTo>
                    <a:pt x="480" y="166"/>
                  </a:lnTo>
                  <a:lnTo>
                    <a:pt x="472" y="166"/>
                  </a:lnTo>
                  <a:lnTo>
                    <a:pt x="464" y="166"/>
                  </a:lnTo>
                  <a:lnTo>
                    <a:pt x="460" y="162"/>
                  </a:lnTo>
                  <a:lnTo>
                    <a:pt x="448" y="152"/>
                  </a:lnTo>
                  <a:lnTo>
                    <a:pt x="434" y="140"/>
                  </a:lnTo>
                  <a:lnTo>
                    <a:pt x="428" y="140"/>
                  </a:lnTo>
                  <a:lnTo>
                    <a:pt x="426" y="138"/>
                  </a:lnTo>
                  <a:lnTo>
                    <a:pt x="426" y="130"/>
                  </a:lnTo>
                  <a:lnTo>
                    <a:pt x="426" y="118"/>
                  </a:lnTo>
                  <a:lnTo>
                    <a:pt x="426" y="116"/>
                  </a:lnTo>
                  <a:lnTo>
                    <a:pt x="432" y="118"/>
                  </a:lnTo>
                  <a:lnTo>
                    <a:pt x="438" y="118"/>
                  </a:lnTo>
                  <a:lnTo>
                    <a:pt x="440" y="116"/>
                  </a:lnTo>
                  <a:lnTo>
                    <a:pt x="436" y="112"/>
                  </a:lnTo>
                  <a:lnTo>
                    <a:pt x="428" y="110"/>
                  </a:lnTo>
                  <a:lnTo>
                    <a:pt x="426" y="104"/>
                  </a:lnTo>
                  <a:lnTo>
                    <a:pt x="424" y="102"/>
                  </a:lnTo>
                  <a:lnTo>
                    <a:pt x="420" y="100"/>
                  </a:lnTo>
                  <a:lnTo>
                    <a:pt x="418" y="98"/>
                  </a:lnTo>
                  <a:lnTo>
                    <a:pt x="414" y="98"/>
                  </a:lnTo>
                  <a:lnTo>
                    <a:pt x="412" y="96"/>
                  </a:lnTo>
                  <a:lnTo>
                    <a:pt x="406" y="94"/>
                  </a:lnTo>
                  <a:lnTo>
                    <a:pt x="402" y="94"/>
                  </a:lnTo>
                  <a:lnTo>
                    <a:pt x="396" y="84"/>
                  </a:lnTo>
                  <a:lnTo>
                    <a:pt x="390" y="76"/>
                  </a:lnTo>
                  <a:lnTo>
                    <a:pt x="386" y="68"/>
                  </a:lnTo>
                  <a:lnTo>
                    <a:pt x="386" y="64"/>
                  </a:lnTo>
                  <a:lnTo>
                    <a:pt x="388" y="56"/>
                  </a:lnTo>
                  <a:lnTo>
                    <a:pt x="386" y="54"/>
                  </a:lnTo>
                  <a:lnTo>
                    <a:pt x="378" y="46"/>
                  </a:lnTo>
                  <a:lnTo>
                    <a:pt x="372" y="40"/>
                  </a:lnTo>
                  <a:lnTo>
                    <a:pt x="374" y="30"/>
                  </a:lnTo>
                  <a:lnTo>
                    <a:pt x="376" y="20"/>
                  </a:lnTo>
                  <a:lnTo>
                    <a:pt x="376" y="16"/>
                  </a:lnTo>
                  <a:lnTo>
                    <a:pt x="376"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1" name="Google Shape;4508;p64">
              <a:extLst>
                <a:ext uri="{FF2B5EF4-FFF2-40B4-BE49-F238E27FC236}">
                  <a16:creationId xmlns:a16="http://schemas.microsoft.com/office/drawing/2014/main" id="{FF968424-57A2-962E-83DC-A8BA7DC2B28D}"/>
                </a:ext>
              </a:extLst>
            </p:cNvPr>
            <p:cNvSpPr/>
            <p:nvPr/>
          </p:nvSpPr>
          <p:spPr>
            <a:xfrm>
              <a:off x="5005389" y="3926220"/>
              <a:ext cx="134545" cy="87945"/>
            </a:xfrm>
            <a:custGeom>
              <a:avLst/>
              <a:gdLst/>
              <a:ahLst/>
              <a:cxnLst/>
              <a:rect l="l" t="t" r="r" b="b"/>
              <a:pathLst>
                <a:path w="410" h="268" extrusionOk="0">
                  <a:moveTo>
                    <a:pt x="410" y="46"/>
                  </a:moveTo>
                  <a:lnTo>
                    <a:pt x="400" y="46"/>
                  </a:lnTo>
                  <a:lnTo>
                    <a:pt x="396" y="44"/>
                  </a:lnTo>
                  <a:lnTo>
                    <a:pt x="386" y="42"/>
                  </a:lnTo>
                  <a:lnTo>
                    <a:pt x="374" y="38"/>
                  </a:lnTo>
                  <a:lnTo>
                    <a:pt x="368" y="30"/>
                  </a:lnTo>
                  <a:lnTo>
                    <a:pt x="364" y="24"/>
                  </a:lnTo>
                  <a:lnTo>
                    <a:pt x="354" y="26"/>
                  </a:lnTo>
                  <a:lnTo>
                    <a:pt x="352" y="26"/>
                  </a:lnTo>
                  <a:lnTo>
                    <a:pt x="350" y="22"/>
                  </a:lnTo>
                  <a:lnTo>
                    <a:pt x="342" y="20"/>
                  </a:lnTo>
                  <a:lnTo>
                    <a:pt x="334" y="20"/>
                  </a:lnTo>
                  <a:lnTo>
                    <a:pt x="314" y="8"/>
                  </a:lnTo>
                  <a:lnTo>
                    <a:pt x="312" y="6"/>
                  </a:lnTo>
                  <a:lnTo>
                    <a:pt x="296" y="8"/>
                  </a:lnTo>
                  <a:lnTo>
                    <a:pt x="272" y="14"/>
                  </a:lnTo>
                  <a:lnTo>
                    <a:pt x="254" y="22"/>
                  </a:lnTo>
                  <a:lnTo>
                    <a:pt x="236" y="34"/>
                  </a:lnTo>
                  <a:lnTo>
                    <a:pt x="228" y="44"/>
                  </a:lnTo>
                  <a:lnTo>
                    <a:pt x="220" y="48"/>
                  </a:lnTo>
                  <a:lnTo>
                    <a:pt x="208" y="52"/>
                  </a:lnTo>
                  <a:lnTo>
                    <a:pt x="186" y="50"/>
                  </a:lnTo>
                  <a:lnTo>
                    <a:pt x="162" y="46"/>
                  </a:lnTo>
                  <a:lnTo>
                    <a:pt x="138" y="40"/>
                  </a:lnTo>
                  <a:lnTo>
                    <a:pt x="124" y="44"/>
                  </a:lnTo>
                  <a:lnTo>
                    <a:pt x="106" y="42"/>
                  </a:lnTo>
                  <a:lnTo>
                    <a:pt x="78" y="36"/>
                  </a:lnTo>
                  <a:lnTo>
                    <a:pt x="58" y="34"/>
                  </a:lnTo>
                  <a:lnTo>
                    <a:pt x="38" y="38"/>
                  </a:lnTo>
                  <a:lnTo>
                    <a:pt x="36" y="34"/>
                  </a:lnTo>
                  <a:lnTo>
                    <a:pt x="34" y="32"/>
                  </a:lnTo>
                  <a:lnTo>
                    <a:pt x="36" y="26"/>
                  </a:lnTo>
                  <a:lnTo>
                    <a:pt x="38" y="24"/>
                  </a:lnTo>
                  <a:lnTo>
                    <a:pt x="44" y="20"/>
                  </a:lnTo>
                  <a:lnTo>
                    <a:pt x="46" y="18"/>
                  </a:lnTo>
                  <a:lnTo>
                    <a:pt x="46" y="14"/>
                  </a:lnTo>
                  <a:lnTo>
                    <a:pt x="40" y="10"/>
                  </a:lnTo>
                  <a:lnTo>
                    <a:pt x="30" y="4"/>
                  </a:lnTo>
                  <a:lnTo>
                    <a:pt x="24" y="0"/>
                  </a:lnTo>
                  <a:lnTo>
                    <a:pt x="22" y="2"/>
                  </a:lnTo>
                  <a:lnTo>
                    <a:pt x="20" y="4"/>
                  </a:lnTo>
                  <a:lnTo>
                    <a:pt x="18" y="8"/>
                  </a:lnTo>
                  <a:lnTo>
                    <a:pt x="18" y="16"/>
                  </a:lnTo>
                  <a:lnTo>
                    <a:pt x="8" y="20"/>
                  </a:lnTo>
                  <a:lnTo>
                    <a:pt x="6" y="22"/>
                  </a:lnTo>
                  <a:lnTo>
                    <a:pt x="4" y="24"/>
                  </a:lnTo>
                  <a:lnTo>
                    <a:pt x="2" y="34"/>
                  </a:lnTo>
                  <a:lnTo>
                    <a:pt x="2" y="42"/>
                  </a:lnTo>
                  <a:lnTo>
                    <a:pt x="4" y="46"/>
                  </a:lnTo>
                  <a:lnTo>
                    <a:pt x="4" y="48"/>
                  </a:lnTo>
                  <a:lnTo>
                    <a:pt x="6" y="52"/>
                  </a:lnTo>
                  <a:lnTo>
                    <a:pt x="10" y="58"/>
                  </a:lnTo>
                  <a:lnTo>
                    <a:pt x="12" y="66"/>
                  </a:lnTo>
                  <a:lnTo>
                    <a:pt x="14" y="72"/>
                  </a:lnTo>
                  <a:lnTo>
                    <a:pt x="24" y="76"/>
                  </a:lnTo>
                  <a:lnTo>
                    <a:pt x="28" y="80"/>
                  </a:lnTo>
                  <a:lnTo>
                    <a:pt x="32" y="86"/>
                  </a:lnTo>
                  <a:lnTo>
                    <a:pt x="34" y="90"/>
                  </a:lnTo>
                  <a:lnTo>
                    <a:pt x="42" y="96"/>
                  </a:lnTo>
                  <a:lnTo>
                    <a:pt x="42" y="100"/>
                  </a:lnTo>
                  <a:lnTo>
                    <a:pt x="40" y="104"/>
                  </a:lnTo>
                  <a:lnTo>
                    <a:pt x="38" y="106"/>
                  </a:lnTo>
                  <a:lnTo>
                    <a:pt x="34" y="110"/>
                  </a:lnTo>
                  <a:lnTo>
                    <a:pt x="30" y="114"/>
                  </a:lnTo>
                  <a:lnTo>
                    <a:pt x="24" y="122"/>
                  </a:lnTo>
                  <a:lnTo>
                    <a:pt x="14" y="124"/>
                  </a:lnTo>
                  <a:lnTo>
                    <a:pt x="12" y="124"/>
                  </a:lnTo>
                  <a:lnTo>
                    <a:pt x="8" y="126"/>
                  </a:lnTo>
                  <a:lnTo>
                    <a:pt x="8" y="130"/>
                  </a:lnTo>
                  <a:lnTo>
                    <a:pt x="8" y="134"/>
                  </a:lnTo>
                  <a:lnTo>
                    <a:pt x="8" y="138"/>
                  </a:lnTo>
                  <a:lnTo>
                    <a:pt x="6" y="146"/>
                  </a:lnTo>
                  <a:lnTo>
                    <a:pt x="10" y="154"/>
                  </a:lnTo>
                  <a:lnTo>
                    <a:pt x="12" y="156"/>
                  </a:lnTo>
                  <a:lnTo>
                    <a:pt x="14" y="158"/>
                  </a:lnTo>
                  <a:lnTo>
                    <a:pt x="12" y="162"/>
                  </a:lnTo>
                  <a:lnTo>
                    <a:pt x="8" y="170"/>
                  </a:lnTo>
                  <a:lnTo>
                    <a:pt x="6" y="172"/>
                  </a:lnTo>
                  <a:lnTo>
                    <a:pt x="0" y="174"/>
                  </a:lnTo>
                  <a:lnTo>
                    <a:pt x="12" y="186"/>
                  </a:lnTo>
                  <a:lnTo>
                    <a:pt x="16" y="192"/>
                  </a:lnTo>
                  <a:lnTo>
                    <a:pt x="24" y="196"/>
                  </a:lnTo>
                  <a:lnTo>
                    <a:pt x="30" y="198"/>
                  </a:lnTo>
                  <a:lnTo>
                    <a:pt x="34" y="202"/>
                  </a:lnTo>
                  <a:lnTo>
                    <a:pt x="38" y="216"/>
                  </a:lnTo>
                  <a:lnTo>
                    <a:pt x="40" y="222"/>
                  </a:lnTo>
                  <a:lnTo>
                    <a:pt x="44" y="222"/>
                  </a:lnTo>
                  <a:lnTo>
                    <a:pt x="44" y="224"/>
                  </a:lnTo>
                  <a:lnTo>
                    <a:pt x="44" y="226"/>
                  </a:lnTo>
                  <a:lnTo>
                    <a:pt x="40" y="236"/>
                  </a:lnTo>
                  <a:lnTo>
                    <a:pt x="40" y="258"/>
                  </a:lnTo>
                  <a:lnTo>
                    <a:pt x="38" y="260"/>
                  </a:lnTo>
                  <a:lnTo>
                    <a:pt x="46" y="260"/>
                  </a:lnTo>
                  <a:lnTo>
                    <a:pt x="54" y="260"/>
                  </a:lnTo>
                  <a:lnTo>
                    <a:pt x="60" y="256"/>
                  </a:lnTo>
                  <a:lnTo>
                    <a:pt x="68" y="254"/>
                  </a:lnTo>
                  <a:lnTo>
                    <a:pt x="72" y="254"/>
                  </a:lnTo>
                  <a:lnTo>
                    <a:pt x="80" y="256"/>
                  </a:lnTo>
                  <a:lnTo>
                    <a:pt x="86" y="256"/>
                  </a:lnTo>
                  <a:lnTo>
                    <a:pt x="94" y="252"/>
                  </a:lnTo>
                  <a:lnTo>
                    <a:pt x="102" y="248"/>
                  </a:lnTo>
                  <a:lnTo>
                    <a:pt x="108" y="250"/>
                  </a:lnTo>
                  <a:lnTo>
                    <a:pt x="110" y="248"/>
                  </a:lnTo>
                  <a:lnTo>
                    <a:pt x="112" y="248"/>
                  </a:lnTo>
                  <a:lnTo>
                    <a:pt x="114" y="242"/>
                  </a:lnTo>
                  <a:lnTo>
                    <a:pt x="124" y="242"/>
                  </a:lnTo>
                  <a:lnTo>
                    <a:pt x="128" y="242"/>
                  </a:lnTo>
                  <a:lnTo>
                    <a:pt x="134" y="242"/>
                  </a:lnTo>
                  <a:lnTo>
                    <a:pt x="142" y="240"/>
                  </a:lnTo>
                  <a:lnTo>
                    <a:pt x="144" y="240"/>
                  </a:lnTo>
                  <a:lnTo>
                    <a:pt x="146" y="248"/>
                  </a:lnTo>
                  <a:lnTo>
                    <a:pt x="148" y="250"/>
                  </a:lnTo>
                  <a:lnTo>
                    <a:pt x="152" y="252"/>
                  </a:lnTo>
                  <a:lnTo>
                    <a:pt x="160" y="258"/>
                  </a:lnTo>
                  <a:lnTo>
                    <a:pt x="162" y="256"/>
                  </a:lnTo>
                  <a:lnTo>
                    <a:pt x="164" y="254"/>
                  </a:lnTo>
                  <a:lnTo>
                    <a:pt x="174" y="256"/>
                  </a:lnTo>
                  <a:lnTo>
                    <a:pt x="184" y="262"/>
                  </a:lnTo>
                  <a:lnTo>
                    <a:pt x="192" y="268"/>
                  </a:lnTo>
                  <a:lnTo>
                    <a:pt x="200" y="266"/>
                  </a:lnTo>
                  <a:lnTo>
                    <a:pt x="210" y="262"/>
                  </a:lnTo>
                  <a:lnTo>
                    <a:pt x="216" y="262"/>
                  </a:lnTo>
                  <a:lnTo>
                    <a:pt x="222" y="262"/>
                  </a:lnTo>
                  <a:lnTo>
                    <a:pt x="226" y="260"/>
                  </a:lnTo>
                  <a:lnTo>
                    <a:pt x="236" y="262"/>
                  </a:lnTo>
                  <a:lnTo>
                    <a:pt x="244" y="258"/>
                  </a:lnTo>
                  <a:lnTo>
                    <a:pt x="250" y="256"/>
                  </a:lnTo>
                  <a:lnTo>
                    <a:pt x="250" y="250"/>
                  </a:lnTo>
                  <a:lnTo>
                    <a:pt x="250" y="244"/>
                  </a:lnTo>
                  <a:lnTo>
                    <a:pt x="248" y="236"/>
                  </a:lnTo>
                  <a:lnTo>
                    <a:pt x="246" y="232"/>
                  </a:lnTo>
                  <a:lnTo>
                    <a:pt x="244" y="230"/>
                  </a:lnTo>
                  <a:lnTo>
                    <a:pt x="246" y="228"/>
                  </a:lnTo>
                  <a:lnTo>
                    <a:pt x="248" y="226"/>
                  </a:lnTo>
                  <a:lnTo>
                    <a:pt x="254" y="224"/>
                  </a:lnTo>
                  <a:lnTo>
                    <a:pt x="262" y="226"/>
                  </a:lnTo>
                  <a:lnTo>
                    <a:pt x="262" y="224"/>
                  </a:lnTo>
                  <a:lnTo>
                    <a:pt x="262" y="222"/>
                  </a:lnTo>
                  <a:lnTo>
                    <a:pt x="264" y="218"/>
                  </a:lnTo>
                  <a:lnTo>
                    <a:pt x="274" y="216"/>
                  </a:lnTo>
                  <a:lnTo>
                    <a:pt x="276" y="214"/>
                  </a:lnTo>
                  <a:lnTo>
                    <a:pt x="276" y="210"/>
                  </a:lnTo>
                  <a:lnTo>
                    <a:pt x="278" y="206"/>
                  </a:lnTo>
                  <a:lnTo>
                    <a:pt x="282" y="204"/>
                  </a:lnTo>
                  <a:lnTo>
                    <a:pt x="286" y="204"/>
                  </a:lnTo>
                  <a:lnTo>
                    <a:pt x="294" y="204"/>
                  </a:lnTo>
                  <a:lnTo>
                    <a:pt x="298" y="202"/>
                  </a:lnTo>
                  <a:lnTo>
                    <a:pt x="304" y="198"/>
                  </a:lnTo>
                  <a:lnTo>
                    <a:pt x="306" y="196"/>
                  </a:lnTo>
                  <a:lnTo>
                    <a:pt x="318" y="194"/>
                  </a:lnTo>
                  <a:lnTo>
                    <a:pt x="322" y="192"/>
                  </a:lnTo>
                  <a:lnTo>
                    <a:pt x="326" y="194"/>
                  </a:lnTo>
                  <a:lnTo>
                    <a:pt x="330" y="198"/>
                  </a:lnTo>
                  <a:lnTo>
                    <a:pt x="338" y="206"/>
                  </a:lnTo>
                  <a:lnTo>
                    <a:pt x="342" y="208"/>
                  </a:lnTo>
                  <a:lnTo>
                    <a:pt x="344" y="208"/>
                  </a:lnTo>
                  <a:lnTo>
                    <a:pt x="350" y="204"/>
                  </a:lnTo>
                  <a:lnTo>
                    <a:pt x="354" y="204"/>
                  </a:lnTo>
                  <a:lnTo>
                    <a:pt x="358" y="206"/>
                  </a:lnTo>
                  <a:lnTo>
                    <a:pt x="360" y="202"/>
                  </a:lnTo>
                  <a:lnTo>
                    <a:pt x="364" y="202"/>
                  </a:lnTo>
                  <a:lnTo>
                    <a:pt x="372" y="204"/>
                  </a:lnTo>
                  <a:lnTo>
                    <a:pt x="370" y="196"/>
                  </a:lnTo>
                  <a:lnTo>
                    <a:pt x="360" y="182"/>
                  </a:lnTo>
                  <a:lnTo>
                    <a:pt x="352" y="170"/>
                  </a:lnTo>
                  <a:lnTo>
                    <a:pt x="348" y="166"/>
                  </a:lnTo>
                  <a:lnTo>
                    <a:pt x="338" y="160"/>
                  </a:lnTo>
                  <a:lnTo>
                    <a:pt x="356" y="138"/>
                  </a:lnTo>
                  <a:lnTo>
                    <a:pt x="360" y="138"/>
                  </a:lnTo>
                  <a:lnTo>
                    <a:pt x="364" y="134"/>
                  </a:lnTo>
                  <a:lnTo>
                    <a:pt x="364" y="110"/>
                  </a:lnTo>
                  <a:lnTo>
                    <a:pt x="368" y="96"/>
                  </a:lnTo>
                  <a:lnTo>
                    <a:pt x="370" y="92"/>
                  </a:lnTo>
                  <a:lnTo>
                    <a:pt x="374" y="88"/>
                  </a:lnTo>
                  <a:lnTo>
                    <a:pt x="380" y="76"/>
                  </a:lnTo>
                  <a:lnTo>
                    <a:pt x="392" y="74"/>
                  </a:lnTo>
                  <a:lnTo>
                    <a:pt x="402" y="78"/>
                  </a:lnTo>
                  <a:lnTo>
                    <a:pt x="408" y="68"/>
                  </a:lnTo>
                  <a:lnTo>
                    <a:pt x="410" y="4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 name="Google Shape;4509;p64">
              <a:extLst>
                <a:ext uri="{FF2B5EF4-FFF2-40B4-BE49-F238E27FC236}">
                  <a16:creationId xmlns:a16="http://schemas.microsoft.com/office/drawing/2014/main" id="{13272493-0161-6B19-5A10-75B96B54324C}"/>
                </a:ext>
              </a:extLst>
            </p:cNvPr>
            <p:cNvSpPr/>
            <p:nvPr/>
          </p:nvSpPr>
          <p:spPr>
            <a:xfrm>
              <a:off x="5610511" y="4404018"/>
              <a:ext cx="3281" cy="10501"/>
            </a:xfrm>
            <a:custGeom>
              <a:avLst/>
              <a:gdLst/>
              <a:ahLst/>
              <a:cxnLst/>
              <a:rect l="l" t="t" r="r" b="b"/>
              <a:pathLst>
                <a:path w="10" h="32" extrusionOk="0">
                  <a:moveTo>
                    <a:pt x="10" y="26"/>
                  </a:moveTo>
                  <a:lnTo>
                    <a:pt x="10" y="18"/>
                  </a:lnTo>
                  <a:lnTo>
                    <a:pt x="10" y="10"/>
                  </a:lnTo>
                  <a:lnTo>
                    <a:pt x="6" y="4"/>
                  </a:lnTo>
                  <a:lnTo>
                    <a:pt x="8" y="0"/>
                  </a:lnTo>
                  <a:lnTo>
                    <a:pt x="8" y="0"/>
                  </a:lnTo>
                  <a:lnTo>
                    <a:pt x="0" y="2"/>
                  </a:lnTo>
                  <a:lnTo>
                    <a:pt x="0" y="4"/>
                  </a:lnTo>
                  <a:lnTo>
                    <a:pt x="2" y="14"/>
                  </a:lnTo>
                  <a:lnTo>
                    <a:pt x="0" y="20"/>
                  </a:lnTo>
                  <a:lnTo>
                    <a:pt x="6" y="30"/>
                  </a:lnTo>
                  <a:lnTo>
                    <a:pt x="8" y="32"/>
                  </a:lnTo>
                  <a:lnTo>
                    <a:pt x="10"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3" name="Google Shape;4510;p64">
              <a:extLst>
                <a:ext uri="{FF2B5EF4-FFF2-40B4-BE49-F238E27FC236}">
                  <a16:creationId xmlns:a16="http://schemas.microsoft.com/office/drawing/2014/main" id="{D543A29D-5C3F-CD9E-EBAD-62407E46776D}"/>
                </a:ext>
              </a:extLst>
            </p:cNvPr>
            <p:cNvSpPr/>
            <p:nvPr/>
          </p:nvSpPr>
          <p:spPr>
            <a:xfrm>
              <a:off x="4863626" y="3894717"/>
              <a:ext cx="82695" cy="81383"/>
            </a:xfrm>
            <a:custGeom>
              <a:avLst/>
              <a:gdLst/>
              <a:ahLst/>
              <a:cxnLst/>
              <a:rect l="l" t="t" r="r" b="b"/>
              <a:pathLst>
                <a:path w="252" h="248" extrusionOk="0">
                  <a:moveTo>
                    <a:pt x="214" y="38"/>
                  </a:moveTo>
                  <a:lnTo>
                    <a:pt x="210" y="38"/>
                  </a:lnTo>
                  <a:lnTo>
                    <a:pt x="202" y="36"/>
                  </a:lnTo>
                  <a:lnTo>
                    <a:pt x="200" y="34"/>
                  </a:lnTo>
                  <a:lnTo>
                    <a:pt x="200" y="30"/>
                  </a:lnTo>
                  <a:lnTo>
                    <a:pt x="200" y="28"/>
                  </a:lnTo>
                  <a:lnTo>
                    <a:pt x="198" y="24"/>
                  </a:lnTo>
                  <a:lnTo>
                    <a:pt x="192" y="18"/>
                  </a:lnTo>
                  <a:lnTo>
                    <a:pt x="180" y="18"/>
                  </a:lnTo>
                  <a:lnTo>
                    <a:pt x="176" y="16"/>
                  </a:lnTo>
                  <a:lnTo>
                    <a:pt x="172" y="14"/>
                  </a:lnTo>
                  <a:lnTo>
                    <a:pt x="166" y="14"/>
                  </a:lnTo>
                  <a:lnTo>
                    <a:pt x="162" y="14"/>
                  </a:lnTo>
                  <a:lnTo>
                    <a:pt x="158" y="14"/>
                  </a:lnTo>
                  <a:lnTo>
                    <a:pt x="148" y="12"/>
                  </a:lnTo>
                  <a:lnTo>
                    <a:pt x="144" y="16"/>
                  </a:lnTo>
                  <a:lnTo>
                    <a:pt x="140" y="18"/>
                  </a:lnTo>
                  <a:lnTo>
                    <a:pt x="136" y="18"/>
                  </a:lnTo>
                  <a:lnTo>
                    <a:pt x="128" y="12"/>
                  </a:lnTo>
                  <a:lnTo>
                    <a:pt x="126" y="10"/>
                  </a:lnTo>
                  <a:lnTo>
                    <a:pt x="118" y="14"/>
                  </a:lnTo>
                  <a:lnTo>
                    <a:pt x="116" y="14"/>
                  </a:lnTo>
                  <a:lnTo>
                    <a:pt x="114" y="14"/>
                  </a:lnTo>
                  <a:lnTo>
                    <a:pt x="104" y="10"/>
                  </a:lnTo>
                  <a:lnTo>
                    <a:pt x="100" y="10"/>
                  </a:lnTo>
                  <a:lnTo>
                    <a:pt x="96" y="12"/>
                  </a:lnTo>
                  <a:lnTo>
                    <a:pt x="90" y="10"/>
                  </a:lnTo>
                  <a:lnTo>
                    <a:pt x="78" y="0"/>
                  </a:lnTo>
                  <a:lnTo>
                    <a:pt x="68" y="8"/>
                  </a:lnTo>
                  <a:lnTo>
                    <a:pt x="52" y="6"/>
                  </a:lnTo>
                  <a:lnTo>
                    <a:pt x="46" y="12"/>
                  </a:lnTo>
                  <a:lnTo>
                    <a:pt x="42" y="20"/>
                  </a:lnTo>
                  <a:lnTo>
                    <a:pt x="36" y="26"/>
                  </a:lnTo>
                  <a:lnTo>
                    <a:pt x="32" y="24"/>
                  </a:lnTo>
                  <a:lnTo>
                    <a:pt x="28" y="20"/>
                  </a:lnTo>
                  <a:lnTo>
                    <a:pt x="18" y="8"/>
                  </a:lnTo>
                  <a:lnTo>
                    <a:pt x="14" y="6"/>
                  </a:lnTo>
                  <a:lnTo>
                    <a:pt x="10" y="6"/>
                  </a:lnTo>
                  <a:lnTo>
                    <a:pt x="6" y="8"/>
                  </a:lnTo>
                  <a:lnTo>
                    <a:pt x="4" y="10"/>
                  </a:lnTo>
                  <a:lnTo>
                    <a:pt x="2" y="26"/>
                  </a:lnTo>
                  <a:lnTo>
                    <a:pt x="0" y="40"/>
                  </a:lnTo>
                  <a:lnTo>
                    <a:pt x="0" y="48"/>
                  </a:lnTo>
                  <a:lnTo>
                    <a:pt x="10" y="56"/>
                  </a:lnTo>
                  <a:lnTo>
                    <a:pt x="20" y="68"/>
                  </a:lnTo>
                  <a:lnTo>
                    <a:pt x="24" y="70"/>
                  </a:lnTo>
                  <a:lnTo>
                    <a:pt x="26" y="74"/>
                  </a:lnTo>
                  <a:lnTo>
                    <a:pt x="28" y="86"/>
                  </a:lnTo>
                  <a:lnTo>
                    <a:pt x="32" y="98"/>
                  </a:lnTo>
                  <a:lnTo>
                    <a:pt x="36" y="106"/>
                  </a:lnTo>
                  <a:lnTo>
                    <a:pt x="42" y="112"/>
                  </a:lnTo>
                  <a:lnTo>
                    <a:pt x="48" y="118"/>
                  </a:lnTo>
                  <a:lnTo>
                    <a:pt x="56" y="126"/>
                  </a:lnTo>
                  <a:lnTo>
                    <a:pt x="62" y="134"/>
                  </a:lnTo>
                  <a:lnTo>
                    <a:pt x="64" y="138"/>
                  </a:lnTo>
                  <a:lnTo>
                    <a:pt x="88" y="162"/>
                  </a:lnTo>
                  <a:lnTo>
                    <a:pt x="98" y="166"/>
                  </a:lnTo>
                  <a:lnTo>
                    <a:pt x="100" y="168"/>
                  </a:lnTo>
                  <a:lnTo>
                    <a:pt x="100" y="178"/>
                  </a:lnTo>
                  <a:lnTo>
                    <a:pt x="102" y="180"/>
                  </a:lnTo>
                  <a:lnTo>
                    <a:pt x="108" y="190"/>
                  </a:lnTo>
                  <a:lnTo>
                    <a:pt x="124" y="204"/>
                  </a:lnTo>
                  <a:lnTo>
                    <a:pt x="126" y="208"/>
                  </a:lnTo>
                  <a:lnTo>
                    <a:pt x="126" y="210"/>
                  </a:lnTo>
                  <a:lnTo>
                    <a:pt x="124" y="212"/>
                  </a:lnTo>
                  <a:lnTo>
                    <a:pt x="120" y="214"/>
                  </a:lnTo>
                  <a:lnTo>
                    <a:pt x="126" y="218"/>
                  </a:lnTo>
                  <a:lnTo>
                    <a:pt x="132" y="216"/>
                  </a:lnTo>
                  <a:lnTo>
                    <a:pt x="136" y="218"/>
                  </a:lnTo>
                  <a:lnTo>
                    <a:pt x="138" y="222"/>
                  </a:lnTo>
                  <a:lnTo>
                    <a:pt x="142" y="226"/>
                  </a:lnTo>
                  <a:lnTo>
                    <a:pt x="152" y="232"/>
                  </a:lnTo>
                  <a:lnTo>
                    <a:pt x="156" y="236"/>
                  </a:lnTo>
                  <a:lnTo>
                    <a:pt x="168" y="244"/>
                  </a:lnTo>
                  <a:lnTo>
                    <a:pt x="170" y="246"/>
                  </a:lnTo>
                  <a:lnTo>
                    <a:pt x="176" y="248"/>
                  </a:lnTo>
                  <a:lnTo>
                    <a:pt x="178" y="248"/>
                  </a:lnTo>
                  <a:lnTo>
                    <a:pt x="180" y="246"/>
                  </a:lnTo>
                  <a:lnTo>
                    <a:pt x="184" y="242"/>
                  </a:lnTo>
                  <a:lnTo>
                    <a:pt x="184" y="240"/>
                  </a:lnTo>
                  <a:lnTo>
                    <a:pt x="184" y="238"/>
                  </a:lnTo>
                  <a:lnTo>
                    <a:pt x="178" y="228"/>
                  </a:lnTo>
                  <a:lnTo>
                    <a:pt x="178" y="222"/>
                  </a:lnTo>
                  <a:lnTo>
                    <a:pt x="178" y="212"/>
                  </a:lnTo>
                  <a:lnTo>
                    <a:pt x="178" y="208"/>
                  </a:lnTo>
                  <a:lnTo>
                    <a:pt x="180" y="208"/>
                  </a:lnTo>
                  <a:lnTo>
                    <a:pt x="190" y="206"/>
                  </a:lnTo>
                  <a:lnTo>
                    <a:pt x="188" y="196"/>
                  </a:lnTo>
                  <a:lnTo>
                    <a:pt x="190" y="194"/>
                  </a:lnTo>
                  <a:lnTo>
                    <a:pt x="192" y="190"/>
                  </a:lnTo>
                  <a:lnTo>
                    <a:pt x="192" y="188"/>
                  </a:lnTo>
                  <a:lnTo>
                    <a:pt x="198" y="182"/>
                  </a:lnTo>
                  <a:lnTo>
                    <a:pt x="204" y="178"/>
                  </a:lnTo>
                  <a:lnTo>
                    <a:pt x="206" y="176"/>
                  </a:lnTo>
                  <a:lnTo>
                    <a:pt x="210" y="178"/>
                  </a:lnTo>
                  <a:lnTo>
                    <a:pt x="212" y="182"/>
                  </a:lnTo>
                  <a:lnTo>
                    <a:pt x="216" y="182"/>
                  </a:lnTo>
                  <a:lnTo>
                    <a:pt x="216" y="176"/>
                  </a:lnTo>
                  <a:lnTo>
                    <a:pt x="212" y="168"/>
                  </a:lnTo>
                  <a:lnTo>
                    <a:pt x="210" y="164"/>
                  </a:lnTo>
                  <a:lnTo>
                    <a:pt x="210" y="160"/>
                  </a:lnTo>
                  <a:lnTo>
                    <a:pt x="212" y="160"/>
                  </a:lnTo>
                  <a:lnTo>
                    <a:pt x="216" y="160"/>
                  </a:lnTo>
                  <a:lnTo>
                    <a:pt x="218" y="162"/>
                  </a:lnTo>
                  <a:lnTo>
                    <a:pt x="220" y="160"/>
                  </a:lnTo>
                  <a:lnTo>
                    <a:pt x="224" y="160"/>
                  </a:lnTo>
                  <a:lnTo>
                    <a:pt x="226" y="160"/>
                  </a:lnTo>
                  <a:lnTo>
                    <a:pt x="230" y="156"/>
                  </a:lnTo>
                  <a:lnTo>
                    <a:pt x="234" y="154"/>
                  </a:lnTo>
                  <a:lnTo>
                    <a:pt x="238" y="154"/>
                  </a:lnTo>
                  <a:lnTo>
                    <a:pt x="240" y="158"/>
                  </a:lnTo>
                  <a:lnTo>
                    <a:pt x="244" y="158"/>
                  </a:lnTo>
                  <a:lnTo>
                    <a:pt x="246" y="154"/>
                  </a:lnTo>
                  <a:lnTo>
                    <a:pt x="246" y="150"/>
                  </a:lnTo>
                  <a:lnTo>
                    <a:pt x="246" y="144"/>
                  </a:lnTo>
                  <a:lnTo>
                    <a:pt x="238" y="132"/>
                  </a:lnTo>
                  <a:lnTo>
                    <a:pt x="230" y="122"/>
                  </a:lnTo>
                  <a:lnTo>
                    <a:pt x="230" y="122"/>
                  </a:lnTo>
                  <a:lnTo>
                    <a:pt x="232" y="120"/>
                  </a:lnTo>
                  <a:lnTo>
                    <a:pt x="234" y="118"/>
                  </a:lnTo>
                  <a:lnTo>
                    <a:pt x="236" y="120"/>
                  </a:lnTo>
                  <a:lnTo>
                    <a:pt x="244" y="120"/>
                  </a:lnTo>
                  <a:lnTo>
                    <a:pt x="250" y="120"/>
                  </a:lnTo>
                  <a:lnTo>
                    <a:pt x="252" y="116"/>
                  </a:lnTo>
                  <a:lnTo>
                    <a:pt x="252" y="114"/>
                  </a:lnTo>
                  <a:lnTo>
                    <a:pt x="250" y="112"/>
                  </a:lnTo>
                  <a:lnTo>
                    <a:pt x="242" y="104"/>
                  </a:lnTo>
                  <a:lnTo>
                    <a:pt x="236" y="98"/>
                  </a:lnTo>
                  <a:lnTo>
                    <a:pt x="228" y="92"/>
                  </a:lnTo>
                  <a:lnTo>
                    <a:pt x="224" y="90"/>
                  </a:lnTo>
                  <a:lnTo>
                    <a:pt x="222" y="88"/>
                  </a:lnTo>
                  <a:lnTo>
                    <a:pt x="222" y="86"/>
                  </a:lnTo>
                  <a:lnTo>
                    <a:pt x="222" y="80"/>
                  </a:lnTo>
                  <a:lnTo>
                    <a:pt x="222" y="74"/>
                  </a:lnTo>
                  <a:lnTo>
                    <a:pt x="224" y="70"/>
                  </a:lnTo>
                  <a:lnTo>
                    <a:pt x="228" y="62"/>
                  </a:lnTo>
                  <a:lnTo>
                    <a:pt x="232" y="54"/>
                  </a:lnTo>
                  <a:lnTo>
                    <a:pt x="236" y="46"/>
                  </a:lnTo>
                  <a:lnTo>
                    <a:pt x="236" y="40"/>
                  </a:lnTo>
                  <a:lnTo>
                    <a:pt x="236" y="38"/>
                  </a:lnTo>
                  <a:lnTo>
                    <a:pt x="234" y="36"/>
                  </a:lnTo>
                  <a:lnTo>
                    <a:pt x="230" y="34"/>
                  </a:lnTo>
                  <a:lnTo>
                    <a:pt x="222" y="36"/>
                  </a:lnTo>
                  <a:lnTo>
                    <a:pt x="216" y="38"/>
                  </a:lnTo>
                  <a:lnTo>
                    <a:pt x="214" y="3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 name="Google Shape;4511;p64">
              <a:extLst>
                <a:ext uri="{FF2B5EF4-FFF2-40B4-BE49-F238E27FC236}">
                  <a16:creationId xmlns:a16="http://schemas.microsoft.com/office/drawing/2014/main" id="{B15FDD6E-1995-88DF-03E7-C607B1DC1E20}"/>
                </a:ext>
              </a:extLst>
            </p:cNvPr>
            <p:cNvSpPr/>
            <p:nvPr/>
          </p:nvSpPr>
          <p:spPr>
            <a:xfrm>
              <a:off x="3172302" y="4597630"/>
              <a:ext cx="1969" cy="1313"/>
            </a:xfrm>
            <a:custGeom>
              <a:avLst/>
              <a:gdLst/>
              <a:ahLst/>
              <a:cxnLst/>
              <a:rect l="l" t="t" r="r" b="b"/>
              <a:pathLst>
                <a:path w="6" h="4" extrusionOk="0">
                  <a:moveTo>
                    <a:pt x="2" y="4"/>
                  </a:moveTo>
                  <a:lnTo>
                    <a:pt x="4" y="2"/>
                  </a:lnTo>
                  <a:lnTo>
                    <a:pt x="4" y="2"/>
                  </a:lnTo>
                  <a:lnTo>
                    <a:pt x="6" y="0"/>
                  </a:lnTo>
                  <a:lnTo>
                    <a:pt x="0" y="0"/>
                  </a:lnTo>
                  <a:lnTo>
                    <a:pt x="0" y="0"/>
                  </a:lnTo>
                  <a:lnTo>
                    <a:pt x="0" y="0"/>
                  </a:lnTo>
                  <a:lnTo>
                    <a:pt x="0" y="2"/>
                  </a:lnTo>
                  <a:lnTo>
                    <a:pt x="2" y="2"/>
                  </a:lnTo>
                  <a:lnTo>
                    <a:pt x="2" y="4"/>
                  </a:lnTo>
                  <a:lnTo>
                    <a:pt x="2"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5" name="Google Shape;4512;p64">
              <a:extLst>
                <a:ext uri="{FF2B5EF4-FFF2-40B4-BE49-F238E27FC236}">
                  <a16:creationId xmlns:a16="http://schemas.microsoft.com/office/drawing/2014/main" id="{75265353-8EAA-66E6-1270-22426A847EB4}"/>
                </a:ext>
              </a:extLst>
            </p:cNvPr>
            <p:cNvCxnSpPr/>
            <p:nvPr/>
          </p:nvCxnSpPr>
          <p:spPr>
            <a:xfrm>
              <a:off x="3172959" y="4598943"/>
              <a:ext cx="0" cy="0"/>
            </a:xfrm>
            <a:prstGeom prst="straightConnector1">
              <a:avLst/>
            </a:prstGeom>
            <a:grpFill/>
            <a:ln w="9525" cap="flat" cmpd="sng">
              <a:solidFill>
                <a:schemeClr val="bg2"/>
              </a:solidFill>
              <a:prstDash val="solid"/>
              <a:round/>
              <a:headEnd type="none" w="med" len="med"/>
              <a:tailEnd type="none" w="med" len="med"/>
            </a:ln>
          </p:spPr>
        </p:cxnSp>
        <p:cxnSp>
          <p:nvCxnSpPr>
            <p:cNvPr id="46" name="Google Shape;4513;p64">
              <a:extLst>
                <a:ext uri="{FF2B5EF4-FFF2-40B4-BE49-F238E27FC236}">
                  <a16:creationId xmlns:a16="http://schemas.microsoft.com/office/drawing/2014/main" id="{4477B792-A68E-7D49-41D4-14DB81323B2B}"/>
                </a:ext>
              </a:extLst>
            </p:cNvPr>
            <p:cNvCxnSpPr/>
            <p:nvPr/>
          </p:nvCxnSpPr>
          <p:spPr>
            <a:xfrm>
              <a:off x="3172959" y="4598943"/>
              <a:ext cx="0" cy="0"/>
            </a:xfrm>
            <a:prstGeom prst="straightConnector1">
              <a:avLst/>
            </a:prstGeom>
            <a:grpFill/>
            <a:ln w="9525" cap="flat" cmpd="sng">
              <a:solidFill>
                <a:schemeClr val="bg2"/>
              </a:solidFill>
              <a:prstDash val="solid"/>
              <a:round/>
              <a:headEnd type="none" w="med" len="med"/>
              <a:tailEnd type="none" w="med" len="med"/>
            </a:ln>
          </p:spPr>
        </p:cxnSp>
        <p:sp>
          <p:nvSpPr>
            <p:cNvPr id="47" name="Google Shape;4514;p64">
              <a:extLst>
                <a:ext uri="{FF2B5EF4-FFF2-40B4-BE49-F238E27FC236}">
                  <a16:creationId xmlns:a16="http://schemas.microsoft.com/office/drawing/2014/main" id="{9A65C584-74FA-BFAE-8C39-8F90E25109C0}"/>
                </a:ext>
              </a:extLst>
            </p:cNvPr>
            <p:cNvSpPr/>
            <p:nvPr/>
          </p:nvSpPr>
          <p:spPr>
            <a:xfrm>
              <a:off x="5023766" y="3523243"/>
              <a:ext cx="204770" cy="177862"/>
            </a:xfrm>
            <a:custGeom>
              <a:avLst/>
              <a:gdLst/>
              <a:ahLst/>
              <a:cxnLst/>
              <a:rect l="l" t="t" r="r" b="b"/>
              <a:pathLst>
                <a:path w="624" h="542" extrusionOk="0">
                  <a:moveTo>
                    <a:pt x="326" y="0"/>
                  </a:moveTo>
                  <a:lnTo>
                    <a:pt x="324" y="0"/>
                  </a:lnTo>
                  <a:lnTo>
                    <a:pt x="318" y="2"/>
                  </a:lnTo>
                  <a:lnTo>
                    <a:pt x="308" y="8"/>
                  </a:lnTo>
                  <a:lnTo>
                    <a:pt x="296" y="24"/>
                  </a:lnTo>
                  <a:lnTo>
                    <a:pt x="292" y="28"/>
                  </a:lnTo>
                  <a:lnTo>
                    <a:pt x="288" y="40"/>
                  </a:lnTo>
                  <a:lnTo>
                    <a:pt x="288" y="40"/>
                  </a:lnTo>
                  <a:lnTo>
                    <a:pt x="280" y="40"/>
                  </a:lnTo>
                  <a:lnTo>
                    <a:pt x="278" y="40"/>
                  </a:lnTo>
                  <a:lnTo>
                    <a:pt x="270" y="40"/>
                  </a:lnTo>
                  <a:lnTo>
                    <a:pt x="254" y="38"/>
                  </a:lnTo>
                  <a:lnTo>
                    <a:pt x="246" y="40"/>
                  </a:lnTo>
                  <a:lnTo>
                    <a:pt x="238" y="52"/>
                  </a:lnTo>
                  <a:lnTo>
                    <a:pt x="236" y="54"/>
                  </a:lnTo>
                  <a:lnTo>
                    <a:pt x="226" y="54"/>
                  </a:lnTo>
                  <a:lnTo>
                    <a:pt x="224" y="56"/>
                  </a:lnTo>
                  <a:lnTo>
                    <a:pt x="224" y="62"/>
                  </a:lnTo>
                  <a:lnTo>
                    <a:pt x="222" y="70"/>
                  </a:lnTo>
                  <a:lnTo>
                    <a:pt x="218" y="82"/>
                  </a:lnTo>
                  <a:lnTo>
                    <a:pt x="216" y="90"/>
                  </a:lnTo>
                  <a:lnTo>
                    <a:pt x="214" y="94"/>
                  </a:lnTo>
                  <a:lnTo>
                    <a:pt x="218" y="96"/>
                  </a:lnTo>
                  <a:lnTo>
                    <a:pt x="230" y="98"/>
                  </a:lnTo>
                  <a:lnTo>
                    <a:pt x="234" y="100"/>
                  </a:lnTo>
                  <a:lnTo>
                    <a:pt x="236" y="102"/>
                  </a:lnTo>
                  <a:lnTo>
                    <a:pt x="232" y="104"/>
                  </a:lnTo>
                  <a:lnTo>
                    <a:pt x="228" y="108"/>
                  </a:lnTo>
                  <a:lnTo>
                    <a:pt x="228" y="110"/>
                  </a:lnTo>
                  <a:lnTo>
                    <a:pt x="224" y="118"/>
                  </a:lnTo>
                  <a:lnTo>
                    <a:pt x="204" y="118"/>
                  </a:lnTo>
                  <a:lnTo>
                    <a:pt x="202" y="118"/>
                  </a:lnTo>
                  <a:lnTo>
                    <a:pt x="200" y="122"/>
                  </a:lnTo>
                  <a:lnTo>
                    <a:pt x="198" y="128"/>
                  </a:lnTo>
                  <a:lnTo>
                    <a:pt x="196" y="132"/>
                  </a:lnTo>
                  <a:lnTo>
                    <a:pt x="190" y="138"/>
                  </a:lnTo>
                  <a:lnTo>
                    <a:pt x="182" y="138"/>
                  </a:lnTo>
                  <a:lnTo>
                    <a:pt x="176" y="142"/>
                  </a:lnTo>
                  <a:lnTo>
                    <a:pt x="170" y="152"/>
                  </a:lnTo>
                  <a:lnTo>
                    <a:pt x="166" y="166"/>
                  </a:lnTo>
                  <a:lnTo>
                    <a:pt x="166" y="174"/>
                  </a:lnTo>
                  <a:lnTo>
                    <a:pt x="166" y="180"/>
                  </a:lnTo>
                  <a:lnTo>
                    <a:pt x="166" y="182"/>
                  </a:lnTo>
                  <a:lnTo>
                    <a:pt x="164" y="186"/>
                  </a:lnTo>
                  <a:lnTo>
                    <a:pt x="160" y="194"/>
                  </a:lnTo>
                  <a:lnTo>
                    <a:pt x="156" y="204"/>
                  </a:lnTo>
                  <a:lnTo>
                    <a:pt x="154" y="208"/>
                  </a:lnTo>
                  <a:lnTo>
                    <a:pt x="156" y="212"/>
                  </a:lnTo>
                  <a:lnTo>
                    <a:pt x="160" y="212"/>
                  </a:lnTo>
                  <a:lnTo>
                    <a:pt x="166" y="214"/>
                  </a:lnTo>
                  <a:lnTo>
                    <a:pt x="168" y="216"/>
                  </a:lnTo>
                  <a:lnTo>
                    <a:pt x="170" y="222"/>
                  </a:lnTo>
                  <a:lnTo>
                    <a:pt x="170" y="226"/>
                  </a:lnTo>
                  <a:lnTo>
                    <a:pt x="168" y="228"/>
                  </a:lnTo>
                  <a:lnTo>
                    <a:pt x="164" y="230"/>
                  </a:lnTo>
                  <a:lnTo>
                    <a:pt x="156" y="230"/>
                  </a:lnTo>
                  <a:lnTo>
                    <a:pt x="152" y="228"/>
                  </a:lnTo>
                  <a:lnTo>
                    <a:pt x="152" y="226"/>
                  </a:lnTo>
                  <a:lnTo>
                    <a:pt x="154" y="222"/>
                  </a:lnTo>
                  <a:lnTo>
                    <a:pt x="152" y="216"/>
                  </a:lnTo>
                  <a:lnTo>
                    <a:pt x="150" y="214"/>
                  </a:lnTo>
                  <a:lnTo>
                    <a:pt x="144" y="218"/>
                  </a:lnTo>
                  <a:lnTo>
                    <a:pt x="138" y="218"/>
                  </a:lnTo>
                  <a:lnTo>
                    <a:pt x="130" y="222"/>
                  </a:lnTo>
                  <a:lnTo>
                    <a:pt x="126" y="228"/>
                  </a:lnTo>
                  <a:lnTo>
                    <a:pt x="122" y="232"/>
                  </a:lnTo>
                  <a:lnTo>
                    <a:pt x="110" y="230"/>
                  </a:lnTo>
                  <a:lnTo>
                    <a:pt x="108" y="232"/>
                  </a:lnTo>
                  <a:lnTo>
                    <a:pt x="106" y="246"/>
                  </a:lnTo>
                  <a:lnTo>
                    <a:pt x="104" y="248"/>
                  </a:lnTo>
                  <a:lnTo>
                    <a:pt x="94" y="248"/>
                  </a:lnTo>
                  <a:lnTo>
                    <a:pt x="84" y="254"/>
                  </a:lnTo>
                  <a:lnTo>
                    <a:pt x="74" y="258"/>
                  </a:lnTo>
                  <a:lnTo>
                    <a:pt x="70" y="256"/>
                  </a:lnTo>
                  <a:lnTo>
                    <a:pt x="66" y="252"/>
                  </a:lnTo>
                  <a:lnTo>
                    <a:pt x="60" y="252"/>
                  </a:lnTo>
                  <a:lnTo>
                    <a:pt x="54" y="254"/>
                  </a:lnTo>
                  <a:lnTo>
                    <a:pt x="50" y="252"/>
                  </a:lnTo>
                  <a:lnTo>
                    <a:pt x="46" y="254"/>
                  </a:lnTo>
                  <a:lnTo>
                    <a:pt x="36" y="256"/>
                  </a:lnTo>
                  <a:lnTo>
                    <a:pt x="24" y="256"/>
                  </a:lnTo>
                  <a:lnTo>
                    <a:pt x="20" y="252"/>
                  </a:lnTo>
                  <a:lnTo>
                    <a:pt x="28" y="290"/>
                  </a:lnTo>
                  <a:lnTo>
                    <a:pt x="40" y="326"/>
                  </a:lnTo>
                  <a:lnTo>
                    <a:pt x="44" y="344"/>
                  </a:lnTo>
                  <a:lnTo>
                    <a:pt x="46" y="354"/>
                  </a:lnTo>
                  <a:lnTo>
                    <a:pt x="48" y="366"/>
                  </a:lnTo>
                  <a:lnTo>
                    <a:pt x="48" y="376"/>
                  </a:lnTo>
                  <a:lnTo>
                    <a:pt x="48" y="382"/>
                  </a:lnTo>
                  <a:lnTo>
                    <a:pt x="48" y="388"/>
                  </a:lnTo>
                  <a:lnTo>
                    <a:pt x="44" y="392"/>
                  </a:lnTo>
                  <a:lnTo>
                    <a:pt x="20" y="404"/>
                  </a:lnTo>
                  <a:lnTo>
                    <a:pt x="14" y="408"/>
                  </a:lnTo>
                  <a:lnTo>
                    <a:pt x="8" y="418"/>
                  </a:lnTo>
                  <a:lnTo>
                    <a:pt x="2" y="428"/>
                  </a:lnTo>
                  <a:lnTo>
                    <a:pt x="0" y="432"/>
                  </a:lnTo>
                  <a:lnTo>
                    <a:pt x="0" y="434"/>
                  </a:lnTo>
                  <a:lnTo>
                    <a:pt x="0" y="436"/>
                  </a:lnTo>
                  <a:lnTo>
                    <a:pt x="10" y="442"/>
                  </a:lnTo>
                  <a:lnTo>
                    <a:pt x="18" y="446"/>
                  </a:lnTo>
                  <a:lnTo>
                    <a:pt x="20" y="448"/>
                  </a:lnTo>
                  <a:lnTo>
                    <a:pt x="26" y="452"/>
                  </a:lnTo>
                  <a:lnTo>
                    <a:pt x="30" y="456"/>
                  </a:lnTo>
                  <a:lnTo>
                    <a:pt x="30" y="460"/>
                  </a:lnTo>
                  <a:lnTo>
                    <a:pt x="30" y="466"/>
                  </a:lnTo>
                  <a:lnTo>
                    <a:pt x="28" y="476"/>
                  </a:lnTo>
                  <a:lnTo>
                    <a:pt x="30" y="484"/>
                  </a:lnTo>
                  <a:lnTo>
                    <a:pt x="26" y="490"/>
                  </a:lnTo>
                  <a:lnTo>
                    <a:pt x="24" y="494"/>
                  </a:lnTo>
                  <a:lnTo>
                    <a:pt x="24" y="504"/>
                  </a:lnTo>
                  <a:lnTo>
                    <a:pt x="28" y="514"/>
                  </a:lnTo>
                  <a:lnTo>
                    <a:pt x="28" y="514"/>
                  </a:lnTo>
                  <a:lnTo>
                    <a:pt x="28" y="506"/>
                  </a:lnTo>
                  <a:lnTo>
                    <a:pt x="30" y="504"/>
                  </a:lnTo>
                  <a:lnTo>
                    <a:pt x="34" y="502"/>
                  </a:lnTo>
                  <a:lnTo>
                    <a:pt x="40" y="502"/>
                  </a:lnTo>
                  <a:lnTo>
                    <a:pt x="44" y="504"/>
                  </a:lnTo>
                  <a:lnTo>
                    <a:pt x="50" y="508"/>
                  </a:lnTo>
                  <a:lnTo>
                    <a:pt x="52" y="508"/>
                  </a:lnTo>
                  <a:lnTo>
                    <a:pt x="62" y="500"/>
                  </a:lnTo>
                  <a:lnTo>
                    <a:pt x="72" y="488"/>
                  </a:lnTo>
                  <a:lnTo>
                    <a:pt x="74" y="482"/>
                  </a:lnTo>
                  <a:lnTo>
                    <a:pt x="78" y="478"/>
                  </a:lnTo>
                  <a:lnTo>
                    <a:pt x="86" y="476"/>
                  </a:lnTo>
                  <a:lnTo>
                    <a:pt x="94" y="476"/>
                  </a:lnTo>
                  <a:lnTo>
                    <a:pt x="98" y="476"/>
                  </a:lnTo>
                  <a:lnTo>
                    <a:pt x="110" y="474"/>
                  </a:lnTo>
                  <a:lnTo>
                    <a:pt x="118" y="474"/>
                  </a:lnTo>
                  <a:lnTo>
                    <a:pt x="124" y="472"/>
                  </a:lnTo>
                  <a:lnTo>
                    <a:pt x="136" y="470"/>
                  </a:lnTo>
                  <a:lnTo>
                    <a:pt x="156" y="472"/>
                  </a:lnTo>
                  <a:lnTo>
                    <a:pt x="170" y="472"/>
                  </a:lnTo>
                  <a:lnTo>
                    <a:pt x="180" y="474"/>
                  </a:lnTo>
                  <a:lnTo>
                    <a:pt x="202" y="480"/>
                  </a:lnTo>
                  <a:lnTo>
                    <a:pt x="210" y="480"/>
                  </a:lnTo>
                  <a:lnTo>
                    <a:pt x="214" y="484"/>
                  </a:lnTo>
                  <a:lnTo>
                    <a:pt x="222" y="486"/>
                  </a:lnTo>
                  <a:lnTo>
                    <a:pt x="236" y="488"/>
                  </a:lnTo>
                  <a:lnTo>
                    <a:pt x="246" y="490"/>
                  </a:lnTo>
                  <a:lnTo>
                    <a:pt x="254" y="490"/>
                  </a:lnTo>
                  <a:lnTo>
                    <a:pt x="260" y="490"/>
                  </a:lnTo>
                  <a:lnTo>
                    <a:pt x="268" y="504"/>
                  </a:lnTo>
                  <a:lnTo>
                    <a:pt x="270" y="506"/>
                  </a:lnTo>
                  <a:lnTo>
                    <a:pt x="272" y="506"/>
                  </a:lnTo>
                  <a:lnTo>
                    <a:pt x="280" y="506"/>
                  </a:lnTo>
                  <a:lnTo>
                    <a:pt x="290" y="506"/>
                  </a:lnTo>
                  <a:lnTo>
                    <a:pt x="296" y="510"/>
                  </a:lnTo>
                  <a:lnTo>
                    <a:pt x="294" y="518"/>
                  </a:lnTo>
                  <a:lnTo>
                    <a:pt x="296" y="520"/>
                  </a:lnTo>
                  <a:lnTo>
                    <a:pt x="298" y="518"/>
                  </a:lnTo>
                  <a:lnTo>
                    <a:pt x="302" y="514"/>
                  </a:lnTo>
                  <a:lnTo>
                    <a:pt x="304" y="508"/>
                  </a:lnTo>
                  <a:lnTo>
                    <a:pt x="306" y="508"/>
                  </a:lnTo>
                  <a:lnTo>
                    <a:pt x="316" y="510"/>
                  </a:lnTo>
                  <a:lnTo>
                    <a:pt x="320" y="510"/>
                  </a:lnTo>
                  <a:lnTo>
                    <a:pt x="326" y="506"/>
                  </a:lnTo>
                  <a:lnTo>
                    <a:pt x="328" y="506"/>
                  </a:lnTo>
                  <a:lnTo>
                    <a:pt x="334" y="508"/>
                  </a:lnTo>
                  <a:lnTo>
                    <a:pt x="344" y="510"/>
                  </a:lnTo>
                  <a:lnTo>
                    <a:pt x="350" y="510"/>
                  </a:lnTo>
                  <a:lnTo>
                    <a:pt x="354" y="512"/>
                  </a:lnTo>
                  <a:lnTo>
                    <a:pt x="358" y="522"/>
                  </a:lnTo>
                  <a:lnTo>
                    <a:pt x="360" y="524"/>
                  </a:lnTo>
                  <a:lnTo>
                    <a:pt x="364" y="524"/>
                  </a:lnTo>
                  <a:lnTo>
                    <a:pt x="368" y="516"/>
                  </a:lnTo>
                  <a:lnTo>
                    <a:pt x="372" y="512"/>
                  </a:lnTo>
                  <a:lnTo>
                    <a:pt x="376" y="510"/>
                  </a:lnTo>
                  <a:lnTo>
                    <a:pt x="380" y="510"/>
                  </a:lnTo>
                  <a:lnTo>
                    <a:pt x="382" y="506"/>
                  </a:lnTo>
                  <a:lnTo>
                    <a:pt x="386" y="504"/>
                  </a:lnTo>
                  <a:lnTo>
                    <a:pt x="388" y="504"/>
                  </a:lnTo>
                  <a:lnTo>
                    <a:pt x="390" y="504"/>
                  </a:lnTo>
                  <a:lnTo>
                    <a:pt x="392" y="508"/>
                  </a:lnTo>
                  <a:lnTo>
                    <a:pt x="396" y="518"/>
                  </a:lnTo>
                  <a:lnTo>
                    <a:pt x="400" y="526"/>
                  </a:lnTo>
                  <a:lnTo>
                    <a:pt x="404" y="530"/>
                  </a:lnTo>
                  <a:lnTo>
                    <a:pt x="412" y="526"/>
                  </a:lnTo>
                  <a:lnTo>
                    <a:pt x="418" y="524"/>
                  </a:lnTo>
                  <a:lnTo>
                    <a:pt x="428" y="524"/>
                  </a:lnTo>
                  <a:lnTo>
                    <a:pt x="440" y="522"/>
                  </a:lnTo>
                  <a:lnTo>
                    <a:pt x="450" y="518"/>
                  </a:lnTo>
                  <a:lnTo>
                    <a:pt x="458" y="520"/>
                  </a:lnTo>
                  <a:lnTo>
                    <a:pt x="462" y="522"/>
                  </a:lnTo>
                  <a:lnTo>
                    <a:pt x="468" y="528"/>
                  </a:lnTo>
                  <a:lnTo>
                    <a:pt x="468" y="536"/>
                  </a:lnTo>
                  <a:lnTo>
                    <a:pt x="476" y="540"/>
                  </a:lnTo>
                  <a:lnTo>
                    <a:pt x="482" y="542"/>
                  </a:lnTo>
                  <a:lnTo>
                    <a:pt x="484" y="536"/>
                  </a:lnTo>
                  <a:lnTo>
                    <a:pt x="488" y="532"/>
                  </a:lnTo>
                  <a:lnTo>
                    <a:pt x="488" y="526"/>
                  </a:lnTo>
                  <a:lnTo>
                    <a:pt x="486" y="520"/>
                  </a:lnTo>
                  <a:lnTo>
                    <a:pt x="484" y="514"/>
                  </a:lnTo>
                  <a:lnTo>
                    <a:pt x="482" y="506"/>
                  </a:lnTo>
                  <a:lnTo>
                    <a:pt x="486" y="496"/>
                  </a:lnTo>
                  <a:lnTo>
                    <a:pt x="488" y="488"/>
                  </a:lnTo>
                  <a:lnTo>
                    <a:pt x="490" y="484"/>
                  </a:lnTo>
                  <a:lnTo>
                    <a:pt x="496" y="474"/>
                  </a:lnTo>
                  <a:lnTo>
                    <a:pt x="502" y="468"/>
                  </a:lnTo>
                  <a:lnTo>
                    <a:pt x="510" y="458"/>
                  </a:lnTo>
                  <a:lnTo>
                    <a:pt x="518" y="456"/>
                  </a:lnTo>
                  <a:lnTo>
                    <a:pt x="524" y="458"/>
                  </a:lnTo>
                  <a:lnTo>
                    <a:pt x="526" y="458"/>
                  </a:lnTo>
                  <a:lnTo>
                    <a:pt x="534" y="452"/>
                  </a:lnTo>
                  <a:lnTo>
                    <a:pt x="550" y="452"/>
                  </a:lnTo>
                  <a:lnTo>
                    <a:pt x="562" y="454"/>
                  </a:lnTo>
                  <a:lnTo>
                    <a:pt x="562" y="450"/>
                  </a:lnTo>
                  <a:lnTo>
                    <a:pt x="558" y="440"/>
                  </a:lnTo>
                  <a:lnTo>
                    <a:pt x="556" y="436"/>
                  </a:lnTo>
                  <a:lnTo>
                    <a:pt x="552" y="434"/>
                  </a:lnTo>
                  <a:lnTo>
                    <a:pt x="550" y="430"/>
                  </a:lnTo>
                  <a:lnTo>
                    <a:pt x="550" y="418"/>
                  </a:lnTo>
                  <a:lnTo>
                    <a:pt x="550" y="406"/>
                  </a:lnTo>
                  <a:lnTo>
                    <a:pt x="552" y="406"/>
                  </a:lnTo>
                  <a:lnTo>
                    <a:pt x="546" y="396"/>
                  </a:lnTo>
                  <a:lnTo>
                    <a:pt x="546" y="388"/>
                  </a:lnTo>
                  <a:lnTo>
                    <a:pt x="550" y="386"/>
                  </a:lnTo>
                  <a:lnTo>
                    <a:pt x="550" y="382"/>
                  </a:lnTo>
                  <a:lnTo>
                    <a:pt x="548" y="378"/>
                  </a:lnTo>
                  <a:lnTo>
                    <a:pt x="542" y="372"/>
                  </a:lnTo>
                  <a:lnTo>
                    <a:pt x="536" y="364"/>
                  </a:lnTo>
                  <a:lnTo>
                    <a:pt x="532" y="358"/>
                  </a:lnTo>
                  <a:lnTo>
                    <a:pt x="530" y="354"/>
                  </a:lnTo>
                  <a:lnTo>
                    <a:pt x="532" y="350"/>
                  </a:lnTo>
                  <a:lnTo>
                    <a:pt x="536" y="342"/>
                  </a:lnTo>
                  <a:lnTo>
                    <a:pt x="538" y="336"/>
                  </a:lnTo>
                  <a:lnTo>
                    <a:pt x="540" y="334"/>
                  </a:lnTo>
                  <a:lnTo>
                    <a:pt x="550" y="334"/>
                  </a:lnTo>
                  <a:lnTo>
                    <a:pt x="556" y="334"/>
                  </a:lnTo>
                  <a:lnTo>
                    <a:pt x="562" y="336"/>
                  </a:lnTo>
                  <a:lnTo>
                    <a:pt x="564" y="340"/>
                  </a:lnTo>
                  <a:lnTo>
                    <a:pt x="568" y="344"/>
                  </a:lnTo>
                  <a:lnTo>
                    <a:pt x="582" y="346"/>
                  </a:lnTo>
                  <a:lnTo>
                    <a:pt x="588" y="346"/>
                  </a:lnTo>
                  <a:lnTo>
                    <a:pt x="594" y="342"/>
                  </a:lnTo>
                  <a:lnTo>
                    <a:pt x="606" y="334"/>
                  </a:lnTo>
                  <a:lnTo>
                    <a:pt x="608" y="326"/>
                  </a:lnTo>
                  <a:lnTo>
                    <a:pt x="616" y="322"/>
                  </a:lnTo>
                  <a:lnTo>
                    <a:pt x="620" y="320"/>
                  </a:lnTo>
                  <a:lnTo>
                    <a:pt x="624" y="320"/>
                  </a:lnTo>
                  <a:lnTo>
                    <a:pt x="624" y="316"/>
                  </a:lnTo>
                  <a:lnTo>
                    <a:pt x="624" y="310"/>
                  </a:lnTo>
                  <a:lnTo>
                    <a:pt x="622" y="308"/>
                  </a:lnTo>
                  <a:lnTo>
                    <a:pt x="608" y="296"/>
                  </a:lnTo>
                  <a:lnTo>
                    <a:pt x="606" y="292"/>
                  </a:lnTo>
                  <a:lnTo>
                    <a:pt x="606" y="288"/>
                  </a:lnTo>
                  <a:lnTo>
                    <a:pt x="608" y="284"/>
                  </a:lnTo>
                  <a:lnTo>
                    <a:pt x="608" y="280"/>
                  </a:lnTo>
                  <a:lnTo>
                    <a:pt x="592" y="270"/>
                  </a:lnTo>
                  <a:lnTo>
                    <a:pt x="578" y="268"/>
                  </a:lnTo>
                  <a:lnTo>
                    <a:pt x="566" y="270"/>
                  </a:lnTo>
                  <a:lnTo>
                    <a:pt x="562" y="268"/>
                  </a:lnTo>
                  <a:lnTo>
                    <a:pt x="564" y="262"/>
                  </a:lnTo>
                  <a:lnTo>
                    <a:pt x="566" y="254"/>
                  </a:lnTo>
                  <a:lnTo>
                    <a:pt x="568" y="246"/>
                  </a:lnTo>
                  <a:lnTo>
                    <a:pt x="566" y="242"/>
                  </a:lnTo>
                  <a:lnTo>
                    <a:pt x="564" y="240"/>
                  </a:lnTo>
                  <a:lnTo>
                    <a:pt x="554" y="234"/>
                  </a:lnTo>
                  <a:lnTo>
                    <a:pt x="538" y="224"/>
                  </a:lnTo>
                  <a:lnTo>
                    <a:pt x="532" y="214"/>
                  </a:lnTo>
                  <a:lnTo>
                    <a:pt x="528" y="202"/>
                  </a:lnTo>
                  <a:lnTo>
                    <a:pt x="524" y="196"/>
                  </a:lnTo>
                  <a:lnTo>
                    <a:pt x="518" y="190"/>
                  </a:lnTo>
                  <a:lnTo>
                    <a:pt x="518" y="188"/>
                  </a:lnTo>
                  <a:lnTo>
                    <a:pt x="522" y="178"/>
                  </a:lnTo>
                  <a:lnTo>
                    <a:pt x="522" y="176"/>
                  </a:lnTo>
                  <a:lnTo>
                    <a:pt x="520" y="174"/>
                  </a:lnTo>
                  <a:lnTo>
                    <a:pt x="512" y="168"/>
                  </a:lnTo>
                  <a:lnTo>
                    <a:pt x="500" y="158"/>
                  </a:lnTo>
                  <a:lnTo>
                    <a:pt x="498" y="156"/>
                  </a:lnTo>
                  <a:lnTo>
                    <a:pt x="500" y="150"/>
                  </a:lnTo>
                  <a:lnTo>
                    <a:pt x="502" y="142"/>
                  </a:lnTo>
                  <a:lnTo>
                    <a:pt x="504" y="140"/>
                  </a:lnTo>
                  <a:lnTo>
                    <a:pt x="510" y="128"/>
                  </a:lnTo>
                  <a:lnTo>
                    <a:pt x="510" y="122"/>
                  </a:lnTo>
                  <a:lnTo>
                    <a:pt x="510" y="118"/>
                  </a:lnTo>
                  <a:lnTo>
                    <a:pt x="504" y="108"/>
                  </a:lnTo>
                  <a:lnTo>
                    <a:pt x="500" y="102"/>
                  </a:lnTo>
                  <a:lnTo>
                    <a:pt x="500" y="98"/>
                  </a:lnTo>
                  <a:lnTo>
                    <a:pt x="500" y="96"/>
                  </a:lnTo>
                  <a:lnTo>
                    <a:pt x="504" y="92"/>
                  </a:lnTo>
                  <a:lnTo>
                    <a:pt x="506" y="88"/>
                  </a:lnTo>
                  <a:lnTo>
                    <a:pt x="506" y="72"/>
                  </a:lnTo>
                  <a:lnTo>
                    <a:pt x="506" y="68"/>
                  </a:lnTo>
                  <a:lnTo>
                    <a:pt x="504" y="64"/>
                  </a:lnTo>
                  <a:lnTo>
                    <a:pt x="502" y="64"/>
                  </a:lnTo>
                  <a:lnTo>
                    <a:pt x="500" y="64"/>
                  </a:lnTo>
                  <a:lnTo>
                    <a:pt x="494" y="62"/>
                  </a:lnTo>
                  <a:lnTo>
                    <a:pt x="490" y="58"/>
                  </a:lnTo>
                  <a:lnTo>
                    <a:pt x="488" y="56"/>
                  </a:lnTo>
                  <a:lnTo>
                    <a:pt x="486" y="52"/>
                  </a:lnTo>
                  <a:lnTo>
                    <a:pt x="478" y="44"/>
                  </a:lnTo>
                  <a:lnTo>
                    <a:pt x="476" y="42"/>
                  </a:lnTo>
                  <a:lnTo>
                    <a:pt x="462" y="36"/>
                  </a:lnTo>
                  <a:lnTo>
                    <a:pt x="450" y="36"/>
                  </a:lnTo>
                  <a:lnTo>
                    <a:pt x="442" y="36"/>
                  </a:lnTo>
                  <a:lnTo>
                    <a:pt x="440" y="36"/>
                  </a:lnTo>
                  <a:lnTo>
                    <a:pt x="436" y="42"/>
                  </a:lnTo>
                  <a:lnTo>
                    <a:pt x="430" y="44"/>
                  </a:lnTo>
                  <a:lnTo>
                    <a:pt x="426" y="44"/>
                  </a:lnTo>
                  <a:lnTo>
                    <a:pt x="422" y="46"/>
                  </a:lnTo>
                  <a:lnTo>
                    <a:pt x="412" y="54"/>
                  </a:lnTo>
                  <a:lnTo>
                    <a:pt x="408" y="50"/>
                  </a:lnTo>
                  <a:lnTo>
                    <a:pt x="404" y="42"/>
                  </a:lnTo>
                  <a:lnTo>
                    <a:pt x="406" y="36"/>
                  </a:lnTo>
                  <a:lnTo>
                    <a:pt x="408" y="32"/>
                  </a:lnTo>
                  <a:lnTo>
                    <a:pt x="408" y="28"/>
                  </a:lnTo>
                  <a:lnTo>
                    <a:pt x="406" y="24"/>
                  </a:lnTo>
                  <a:lnTo>
                    <a:pt x="400" y="22"/>
                  </a:lnTo>
                  <a:lnTo>
                    <a:pt x="386" y="14"/>
                  </a:lnTo>
                  <a:lnTo>
                    <a:pt x="384" y="14"/>
                  </a:lnTo>
                  <a:lnTo>
                    <a:pt x="378" y="18"/>
                  </a:lnTo>
                  <a:lnTo>
                    <a:pt x="368" y="24"/>
                  </a:lnTo>
                  <a:lnTo>
                    <a:pt x="364" y="22"/>
                  </a:lnTo>
                  <a:lnTo>
                    <a:pt x="360" y="18"/>
                  </a:lnTo>
                  <a:lnTo>
                    <a:pt x="358" y="10"/>
                  </a:lnTo>
                  <a:lnTo>
                    <a:pt x="352" y="6"/>
                  </a:lnTo>
                  <a:lnTo>
                    <a:pt x="342" y="6"/>
                  </a:lnTo>
                  <a:lnTo>
                    <a:pt x="342" y="8"/>
                  </a:lnTo>
                  <a:lnTo>
                    <a:pt x="336" y="12"/>
                  </a:lnTo>
                  <a:lnTo>
                    <a:pt x="334" y="10"/>
                  </a:lnTo>
                  <a:lnTo>
                    <a:pt x="32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 name="Google Shape;4515;p64">
              <a:extLst>
                <a:ext uri="{FF2B5EF4-FFF2-40B4-BE49-F238E27FC236}">
                  <a16:creationId xmlns:a16="http://schemas.microsoft.com/office/drawing/2014/main" id="{A8802242-FA2E-6C53-5907-4847F4F43CDA}"/>
                </a:ext>
              </a:extLst>
            </p:cNvPr>
            <p:cNvSpPr/>
            <p:nvPr/>
          </p:nvSpPr>
          <p:spPr>
            <a:xfrm>
              <a:off x="5023766" y="3523243"/>
              <a:ext cx="204770" cy="177862"/>
            </a:xfrm>
            <a:custGeom>
              <a:avLst/>
              <a:gdLst/>
              <a:ahLst/>
              <a:cxnLst/>
              <a:rect l="l" t="t" r="r" b="b"/>
              <a:pathLst>
                <a:path w="624" h="542" extrusionOk="0">
                  <a:moveTo>
                    <a:pt x="326" y="0"/>
                  </a:moveTo>
                  <a:lnTo>
                    <a:pt x="324" y="0"/>
                  </a:lnTo>
                  <a:lnTo>
                    <a:pt x="318" y="2"/>
                  </a:lnTo>
                  <a:lnTo>
                    <a:pt x="308" y="8"/>
                  </a:lnTo>
                  <a:lnTo>
                    <a:pt x="296" y="24"/>
                  </a:lnTo>
                  <a:lnTo>
                    <a:pt x="292" y="28"/>
                  </a:lnTo>
                  <a:lnTo>
                    <a:pt x="288" y="40"/>
                  </a:lnTo>
                  <a:lnTo>
                    <a:pt x="288" y="40"/>
                  </a:lnTo>
                  <a:lnTo>
                    <a:pt x="280" y="40"/>
                  </a:lnTo>
                  <a:lnTo>
                    <a:pt x="278" y="40"/>
                  </a:lnTo>
                  <a:lnTo>
                    <a:pt x="270" y="40"/>
                  </a:lnTo>
                  <a:lnTo>
                    <a:pt x="254" y="38"/>
                  </a:lnTo>
                  <a:lnTo>
                    <a:pt x="246" y="40"/>
                  </a:lnTo>
                  <a:lnTo>
                    <a:pt x="238" y="52"/>
                  </a:lnTo>
                  <a:lnTo>
                    <a:pt x="236" y="54"/>
                  </a:lnTo>
                  <a:lnTo>
                    <a:pt x="226" y="54"/>
                  </a:lnTo>
                  <a:lnTo>
                    <a:pt x="224" y="56"/>
                  </a:lnTo>
                  <a:lnTo>
                    <a:pt x="224" y="62"/>
                  </a:lnTo>
                  <a:lnTo>
                    <a:pt x="222" y="70"/>
                  </a:lnTo>
                  <a:lnTo>
                    <a:pt x="218" y="82"/>
                  </a:lnTo>
                  <a:lnTo>
                    <a:pt x="216" y="90"/>
                  </a:lnTo>
                  <a:lnTo>
                    <a:pt x="214" y="94"/>
                  </a:lnTo>
                  <a:lnTo>
                    <a:pt x="218" y="96"/>
                  </a:lnTo>
                  <a:lnTo>
                    <a:pt x="230" y="98"/>
                  </a:lnTo>
                  <a:lnTo>
                    <a:pt x="234" y="100"/>
                  </a:lnTo>
                  <a:lnTo>
                    <a:pt x="236" y="102"/>
                  </a:lnTo>
                  <a:lnTo>
                    <a:pt x="232" y="104"/>
                  </a:lnTo>
                  <a:lnTo>
                    <a:pt x="228" y="108"/>
                  </a:lnTo>
                  <a:lnTo>
                    <a:pt x="228" y="110"/>
                  </a:lnTo>
                  <a:lnTo>
                    <a:pt x="224" y="118"/>
                  </a:lnTo>
                  <a:lnTo>
                    <a:pt x="204" y="118"/>
                  </a:lnTo>
                  <a:lnTo>
                    <a:pt x="202" y="118"/>
                  </a:lnTo>
                  <a:lnTo>
                    <a:pt x="200" y="122"/>
                  </a:lnTo>
                  <a:lnTo>
                    <a:pt x="198" y="128"/>
                  </a:lnTo>
                  <a:lnTo>
                    <a:pt x="196" y="132"/>
                  </a:lnTo>
                  <a:lnTo>
                    <a:pt x="190" y="138"/>
                  </a:lnTo>
                  <a:lnTo>
                    <a:pt x="182" y="138"/>
                  </a:lnTo>
                  <a:lnTo>
                    <a:pt x="176" y="142"/>
                  </a:lnTo>
                  <a:lnTo>
                    <a:pt x="170" y="152"/>
                  </a:lnTo>
                  <a:lnTo>
                    <a:pt x="166" y="166"/>
                  </a:lnTo>
                  <a:lnTo>
                    <a:pt x="166" y="174"/>
                  </a:lnTo>
                  <a:lnTo>
                    <a:pt x="166" y="180"/>
                  </a:lnTo>
                  <a:lnTo>
                    <a:pt x="166" y="182"/>
                  </a:lnTo>
                  <a:lnTo>
                    <a:pt x="164" y="186"/>
                  </a:lnTo>
                  <a:lnTo>
                    <a:pt x="160" y="194"/>
                  </a:lnTo>
                  <a:lnTo>
                    <a:pt x="156" y="204"/>
                  </a:lnTo>
                  <a:lnTo>
                    <a:pt x="154" y="208"/>
                  </a:lnTo>
                  <a:lnTo>
                    <a:pt x="156" y="212"/>
                  </a:lnTo>
                  <a:lnTo>
                    <a:pt x="160" y="212"/>
                  </a:lnTo>
                  <a:lnTo>
                    <a:pt x="166" y="214"/>
                  </a:lnTo>
                  <a:lnTo>
                    <a:pt x="168" y="216"/>
                  </a:lnTo>
                  <a:lnTo>
                    <a:pt x="170" y="222"/>
                  </a:lnTo>
                  <a:lnTo>
                    <a:pt x="170" y="226"/>
                  </a:lnTo>
                  <a:lnTo>
                    <a:pt x="168" y="228"/>
                  </a:lnTo>
                  <a:lnTo>
                    <a:pt x="164" y="230"/>
                  </a:lnTo>
                  <a:lnTo>
                    <a:pt x="156" y="230"/>
                  </a:lnTo>
                  <a:lnTo>
                    <a:pt x="152" y="228"/>
                  </a:lnTo>
                  <a:lnTo>
                    <a:pt x="152" y="226"/>
                  </a:lnTo>
                  <a:lnTo>
                    <a:pt x="154" y="222"/>
                  </a:lnTo>
                  <a:lnTo>
                    <a:pt x="152" y="216"/>
                  </a:lnTo>
                  <a:lnTo>
                    <a:pt x="150" y="214"/>
                  </a:lnTo>
                  <a:lnTo>
                    <a:pt x="144" y="218"/>
                  </a:lnTo>
                  <a:lnTo>
                    <a:pt x="138" y="218"/>
                  </a:lnTo>
                  <a:lnTo>
                    <a:pt x="130" y="222"/>
                  </a:lnTo>
                  <a:lnTo>
                    <a:pt x="126" y="228"/>
                  </a:lnTo>
                  <a:lnTo>
                    <a:pt x="122" y="230"/>
                  </a:lnTo>
                  <a:lnTo>
                    <a:pt x="110" y="230"/>
                  </a:lnTo>
                  <a:lnTo>
                    <a:pt x="108" y="232"/>
                  </a:lnTo>
                  <a:lnTo>
                    <a:pt x="106" y="246"/>
                  </a:lnTo>
                  <a:lnTo>
                    <a:pt x="104" y="248"/>
                  </a:lnTo>
                  <a:lnTo>
                    <a:pt x="94" y="248"/>
                  </a:lnTo>
                  <a:lnTo>
                    <a:pt x="84" y="254"/>
                  </a:lnTo>
                  <a:lnTo>
                    <a:pt x="74" y="258"/>
                  </a:lnTo>
                  <a:lnTo>
                    <a:pt x="70" y="256"/>
                  </a:lnTo>
                  <a:lnTo>
                    <a:pt x="66" y="252"/>
                  </a:lnTo>
                  <a:lnTo>
                    <a:pt x="60" y="252"/>
                  </a:lnTo>
                  <a:lnTo>
                    <a:pt x="54" y="254"/>
                  </a:lnTo>
                  <a:lnTo>
                    <a:pt x="50" y="252"/>
                  </a:lnTo>
                  <a:lnTo>
                    <a:pt x="46" y="254"/>
                  </a:lnTo>
                  <a:lnTo>
                    <a:pt x="36" y="256"/>
                  </a:lnTo>
                  <a:lnTo>
                    <a:pt x="24" y="256"/>
                  </a:lnTo>
                  <a:lnTo>
                    <a:pt x="20" y="252"/>
                  </a:lnTo>
                  <a:lnTo>
                    <a:pt x="28" y="290"/>
                  </a:lnTo>
                  <a:lnTo>
                    <a:pt x="40" y="326"/>
                  </a:lnTo>
                  <a:lnTo>
                    <a:pt x="44" y="344"/>
                  </a:lnTo>
                  <a:lnTo>
                    <a:pt x="46" y="354"/>
                  </a:lnTo>
                  <a:lnTo>
                    <a:pt x="48" y="366"/>
                  </a:lnTo>
                  <a:lnTo>
                    <a:pt x="48" y="376"/>
                  </a:lnTo>
                  <a:lnTo>
                    <a:pt x="48" y="382"/>
                  </a:lnTo>
                  <a:lnTo>
                    <a:pt x="48" y="388"/>
                  </a:lnTo>
                  <a:lnTo>
                    <a:pt x="44" y="392"/>
                  </a:lnTo>
                  <a:lnTo>
                    <a:pt x="20" y="404"/>
                  </a:lnTo>
                  <a:lnTo>
                    <a:pt x="14" y="408"/>
                  </a:lnTo>
                  <a:lnTo>
                    <a:pt x="8" y="418"/>
                  </a:lnTo>
                  <a:lnTo>
                    <a:pt x="2" y="428"/>
                  </a:lnTo>
                  <a:lnTo>
                    <a:pt x="0" y="432"/>
                  </a:lnTo>
                  <a:lnTo>
                    <a:pt x="0" y="434"/>
                  </a:lnTo>
                  <a:lnTo>
                    <a:pt x="0" y="436"/>
                  </a:lnTo>
                  <a:lnTo>
                    <a:pt x="10" y="442"/>
                  </a:lnTo>
                  <a:lnTo>
                    <a:pt x="18" y="446"/>
                  </a:lnTo>
                  <a:lnTo>
                    <a:pt x="20" y="448"/>
                  </a:lnTo>
                  <a:lnTo>
                    <a:pt x="26" y="452"/>
                  </a:lnTo>
                  <a:lnTo>
                    <a:pt x="30" y="456"/>
                  </a:lnTo>
                  <a:lnTo>
                    <a:pt x="30" y="460"/>
                  </a:lnTo>
                  <a:lnTo>
                    <a:pt x="30" y="466"/>
                  </a:lnTo>
                  <a:lnTo>
                    <a:pt x="28" y="476"/>
                  </a:lnTo>
                  <a:lnTo>
                    <a:pt x="30" y="484"/>
                  </a:lnTo>
                  <a:lnTo>
                    <a:pt x="26" y="490"/>
                  </a:lnTo>
                  <a:lnTo>
                    <a:pt x="24" y="494"/>
                  </a:lnTo>
                  <a:lnTo>
                    <a:pt x="24" y="504"/>
                  </a:lnTo>
                  <a:lnTo>
                    <a:pt x="28" y="514"/>
                  </a:lnTo>
                  <a:lnTo>
                    <a:pt x="28" y="514"/>
                  </a:lnTo>
                  <a:lnTo>
                    <a:pt x="28" y="506"/>
                  </a:lnTo>
                  <a:lnTo>
                    <a:pt x="30" y="504"/>
                  </a:lnTo>
                  <a:lnTo>
                    <a:pt x="34" y="502"/>
                  </a:lnTo>
                  <a:lnTo>
                    <a:pt x="40" y="502"/>
                  </a:lnTo>
                  <a:lnTo>
                    <a:pt x="44" y="504"/>
                  </a:lnTo>
                  <a:lnTo>
                    <a:pt x="50" y="508"/>
                  </a:lnTo>
                  <a:lnTo>
                    <a:pt x="52" y="508"/>
                  </a:lnTo>
                  <a:lnTo>
                    <a:pt x="62" y="500"/>
                  </a:lnTo>
                  <a:lnTo>
                    <a:pt x="72" y="488"/>
                  </a:lnTo>
                  <a:lnTo>
                    <a:pt x="74" y="482"/>
                  </a:lnTo>
                  <a:lnTo>
                    <a:pt x="78" y="478"/>
                  </a:lnTo>
                  <a:lnTo>
                    <a:pt x="86" y="476"/>
                  </a:lnTo>
                  <a:lnTo>
                    <a:pt x="94" y="476"/>
                  </a:lnTo>
                  <a:lnTo>
                    <a:pt x="98" y="476"/>
                  </a:lnTo>
                  <a:lnTo>
                    <a:pt x="110" y="474"/>
                  </a:lnTo>
                  <a:lnTo>
                    <a:pt x="118" y="474"/>
                  </a:lnTo>
                  <a:lnTo>
                    <a:pt x="124" y="472"/>
                  </a:lnTo>
                  <a:lnTo>
                    <a:pt x="136" y="470"/>
                  </a:lnTo>
                  <a:lnTo>
                    <a:pt x="156" y="472"/>
                  </a:lnTo>
                  <a:lnTo>
                    <a:pt x="170" y="472"/>
                  </a:lnTo>
                  <a:lnTo>
                    <a:pt x="180" y="474"/>
                  </a:lnTo>
                  <a:lnTo>
                    <a:pt x="202" y="480"/>
                  </a:lnTo>
                  <a:lnTo>
                    <a:pt x="210" y="480"/>
                  </a:lnTo>
                  <a:lnTo>
                    <a:pt x="214" y="484"/>
                  </a:lnTo>
                  <a:lnTo>
                    <a:pt x="222" y="486"/>
                  </a:lnTo>
                  <a:lnTo>
                    <a:pt x="236" y="488"/>
                  </a:lnTo>
                  <a:lnTo>
                    <a:pt x="246" y="490"/>
                  </a:lnTo>
                  <a:lnTo>
                    <a:pt x="254" y="490"/>
                  </a:lnTo>
                  <a:lnTo>
                    <a:pt x="260" y="490"/>
                  </a:lnTo>
                  <a:lnTo>
                    <a:pt x="268" y="504"/>
                  </a:lnTo>
                  <a:lnTo>
                    <a:pt x="270" y="506"/>
                  </a:lnTo>
                  <a:lnTo>
                    <a:pt x="272" y="506"/>
                  </a:lnTo>
                  <a:lnTo>
                    <a:pt x="280" y="506"/>
                  </a:lnTo>
                  <a:lnTo>
                    <a:pt x="290" y="506"/>
                  </a:lnTo>
                  <a:lnTo>
                    <a:pt x="296" y="510"/>
                  </a:lnTo>
                  <a:lnTo>
                    <a:pt x="294" y="518"/>
                  </a:lnTo>
                  <a:lnTo>
                    <a:pt x="296" y="520"/>
                  </a:lnTo>
                  <a:lnTo>
                    <a:pt x="298" y="518"/>
                  </a:lnTo>
                  <a:lnTo>
                    <a:pt x="302" y="514"/>
                  </a:lnTo>
                  <a:lnTo>
                    <a:pt x="304" y="508"/>
                  </a:lnTo>
                  <a:lnTo>
                    <a:pt x="306" y="508"/>
                  </a:lnTo>
                  <a:lnTo>
                    <a:pt x="316" y="510"/>
                  </a:lnTo>
                  <a:lnTo>
                    <a:pt x="320" y="510"/>
                  </a:lnTo>
                  <a:lnTo>
                    <a:pt x="326" y="506"/>
                  </a:lnTo>
                  <a:lnTo>
                    <a:pt x="328" y="506"/>
                  </a:lnTo>
                  <a:lnTo>
                    <a:pt x="334" y="508"/>
                  </a:lnTo>
                  <a:lnTo>
                    <a:pt x="344" y="510"/>
                  </a:lnTo>
                  <a:lnTo>
                    <a:pt x="350" y="510"/>
                  </a:lnTo>
                  <a:lnTo>
                    <a:pt x="354" y="512"/>
                  </a:lnTo>
                  <a:lnTo>
                    <a:pt x="358" y="522"/>
                  </a:lnTo>
                  <a:lnTo>
                    <a:pt x="360" y="524"/>
                  </a:lnTo>
                  <a:lnTo>
                    <a:pt x="364" y="524"/>
                  </a:lnTo>
                  <a:lnTo>
                    <a:pt x="368" y="516"/>
                  </a:lnTo>
                  <a:lnTo>
                    <a:pt x="372" y="512"/>
                  </a:lnTo>
                  <a:lnTo>
                    <a:pt x="376" y="510"/>
                  </a:lnTo>
                  <a:lnTo>
                    <a:pt x="380" y="510"/>
                  </a:lnTo>
                  <a:lnTo>
                    <a:pt x="382" y="506"/>
                  </a:lnTo>
                  <a:lnTo>
                    <a:pt x="386" y="504"/>
                  </a:lnTo>
                  <a:lnTo>
                    <a:pt x="388" y="504"/>
                  </a:lnTo>
                  <a:lnTo>
                    <a:pt x="390" y="504"/>
                  </a:lnTo>
                  <a:lnTo>
                    <a:pt x="392" y="508"/>
                  </a:lnTo>
                  <a:lnTo>
                    <a:pt x="396" y="518"/>
                  </a:lnTo>
                  <a:lnTo>
                    <a:pt x="400" y="526"/>
                  </a:lnTo>
                  <a:lnTo>
                    <a:pt x="404" y="530"/>
                  </a:lnTo>
                  <a:lnTo>
                    <a:pt x="412" y="526"/>
                  </a:lnTo>
                  <a:lnTo>
                    <a:pt x="418" y="524"/>
                  </a:lnTo>
                  <a:lnTo>
                    <a:pt x="428" y="524"/>
                  </a:lnTo>
                  <a:lnTo>
                    <a:pt x="440" y="522"/>
                  </a:lnTo>
                  <a:lnTo>
                    <a:pt x="450" y="518"/>
                  </a:lnTo>
                  <a:lnTo>
                    <a:pt x="458" y="520"/>
                  </a:lnTo>
                  <a:lnTo>
                    <a:pt x="462" y="522"/>
                  </a:lnTo>
                  <a:lnTo>
                    <a:pt x="468" y="528"/>
                  </a:lnTo>
                  <a:lnTo>
                    <a:pt x="468" y="536"/>
                  </a:lnTo>
                  <a:lnTo>
                    <a:pt x="476" y="540"/>
                  </a:lnTo>
                  <a:lnTo>
                    <a:pt x="482" y="542"/>
                  </a:lnTo>
                  <a:lnTo>
                    <a:pt x="484" y="536"/>
                  </a:lnTo>
                  <a:lnTo>
                    <a:pt x="488" y="532"/>
                  </a:lnTo>
                  <a:lnTo>
                    <a:pt x="488" y="526"/>
                  </a:lnTo>
                  <a:lnTo>
                    <a:pt x="486" y="520"/>
                  </a:lnTo>
                  <a:lnTo>
                    <a:pt x="484" y="514"/>
                  </a:lnTo>
                  <a:lnTo>
                    <a:pt x="482" y="506"/>
                  </a:lnTo>
                  <a:lnTo>
                    <a:pt x="486" y="496"/>
                  </a:lnTo>
                  <a:lnTo>
                    <a:pt x="488" y="488"/>
                  </a:lnTo>
                  <a:lnTo>
                    <a:pt x="490" y="484"/>
                  </a:lnTo>
                  <a:lnTo>
                    <a:pt x="496" y="474"/>
                  </a:lnTo>
                  <a:lnTo>
                    <a:pt x="502" y="468"/>
                  </a:lnTo>
                  <a:lnTo>
                    <a:pt x="510" y="458"/>
                  </a:lnTo>
                  <a:lnTo>
                    <a:pt x="518" y="456"/>
                  </a:lnTo>
                  <a:lnTo>
                    <a:pt x="524" y="458"/>
                  </a:lnTo>
                  <a:lnTo>
                    <a:pt x="526" y="458"/>
                  </a:lnTo>
                  <a:lnTo>
                    <a:pt x="534" y="452"/>
                  </a:lnTo>
                  <a:lnTo>
                    <a:pt x="550" y="452"/>
                  </a:lnTo>
                  <a:lnTo>
                    <a:pt x="562" y="454"/>
                  </a:lnTo>
                  <a:lnTo>
                    <a:pt x="562" y="450"/>
                  </a:lnTo>
                  <a:lnTo>
                    <a:pt x="558" y="440"/>
                  </a:lnTo>
                  <a:lnTo>
                    <a:pt x="556" y="436"/>
                  </a:lnTo>
                  <a:lnTo>
                    <a:pt x="552" y="434"/>
                  </a:lnTo>
                  <a:lnTo>
                    <a:pt x="550" y="430"/>
                  </a:lnTo>
                  <a:lnTo>
                    <a:pt x="550" y="418"/>
                  </a:lnTo>
                  <a:lnTo>
                    <a:pt x="550" y="406"/>
                  </a:lnTo>
                  <a:lnTo>
                    <a:pt x="552" y="406"/>
                  </a:lnTo>
                  <a:lnTo>
                    <a:pt x="546" y="396"/>
                  </a:lnTo>
                  <a:lnTo>
                    <a:pt x="546" y="388"/>
                  </a:lnTo>
                  <a:lnTo>
                    <a:pt x="550" y="386"/>
                  </a:lnTo>
                  <a:lnTo>
                    <a:pt x="550" y="382"/>
                  </a:lnTo>
                  <a:lnTo>
                    <a:pt x="548" y="378"/>
                  </a:lnTo>
                  <a:lnTo>
                    <a:pt x="542" y="372"/>
                  </a:lnTo>
                  <a:lnTo>
                    <a:pt x="536" y="364"/>
                  </a:lnTo>
                  <a:lnTo>
                    <a:pt x="532" y="358"/>
                  </a:lnTo>
                  <a:lnTo>
                    <a:pt x="530" y="354"/>
                  </a:lnTo>
                  <a:lnTo>
                    <a:pt x="532" y="350"/>
                  </a:lnTo>
                  <a:lnTo>
                    <a:pt x="536" y="342"/>
                  </a:lnTo>
                  <a:lnTo>
                    <a:pt x="538" y="336"/>
                  </a:lnTo>
                  <a:lnTo>
                    <a:pt x="540" y="334"/>
                  </a:lnTo>
                  <a:lnTo>
                    <a:pt x="550" y="334"/>
                  </a:lnTo>
                  <a:lnTo>
                    <a:pt x="556" y="334"/>
                  </a:lnTo>
                  <a:lnTo>
                    <a:pt x="562" y="336"/>
                  </a:lnTo>
                  <a:lnTo>
                    <a:pt x="564" y="340"/>
                  </a:lnTo>
                  <a:lnTo>
                    <a:pt x="568" y="344"/>
                  </a:lnTo>
                  <a:lnTo>
                    <a:pt x="582" y="346"/>
                  </a:lnTo>
                  <a:lnTo>
                    <a:pt x="588" y="346"/>
                  </a:lnTo>
                  <a:lnTo>
                    <a:pt x="594" y="342"/>
                  </a:lnTo>
                  <a:lnTo>
                    <a:pt x="606" y="334"/>
                  </a:lnTo>
                  <a:lnTo>
                    <a:pt x="608" y="326"/>
                  </a:lnTo>
                  <a:lnTo>
                    <a:pt x="616" y="322"/>
                  </a:lnTo>
                  <a:lnTo>
                    <a:pt x="620" y="320"/>
                  </a:lnTo>
                  <a:lnTo>
                    <a:pt x="624" y="320"/>
                  </a:lnTo>
                  <a:lnTo>
                    <a:pt x="624" y="316"/>
                  </a:lnTo>
                  <a:lnTo>
                    <a:pt x="624" y="310"/>
                  </a:lnTo>
                  <a:lnTo>
                    <a:pt x="622" y="308"/>
                  </a:lnTo>
                  <a:lnTo>
                    <a:pt x="608" y="296"/>
                  </a:lnTo>
                  <a:lnTo>
                    <a:pt x="606" y="292"/>
                  </a:lnTo>
                  <a:lnTo>
                    <a:pt x="606" y="288"/>
                  </a:lnTo>
                  <a:lnTo>
                    <a:pt x="608" y="284"/>
                  </a:lnTo>
                  <a:lnTo>
                    <a:pt x="608" y="280"/>
                  </a:lnTo>
                  <a:lnTo>
                    <a:pt x="592" y="270"/>
                  </a:lnTo>
                  <a:lnTo>
                    <a:pt x="578" y="268"/>
                  </a:lnTo>
                  <a:lnTo>
                    <a:pt x="566" y="270"/>
                  </a:lnTo>
                  <a:lnTo>
                    <a:pt x="562" y="268"/>
                  </a:lnTo>
                  <a:lnTo>
                    <a:pt x="564" y="262"/>
                  </a:lnTo>
                  <a:lnTo>
                    <a:pt x="566" y="254"/>
                  </a:lnTo>
                  <a:lnTo>
                    <a:pt x="568" y="246"/>
                  </a:lnTo>
                  <a:lnTo>
                    <a:pt x="566" y="242"/>
                  </a:lnTo>
                  <a:lnTo>
                    <a:pt x="564" y="240"/>
                  </a:lnTo>
                  <a:lnTo>
                    <a:pt x="554" y="234"/>
                  </a:lnTo>
                  <a:lnTo>
                    <a:pt x="538" y="224"/>
                  </a:lnTo>
                  <a:lnTo>
                    <a:pt x="532" y="214"/>
                  </a:lnTo>
                  <a:lnTo>
                    <a:pt x="528" y="202"/>
                  </a:lnTo>
                  <a:lnTo>
                    <a:pt x="524" y="196"/>
                  </a:lnTo>
                  <a:lnTo>
                    <a:pt x="518" y="190"/>
                  </a:lnTo>
                  <a:lnTo>
                    <a:pt x="518" y="188"/>
                  </a:lnTo>
                  <a:lnTo>
                    <a:pt x="522" y="178"/>
                  </a:lnTo>
                  <a:lnTo>
                    <a:pt x="522" y="176"/>
                  </a:lnTo>
                  <a:lnTo>
                    <a:pt x="520" y="174"/>
                  </a:lnTo>
                  <a:lnTo>
                    <a:pt x="512" y="168"/>
                  </a:lnTo>
                  <a:lnTo>
                    <a:pt x="500" y="158"/>
                  </a:lnTo>
                  <a:lnTo>
                    <a:pt x="498" y="156"/>
                  </a:lnTo>
                  <a:lnTo>
                    <a:pt x="500" y="150"/>
                  </a:lnTo>
                  <a:lnTo>
                    <a:pt x="502" y="142"/>
                  </a:lnTo>
                  <a:lnTo>
                    <a:pt x="504" y="140"/>
                  </a:lnTo>
                  <a:lnTo>
                    <a:pt x="510" y="128"/>
                  </a:lnTo>
                  <a:lnTo>
                    <a:pt x="510" y="124"/>
                  </a:lnTo>
                  <a:lnTo>
                    <a:pt x="510" y="118"/>
                  </a:lnTo>
                  <a:lnTo>
                    <a:pt x="504" y="108"/>
                  </a:lnTo>
                  <a:lnTo>
                    <a:pt x="500" y="102"/>
                  </a:lnTo>
                  <a:lnTo>
                    <a:pt x="500" y="98"/>
                  </a:lnTo>
                  <a:lnTo>
                    <a:pt x="500" y="96"/>
                  </a:lnTo>
                  <a:lnTo>
                    <a:pt x="504" y="92"/>
                  </a:lnTo>
                  <a:lnTo>
                    <a:pt x="506" y="88"/>
                  </a:lnTo>
                  <a:lnTo>
                    <a:pt x="506" y="72"/>
                  </a:lnTo>
                  <a:lnTo>
                    <a:pt x="506" y="68"/>
                  </a:lnTo>
                  <a:lnTo>
                    <a:pt x="504" y="64"/>
                  </a:lnTo>
                  <a:lnTo>
                    <a:pt x="502" y="64"/>
                  </a:lnTo>
                  <a:lnTo>
                    <a:pt x="500" y="64"/>
                  </a:lnTo>
                  <a:lnTo>
                    <a:pt x="494" y="62"/>
                  </a:lnTo>
                  <a:lnTo>
                    <a:pt x="490" y="58"/>
                  </a:lnTo>
                  <a:lnTo>
                    <a:pt x="488" y="56"/>
                  </a:lnTo>
                  <a:lnTo>
                    <a:pt x="486" y="52"/>
                  </a:lnTo>
                  <a:lnTo>
                    <a:pt x="478" y="44"/>
                  </a:lnTo>
                  <a:lnTo>
                    <a:pt x="476" y="42"/>
                  </a:lnTo>
                  <a:lnTo>
                    <a:pt x="462" y="36"/>
                  </a:lnTo>
                  <a:lnTo>
                    <a:pt x="450" y="36"/>
                  </a:lnTo>
                  <a:lnTo>
                    <a:pt x="442" y="36"/>
                  </a:lnTo>
                  <a:lnTo>
                    <a:pt x="440" y="36"/>
                  </a:lnTo>
                  <a:lnTo>
                    <a:pt x="436" y="42"/>
                  </a:lnTo>
                  <a:lnTo>
                    <a:pt x="430" y="44"/>
                  </a:lnTo>
                  <a:lnTo>
                    <a:pt x="426" y="44"/>
                  </a:lnTo>
                  <a:lnTo>
                    <a:pt x="422" y="46"/>
                  </a:lnTo>
                  <a:lnTo>
                    <a:pt x="412" y="54"/>
                  </a:lnTo>
                  <a:lnTo>
                    <a:pt x="408" y="50"/>
                  </a:lnTo>
                  <a:lnTo>
                    <a:pt x="404" y="42"/>
                  </a:lnTo>
                  <a:lnTo>
                    <a:pt x="406" y="36"/>
                  </a:lnTo>
                  <a:lnTo>
                    <a:pt x="408" y="32"/>
                  </a:lnTo>
                  <a:lnTo>
                    <a:pt x="408" y="28"/>
                  </a:lnTo>
                  <a:lnTo>
                    <a:pt x="406" y="24"/>
                  </a:lnTo>
                  <a:lnTo>
                    <a:pt x="400" y="22"/>
                  </a:lnTo>
                  <a:lnTo>
                    <a:pt x="386" y="14"/>
                  </a:lnTo>
                  <a:lnTo>
                    <a:pt x="384" y="14"/>
                  </a:lnTo>
                  <a:lnTo>
                    <a:pt x="378" y="16"/>
                  </a:lnTo>
                  <a:lnTo>
                    <a:pt x="368" y="24"/>
                  </a:lnTo>
                  <a:lnTo>
                    <a:pt x="364" y="22"/>
                  </a:lnTo>
                  <a:lnTo>
                    <a:pt x="360" y="16"/>
                  </a:lnTo>
                  <a:lnTo>
                    <a:pt x="358" y="10"/>
                  </a:lnTo>
                  <a:lnTo>
                    <a:pt x="352" y="6"/>
                  </a:lnTo>
                  <a:lnTo>
                    <a:pt x="342" y="6"/>
                  </a:lnTo>
                  <a:lnTo>
                    <a:pt x="342" y="8"/>
                  </a:lnTo>
                  <a:lnTo>
                    <a:pt x="336" y="12"/>
                  </a:lnTo>
                  <a:lnTo>
                    <a:pt x="334" y="10"/>
                  </a:lnTo>
                  <a:lnTo>
                    <a:pt x="32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 name="Google Shape;4516;p64">
              <a:extLst>
                <a:ext uri="{FF2B5EF4-FFF2-40B4-BE49-F238E27FC236}">
                  <a16:creationId xmlns:a16="http://schemas.microsoft.com/office/drawing/2014/main" id="{73FD3FBF-4812-3005-9260-6E35C6F0C12F}"/>
                </a:ext>
              </a:extLst>
            </p:cNvPr>
            <p:cNvSpPr/>
            <p:nvPr/>
          </p:nvSpPr>
          <p:spPr>
            <a:xfrm>
              <a:off x="2605574" y="4585160"/>
              <a:ext cx="30846" cy="58412"/>
            </a:xfrm>
            <a:custGeom>
              <a:avLst/>
              <a:gdLst/>
              <a:ahLst/>
              <a:cxnLst/>
              <a:rect l="l" t="t" r="r" b="b"/>
              <a:pathLst>
                <a:path w="223961" h="424096" extrusionOk="0">
                  <a:moveTo>
                    <a:pt x="219196" y="152484"/>
                  </a:moveTo>
                  <a:lnTo>
                    <a:pt x="223961" y="157248"/>
                  </a:lnTo>
                  <a:lnTo>
                    <a:pt x="223961" y="162014"/>
                  </a:lnTo>
                  <a:lnTo>
                    <a:pt x="214430" y="171544"/>
                  </a:lnTo>
                  <a:lnTo>
                    <a:pt x="204900" y="195368"/>
                  </a:lnTo>
                  <a:lnTo>
                    <a:pt x="204900" y="190604"/>
                  </a:lnTo>
                  <a:lnTo>
                    <a:pt x="209665" y="171544"/>
                  </a:lnTo>
                  <a:lnTo>
                    <a:pt x="214430" y="166778"/>
                  </a:lnTo>
                  <a:lnTo>
                    <a:pt x="219196" y="162014"/>
                  </a:lnTo>
                  <a:close/>
                  <a:moveTo>
                    <a:pt x="209666" y="52416"/>
                  </a:moveTo>
                  <a:lnTo>
                    <a:pt x="214431" y="52416"/>
                  </a:lnTo>
                  <a:lnTo>
                    <a:pt x="219196" y="52416"/>
                  </a:lnTo>
                  <a:lnTo>
                    <a:pt x="200135" y="90536"/>
                  </a:lnTo>
                  <a:lnTo>
                    <a:pt x="195370" y="90536"/>
                  </a:lnTo>
                  <a:lnTo>
                    <a:pt x="200135" y="85772"/>
                  </a:lnTo>
                  <a:lnTo>
                    <a:pt x="200135" y="76242"/>
                  </a:lnTo>
                  <a:close/>
                  <a:moveTo>
                    <a:pt x="119128" y="0"/>
                  </a:moveTo>
                  <a:lnTo>
                    <a:pt x="133424" y="0"/>
                  </a:lnTo>
                  <a:lnTo>
                    <a:pt x="147719" y="0"/>
                  </a:lnTo>
                  <a:lnTo>
                    <a:pt x="138189" y="19060"/>
                  </a:lnTo>
                  <a:lnTo>
                    <a:pt x="147719" y="19060"/>
                  </a:lnTo>
                  <a:lnTo>
                    <a:pt x="152484" y="19060"/>
                  </a:lnTo>
                  <a:lnTo>
                    <a:pt x="171545" y="19060"/>
                  </a:lnTo>
                  <a:lnTo>
                    <a:pt x="181075" y="42886"/>
                  </a:lnTo>
                  <a:lnTo>
                    <a:pt x="176310" y="57180"/>
                  </a:lnTo>
                  <a:lnTo>
                    <a:pt x="162014" y="104832"/>
                  </a:lnTo>
                  <a:lnTo>
                    <a:pt x="157249" y="119128"/>
                  </a:lnTo>
                  <a:lnTo>
                    <a:pt x="152484" y="142952"/>
                  </a:lnTo>
                  <a:lnTo>
                    <a:pt x="162014" y="157248"/>
                  </a:lnTo>
                  <a:lnTo>
                    <a:pt x="152484" y="176308"/>
                  </a:lnTo>
                  <a:lnTo>
                    <a:pt x="147719" y="190604"/>
                  </a:lnTo>
                  <a:lnTo>
                    <a:pt x="147719" y="209664"/>
                  </a:lnTo>
                  <a:lnTo>
                    <a:pt x="152484" y="247786"/>
                  </a:lnTo>
                  <a:lnTo>
                    <a:pt x="142954" y="300202"/>
                  </a:lnTo>
                  <a:lnTo>
                    <a:pt x="128659" y="324028"/>
                  </a:lnTo>
                  <a:lnTo>
                    <a:pt x="119128" y="333558"/>
                  </a:lnTo>
                  <a:lnTo>
                    <a:pt x="104833" y="357384"/>
                  </a:lnTo>
                  <a:lnTo>
                    <a:pt x="85772" y="362148"/>
                  </a:lnTo>
                  <a:lnTo>
                    <a:pt x="57182" y="400270"/>
                  </a:lnTo>
                  <a:lnTo>
                    <a:pt x="52416" y="409800"/>
                  </a:lnTo>
                  <a:lnTo>
                    <a:pt x="52416" y="424096"/>
                  </a:lnTo>
                  <a:lnTo>
                    <a:pt x="47651" y="424096"/>
                  </a:lnTo>
                  <a:lnTo>
                    <a:pt x="19061" y="419330"/>
                  </a:lnTo>
                  <a:lnTo>
                    <a:pt x="0" y="424096"/>
                  </a:lnTo>
                  <a:lnTo>
                    <a:pt x="0" y="419330"/>
                  </a:lnTo>
                  <a:lnTo>
                    <a:pt x="0" y="381208"/>
                  </a:lnTo>
                  <a:lnTo>
                    <a:pt x="4765" y="319262"/>
                  </a:lnTo>
                  <a:lnTo>
                    <a:pt x="4765" y="271612"/>
                  </a:lnTo>
                  <a:lnTo>
                    <a:pt x="9530" y="228724"/>
                  </a:lnTo>
                  <a:lnTo>
                    <a:pt x="9530" y="195370"/>
                  </a:lnTo>
                  <a:lnTo>
                    <a:pt x="9530" y="147718"/>
                  </a:lnTo>
                  <a:lnTo>
                    <a:pt x="9530" y="109596"/>
                  </a:lnTo>
                  <a:lnTo>
                    <a:pt x="9530" y="95302"/>
                  </a:lnTo>
                  <a:lnTo>
                    <a:pt x="14295" y="81006"/>
                  </a:lnTo>
                  <a:lnTo>
                    <a:pt x="28591" y="76240"/>
                  </a:lnTo>
                  <a:lnTo>
                    <a:pt x="47651" y="85772"/>
                  </a:lnTo>
                  <a:lnTo>
                    <a:pt x="52416" y="90536"/>
                  </a:lnTo>
                  <a:lnTo>
                    <a:pt x="57182" y="90536"/>
                  </a:lnTo>
                  <a:lnTo>
                    <a:pt x="66712" y="85772"/>
                  </a:lnTo>
                  <a:lnTo>
                    <a:pt x="76242" y="66710"/>
                  </a:lnTo>
                  <a:lnTo>
                    <a:pt x="100068" y="28590"/>
                  </a:lnTo>
                  <a:lnTo>
                    <a:pt x="109598"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 name="Google Shape;4517;p64">
              <a:extLst>
                <a:ext uri="{FF2B5EF4-FFF2-40B4-BE49-F238E27FC236}">
                  <a16:creationId xmlns:a16="http://schemas.microsoft.com/office/drawing/2014/main" id="{C68BA7D7-0F0B-2EAF-D72B-EBCF3152409C}"/>
                </a:ext>
              </a:extLst>
            </p:cNvPr>
            <p:cNvSpPr/>
            <p:nvPr/>
          </p:nvSpPr>
          <p:spPr>
            <a:xfrm>
              <a:off x="3129642" y="4252409"/>
              <a:ext cx="3938" cy="3281"/>
            </a:xfrm>
            <a:custGeom>
              <a:avLst/>
              <a:gdLst/>
              <a:ahLst/>
              <a:cxnLst/>
              <a:rect l="l" t="t" r="r" b="b"/>
              <a:pathLst>
                <a:path w="28590" h="23826" extrusionOk="0">
                  <a:moveTo>
                    <a:pt x="23824" y="0"/>
                  </a:moveTo>
                  <a:lnTo>
                    <a:pt x="28590" y="0"/>
                  </a:lnTo>
                  <a:lnTo>
                    <a:pt x="19060" y="19060"/>
                  </a:lnTo>
                  <a:lnTo>
                    <a:pt x="4764" y="23826"/>
                  </a:lnTo>
                  <a:lnTo>
                    <a:pt x="0" y="23826"/>
                  </a:lnTo>
                  <a:lnTo>
                    <a:pt x="14294" y="1429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1" name="Google Shape;4518;p64">
              <a:extLst>
                <a:ext uri="{FF2B5EF4-FFF2-40B4-BE49-F238E27FC236}">
                  <a16:creationId xmlns:a16="http://schemas.microsoft.com/office/drawing/2014/main" id="{6386FE65-E919-595D-C654-44B784CBC9B1}"/>
                </a:ext>
              </a:extLst>
            </p:cNvPr>
            <p:cNvSpPr/>
            <p:nvPr/>
          </p:nvSpPr>
          <p:spPr>
            <a:xfrm>
              <a:off x="3026601" y="5199470"/>
              <a:ext cx="261213" cy="295670"/>
            </a:xfrm>
            <a:custGeom>
              <a:avLst/>
              <a:gdLst/>
              <a:ahLst/>
              <a:cxnLst/>
              <a:rect l="l" t="t" r="r" b="b"/>
              <a:pathLst>
                <a:path w="1896522" h="2146690" extrusionOk="0">
                  <a:moveTo>
                    <a:pt x="90538" y="1017354"/>
                  </a:moveTo>
                  <a:lnTo>
                    <a:pt x="100068" y="1022120"/>
                  </a:lnTo>
                  <a:lnTo>
                    <a:pt x="109598" y="1036416"/>
                  </a:lnTo>
                  <a:lnTo>
                    <a:pt x="119128" y="1041180"/>
                  </a:lnTo>
                  <a:lnTo>
                    <a:pt x="119128" y="1045946"/>
                  </a:lnTo>
                  <a:lnTo>
                    <a:pt x="114362" y="1045946"/>
                  </a:lnTo>
                  <a:lnTo>
                    <a:pt x="109598" y="1041180"/>
                  </a:lnTo>
                  <a:lnTo>
                    <a:pt x="104832" y="1045946"/>
                  </a:lnTo>
                  <a:lnTo>
                    <a:pt x="95302" y="1041180"/>
                  </a:lnTo>
                  <a:lnTo>
                    <a:pt x="81006" y="1041180"/>
                  </a:lnTo>
                  <a:lnTo>
                    <a:pt x="81006" y="1036416"/>
                  </a:lnTo>
                  <a:lnTo>
                    <a:pt x="85772" y="1026886"/>
                  </a:lnTo>
                  <a:lnTo>
                    <a:pt x="85772" y="1022120"/>
                  </a:lnTo>
                  <a:close/>
                  <a:moveTo>
                    <a:pt x="657588" y="0"/>
                  </a:moveTo>
                  <a:lnTo>
                    <a:pt x="662352" y="0"/>
                  </a:lnTo>
                  <a:lnTo>
                    <a:pt x="671884" y="14296"/>
                  </a:lnTo>
                  <a:lnTo>
                    <a:pt x="676648" y="28590"/>
                  </a:lnTo>
                  <a:lnTo>
                    <a:pt x="676648" y="38122"/>
                  </a:lnTo>
                  <a:lnTo>
                    <a:pt x="676648" y="52416"/>
                  </a:lnTo>
                  <a:lnTo>
                    <a:pt x="681414" y="71476"/>
                  </a:lnTo>
                  <a:lnTo>
                    <a:pt x="676648" y="85772"/>
                  </a:lnTo>
                  <a:lnTo>
                    <a:pt x="662352" y="109598"/>
                  </a:lnTo>
                  <a:lnTo>
                    <a:pt x="657588" y="119128"/>
                  </a:lnTo>
                  <a:lnTo>
                    <a:pt x="657588" y="128658"/>
                  </a:lnTo>
                  <a:lnTo>
                    <a:pt x="657588" y="138188"/>
                  </a:lnTo>
                  <a:lnTo>
                    <a:pt x="662352" y="162014"/>
                  </a:lnTo>
                  <a:lnTo>
                    <a:pt x="671884" y="185840"/>
                  </a:lnTo>
                  <a:lnTo>
                    <a:pt x="676648" y="209666"/>
                  </a:lnTo>
                  <a:lnTo>
                    <a:pt x="667118" y="223962"/>
                  </a:lnTo>
                  <a:lnTo>
                    <a:pt x="667118" y="233492"/>
                  </a:lnTo>
                  <a:lnTo>
                    <a:pt x="667118" y="243022"/>
                  </a:lnTo>
                  <a:lnTo>
                    <a:pt x="667118" y="252552"/>
                  </a:lnTo>
                  <a:lnTo>
                    <a:pt x="671884" y="257316"/>
                  </a:lnTo>
                  <a:lnTo>
                    <a:pt x="676648" y="262082"/>
                  </a:lnTo>
                  <a:lnTo>
                    <a:pt x="676648" y="276378"/>
                  </a:lnTo>
                  <a:lnTo>
                    <a:pt x="681414" y="285908"/>
                  </a:lnTo>
                  <a:lnTo>
                    <a:pt x="695708" y="300204"/>
                  </a:lnTo>
                  <a:lnTo>
                    <a:pt x="700474" y="309734"/>
                  </a:lnTo>
                  <a:lnTo>
                    <a:pt x="695708" y="319264"/>
                  </a:lnTo>
                  <a:lnTo>
                    <a:pt x="695708" y="324028"/>
                  </a:lnTo>
                  <a:lnTo>
                    <a:pt x="700474" y="328794"/>
                  </a:lnTo>
                  <a:lnTo>
                    <a:pt x="705238" y="324028"/>
                  </a:lnTo>
                  <a:lnTo>
                    <a:pt x="710004" y="324028"/>
                  </a:lnTo>
                  <a:lnTo>
                    <a:pt x="719534" y="338324"/>
                  </a:lnTo>
                  <a:lnTo>
                    <a:pt x="724300" y="352620"/>
                  </a:lnTo>
                  <a:lnTo>
                    <a:pt x="729064" y="362150"/>
                  </a:lnTo>
                  <a:lnTo>
                    <a:pt x="738594" y="366914"/>
                  </a:lnTo>
                  <a:lnTo>
                    <a:pt x="752890" y="366914"/>
                  </a:lnTo>
                  <a:lnTo>
                    <a:pt x="762420" y="376446"/>
                  </a:lnTo>
                  <a:lnTo>
                    <a:pt x="776716" y="385976"/>
                  </a:lnTo>
                  <a:lnTo>
                    <a:pt x="786246" y="395506"/>
                  </a:lnTo>
                  <a:lnTo>
                    <a:pt x="800542" y="405036"/>
                  </a:lnTo>
                  <a:lnTo>
                    <a:pt x="805306" y="414566"/>
                  </a:lnTo>
                  <a:lnTo>
                    <a:pt x="814836" y="433626"/>
                  </a:lnTo>
                  <a:lnTo>
                    <a:pt x="843428" y="443156"/>
                  </a:lnTo>
                  <a:lnTo>
                    <a:pt x="872018" y="443156"/>
                  </a:lnTo>
                  <a:lnTo>
                    <a:pt x="891078" y="447922"/>
                  </a:lnTo>
                  <a:lnTo>
                    <a:pt x="914904" y="438392"/>
                  </a:lnTo>
                  <a:lnTo>
                    <a:pt x="929200" y="443156"/>
                  </a:lnTo>
                  <a:lnTo>
                    <a:pt x="948260" y="447922"/>
                  </a:lnTo>
                  <a:lnTo>
                    <a:pt x="953026" y="452688"/>
                  </a:lnTo>
                  <a:lnTo>
                    <a:pt x="967322" y="462218"/>
                  </a:lnTo>
                  <a:lnTo>
                    <a:pt x="986382" y="471748"/>
                  </a:lnTo>
                  <a:lnTo>
                    <a:pt x="1000676" y="476512"/>
                  </a:lnTo>
                  <a:lnTo>
                    <a:pt x="1010208" y="471748"/>
                  </a:lnTo>
                  <a:lnTo>
                    <a:pt x="1019738" y="466982"/>
                  </a:lnTo>
                  <a:lnTo>
                    <a:pt x="1029268" y="471748"/>
                  </a:lnTo>
                  <a:lnTo>
                    <a:pt x="1034032" y="486044"/>
                  </a:lnTo>
                  <a:lnTo>
                    <a:pt x="1038798" y="495574"/>
                  </a:lnTo>
                  <a:lnTo>
                    <a:pt x="1043564" y="500338"/>
                  </a:lnTo>
                  <a:lnTo>
                    <a:pt x="1062624" y="519398"/>
                  </a:lnTo>
                  <a:lnTo>
                    <a:pt x="1076918" y="521782"/>
                  </a:lnTo>
                  <a:lnTo>
                    <a:pt x="1086450" y="521782"/>
                  </a:lnTo>
                  <a:lnTo>
                    <a:pt x="1115040" y="531312"/>
                  </a:lnTo>
                  <a:lnTo>
                    <a:pt x="1138866" y="540842"/>
                  </a:lnTo>
                  <a:lnTo>
                    <a:pt x="1153162" y="545608"/>
                  </a:lnTo>
                  <a:lnTo>
                    <a:pt x="1167456" y="545608"/>
                  </a:lnTo>
                  <a:lnTo>
                    <a:pt x="1176986" y="550372"/>
                  </a:lnTo>
                  <a:lnTo>
                    <a:pt x="1181752" y="559902"/>
                  </a:lnTo>
                  <a:lnTo>
                    <a:pt x="1205578" y="588494"/>
                  </a:lnTo>
                  <a:lnTo>
                    <a:pt x="1215108" y="598024"/>
                  </a:lnTo>
                  <a:lnTo>
                    <a:pt x="1229402" y="607554"/>
                  </a:lnTo>
                  <a:lnTo>
                    <a:pt x="1262758" y="607554"/>
                  </a:lnTo>
                  <a:lnTo>
                    <a:pt x="1272290" y="607554"/>
                  </a:lnTo>
                  <a:lnTo>
                    <a:pt x="1286584" y="607554"/>
                  </a:lnTo>
                  <a:lnTo>
                    <a:pt x="1329470" y="602788"/>
                  </a:lnTo>
                  <a:lnTo>
                    <a:pt x="1339002" y="602788"/>
                  </a:lnTo>
                  <a:lnTo>
                    <a:pt x="1362826" y="612318"/>
                  </a:lnTo>
                  <a:lnTo>
                    <a:pt x="1396182" y="631380"/>
                  </a:lnTo>
                  <a:lnTo>
                    <a:pt x="1415242" y="640910"/>
                  </a:lnTo>
                  <a:lnTo>
                    <a:pt x="1429538" y="650440"/>
                  </a:lnTo>
                  <a:lnTo>
                    <a:pt x="1434304" y="659970"/>
                  </a:lnTo>
                  <a:lnTo>
                    <a:pt x="1443834" y="674266"/>
                  </a:lnTo>
                  <a:lnTo>
                    <a:pt x="1443834" y="683796"/>
                  </a:lnTo>
                  <a:lnTo>
                    <a:pt x="1439068" y="698092"/>
                  </a:lnTo>
                  <a:lnTo>
                    <a:pt x="1434304" y="702856"/>
                  </a:lnTo>
                  <a:lnTo>
                    <a:pt x="1434304" y="712386"/>
                  </a:lnTo>
                  <a:lnTo>
                    <a:pt x="1434304" y="726682"/>
                  </a:lnTo>
                  <a:lnTo>
                    <a:pt x="1443834" y="736212"/>
                  </a:lnTo>
                  <a:lnTo>
                    <a:pt x="1448598" y="750508"/>
                  </a:lnTo>
                  <a:lnTo>
                    <a:pt x="1453364" y="774334"/>
                  </a:lnTo>
                  <a:lnTo>
                    <a:pt x="1462894" y="783864"/>
                  </a:lnTo>
                  <a:lnTo>
                    <a:pt x="1462894" y="860106"/>
                  </a:lnTo>
                  <a:lnTo>
                    <a:pt x="1443834" y="860106"/>
                  </a:lnTo>
                  <a:lnTo>
                    <a:pt x="1415242" y="860106"/>
                  </a:lnTo>
                  <a:lnTo>
                    <a:pt x="1424774" y="869636"/>
                  </a:lnTo>
                  <a:lnTo>
                    <a:pt x="1448598" y="893462"/>
                  </a:lnTo>
                  <a:lnTo>
                    <a:pt x="1467660" y="922052"/>
                  </a:lnTo>
                  <a:lnTo>
                    <a:pt x="1472424" y="964938"/>
                  </a:lnTo>
                  <a:lnTo>
                    <a:pt x="1477190" y="988764"/>
                  </a:lnTo>
                  <a:lnTo>
                    <a:pt x="1477190" y="1026886"/>
                  </a:lnTo>
                  <a:lnTo>
                    <a:pt x="1481954" y="1050710"/>
                  </a:lnTo>
                  <a:lnTo>
                    <a:pt x="1534372" y="1050710"/>
                  </a:lnTo>
                  <a:lnTo>
                    <a:pt x="1596318" y="1055476"/>
                  </a:lnTo>
                  <a:lnTo>
                    <a:pt x="1667794" y="1055476"/>
                  </a:lnTo>
                  <a:lnTo>
                    <a:pt x="1734506" y="1060240"/>
                  </a:lnTo>
                  <a:lnTo>
                    <a:pt x="1744036" y="1060240"/>
                  </a:lnTo>
                  <a:lnTo>
                    <a:pt x="1753568" y="1055476"/>
                  </a:lnTo>
                  <a:lnTo>
                    <a:pt x="1763098" y="1050710"/>
                  </a:lnTo>
                  <a:lnTo>
                    <a:pt x="1767862" y="1050710"/>
                  </a:lnTo>
                  <a:lnTo>
                    <a:pt x="1767862" y="1060240"/>
                  </a:lnTo>
                  <a:lnTo>
                    <a:pt x="1763098" y="1074536"/>
                  </a:lnTo>
                  <a:lnTo>
                    <a:pt x="1763098" y="1084066"/>
                  </a:lnTo>
                  <a:lnTo>
                    <a:pt x="1744036" y="1112658"/>
                  </a:lnTo>
                  <a:lnTo>
                    <a:pt x="1744036" y="1122188"/>
                  </a:lnTo>
                  <a:lnTo>
                    <a:pt x="1748802" y="1155544"/>
                  </a:lnTo>
                  <a:lnTo>
                    <a:pt x="1753568" y="1184134"/>
                  </a:lnTo>
                  <a:lnTo>
                    <a:pt x="1758332" y="1207960"/>
                  </a:lnTo>
                  <a:lnTo>
                    <a:pt x="1763098" y="1217490"/>
                  </a:lnTo>
                  <a:lnTo>
                    <a:pt x="1786922" y="1227020"/>
                  </a:lnTo>
                  <a:lnTo>
                    <a:pt x="1820278" y="1255612"/>
                  </a:lnTo>
                  <a:lnTo>
                    <a:pt x="1834574" y="1255612"/>
                  </a:lnTo>
                  <a:lnTo>
                    <a:pt x="1844104" y="1250846"/>
                  </a:lnTo>
                  <a:lnTo>
                    <a:pt x="1853634" y="1265142"/>
                  </a:lnTo>
                  <a:lnTo>
                    <a:pt x="1853634" y="1279436"/>
                  </a:lnTo>
                  <a:lnTo>
                    <a:pt x="1872696" y="1322322"/>
                  </a:lnTo>
                  <a:lnTo>
                    <a:pt x="1882226" y="1350914"/>
                  </a:lnTo>
                  <a:lnTo>
                    <a:pt x="1886990" y="1365210"/>
                  </a:lnTo>
                  <a:lnTo>
                    <a:pt x="1896522" y="1369974"/>
                  </a:lnTo>
                  <a:lnTo>
                    <a:pt x="1886990" y="1374740"/>
                  </a:lnTo>
                  <a:lnTo>
                    <a:pt x="1886990" y="1379504"/>
                  </a:lnTo>
                  <a:lnTo>
                    <a:pt x="1877460" y="1412860"/>
                  </a:lnTo>
                  <a:lnTo>
                    <a:pt x="1863166" y="1455746"/>
                  </a:lnTo>
                  <a:lnTo>
                    <a:pt x="1853634" y="1484338"/>
                  </a:lnTo>
                  <a:lnTo>
                    <a:pt x="1863166" y="1484338"/>
                  </a:lnTo>
                  <a:lnTo>
                    <a:pt x="1863166" y="1493868"/>
                  </a:lnTo>
                  <a:lnTo>
                    <a:pt x="1863166" y="1503398"/>
                  </a:lnTo>
                  <a:lnTo>
                    <a:pt x="1853634" y="1508162"/>
                  </a:lnTo>
                  <a:lnTo>
                    <a:pt x="1848870" y="1512928"/>
                  </a:lnTo>
                  <a:lnTo>
                    <a:pt x="1839340" y="1536754"/>
                  </a:lnTo>
                  <a:lnTo>
                    <a:pt x="1825044" y="1570110"/>
                  </a:lnTo>
                  <a:lnTo>
                    <a:pt x="1805984" y="1598700"/>
                  </a:lnTo>
                  <a:lnTo>
                    <a:pt x="1801218" y="1622526"/>
                  </a:lnTo>
                  <a:lnTo>
                    <a:pt x="1815514" y="1636822"/>
                  </a:lnTo>
                  <a:lnTo>
                    <a:pt x="1839340" y="1660646"/>
                  </a:lnTo>
                  <a:lnTo>
                    <a:pt x="1839340" y="1665412"/>
                  </a:lnTo>
                  <a:lnTo>
                    <a:pt x="1825044" y="1670178"/>
                  </a:lnTo>
                  <a:lnTo>
                    <a:pt x="1815514" y="1670178"/>
                  </a:lnTo>
                  <a:lnTo>
                    <a:pt x="1810748" y="1679708"/>
                  </a:lnTo>
                  <a:lnTo>
                    <a:pt x="1805984" y="1689238"/>
                  </a:lnTo>
                  <a:lnTo>
                    <a:pt x="1796454" y="1689238"/>
                  </a:lnTo>
                  <a:lnTo>
                    <a:pt x="1796454" y="1665412"/>
                  </a:lnTo>
                  <a:lnTo>
                    <a:pt x="1796454" y="1636822"/>
                  </a:lnTo>
                  <a:lnTo>
                    <a:pt x="1791688" y="1632056"/>
                  </a:lnTo>
                  <a:lnTo>
                    <a:pt x="1744036" y="1603466"/>
                  </a:lnTo>
                  <a:lnTo>
                    <a:pt x="1705916" y="1579640"/>
                  </a:lnTo>
                  <a:lnTo>
                    <a:pt x="1648734" y="1546284"/>
                  </a:lnTo>
                  <a:lnTo>
                    <a:pt x="1577258" y="1546284"/>
                  </a:lnTo>
                  <a:lnTo>
                    <a:pt x="1505780" y="1546284"/>
                  </a:lnTo>
                  <a:lnTo>
                    <a:pt x="1434304" y="1560580"/>
                  </a:lnTo>
                  <a:lnTo>
                    <a:pt x="1367592" y="1574874"/>
                  </a:lnTo>
                  <a:lnTo>
                    <a:pt x="1334236" y="1584406"/>
                  </a:lnTo>
                  <a:lnTo>
                    <a:pt x="1272290" y="1598700"/>
                  </a:lnTo>
                  <a:lnTo>
                    <a:pt x="1234168" y="1603466"/>
                  </a:lnTo>
                  <a:lnTo>
                    <a:pt x="1224638" y="1632056"/>
                  </a:lnTo>
                  <a:lnTo>
                    <a:pt x="1210342" y="1670178"/>
                  </a:lnTo>
                  <a:lnTo>
                    <a:pt x="1191282" y="1694002"/>
                  </a:lnTo>
                  <a:lnTo>
                    <a:pt x="1176986" y="1722594"/>
                  </a:lnTo>
                  <a:lnTo>
                    <a:pt x="1153162" y="1755950"/>
                  </a:lnTo>
                  <a:lnTo>
                    <a:pt x="1153162" y="1841722"/>
                  </a:lnTo>
                  <a:lnTo>
                    <a:pt x="1134100" y="1898904"/>
                  </a:lnTo>
                  <a:lnTo>
                    <a:pt x="1119806" y="1946554"/>
                  </a:lnTo>
                  <a:lnTo>
                    <a:pt x="1105510" y="1994206"/>
                  </a:lnTo>
                  <a:lnTo>
                    <a:pt x="1095980" y="2027562"/>
                  </a:lnTo>
                  <a:lnTo>
                    <a:pt x="1091214" y="2037092"/>
                  </a:lnTo>
                  <a:lnTo>
                    <a:pt x="1076918" y="2022796"/>
                  </a:lnTo>
                  <a:lnTo>
                    <a:pt x="1067388" y="2008502"/>
                  </a:lnTo>
                  <a:lnTo>
                    <a:pt x="1062624" y="1998970"/>
                  </a:lnTo>
                  <a:lnTo>
                    <a:pt x="995912" y="1998970"/>
                  </a:lnTo>
                  <a:lnTo>
                    <a:pt x="933966" y="1998970"/>
                  </a:lnTo>
                  <a:lnTo>
                    <a:pt x="924434" y="2003736"/>
                  </a:lnTo>
                  <a:lnTo>
                    <a:pt x="919670" y="2003736"/>
                  </a:lnTo>
                  <a:lnTo>
                    <a:pt x="910140" y="1998970"/>
                  </a:lnTo>
                  <a:lnTo>
                    <a:pt x="905374" y="1998970"/>
                  </a:lnTo>
                  <a:lnTo>
                    <a:pt x="895844" y="2003736"/>
                  </a:lnTo>
                  <a:lnTo>
                    <a:pt x="886314" y="2008502"/>
                  </a:lnTo>
                  <a:lnTo>
                    <a:pt x="862488" y="2060918"/>
                  </a:lnTo>
                  <a:lnTo>
                    <a:pt x="848192" y="2079978"/>
                  </a:lnTo>
                  <a:lnTo>
                    <a:pt x="838662" y="2099038"/>
                  </a:lnTo>
                  <a:lnTo>
                    <a:pt x="833898" y="2132394"/>
                  </a:lnTo>
                  <a:lnTo>
                    <a:pt x="829132" y="2137160"/>
                  </a:lnTo>
                  <a:lnTo>
                    <a:pt x="824368" y="2127630"/>
                  </a:lnTo>
                  <a:lnTo>
                    <a:pt x="814836" y="2099038"/>
                  </a:lnTo>
                  <a:lnTo>
                    <a:pt x="810072" y="2079978"/>
                  </a:lnTo>
                  <a:lnTo>
                    <a:pt x="800542" y="2060918"/>
                  </a:lnTo>
                  <a:lnTo>
                    <a:pt x="786246" y="2037092"/>
                  </a:lnTo>
                  <a:lnTo>
                    <a:pt x="771950" y="2027562"/>
                  </a:lnTo>
                  <a:lnTo>
                    <a:pt x="762420" y="2027562"/>
                  </a:lnTo>
                  <a:lnTo>
                    <a:pt x="752890" y="2022796"/>
                  </a:lnTo>
                  <a:lnTo>
                    <a:pt x="729064" y="2018032"/>
                  </a:lnTo>
                  <a:lnTo>
                    <a:pt x="719534" y="2013266"/>
                  </a:lnTo>
                  <a:lnTo>
                    <a:pt x="652822" y="2013266"/>
                  </a:lnTo>
                  <a:lnTo>
                    <a:pt x="643292" y="2013266"/>
                  </a:lnTo>
                  <a:lnTo>
                    <a:pt x="619466" y="2018032"/>
                  </a:lnTo>
                  <a:lnTo>
                    <a:pt x="605172" y="2013266"/>
                  </a:lnTo>
                  <a:lnTo>
                    <a:pt x="590876" y="2003736"/>
                  </a:lnTo>
                  <a:lnTo>
                    <a:pt x="562286" y="1979910"/>
                  </a:lnTo>
                  <a:lnTo>
                    <a:pt x="552754" y="1970380"/>
                  </a:lnTo>
                  <a:lnTo>
                    <a:pt x="543224" y="1965616"/>
                  </a:lnTo>
                  <a:lnTo>
                    <a:pt x="533694" y="1965616"/>
                  </a:lnTo>
                  <a:lnTo>
                    <a:pt x="533694" y="1970380"/>
                  </a:lnTo>
                  <a:lnTo>
                    <a:pt x="524164" y="1989440"/>
                  </a:lnTo>
                  <a:lnTo>
                    <a:pt x="519398" y="2008502"/>
                  </a:lnTo>
                  <a:lnTo>
                    <a:pt x="514634" y="2018032"/>
                  </a:lnTo>
                  <a:lnTo>
                    <a:pt x="490808" y="2022796"/>
                  </a:lnTo>
                  <a:lnTo>
                    <a:pt x="471748" y="2032326"/>
                  </a:lnTo>
                  <a:lnTo>
                    <a:pt x="457452" y="2037092"/>
                  </a:lnTo>
                  <a:lnTo>
                    <a:pt x="452688" y="2041858"/>
                  </a:lnTo>
                  <a:lnTo>
                    <a:pt x="452688" y="2056152"/>
                  </a:lnTo>
                  <a:lnTo>
                    <a:pt x="443156" y="2065682"/>
                  </a:lnTo>
                  <a:lnTo>
                    <a:pt x="414566" y="2084744"/>
                  </a:lnTo>
                  <a:lnTo>
                    <a:pt x="409802" y="2089508"/>
                  </a:lnTo>
                  <a:lnTo>
                    <a:pt x="405036" y="2108570"/>
                  </a:lnTo>
                  <a:lnTo>
                    <a:pt x="390740" y="2127630"/>
                  </a:lnTo>
                  <a:lnTo>
                    <a:pt x="381210" y="2137160"/>
                  </a:lnTo>
                  <a:lnTo>
                    <a:pt x="357384" y="2141924"/>
                  </a:lnTo>
                  <a:lnTo>
                    <a:pt x="324028" y="2146690"/>
                  </a:lnTo>
                  <a:lnTo>
                    <a:pt x="304968" y="2146690"/>
                  </a:lnTo>
                  <a:lnTo>
                    <a:pt x="290672" y="2146690"/>
                  </a:lnTo>
                  <a:lnTo>
                    <a:pt x="285908" y="2141924"/>
                  </a:lnTo>
                  <a:lnTo>
                    <a:pt x="276378" y="2137160"/>
                  </a:lnTo>
                  <a:lnTo>
                    <a:pt x="276378" y="2132394"/>
                  </a:lnTo>
                  <a:lnTo>
                    <a:pt x="276378" y="2122864"/>
                  </a:lnTo>
                  <a:lnTo>
                    <a:pt x="276378" y="2103804"/>
                  </a:lnTo>
                  <a:lnTo>
                    <a:pt x="276378" y="2079978"/>
                  </a:lnTo>
                  <a:lnTo>
                    <a:pt x="266848" y="2056152"/>
                  </a:lnTo>
                  <a:lnTo>
                    <a:pt x="266848" y="2046622"/>
                  </a:lnTo>
                  <a:lnTo>
                    <a:pt x="266848" y="2032326"/>
                  </a:lnTo>
                  <a:lnTo>
                    <a:pt x="257316" y="2008502"/>
                  </a:lnTo>
                  <a:lnTo>
                    <a:pt x="247786" y="1994206"/>
                  </a:lnTo>
                  <a:lnTo>
                    <a:pt x="243022" y="1975146"/>
                  </a:lnTo>
                  <a:lnTo>
                    <a:pt x="238256" y="1956084"/>
                  </a:lnTo>
                  <a:lnTo>
                    <a:pt x="228726" y="1932260"/>
                  </a:lnTo>
                  <a:lnTo>
                    <a:pt x="228726" y="1903668"/>
                  </a:lnTo>
                  <a:lnTo>
                    <a:pt x="228726" y="1879842"/>
                  </a:lnTo>
                  <a:lnTo>
                    <a:pt x="209666" y="1851252"/>
                  </a:lnTo>
                  <a:lnTo>
                    <a:pt x="190606" y="1822662"/>
                  </a:lnTo>
                  <a:lnTo>
                    <a:pt x="176310" y="1817896"/>
                  </a:lnTo>
                  <a:lnTo>
                    <a:pt x="171544" y="1813132"/>
                  </a:lnTo>
                  <a:lnTo>
                    <a:pt x="171544" y="1803600"/>
                  </a:lnTo>
                  <a:lnTo>
                    <a:pt x="166780" y="1789306"/>
                  </a:lnTo>
                  <a:lnTo>
                    <a:pt x="171544" y="1784540"/>
                  </a:lnTo>
                  <a:lnTo>
                    <a:pt x="181074" y="1770244"/>
                  </a:lnTo>
                  <a:lnTo>
                    <a:pt x="181074" y="1765480"/>
                  </a:lnTo>
                  <a:lnTo>
                    <a:pt x="147718" y="1746420"/>
                  </a:lnTo>
                  <a:lnTo>
                    <a:pt x="142954" y="1741654"/>
                  </a:lnTo>
                  <a:lnTo>
                    <a:pt x="138188" y="1732124"/>
                  </a:lnTo>
                  <a:lnTo>
                    <a:pt x="138188" y="1727358"/>
                  </a:lnTo>
                  <a:lnTo>
                    <a:pt x="147718" y="1717828"/>
                  </a:lnTo>
                  <a:lnTo>
                    <a:pt x="152484" y="1713064"/>
                  </a:lnTo>
                  <a:lnTo>
                    <a:pt x="142954" y="1698768"/>
                  </a:lnTo>
                  <a:lnTo>
                    <a:pt x="142954" y="1689238"/>
                  </a:lnTo>
                  <a:lnTo>
                    <a:pt x="138188" y="1684472"/>
                  </a:lnTo>
                  <a:lnTo>
                    <a:pt x="138188" y="1679708"/>
                  </a:lnTo>
                  <a:lnTo>
                    <a:pt x="142954" y="1674942"/>
                  </a:lnTo>
                  <a:lnTo>
                    <a:pt x="162014" y="1670178"/>
                  </a:lnTo>
                  <a:lnTo>
                    <a:pt x="171544" y="1655882"/>
                  </a:lnTo>
                  <a:lnTo>
                    <a:pt x="171544" y="1646352"/>
                  </a:lnTo>
                  <a:lnTo>
                    <a:pt x="166780" y="1641586"/>
                  </a:lnTo>
                  <a:lnTo>
                    <a:pt x="147718" y="1617760"/>
                  </a:lnTo>
                  <a:lnTo>
                    <a:pt x="166780" y="1589170"/>
                  </a:lnTo>
                  <a:lnTo>
                    <a:pt x="181074" y="1574874"/>
                  </a:lnTo>
                  <a:lnTo>
                    <a:pt x="185840" y="1570110"/>
                  </a:lnTo>
                  <a:lnTo>
                    <a:pt x="185840" y="1565344"/>
                  </a:lnTo>
                  <a:lnTo>
                    <a:pt x="181074" y="1560580"/>
                  </a:lnTo>
                  <a:lnTo>
                    <a:pt x="171544" y="1555814"/>
                  </a:lnTo>
                  <a:lnTo>
                    <a:pt x="162014" y="1546284"/>
                  </a:lnTo>
                  <a:lnTo>
                    <a:pt x="152484" y="1536754"/>
                  </a:lnTo>
                  <a:lnTo>
                    <a:pt x="138188" y="1522458"/>
                  </a:lnTo>
                  <a:lnTo>
                    <a:pt x="123894" y="1512928"/>
                  </a:lnTo>
                  <a:lnTo>
                    <a:pt x="114364" y="1503398"/>
                  </a:lnTo>
                  <a:lnTo>
                    <a:pt x="104832" y="1493868"/>
                  </a:lnTo>
                  <a:lnTo>
                    <a:pt x="104832" y="1484338"/>
                  </a:lnTo>
                  <a:lnTo>
                    <a:pt x="104832" y="1465276"/>
                  </a:lnTo>
                  <a:lnTo>
                    <a:pt x="95302" y="1441452"/>
                  </a:lnTo>
                  <a:lnTo>
                    <a:pt x="95302" y="1422390"/>
                  </a:lnTo>
                  <a:lnTo>
                    <a:pt x="90538" y="1403330"/>
                  </a:lnTo>
                  <a:lnTo>
                    <a:pt x="90538" y="1393800"/>
                  </a:lnTo>
                  <a:lnTo>
                    <a:pt x="85772" y="1379504"/>
                  </a:lnTo>
                  <a:lnTo>
                    <a:pt x="81008" y="1365210"/>
                  </a:lnTo>
                  <a:lnTo>
                    <a:pt x="81008" y="1355678"/>
                  </a:lnTo>
                  <a:lnTo>
                    <a:pt x="81008" y="1350914"/>
                  </a:lnTo>
                  <a:lnTo>
                    <a:pt x="85772" y="1346148"/>
                  </a:lnTo>
                  <a:lnTo>
                    <a:pt x="85772" y="1341384"/>
                  </a:lnTo>
                  <a:lnTo>
                    <a:pt x="57182" y="1327088"/>
                  </a:lnTo>
                  <a:lnTo>
                    <a:pt x="52416" y="1322322"/>
                  </a:lnTo>
                  <a:lnTo>
                    <a:pt x="47652" y="1293732"/>
                  </a:lnTo>
                  <a:lnTo>
                    <a:pt x="23826" y="1269906"/>
                  </a:lnTo>
                  <a:lnTo>
                    <a:pt x="23826" y="1250846"/>
                  </a:lnTo>
                  <a:lnTo>
                    <a:pt x="23826" y="1246080"/>
                  </a:lnTo>
                  <a:lnTo>
                    <a:pt x="19060" y="1231786"/>
                  </a:lnTo>
                  <a:lnTo>
                    <a:pt x="14296" y="1222256"/>
                  </a:lnTo>
                  <a:lnTo>
                    <a:pt x="4766" y="1217490"/>
                  </a:lnTo>
                  <a:lnTo>
                    <a:pt x="0" y="1207960"/>
                  </a:lnTo>
                  <a:lnTo>
                    <a:pt x="4766" y="1203194"/>
                  </a:lnTo>
                  <a:lnTo>
                    <a:pt x="23826" y="1184134"/>
                  </a:lnTo>
                  <a:lnTo>
                    <a:pt x="33356" y="1184134"/>
                  </a:lnTo>
                  <a:lnTo>
                    <a:pt x="38122" y="1174604"/>
                  </a:lnTo>
                  <a:lnTo>
                    <a:pt x="42886" y="1169838"/>
                  </a:lnTo>
                  <a:lnTo>
                    <a:pt x="61946" y="1146014"/>
                  </a:lnTo>
                  <a:lnTo>
                    <a:pt x="71476" y="1131718"/>
                  </a:lnTo>
                  <a:lnTo>
                    <a:pt x="81008" y="1122188"/>
                  </a:lnTo>
                  <a:lnTo>
                    <a:pt x="95302" y="1117422"/>
                  </a:lnTo>
                  <a:lnTo>
                    <a:pt x="100068" y="1112658"/>
                  </a:lnTo>
                  <a:lnTo>
                    <a:pt x="95302" y="1093596"/>
                  </a:lnTo>
                  <a:lnTo>
                    <a:pt x="100068" y="1098362"/>
                  </a:lnTo>
                  <a:lnTo>
                    <a:pt x="109598" y="1103126"/>
                  </a:lnTo>
                  <a:lnTo>
                    <a:pt x="114364" y="1103126"/>
                  </a:lnTo>
                  <a:lnTo>
                    <a:pt x="123894" y="1103126"/>
                  </a:lnTo>
                  <a:lnTo>
                    <a:pt x="123894" y="1098362"/>
                  </a:lnTo>
                  <a:lnTo>
                    <a:pt x="123894" y="1093596"/>
                  </a:lnTo>
                  <a:lnTo>
                    <a:pt x="123894" y="1088832"/>
                  </a:lnTo>
                  <a:lnTo>
                    <a:pt x="119128" y="1084066"/>
                  </a:lnTo>
                  <a:lnTo>
                    <a:pt x="114364" y="1079302"/>
                  </a:lnTo>
                  <a:lnTo>
                    <a:pt x="114364" y="1074536"/>
                  </a:lnTo>
                  <a:lnTo>
                    <a:pt x="123894" y="1074536"/>
                  </a:lnTo>
                  <a:lnTo>
                    <a:pt x="133424" y="1069772"/>
                  </a:lnTo>
                  <a:lnTo>
                    <a:pt x="142954" y="1069772"/>
                  </a:lnTo>
                  <a:lnTo>
                    <a:pt x="147718" y="1065006"/>
                  </a:lnTo>
                  <a:lnTo>
                    <a:pt x="147718" y="1060240"/>
                  </a:lnTo>
                  <a:lnTo>
                    <a:pt x="162014" y="1055476"/>
                  </a:lnTo>
                  <a:lnTo>
                    <a:pt x="166780" y="1055476"/>
                  </a:lnTo>
                  <a:lnTo>
                    <a:pt x="166780" y="1050710"/>
                  </a:lnTo>
                  <a:lnTo>
                    <a:pt x="166780" y="1045946"/>
                  </a:lnTo>
                  <a:lnTo>
                    <a:pt x="157250" y="1041180"/>
                  </a:lnTo>
                  <a:lnTo>
                    <a:pt x="147718" y="1041180"/>
                  </a:lnTo>
                  <a:lnTo>
                    <a:pt x="138188" y="1041180"/>
                  </a:lnTo>
                  <a:lnTo>
                    <a:pt x="128658" y="1036416"/>
                  </a:lnTo>
                  <a:lnTo>
                    <a:pt x="123894" y="1026886"/>
                  </a:lnTo>
                  <a:lnTo>
                    <a:pt x="119128" y="1022120"/>
                  </a:lnTo>
                  <a:lnTo>
                    <a:pt x="123894" y="1012590"/>
                  </a:lnTo>
                  <a:lnTo>
                    <a:pt x="128658" y="1007824"/>
                  </a:lnTo>
                  <a:lnTo>
                    <a:pt x="133424" y="1003060"/>
                  </a:lnTo>
                  <a:lnTo>
                    <a:pt x="128658" y="998294"/>
                  </a:lnTo>
                  <a:lnTo>
                    <a:pt x="114364" y="998294"/>
                  </a:lnTo>
                  <a:lnTo>
                    <a:pt x="100068" y="993530"/>
                  </a:lnTo>
                  <a:lnTo>
                    <a:pt x="100068" y="983998"/>
                  </a:lnTo>
                  <a:lnTo>
                    <a:pt x="95302" y="974468"/>
                  </a:lnTo>
                  <a:lnTo>
                    <a:pt x="85772" y="969704"/>
                  </a:lnTo>
                  <a:lnTo>
                    <a:pt x="71476" y="955408"/>
                  </a:lnTo>
                  <a:lnTo>
                    <a:pt x="66712" y="950642"/>
                  </a:lnTo>
                  <a:lnTo>
                    <a:pt x="57182" y="945878"/>
                  </a:lnTo>
                  <a:lnTo>
                    <a:pt x="42886" y="926818"/>
                  </a:lnTo>
                  <a:lnTo>
                    <a:pt x="52416" y="907756"/>
                  </a:lnTo>
                  <a:lnTo>
                    <a:pt x="61946" y="898226"/>
                  </a:lnTo>
                  <a:lnTo>
                    <a:pt x="76242" y="883932"/>
                  </a:lnTo>
                  <a:lnTo>
                    <a:pt x="71476" y="874400"/>
                  </a:lnTo>
                  <a:lnTo>
                    <a:pt x="52416" y="850576"/>
                  </a:lnTo>
                  <a:lnTo>
                    <a:pt x="42886" y="836280"/>
                  </a:lnTo>
                  <a:lnTo>
                    <a:pt x="42886" y="826750"/>
                  </a:lnTo>
                  <a:lnTo>
                    <a:pt x="47652" y="812454"/>
                  </a:lnTo>
                  <a:lnTo>
                    <a:pt x="57182" y="802924"/>
                  </a:lnTo>
                  <a:lnTo>
                    <a:pt x="61946" y="788628"/>
                  </a:lnTo>
                  <a:lnTo>
                    <a:pt x="66712" y="779098"/>
                  </a:lnTo>
                  <a:lnTo>
                    <a:pt x="71476" y="774334"/>
                  </a:lnTo>
                  <a:lnTo>
                    <a:pt x="76242" y="769568"/>
                  </a:lnTo>
                  <a:lnTo>
                    <a:pt x="81008" y="760038"/>
                  </a:lnTo>
                  <a:lnTo>
                    <a:pt x="95302" y="750508"/>
                  </a:lnTo>
                  <a:lnTo>
                    <a:pt x="100068" y="740978"/>
                  </a:lnTo>
                  <a:lnTo>
                    <a:pt x="100068" y="726682"/>
                  </a:lnTo>
                  <a:lnTo>
                    <a:pt x="104832" y="721916"/>
                  </a:lnTo>
                  <a:lnTo>
                    <a:pt x="119128" y="712386"/>
                  </a:lnTo>
                  <a:lnTo>
                    <a:pt x="123894" y="712386"/>
                  </a:lnTo>
                  <a:lnTo>
                    <a:pt x="119128" y="698092"/>
                  </a:lnTo>
                  <a:lnTo>
                    <a:pt x="109598" y="683796"/>
                  </a:lnTo>
                  <a:lnTo>
                    <a:pt x="104832" y="679030"/>
                  </a:lnTo>
                  <a:lnTo>
                    <a:pt x="100068" y="645674"/>
                  </a:lnTo>
                  <a:lnTo>
                    <a:pt x="90538" y="631380"/>
                  </a:lnTo>
                  <a:lnTo>
                    <a:pt x="95302" y="626614"/>
                  </a:lnTo>
                  <a:lnTo>
                    <a:pt x="100068" y="617084"/>
                  </a:lnTo>
                  <a:lnTo>
                    <a:pt x="104832" y="602788"/>
                  </a:lnTo>
                  <a:lnTo>
                    <a:pt x="104832" y="583728"/>
                  </a:lnTo>
                  <a:lnTo>
                    <a:pt x="104832" y="519398"/>
                  </a:lnTo>
                  <a:lnTo>
                    <a:pt x="104832" y="505104"/>
                  </a:lnTo>
                  <a:lnTo>
                    <a:pt x="114364" y="495574"/>
                  </a:lnTo>
                  <a:lnTo>
                    <a:pt x="123894" y="486044"/>
                  </a:lnTo>
                  <a:lnTo>
                    <a:pt x="133424" y="481278"/>
                  </a:lnTo>
                  <a:lnTo>
                    <a:pt x="138188" y="476512"/>
                  </a:lnTo>
                  <a:lnTo>
                    <a:pt x="138188" y="462218"/>
                  </a:lnTo>
                  <a:lnTo>
                    <a:pt x="142954" y="452688"/>
                  </a:lnTo>
                  <a:lnTo>
                    <a:pt x="152484" y="443156"/>
                  </a:lnTo>
                  <a:lnTo>
                    <a:pt x="128658" y="409800"/>
                  </a:lnTo>
                  <a:lnTo>
                    <a:pt x="109598" y="376446"/>
                  </a:lnTo>
                  <a:lnTo>
                    <a:pt x="95302" y="343090"/>
                  </a:lnTo>
                  <a:lnTo>
                    <a:pt x="76242" y="309734"/>
                  </a:lnTo>
                  <a:lnTo>
                    <a:pt x="61946" y="285908"/>
                  </a:lnTo>
                  <a:lnTo>
                    <a:pt x="42886" y="257316"/>
                  </a:lnTo>
                  <a:lnTo>
                    <a:pt x="9530" y="200136"/>
                  </a:lnTo>
                  <a:lnTo>
                    <a:pt x="28590" y="195370"/>
                  </a:lnTo>
                  <a:lnTo>
                    <a:pt x="66712" y="200136"/>
                  </a:lnTo>
                  <a:lnTo>
                    <a:pt x="100068" y="204900"/>
                  </a:lnTo>
                  <a:lnTo>
                    <a:pt x="123894" y="204900"/>
                  </a:lnTo>
                  <a:lnTo>
                    <a:pt x="133424" y="214430"/>
                  </a:lnTo>
                  <a:lnTo>
                    <a:pt x="138188" y="219196"/>
                  </a:lnTo>
                  <a:lnTo>
                    <a:pt x="142954" y="223962"/>
                  </a:lnTo>
                  <a:lnTo>
                    <a:pt x="152484" y="223962"/>
                  </a:lnTo>
                  <a:lnTo>
                    <a:pt x="162014" y="223962"/>
                  </a:lnTo>
                  <a:lnTo>
                    <a:pt x="181074" y="214430"/>
                  </a:lnTo>
                  <a:lnTo>
                    <a:pt x="195370" y="209666"/>
                  </a:lnTo>
                  <a:lnTo>
                    <a:pt x="209666" y="200136"/>
                  </a:lnTo>
                  <a:lnTo>
                    <a:pt x="214430" y="195370"/>
                  </a:lnTo>
                  <a:lnTo>
                    <a:pt x="233492" y="171544"/>
                  </a:lnTo>
                  <a:lnTo>
                    <a:pt x="247786" y="157250"/>
                  </a:lnTo>
                  <a:lnTo>
                    <a:pt x="257316" y="152484"/>
                  </a:lnTo>
                  <a:lnTo>
                    <a:pt x="285908" y="152484"/>
                  </a:lnTo>
                  <a:lnTo>
                    <a:pt x="290672" y="157250"/>
                  </a:lnTo>
                  <a:lnTo>
                    <a:pt x="300204" y="152484"/>
                  </a:lnTo>
                  <a:lnTo>
                    <a:pt x="309734" y="142954"/>
                  </a:lnTo>
                  <a:lnTo>
                    <a:pt x="324028" y="128658"/>
                  </a:lnTo>
                  <a:lnTo>
                    <a:pt x="347854" y="109598"/>
                  </a:lnTo>
                  <a:lnTo>
                    <a:pt x="362150" y="104832"/>
                  </a:lnTo>
                  <a:lnTo>
                    <a:pt x="371680" y="95302"/>
                  </a:lnTo>
                  <a:lnTo>
                    <a:pt x="385976" y="95302"/>
                  </a:lnTo>
                  <a:lnTo>
                    <a:pt x="395506" y="90538"/>
                  </a:lnTo>
                  <a:lnTo>
                    <a:pt x="457452" y="42886"/>
                  </a:lnTo>
                  <a:lnTo>
                    <a:pt x="481278" y="28590"/>
                  </a:lnTo>
                  <a:lnTo>
                    <a:pt x="495574" y="28590"/>
                  </a:lnTo>
                  <a:lnTo>
                    <a:pt x="509868" y="23826"/>
                  </a:lnTo>
                  <a:lnTo>
                    <a:pt x="528930" y="19060"/>
                  </a:lnTo>
                  <a:lnTo>
                    <a:pt x="581346" y="14296"/>
                  </a:lnTo>
                  <a:lnTo>
                    <a:pt x="614702" y="9530"/>
                  </a:lnTo>
                  <a:lnTo>
                    <a:pt x="628996" y="14296"/>
                  </a:lnTo>
                  <a:lnTo>
                    <a:pt x="638528" y="14296"/>
                  </a:lnTo>
                  <a:lnTo>
                    <a:pt x="648058"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2" name="Google Shape;4519;p64">
              <a:extLst>
                <a:ext uri="{FF2B5EF4-FFF2-40B4-BE49-F238E27FC236}">
                  <a16:creationId xmlns:a16="http://schemas.microsoft.com/office/drawing/2014/main" id="{69D22374-3519-BF72-4129-B30923178508}"/>
                </a:ext>
              </a:extLst>
            </p:cNvPr>
            <p:cNvCxnSpPr/>
            <p:nvPr/>
          </p:nvCxnSpPr>
          <p:spPr>
            <a:xfrm>
              <a:off x="3119140" y="5201439"/>
              <a:ext cx="0" cy="0"/>
            </a:xfrm>
            <a:prstGeom prst="straightConnector1">
              <a:avLst/>
            </a:prstGeom>
            <a:grpFill/>
            <a:ln w="9525" cap="flat" cmpd="sng">
              <a:solidFill>
                <a:schemeClr val="bg2"/>
              </a:solidFill>
              <a:prstDash val="solid"/>
              <a:round/>
              <a:headEnd type="none" w="med" len="med"/>
              <a:tailEnd type="none" w="med" len="med"/>
            </a:ln>
          </p:spPr>
        </p:cxnSp>
        <p:cxnSp>
          <p:nvCxnSpPr>
            <p:cNvPr id="53" name="Google Shape;4520;p64">
              <a:extLst>
                <a:ext uri="{FF2B5EF4-FFF2-40B4-BE49-F238E27FC236}">
                  <a16:creationId xmlns:a16="http://schemas.microsoft.com/office/drawing/2014/main" id="{14358DCB-8895-C841-84BA-F0BD87FE1843}"/>
                </a:ext>
              </a:extLst>
            </p:cNvPr>
            <p:cNvCxnSpPr/>
            <p:nvPr/>
          </p:nvCxnSpPr>
          <p:spPr>
            <a:xfrm>
              <a:off x="3119140" y="5201439"/>
              <a:ext cx="0" cy="0"/>
            </a:xfrm>
            <a:prstGeom prst="straightConnector1">
              <a:avLst/>
            </a:prstGeom>
            <a:grpFill/>
            <a:ln w="9525" cap="flat" cmpd="sng">
              <a:solidFill>
                <a:schemeClr val="bg2"/>
              </a:solidFill>
              <a:prstDash val="solid"/>
              <a:round/>
              <a:headEnd type="none" w="med" len="med"/>
              <a:tailEnd type="none" w="med" len="med"/>
            </a:ln>
          </p:spPr>
        </p:cxnSp>
        <p:sp>
          <p:nvSpPr>
            <p:cNvPr id="54" name="Google Shape;4521;p64">
              <a:extLst>
                <a:ext uri="{FF2B5EF4-FFF2-40B4-BE49-F238E27FC236}">
                  <a16:creationId xmlns:a16="http://schemas.microsoft.com/office/drawing/2014/main" id="{4F1A792F-45A5-FD11-BA4F-05CF9626C62A}"/>
                </a:ext>
              </a:extLst>
            </p:cNvPr>
            <p:cNvSpPr/>
            <p:nvPr/>
          </p:nvSpPr>
          <p:spPr>
            <a:xfrm>
              <a:off x="3241871" y="4700671"/>
              <a:ext cx="4594" cy="5251"/>
            </a:xfrm>
            <a:custGeom>
              <a:avLst/>
              <a:gdLst/>
              <a:ahLst/>
              <a:cxnLst/>
              <a:rect l="l" t="t" r="r" b="b"/>
              <a:pathLst>
                <a:path w="14" h="16" extrusionOk="0">
                  <a:moveTo>
                    <a:pt x="10" y="16"/>
                  </a:moveTo>
                  <a:lnTo>
                    <a:pt x="14" y="10"/>
                  </a:lnTo>
                  <a:lnTo>
                    <a:pt x="10" y="8"/>
                  </a:lnTo>
                  <a:lnTo>
                    <a:pt x="4" y="0"/>
                  </a:lnTo>
                  <a:lnTo>
                    <a:pt x="0" y="0"/>
                  </a:lnTo>
                  <a:lnTo>
                    <a:pt x="0" y="10"/>
                  </a:lnTo>
                  <a:lnTo>
                    <a:pt x="2" y="14"/>
                  </a:lnTo>
                  <a:lnTo>
                    <a:pt x="8" y="16"/>
                  </a:lnTo>
                  <a:lnTo>
                    <a:pt x="10"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5" name="Google Shape;4522;p64">
              <a:extLst>
                <a:ext uri="{FF2B5EF4-FFF2-40B4-BE49-F238E27FC236}">
                  <a16:creationId xmlns:a16="http://schemas.microsoft.com/office/drawing/2014/main" id="{91247387-5024-2EAA-43BC-921D9B4C5CB2}"/>
                </a:ext>
              </a:extLst>
            </p:cNvPr>
            <p:cNvCxnSpPr/>
            <p:nvPr/>
          </p:nvCxnSpPr>
          <p:spPr>
            <a:xfrm>
              <a:off x="3245153" y="4705922"/>
              <a:ext cx="0" cy="0"/>
            </a:xfrm>
            <a:prstGeom prst="straightConnector1">
              <a:avLst/>
            </a:prstGeom>
            <a:grpFill/>
            <a:ln w="9525" cap="flat" cmpd="sng">
              <a:solidFill>
                <a:schemeClr val="bg2"/>
              </a:solidFill>
              <a:prstDash val="solid"/>
              <a:round/>
              <a:headEnd type="none" w="med" len="med"/>
              <a:tailEnd type="none" w="med" len="med"/>
            </a:ln>
          </p:spPr>
        </p:cxnSp>
        <p:cxnSp>
          <p:nvCxnSpPr>
            <p:cNvPr id="56" name="Google Shape;4523;p64">
              <a:extLst>
                <a:ext uri="{FF2B5EF4-FFF2-40B4-BE49-F238E27FC236}">
                  <a16:creationId xmlns:a16="http://schemas.microsoft.com/office/drawing/2014/main" id="{88BA30CC-7878-11BF-401B-05227C356819}"/>
                </a:ext>
              </a:extLst>
            </p:cNvPr>
            <p:cNvCxnSpPr/>
            <p:nvPr/>
          </p:nvCxnSpPr>
          <p:spPr>
            <a:xfrm>
              <a:off x="3245153" y="4705922"/>
              <a:ext cx="0" cy="0"/>
            </a:xfrm>
            <a:prstGeom prst="straightConnector1">
              <a:avLst/>
            </a:prstGeom>
            <a:grpFill/>
            <a:ln w="9525" cap="flat" cmpd="sng">
              <a:solidFill>
                <a:schemeClr val="bg2"/>
              </a:solidFill>
              <a:prstDash val="solid"/>
              <a:round/>
              <a:headEnd type="none" w="med" len="med"/>
              <a:tailEnd type="none" w="med" len="med"/>
            </a:ln>
          </p:spPr>
        </p:cxnSp>
        <p:sp>
          <p:nvSpPr>
            <p:cNvPr id="57" name="Google Shape;4524;p64">
              <a:extLst>
                <a:ext uri="{FF2B5EF4-FFF2-40B4-BE49-F238E27FC236}">
                  <a16:creationId xmlns:a16="http://schemas.microsoft.com/office/drawing/2014/main" id="{65BE8E1A-8B7F-09D0-5C69-CF304B6D7CE6}"/>
                </a:ext>
              </a:extLst>
            </p:cNvPr>
            <p:cNvSpPr/>
            <p:nvPr/>
          </p:nvSpPr>
          <p:spPr>
            <a:xfrm>
              <a:off x="6979255" y="4881158"/>
              <a:ext cx="26253" cy="21659"/>
            </a:xfrm>
            <a:custGeom>
              <a:avLst/>
              <a:gdLst/>
              <a:ahLst/>
              <a:cxnLst/>
              <a:rect l="l" t="t" r="r" b="b"/>
              <a:pathLst>
                <a:path w="190604" h="157248" extrusionOk="0">
                  <a:moveTo>
                    <a:pt x="142952" y="19060"/>
                  </a:moveTo>
                  <a:lnTo>
                    <a:pt x="162016" y="19060"/>
                  </a:lnTo>
                  <a:lnTo>
                    <a:pt x="166780" y="28590"/>
                  </a:lnTo>
                  <a:lnTo>
                    <a:pt x="176308" y="42886"/>
                  </a:lnTo>
                  <a:lnTo>
                    <a:pt x="181076" y="61946"/>
                  </a:lnTo>
                  <a:lnTo>
                    <a:pt x="185840" y="90536"/>
                  </a:lnTo>
                  <a:lnTo>
                    <a:pt x="190604" y="104832"/>
                  </a:lnTo>
                  <a:lnTo>
                    <a:pt x="185840" y="104832"/>
                  </a:lnTo>
                  <a:lnTo>
                    <a:pt x="181076" y="109596"/>
                  </a:lnTo>
                  <a:lnTo>
                    <a:pt x="166780" y="104832"/>
                  </a:lnTo>
                  <a:lnTo>
                    <a:pt x="157248" y="100066"/>
                  </a:lnTo>
                  <a:lnTo>
                    <a:pt x="147720" y="71476"/>
                  </a:lnTo>
                  <a:lnTo>
                    <a:pt x="142952" y="52416"/>
                  </a:lnTo>
                  <a:close/>
                  <a:moveTo>
                    <a:pt x="138188" y="0"/>
                  </a:moveTo>
                  <a:lnTo>
                    <a:pt x="147720" y="4764"/>
                  </a:lnTo>
                  <a:lnTo>
                    <a:pt x="147720" y="9530"/>
                  </a:lnTo>
                  <a:lnTo>
                    <a:pt x="142952" y="19060"/>
                  </a:lnTo>
                  <a:lnTo>
                    <a:pt x="133424" y="28590"/>
                  </a:lnTo>
                  <a:lnTo>
                    <a:pt x="119128" y="38120"/>
                  </a:lnTo>
                  <a:lnTo>
                    <a:pt x="104832" y="42886"/>
                  </a:lnTo>
                  <a:lnTo>
                    <a:pt x="100068" y="47650"/>
                  </a:lnTo>
                  <a:lnTo>
                    <a:pt x="104832" y="57180"/>
                  </a:lnTo>
                  <a:lnTo>
                    <a:pt x="104832" y="76240"/>
                  </a:lnTo>
                  <a:lnTo>
                    <a:pt x="109600" y="90536"/>
                  </a:lnTo>
                  <a:lnTo>
                    <a:pt x="114364" y="95302"/>
                  </a:lnTo>
                  <a:lnTo>
                    <a:pt x="114364" y="100066"/>
                  </a:lnTo>
                  <a:lnTo>
                    <a:pt x="114364" y="104832"/>
                  </a:lnTo>
                  <a:lnTo>
                    <a:pt x="104832" y="119128"/>
                  </a:lnTo>
                  <a:lnTo>
                    <a:pt x="109600" y="119128"/>
                  </a:lnTo>
                  <a:lnTo>
                    <a:pt x="104832" y="133422"/>
                  </a:lnTo>
                  <a:lnTo>
                    <a:pt x="100068" y="147718"/>
                  </a:lnTo>
                  <a:lnTo>
                    <a:pt x="85772" y="157248"/>
                  </a:lnTo>
                  <a:lnTo>
                    <a:pt x="81008" y="157248"/>
                  </a:lnTo>
                  <a:lnTo>
                    <a:pt x="76244" y="152482"/>
                  </a:lnTo>
                  <a:lnTo>
                    <a:pt x="66712" y="142952"/>
                  </a:lnTo>
                  <a:lnTo>
                    <a:pt x="52416" y="128658"/>
                  </a:lnTo>
                  <a:lnTo>
                    <a:pt x="52416" y="123892"/>
                  </a:lnTo>
                  <a:lnTo>
                    <a:pt x="33356" y="119128"/>
                  </a:lnTo>
                  <a:lnTo>
                    <a:pt x="28592" y="114362"/>
                  </a:lnTo>
                  <a:lnTo>
                    <a:pt x="28592" y="104832"/>
                  </a:lnTo>
                  <a:lnTo>
                    <a:pt x="23824" y="95302"/>
                  </a:lnTo>
                  <a:lnTo>
                    <a:pt x="19060" y="85772"/>
                  </a:lnTo>
                  <a:lnTo>
                    <a:pt x="9532" y="81006"/>
                  </a:lnTo>
                  <a:lnTo>
                    <a:pt x="0" y="71476"/>
                  </a:lnTo>
                  <a:lnTo>
                    <a:pt x="14296" y="71476"/>
                  </a:lnTo>
                  <a:lnTo>
                    <a:pt x="33356" y="66710"/>
                  </a:lnTo>
                  <a:lnTo>
                    <a:pt x="52416" y="57180"/>
                  </a:lnTo>
                  <a:lnTo>
                    <a:pt x="71476" y="47650"/>
                  </a:lnTo>
                  <a:lnTo>
                    <a:pt x="85772" y="38120"/>
                  </a:lnTo>
                  <a:lnTo>
                    <a:pt x="100068" y="23824"/>
                  </a:lnTo>
                  <a:lnTo>
                    <a:pt x="114364" y="1429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8" name="Google Shape;4525;p64">
              <a:extLst>
                <a:ext uri="{FF2B5EF4-FFF2-40B4-BE49-F238E27FC236}">
                  <a16:creationId xmlns:a16="http://schemas.microsoft.com/office/drawing/2014/main" id="{F15F27DE-4E68-D82C-BFC4-F2FD92A0ADD2}"/>
                </a:ext>
              </a:extLst>
            </p:cNvPr>
            <p:cNvSpPr/>
            <p:nvPr/>
          </p:nvSpPr>
          <p:spPr>
            <a:xfrm>
              <a:off x="4954853" y="5378316"/>
              <a:ext cx="202145" cy="211333"/>
            </a:xfrm>
            <a:custGeom>
              <a:avLst/>
              <a:gdLst/>
              <a:ahLst/>
              <a:cxnLst/>
              <a:rect l="l" t="t" r="r" b="b"/>
              <a:pathLst>
                <a:path w="616" h="644" extrusionOk="0">
                  <a:moveTo>
                    <a:pt x="346" y="0"/>
                  </a:moveTo>
                  <a:lnTo>
                    <a:pt x="344" y="0"/>
                  </a:lnTo>
                  <a:lnTo>
                    <a:pt x="324" y="2"/>
                  </a:lnTo>
                  <a:lnTo>
                    <a:pt x="316" y="6"/>
                  </a:lnTo>
                  <a:lnTo>
                    <a:pt x="298" y="18"/>
                  </a:lnTo>
                  <a:lnTo>
                    <a:pt x="294" y="16"/>
                  </a:lnTo>
                  <a:lnTo>
                    <a:pt x="290" y="14"/>
                  </a:lnTo>
                  <a:lnTo>
                    <a:pt x="288" y="14"/>
                  </a:lnTo>
                  <a:lnTo>
                    <a:pt x="280" y="16"/>
                  </a:lnTo>
                  <a:lnTo>
                    <a:pt x="272" y="20"/>
                  </a:lnTo>
                  <a:lnTo>
                    <a:pt x="264" y="26"/>
                  </a:lnTo>
                  <a:lnTo>
                    <a:pt x="256" y="30"/>
                  </a:lnTo>
                  <a:lnTo>
                    <a:pt x="254" y="34"/>
                  </a:lnTo>
                  <a:lnTo>
                    <a:pt x="244" y="44"/>
                  </a:lnTo>
                  <a:lnTo>
                    <a:pt x="240" y="46"/>
                  </a:lnTo>
                  <a:lnTo>
                    <a:pt x="238" y="46"/>
                  </a:lnTo>
                  <a:lnTo>
                    <a:pt x="236" y="46"/>
                  </a:lnTo>
                  <a:lnTo>
                    <a:pt x="234" y="42"/>
                  </a:lnTo>
                  <a:lnTo>
                    <a:pt x="228" y="30"/>
                  </a:lnTo>
                  <a:lnTo>
                    <a:pt x="218" y="16"/>
                  </a:lnTo>
                  <a:lnTo>
                    <a:pt x="214" y="16"/>
                  </a:lnTo>
                  <a:lnTo>
                    <a:pt x="212" y="14"/>
                  </a:lnTo>
                  <a:lnTo>
                    <a:pt x="204" y="16"/>
                  </a:lnTo>
                  <a:lnTo>
                    <a:pt x="182" y="18"/>
                  </a:lnTo>
                  <a:lnTo>
                    <a:pt x="162" y="22"/>
                  </a:lnTo>
                  <a:lnTo>
                    <a:pt x="134" y="28"/>
                  </a:lnTo>
                  <a:lnTo>
                    <a:pt x="102" y="32"/>
                  </a:lnTo>
                  <a:lnTo>
                    <a:pt x="82" y="36"/>
                  </a:lnTo>
                  <a:lnTo>
                    <a:pt x="66" y="36"/>
                  </a:lnTo>
                  <a:lnTo>
                    <a:pt x="66" y="50"/>
                  </a:lnTo>
                  <a:lnTo>
                    <a:pt x="66" y="78"/>
                  </a:lnTo>
                  <a:lnTo>
                    <a:pt x="66" y="278"/>
                  </a:lnTo>
                  <a:lnTo>
                    <a:pt x="66" y="292"/>
                  </a:lnTo>
                  <a:lnTo>
                    <a:pt x="66" y="294"/>
                  </a:lnTo>
                  <a:lnTo>
                    <a:pt x="0" y="294"/>
                  </a:lnTo>
                  <a:lnTo>
                    <a:pt x="0" y="492"/>
                  </a:lnTo>
                  <a:lnTo>
                    <a:pt x="4" y="494"/>
                  </a:lnTo>
                  <a:lnTo>
                    <a:pt x="24" y="510"/>
                  </a:lnTo>
                  <a:lnTo>
                    <a:pt x="30" y="518"/>
                  </a:lnTo>
                  <a:lnTo>
                    <a:pt x="32" y="524"/>
                  </a:lnTo>
                  <a:lnTo>
                    <a:pt x="42" y="544"/>
                  </a:lnTo>
                  <a:lnTo>
                    <a:pt x="48" y="562"/>
                  </a:lnTo>
                  <a:lnTo>
                    <a:pt x="54" y="574"/>
                  </a:lnTo>
                  <a:lnTo>
                    <a:pt x="54" y="580"/>
                  </a:lnTo>
                  <a:lnTo>
                    <a:pt x="54" y="586"/>
                  </a:lnTo>
                  <a:lnTo>
                    <a:pt x="56" y="590"/>
                  </a:lnTo>
                  <a:lnTo>
                    <a:pt x="54" y="592"/>
                  </a:lnTo>
                  <a:lnTo>
                    <a:pt x="50" y="600"/>
                  </a:lnTo>
                  <a:lnTo>
                    <a:pt x="46" y="606"/>
                  </a:lnTo>
                  <a:lnTo>
                    <a:pt x="42" y="614"/>
                  </a:lnTo>
                  <a:lnTo>
                    <a:pt x="42" y="624"/>
                  </a:lnTo>
                  <a:lnTo>
                    <a:pt x="44" y="634"/>
                  </a:lnTo>
                  <a:lnTo>
                    <a:pt x="46" y="640"/>
                  </a:lnTo>
                  <a:lnTo>
                    <a:pt x="50" y="642"/>
                  </a:lnTo>
                  <a:lnTo>
                    <a:pt x="58" y="640"/>
                  </a:lnTo>
                  <a:lnTo>
                    <a:pt x="64" y="640"/>
                  </a:lnTo>
                  <a:lnTo>
                    <a:pt x="72" y="642"/>
                  </a:lnTo>
                  <a:lnTo>
                    <a:pt x="96" y="642"/>
                  </a:lnTo>
                  <a:lnTo>
                    <a:pt x="100" y="642"/>
                  </a:lnTo>
                  <a:lnTo>
                    <a:pt x="110" y="644"/>
                  </a:lnTo>
                  <a:lnTo>
                    <a:pt x="112" y="642"/>
                  </a:lnTo>
                  <a:lnTo>
                    <a:pt x="116" y="640"/>
                  </a:lnTo>
                  <a:lnTo>
                    <a:pt x="118" y="632"/>
                  </a:lnTo>
                  <a:lnTo>
                    <a:pt x="122" y="630"/>
                  </a:lnTo>
                  <a:lnTo>
                    <a:pt x="126" y="628"/>
                  </a:lnTo>
                  <a:lnTo>
                    <a:pt x="134" y="628"/>
                  </a:lnTo>
                  <a:lnTo>
                    <a:pt x="138" y="624"/>
                  </a:lnTo>
                  <a:lnTo>
                    <a:pt x="146" y="610"/>
                  </a:lnTo>
                  <a:lnTo>
                    <a:pt x="164" y="596"/>
                  </a:lnTo>
                  <a:lnTo>
                    <a:pt x="168" y="594"/>
                  </a:lnTo>
                  <a:lnTo>
                    <a:pt x="172" y="590"/>
                  </a:lnTo>
                  <a:lnTo>
                    <a:pt x="174" y="586"/>
                  </a:lnTo>
                  <a:lnTo>
                    <a:pt x="180" y="570"/>
                  </a:lnTo>
                  <a:lnTo>
                    <a:pt x="184" y="558"/>
                  </a:lnTo>
                  <a:lnTo>
                    <a:pt x="186" y="552"/>
                  </a:lnTo>
                  <a:lnTo>
                    <a:pt x="190" y="542"/>
                  </a:lnTo>
                  <a:lnTo>
                    <a:pt x="194" y="534"/>
                  </a:lnTo>
                  <a:lnTo>
                    <a:pt x="200" y="532"/>
                  </a:lnTo>
                  <a:lnTo>
                    <a:pt x="202" y="530"/>
                  </a:lnTo>
                  <a:lnTo>
                    <a:pt x="208" y="528"/>
                  </a:lnTo>
                  <a:lnTo>
                    <a:pt x="216" y="528"/>
                  </a:lnTo>
                  <a:lnTo>
                    <a:pt x="224" y="530"/>
                  </a:lnTo>
                  <a:lnTo>
                    <a:pt x="232" y="534"/>
                  </a:lnTo>
                  <a:lnTo>
                    <a:pt x="242" y="540"/>
                  </a:lnTo>
                  <a:lnTo>
                    <a:pt x="252" y="548"/>
                  </a:lnTo>
                  <a:lnTo>
                    <a:pt x="256" y="552"/>
                  </a:lnTo>
                  <a:lnTo>
                    <a:pt x="262" y="554"/>
                  </a:lnTo>
                  <a:lnTo>
                    <a:pt x="270" y="554"/>
                  </a:lnTo>
                  <a:lnTo>
                    <a:pt x="276" y="554"/>
                  </a:lnTo>
                  <a:lnTo>
                    <a:pt x="286" y="562"/>
                  </a:lnTo>
                  <a:lnTo>
                    <a:pt x="290" y="562"/>
                  </a:lnTo>
                  <a:lnTo>
                    <a:pt x="300" y="564"/>
                  </a:lnTo>
                  <a:lnTo>
                    <a:pt x="312" y="568"/>
                  </a:lnTo>
                  <a:lnTo>
                    <a:pt x="320" y="568"/>
                  </a:lnTo>
                  <a:lnTo>
                    <a:pt x="330" y="562"/>
                  </a:lnTo>
                  <a:lnTo>
                    <a:pt x="334" y="562"/>
                  </a:lnTo>
                  <a:lnTo>
                    <a:pt x="342" y="562"/>
                  </a:lnTo>
                  <a:lnTo>
                    <a:pt x="352" y="562"/>
                  </a:lnTo>
                  <a:lnTo>
                    <a:pt x="358" y="560"/>
                  </a:lnTo>
                  <a:lnTo>
                    <a:pt x="364" y="556"/>
                  </a:lnTo>
                  <a:lnTo>
                    <a:pt x="368" y="552"/>
                  </a:lnTo>
                  <a:lnTo>
                    <a:pt x="372" y="540"/>
                  </a:lnTo>
                  <a:lnTo>
                    <a:pt x="376" y="530"/>
                  </a:lnTo>
                  <a:lnTo>
                    <a:pt x="380" y="518"/>
                  </a:lnTo>
                  <a:lnTo>
                    <a:pt x="384" y="504"/>
                  </a:lnTo>
                  <a:lnTo>
                    <a:pt x="386" y="492"/>
                  </a:lnTo>
                  <a:lnTo>
                    <a:pt x="388" y="490"/>
                  </a:lnTo>
                  <a:lnTo>
                    <a:pt x="396" y="486"/>
                  </a:lnTo>
                  <a:lnTo>
                    <a:pt x="404" y="484"/>
                  </a:lnTo>
                  <a:lnTo>
                    <a:pt x="420" y="480"/>
                  </a:lnTo>
                  <a:lnTo>
                    <a:pt x="424" y="478"/>
                  </a:lnTo>
                  <a:lnTo>
                    <a:pt x="428" y="474"/>
                  </a:lnTo>
                  <a:lnTo>
                    <a:pt x="436" y="464"/>
                  </a:lnTo>
                  <a:lnTo>
                    <a:pt x="444" y="458"/>
                  </a:lnTo>
                  <a:lnTo>
                    <a:pt x="450" y="454"/>
                  </a:lnTo>
                  <a:lnTo>
                    <a:pt x="458" y="420"/>
                  </a:lnTo>
                  <a:lnTo>
                    <a:pt x="460" y="414"/>
                  </a:lnTo>
                  <a:lnTo>
                    <a:pt x="466" y="406"/>
                  </a:lnTo>
                  <a:lnTo>
                    <a:pt x="470" y="402"/>
                  </a:lnTo>
                  <a:lnTo>
                    <a:pt x="472" y="402"/>
                  </a:lnTo>
                  <a:lnTo>
                    <a:pt x="476" y="400"/>
                  </a:lnTo>
                  <a:lnTo>
                    <a:pt x="480" y="394"/>
                  </a:lnTo>
                  <a:lnTo>
                    <a:pt x="486" y="392"/>
                  </a:lnTo>
                  <a:lnTo>
                    <a:pt x="492" y="390"/>
                  </a:lnTo>
                  <a:lnTo>
                    <a:pt x="498" y="388"/>
                  </a:lnTo>
                  <a:lnTo>
                    <a:pt x="498" y="382"/>
                  </a:lnTo>
                  <a:lnTo>
                    <a:pt x="502" y="380"/>
                  </a:lnTo>
                  <a:lnTo>
                    <a:pt x="508" y="380"/>
                  </a:lnTo>
                  <a:lnTo>
                    <a:pt x="510" y="378"/>
                  </a:lnTo>
                  <a:lnTo>
                    <a:pt x="510" y="376"/>
                  </a:lnTo>
                  <a:lnTo>
                    <a:pt x="514" y="372"/>
                  </a:lnTo>
                  <a:lnTo>
                    <a:pt x="518" y="370"/>
                  </a:lnTo>
                  <a:lnTo>
                    <a:pt x="522" y="368"/>
                  </a:lnTo>
                  <a:lnTo>
                    <a:pt x="522" y="364"/>
                  </a:lnTo>
                  <a:lnTo>
                    <a:pt x="528" y="356"/>
                  </a:lnTo>
                  <a:lnTo>
                    <a:pt x="540" y="342"/>
                  </a:lnTo>
                  <a:lnTo>
                    <a:pt x="550" y="336"/>
                  </a:lnTo>
                  <a:lnTo>
                    <a:pt x="562" y="334"/>
                  </a:lnTo>
                  <a:lnTo>
                    <a:pt x="572" y="332"/>
                  </a:lnTo>
                  <a:lnTo>
                    <a:pt x="580" y="328"/>
                  </a:lnTo>
                  <a:lnTo>
                    <a:pt x="588" y="322"/>
                  </a:lnTo>
                  <a:lnTo>
                    <a:pt x="592" y="314"/>
                  </a:lnTo>
                  <a:lnTo>
                    <a:pt x="600" y="308"/>
                  </a:lnTo>
                  <a:lnTo>
                    <a:pt x="616" y="308"/>
                  </a:lnTo>
                  <a:lnTo>
                    <a:pt x="612" y="304"/>
                  </a:lnTo>
                  <a:lnTo>
                    <a:pt x="606" y="300"/>
                  </a:lnTo>
                  <a:lnTo>
                    <a:pt x="598" y="298"/>
                  </a:lnTo>
                  <a:lnTo>
                    <a:pt x="596" y="296"/>
                  </a:lnTo>
                  <a:lnTo>
                    <a:pt x="594" y="294"/>
                  </a:lnTo>
                  <a:lnTo>
                    <a:pt x="592" y="292"/>
                  </a:lnTo>
                  <a:lnTo>
                    <a:pt x="592" y="290"/>
                  </a:lnTo>
                  <a:lnTo>
                    <a:pt x="594" y="280"/>
                  </a:lnTo>
                  <a:lnTo>
                    <a:pt x="592" y="280"/>
                  </a:lnTo>
                  <a:lnTo>
                    <a:pt x="590" y="278"/>
                  </a:lnTo>
                  <a:lnTo>
                    <a:pt x="586" y="278"/>
                  </a:lnTo>
                  <a:lnTo>
                    <a:pt x="574" y="272"/>
                  </a:lnTo>
                  <a:lnTo>
                    <a:pt x="560" y="270"/>
                  </a:lnTo>
                  <a:lnTo>
                    <a:pt x="538" y="264"/>
                  </a:lnTo>
                  <a:lnTo>
                    <a:pt x="528" y="264"/>
                  </a:lnTo>
                  <a:lnTo>
                    <a:pt x="526" y="262"/>
                  </a:lnTo>
                  <a:lnTo>
                    <a:pt x="524" y="258"/>
                  </a:lnTo>
                  <a:lnTo>
                    <a:pt x="520" y="248"/>
                  </a:lnTo>
                  <a:lnTo>
                    <a:pt x="516" y="242"/>
                  </a:lnTo>
                  <a:lnTo>
                    <a:pt x="506" y="230"/>
                  </a:lnTo>
                  <a:lnTo>
                    <a:pt x="504" y="228"/>
                  </a:lnTo>
                  <a:lnTo>
                    <a:pt x="504" y="220"/>
                  </a:lnTo>
                  <a:lnTo>
                    <a:pt x="506" y="212"/>
                  </a:lnTo>
                  <a:lnTo>
                    <a:pt x="506" y="206"/>
                  </a:lnTo>
                  <a:lnTo>
                    <a:pt x="506" y="202"/>
                  </a:lnTo>
                  <a:lnTo>
                    <a:pt x="506" y="194"/>
                  </a:lnTo>
                  <a:lnTo>
                    <a:pt x="506" y="190"/>
                  </a:lnTo>
                  <a:lnTo>
                    <a:pt x="504" y="188"/>
                  </a:lnTo>
                  <a:lnTo>
                    <a:pt x="502" y="186"/>
                  </a:lnTo>
                  <a:lnTo>
                    <a:pt x="490" y="186"/>
                  </a:lnTo>
                  <a:lnTo>
                    <a:pt x="478" y="186"/>
                  </a:lnTo>
                  <a:lnTo>
                    <a:pt x="478" y="180"/>
                  </a:lnTo>
                  <a:lnTo>
                    <a:pt x="478" y="170"/>
                  </a:lnTo>
                  <a:lnTo>
                    <a:pt x="474" y="164"/>
                  </a:lnTo>
                  <a:lnTo>
                    <a:pt x="472" y="160"/>
                  </a:lnTo>
                  <a:lnTo>
                    <a:pt x="466" y="156"/>
                  </a:lnTo>
                  <a:lnTo>
                    <a:pt x="454" y="152"/>
                  </a:lnTo>
                  <a:lnTo>
                    <a:pt x="440" y="146"/>
                  </a:lnTo>
                  <a:lnTo>
                    <a:pt x="426" y="136"/>
                  </a:lnTo>
                  <a:lnTo>
                    <a:pt x="410" y="124"/>
                  </a:lnTo>
                  <a:lnTo>
                    <a:pt x="406" y="122"/>
                  </a:lnTo>
                  <a:lnTo>
                    <a:pt x="400" y="110"/>
                  </a:lnTo>
                  <a:lnTo>
                    <a:pt x="392" y="90"/>
                  </a:lnTo>
                  <a:lnTo>
                    <a:pt x="392" y="82"/>
                  </a:lnTo>
                  <a:lnTo>
                    <a:pt x="390" y="80"/>
                  </a:lnTo>
                  <a:lnTo>
                    <a:pt x="382" y="70"/>
                  </a:lnTo>
                  <a:lnTo>
                    <a:pt x="380" y="64"/>
                  </a:lnTo>
                  <a:lnTo>
                    <a:pt x="380" y="60"/>
                  </a:lnTo>
                  <a:lnTo>
                    <a:pt x="366" y="44"/>
                  </a:lnTo>
                  <a:lnTo>
                    <a:pt x="360" y="38"/>
                  </a:lnTo>
                  <a:lnTo>
                    <a:pt x="358" y="30"/>
                  </a:lnTo>
                  <a:lnTo>
                    <a:pt x="354" y="24"/>
                  </a:lnTo>
                  <a:lnTo>
                    <a:pt x="352" y="22"/>
                  </a:lnTo>
                  <a:lnTo>
                    <a:pt x="348" y="18"/>
                  </a:lnTo>
                  <a:lnTo>
                    <a:pt x="346" y="12"/>
                  </a:lnTo>
                  <a:lnTo>
                    <a:pt x="344" y="8"/>
                  </a:lnTo>
                  <a:lnTo>
                    <a:pt x="344" y="4"/>
                  </a:lnTo>
                  <a:lnTo>
                    <a:pt x="34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9" name="Google Shape;4526;p64">
              <a:extLst>
                <a:ext uri="{FF2B5EF4-FFF2-40B4-BE49-F238E27FC236}">
                  <a16:creationId xmlns:a16="http://schemas.microsoft.com/office/drawing/2014/main" id="{177F5506-4718-B84C-1786-1B82A80EDABF}"/>
                </a:ext>
              </a:extLst>
            </p:cNvPr>
            <p:cNvSpPr/>
            <p:nvPr/>
          </p:nvSpPr>
          <p:spPr>
            <a:xfrm>
              <a:off x="4835404" y="4751864"/>
              <a:ext cx="278934" cy="189019"/>
            </a:xfrm>
            <a:custGeom>
              <a:avLst/>
              <a:gdLst/>
              <a:ahLst/>
              <a:cxnLst/>
              <a:rect l="l" t="t" r="r" b="b"/>
              <a:pathLst>
                <a:path w="850" h="576" extrusionOk="0">
                  <a:moveTo>
                    <a:pt x="552" y="4"/>
                  </a:moveTo>
                  <a:lnTo>
                    <a:pt x="550" y="4"/>
                  </a:lnTo>
                  <a:lnTo>
                    <a:pt x="544" y="2"/>
                  </a:lnTo>
                  <a:lnTo>
                    <a:pt x="538" y="0"/>
                  </a:lnTo>
                  <a:lnTo>
                    <a:pt x="528" y="0"/>
                  </a:lnTo>
                  <a:lnTo>
                    <a:pt x="520" y="2"/>
                  </a:lnTo>
                  <a:lnTo>
                    <a:pt x="512" y="6"/>
                  </a:lnTo>
                  <a:lnTo>
                    <a:pt x="508" y="10"/>
                  </a:lnTo>
                  <a:lnTo>
                    <a:pt x="506" y="10"/>
                  </a:lnTo>
                  <a:lnTo>
                    <a:pt x="502" y="10"/>
                  </a:lnTo>
                  <a:lnTo>
                    <a:pt x="500" y="10"/>
                  </a:lnTo>
                  <a:lnTo>
                    <a:pt x="498" y="14"/>
                  </a:lnTo>
                  <a:lnTo>
                    <a:pt x="494" y="16"/>
                  </a:lnTo>
                  <a:lnTo>
                    <a:pt x="482" y="22"/>
                  </a:lnTo>
                  <a:lnTo>
                    <a:pt x="478" y="26"/>
                  </a:lnTo>
                  <a:lnTo>
                    <a:pt x="478" y="28"/>
                  </a:lnTo>
                  <a:lnTo>
                    <a:pt x="478" y="30"/>
                  </a:lnTo>
                  <a:lnTo>
                    <a:pt x="478" y="34"/>
                  </a:lnTo>
                  <a:lnTo>
                    <a:pt x="478" y="42"/>
                  </a:lnTo>
                  <a:lnTo>
                    <a:pt x="476" y="46"/>
                  </a:lnTo>
                  <a:lnTo>
                    <a:pt x="472" y="50"/>
                  </a:lnTo>
                  <a:lnTo>
                    <a:pt x="468" y="50"/>
                  </a:lnTo>
                  <a:lnTo>
                    <a:pt x="466" y="52"/>
                  </a:lnTo>
                  <a:lnTo>
                    <a:pt x="464" y="54"/>
                  </a:lnTo>
                  <a:lnTo>
                    <a:pt x="456" y="66"/>
                  </a:lnTo>
                  <a:lnTo>
                    <a:pt x="454" y="68"/>
                  </a:lnTo>
                  <a:lnTo>
                    <a:pt x="448" y="68"/>
                  </a:lnTo>
                  <a:lnTo>
                    <a:pt x="432" y="84"/>
                  </a:lnTo>
                  <a:lnTo>
                    <a:pt x="430" y="90"/>
                  </a:lnTo>
                  <a:lnTo>
                    <a:pt x="424" y="96"/>
                  </a:lnTo>
                  <a:lnTo>
                    <a:pt x="416" y="106"/>
                  </a:lnTo>
                  <a:lnTo>
                    <a:pt x="410" y="110"/>
                  </a:lnTo>
                  <a:lnTo>
                    <a:pt x="408" y="110"/>
                  </a:lnTo>
                  <a:lnTo>
                    <a:pt x="406" y="112"/>
                  </a:lnTo>
                  <a:lnTo>
                    <a:pt x="402" y="114"/>
                  </a:lnTo>
                  <a:lnTo>
                    <a:pt x="388" y="124"/>
                  </a:lnTo>
                  <a:lnTo>
                    <a:pt x="370" y="124"/>
                  </a:lnTo>
                  <a:lnTo>
                    <a:pt x="362" y="128"/>
                  </a:lnTo>
                  <a:lnTo>
                    <a:pt x="354" y="128"/>
                  </a:lnTo>
                  <a:lnTo>
                    <a:pt x="344" y="130"/>
                  </a:lnTo>
                  <a:lnTo>
                    <a:pt x="340" y="130"/>
                  </a:lnTo>
                  <a:lnTo>
                    <a:pt x="326" y="132"/>
                  </a:lnTo>
                  <a:lnTo>
                    <a:pt x="310" y="130"/>
                  </a:lnTo>
                  <a:lnTo>
                    <a:pt x="302" y="132"/>
                  </a:lnTo>
                  <a:lnTo>
                    <a:pt x="296" y="136"/>
                  </a:lnTo>
                  <a:lnTo>
                    <a:pt x="292" y="140"/>
                  </a:lnTo>
                  <a:lnTo>
                    <a:pt x="292" y="140"/>
                  </a:lnTo>
                  <a:lnTo>
                    <a:pt x="292" y="142"/>
                  </a:lnTo>
                  <a:lnTo>
                    <a:pt x="292" y="144"/>
                  </a:lnTo>
                  <a:lnTo>
                    <a:pt x="304" y="152"/>
                  </a:lnTo>
                  <a:lnTo>
                    <a:pt x="306" y="154"/>
                  </a:lnTo>
                  <a:lnTo>
                    <a:pt x="304" y="158"/>
                  </a:lnTo>
                  <a:lnTo>
                    <a:pt x="302" y="160"/>
                  </a:lnTo>
                  <a:lnTo>
                    <a:pt x="302" y="160"/>
                  </a:lnTo>
                  <a:lnTo>
                    <a:pt x="300" y="162"/>
                  </a:lnTo>
                  <a:lnTo>
                    <a:pt x="294" y="172"/>
                  </a:lnTo>
                  <a:lnTo>
                    <a:pt x="284" y="182"/>
                  </a:lnTo>
                  <a:lnTo>
                    <a:pt x="278" y="186"/>
                  </a:lnTo>
                  <a:lnTo>
                    <a:pt x="276" y="188"/>
                  </a:lnTo>
                  <a:lnTo>
                    <a:pt x="272" y="194"/>
                  </a:lnTo>
                  <a:lnTo>
                    <a:pt x="272" y="196"/>
                  </a:lnTo>
                  <a:lnTo>
                    <a:pt x="264" y="196"/>
                  </a:lnTo>
                  <a:lnTo>
                    <a:pt x="250" y="196"/>
                  </a:lnTo>
                  <a:lnTo>
                    <a:pt x="230" y="200"/>
                  </a:lnTo>
                  <a:lnTo>
                    <a:pt x="218" y="200"/>
                  </a:lnTo>
                  <a:lnTo>
                    <a:pt x="212" y="200"/>
                  </a:lnTo>
                  <a:lnTo>
                    <a:pt x="200" y="204"/>
                  </a:lnTo>
                  <a:lnTo>
                    <a:pt x="198" y="206"/>
                  </a:lnTo>
                  <a:lnTo>
                    <a:pt x="194" y="206"/>
                  </a:lnTo>
                  <a:lnTo>
                    <a:pt x="184" y="210"/>
                  </a:lnTo>
                  <a:lnTo>
                    <a:pt x="176" y="218"/>
                  </a:lnTo>
                  <a:lnTo>
                    <a:pt x="174" y="220"/>
                  </a:lnTo>
                  <a:lnTo>
                    <a:pt x="162" y="222"/>
                  </a:lnTo>
                  <a:lnTo>
                    <a:pt x="156" y="228"/>
                  </a:lnTo>
                  <a:lnTo>
                    <a:pt x="154" y="228"/>
                  </a:lnTo>
                  <a:lnTo>
                    <a:pt x="146" y="222"/>
                  </a:lnTo>
                  <a:lnTo>
                    <a:pt x="142" y="216"/>
                  </a:lnTo>
                  <a:lnTo>
                    <a:pt x="140" y="210"/>
                  </a:lnTo>
                  <a:lnTo>
                    <a:pt x="138" y="208"/>
                  </a:lnTo>
                  <a:lnTo>
                    <a:pt x="138" y="208"/>
                  </a:lnTo>
                  <a:lnTo>
                    <a:pt x="134" y="210"/>
                  </a:lnTo>
                  <a:lnTo>
                    <a:pt x="130" y="214"/>
                  </a:lnTo>
                  <a:lnTo>
                    <a:pt x="128" y="220"/>
                  </a:lnTo>
                  <a:lnTo>
                    <a:pt x="116" y="224"/>
                  </a:lnTo>
                  <a:lnTo>
                    <a:pt x="106" y="226"/>
                  </a:lnTo>
                  <a:lnTo>
                    <a:pt x="100" y="230"/>
                  </a:lnTo>
                  <a:lnTo>
                    <a:pt x="92" y="234"/>
                  </a:lnTo>
                  <a:lnTo>
                    <a:pt x="84" y="232"/>
                  </a:lnTo>
                  <a:lnTo>
                    <a:pt x="76" y="230"/>
                  </a:lnTo>
                  <a:lnTo>
                    <a:pt x="70" y="230"/>
                  </a:lnTo>
                  <a:lnTo>
                    <a:pt x="62" y="240"/>
                  </a:lnTo>
                  <a:lnTo>
                    <a:pt x="54" y="246"/>
                  </a:lnTo>
                  <a:lnTo>
                    <a:pt x="52" y="250"/>
                  </a:lnTo>
                  <a:lnTo>
                    <a:pt x="50" y="256"/>
                  </a:lnTo>
                  <a:lnTo>
                    <a:pt x="48" y="260"/>
                  </a:lnTo>
                  <a:lnTo>
                    <a:pt x="42" y="270"/>
                  </a:lnTo>
                  <a:lnTo>
                    <a:pt x="40" y="278"/>
                  </a:lnTo>
                  <a:lnTo>
                    <a:pt x="36" y="282"/>
                  </a:lnTo>
                  <a:lnTo>
                    <a:pt x="28" y="294"/>
                  </a:lnTo>
                  <a:lnTo>
                    <a:pt x="24" y="306"/>
                  </a:lnTo>
                  <a:lnTo>
                    <a:pt x="22" y="310"/>
                  </a:lnTo>
                  <a:lnTo>
                    <a:pt x="20" y="312"/>
                  </a:lnTo>
                  <a:lnTo>
                    <a:pt x="18" y="314"/>
                  </a:lnTo>
                  <a:lnTo>
                    <a:pt x="8" y="318"/>
                  </a:lnTo>
                  <a:lnTo>
                    <a:pt x="6" y="320"/>
                  </a:lnTo>
                  <a:lnTo>
                    <a:pt x="4" y="322"/>
                  </a:lnTo>
                  <a:lnTo>
                    <a:pt x="0" y="324"/>
                  </a:lnTo>
                  <a:lnTo>
                    <a:pt x="0" y="328"/>
                  </a:lnTo>
                  <a:lnTo>
                    <a:pt x="2" y="332"/>
                  </a:lnTo>
                  <a:lnTo>
                    <a:pt x="4" y="336"/>
                  </a:lnTo>
                  <a:lnTo>
                    <a:pt x="8" y="336"/>
                  </a:lnTo>
                  <a:lnTo>
                    <a:pt x="10" y="336"/>
                  </a:lnTo>
                  <a:lnTo>
                    <a:pt x="12" y="338"/>
                  </a:lnTo>
                  <a:lnTo>
                    <a:pt x="12" y="340"/>
                  </a:lnTo>
                  <a:lnTo>
                    <a:pt x="12" y="364"/>
                  </a:lnTo>
                  <a:lnTo>
                    <a:pt x="10" y="368"/>
                  </a:lnTo>
                  <a:lnTo>
                    <a:pt x="10" y="368"/>
                  </a:lnTo>
                  <a:lnTo>
                    <a:pt x="10" y="374"/>
                  </a:lnTo>
                  <a:lnTo>
                    <a:pt x="8" y="378"/>
                  </a:lnTo>
                  <a:lnTo>
                    <a:pt x="10" y="380"/>
                  </a:lnTo>
                  <a:lnTo>
                    <a:pt x="12" y="382"/>
                  </a:lnTo>
                  <a:lnTo>
                    <a:pt x="14" y="384"/>
                  </a:lnTo>
                  <a:lnTo>
                    <a:pt x="16" y="392"/>
                  </a:lnTo>
                  <a:lnTo>
                    <a:pt x="18" y="418"/>
                  </a:lnTo>
                  <a:lnTo>
                    <a:pt x="20" y="422"/>
                  </a:lnTo>
                  <a:lnTo>
                    <a:pt x="22" y="426"/>
                  </a:lnTo>
                  <a:lnTo>
                    <a:pt x="30" y="432"/>
                  </a:lnTo>
                  <a:lnTo>
                    <a:pt x="38" y="438"/>
                  </a:lnTo>
                  <a:lnTo>
                    <a:pt x="42" y="444"/>
                  </a:lnTo>
                  <a:lnTo>
                    <a:pt x="44" y="452"/>
                  </a:lnTo>
                  <a:lnTo>
                    <a:pt x="46" y="458"/>
                  </a:lnTo>
                  <a:lnTo>
                    <a:pt x="46" y="460"/>
                  </a:lnTo>
                  <a:lnTo>
                    <a:pt x="46" y="460"/>
                  </a:lnTo>
                  <a:lnTo>
                    <a:pt x="42" y="460"/>
                  </a:lnTo>
                  <a:lnTo>
                    <a:pt x="40" y="462"/>
                  </a:lnTo>
                  <a:lnTo>
                    <a:pt x="42" y="466"/>
                  </a:lnTo>
                  <a:lnTo>
                    <a:pt x="46" y="474"/>
                  </a:lnTo>
                  <a:lnTo>
                    <a:pt x="54" y="482"/>
                  </a:lnTo>
                  <a:lnTo>
                    <a:pt x="62" y="490"/>
                  </a:lnTo>
                  <a:lnTo>
                    <a:pt x="68" y="498"/>
                  </a:lnTo>
                  <a:lnTo>
                    <a:pt x="76" y="506"/>
                  </a:lnTo>
                  <a:lnTo>
                    <a:pt x="82" y="512"/>
                  </a:lnTo>
                  <a:lnTo>
                    <a:pt x="88" y="520"/>
                  </a:lnTo>
                  <a:lnTo>
                    <a:pt x="92" y="522"/>
                  </a:lnTo>
                  <a:lnTo>
                    <a:pt x="96" y="522"/>
                  </a:lnTo>
                  <a:lnTo>
                    <a:pt x="98" y="522"/>
                  </a:lnTo>
                  <a:lnTo>
                    <a:pt x="100" y="526"/>
                  </a:lnTo>
                  <a:lnTo>
                    <a:pt x="104" y="530"/>
                  </a:lnTo>
                  <a:lnTo>
                    <a:pt x="108" y="534"/>
                  </a:lnTo>
                  <a:lnTo>
                    <a:pt x="108" y="538"/>
                  </a:lnTo>
                  <a:lnTo>
                    <a:pt x="106" y="542"/>
                  </a:lnTo>
                  <a:lnTo>
                    <a:pt x="108" y="548"/>
                  </a:lnTo>
                  <a:lnTo>
                    <a:pt x="108" y="550"/>
                  </a:lnTo>
                  <a:lnTo>
                    <a:pt x="110" y="552"/>
                  </a:lnTo>
                  <a:lnTo>
                    <a:pt x="110" y="554"/>
                  </a:lnTo>
                  <a:lnTo>
                    <a:pt x="110" y="562"/>
                  </a:lnTo>
                  <a:lnTo>
                    <a:pt x="112" y="570"/>
                  </a:lnTo>
                  <a:lnTo>
                    <a:pt x="114" y="576"/>
                  </a:lnTo>
                  <a:lnTo>
                    <a:pt x="120" y="566"/>
                  </a:lnTo>
                  <a:lnTo>
                    <a:pt x="124" y="558"/>
                  </a:lnTo>
                  <a:lnTo>
                    <a:pt x="130" y="548"/>
                  </a:lnTo>
                  <a:lnTo>
                    <a:pt x="134" y="538"/>
                  </a:lnTo>
                  <a:lnTo>
                    <a:pt x="134" y="534"/>
                  </a:lnTo>
                  <a:lnTo>
                    <a:pt x="134" y="528"/>
                  </a:lnTo>
                  <a:lnTo>
                    <a:pt x="134" y="522"/>
                  </a:lnTo>
                  <a:lnTo>
                    <a:pt x="134" y="516"/>
                  </a:lnTo>
                  <a:lnTo>
                    <a:pt x="136" y="514"/>
                  </a:lnTo>
                  <a:lnTo>
                    <a:pt x="140" y="498"/>
                  </a:lnTo>
                  <a:lnTo>
                    <a:pt x="144" y="494"/>
                  </a:lnTo>
                  <a:lnTo>
                    <a:pt x="148" y="492"/>
                  </a:lnTo>
                  <a:lnTo>
                    <a:pt x="154" y="492"/>
                  </a:lnTo>
                  <a:lnTo>
                    <a:pt x="168" y="492"/>
                  </a:lnTo>
                  <a:lnTo>
                    <a:pt x="184" y="488"/>
                  </a:lnTo>
                  <a:lnTo>
                    <a:pt x="188" y="488"/>
                  </a:lnTo>
                  <a:lnTo>
                    <a:pt x="198" y="482"/>
                  </a:lnTo>
                  <a:lnTo>
                    <a:pt x="200" y="482"/>
                  </a:lnTo>
                  <a:lnTo>
                    <a:pt x="204" y="484"/>
                  </a:lnTo>
                  <a:lnTo>
                    <a:pt x="222" y="490"/>
                  </a:lnTo>
                  <a:lnTo>
                    <a:pt x="226" y="492"/>
                  </a:lnTo>
                  <a:lnTo>
                    <a:pt x="228" y="492"/>
                  </a:lnTo>
                  <a:lnTo>
                    <a:pt x="230" y="492"/>
                  </a:lnTo>
                  <a:lnTo>
                    <a:pt x="234" y="492"/>
                  </a:lnTo>
                  <a:lnTo>
                    <a:pt x="238" y="490"/>
                  </a:lnTo>
                  <a:lnTo>
                    <a:pt x="242" y="492"/>
                  </a:lnTo>
                  <a:lnTo>
                    <a:pt x="244" y="496"/>
                  </a:lnTo>
                  <a:lnTo>
                    <a:pt x="246" y="494"/>
                  </a:lnTo>
                  <a:lnTo>
                    <a:pt x="250" y="492"/>
                  </a:lnTo>
                  <a:lnTo>
                    <a:pt x="254" y="490"/>
                  </a:lnTo>
                  <a:lnTo>
                    <a:pt x="266" y="486"/>
                  </a:lnTo>
                  <a:lnTo>
                    <a:pt x="266" y="488"/>
                  </a:lnTo>
                  <a:lnTo>
                    <a:pt x="270" y="494"/>
                  </a:lnTo>
                  <a:lnTo>
                    <a:pt x="274" y="496"/>
                  </a:lnTo>
                  <a:lnTo>
                    <a:pt x="274" y="484"/>
                  </a:lnTo>
                  <a:lnTo>
                    <a:pt x="276" y="466"/>
                  </a:lnTo>
                  <a:lnTo>
                    <a:pt x="274" y="454"/>
                  </a:lnTo>
                  <a:lnTo>
                    <a:pt x="272" y="446"/>
                  </a:lnTo>
                  <a:lnTo>
                    <a:pt x="272" y="440"/>
                  </a:lnTo>
                  <a:lnTo>
                    <a:pt x="280" y="438"/>
                  </a:lnTo>
                  <a:lnTo>
                    <a:pt x="288" y="428"/>
                  </a:lnTo>
                  <a:lnTo>
                    <a:pt x="304" y="404"/>
                  </a:lnTo>
                  <a:lnTo>
                    <a:pt x="320" y="392"/>
                  </a:lnTo>
                  <a:lnTo>
                    <a:pt x="332" y="388"/>
                  </a:lnTo>
                  <a:lnTo>
                    <a:pt x="344" y="388"/>
                  </a:lnTo>
                  <a:lnTo>
                    <a:pt x="352" y="390"/>
                  </a:lnTo>
                  <a:lnTo>
                    <a:pt x="356" y="394"/>
                  </a:lnTo>
                  <a:lnTo>
                    <a:pt x="366" y="400"/>
                  </a:lnTo>
                  <a:lnTo>
                    <a:pt x="380" y="408"/>
                  </a:lnTo>
                  <a:lnTo>
                    <a:pt x="392" y="416"/>
                  </a:lnTo>
                  <a:lnTo>
                    <a:pt x="398" y="426"/>
                  </a:lnTo>
                  <a:lnTo>
                    <a:pt x="402" y="432"/>
                  </a:lnTo>
                  <a:lnTo>
                    <a:pt x="408" y="434"/>
                  </a:lnTo>
                  <a:lnTo>
                    <a:pt x="418" y="432"/>
                  </a:lnTo>
                  <a:lnTo>
                    <a:pt x="428" y="434"/>
                  </a:lnTo>
                  <a:lnTo>
                    <a:pt x="440" y="440"/>
                  </a:lnTo>
                  <a:lnTo>
                    <a:pt x="446" y="442"/>
                  </a:lnTo>
                  <a:lnTo>
                    <a:pt x="448" y="440"/>
                  </a:lnTo>
                  <a:lnTo>
                    <a:pt x="454" y="442"/>
                  </a:lnTo>
                  <a:lnTo>
                    <a:pt x="466" y="446"/>
                  </a:lnTo>
                  <a:lnTo>
                    <a:pt x="476" y="444"/>
                  </a:lnTo>
                  <a:lnTo>
                    <a:pt x="490" y="446"/>
                  </a:lnTo>
                  <a:lnTo>
                    <a:pt x="524" y="454"/>
                  </a:lnTo>
                  <a:lnTo>
                    <a:pt x="526" y="452"/>
                  </a:lnTo>
                  <a:lnTo>
                    <a:pt x="526" y="452"/>
                  </a:lnTo>
                  <a:lnTo>
                    <a:pt x="530" y="448"/>
                  </a:lnTo>
                  <a:lnTo>
                    <a:pt x="536" y="432"/>
                  </a:lnTo>
                  <a:lnTo>
                    <a:pt x="542" y="424"/>
                  </a:lnTo>
                  <a:lnTo>
                    <a:pt x="546" y="420"/>
                  </a:lnTo>
                  <a:lnTo>
                    <a:pt x="554" y="414"/>
                  </a:lnTo>
                  <a:lnTo>
                    <a:pt x="562" y="414"/>
                  </a:lnTo>
                  <a:lnTo>
                    <a:pt x="570" y="414"/>
                  </a:lnTo>
                  <a:lnTo>
                    <a:pt x="576" y="416"/>
                  </a:lnTo>
                  <a:lnTo>
                    <a:pt x="582" y="418"/>
                  </a:lnTo>
                  <a:lnTo>
                    <a:pt x="590" y="418"/>
                  </a:lnTo>
                  <a:lnTo>
                    <a:pt x="596" y="416"/>
                  </a:lnTo>
                  <a:lnTo>
                    <a:pt x="606" y="412"/>
                  </a:lnTo>
                  <a:lnTo>
                    <a:pt x="618" y="408"/>
                  </a:lnTo>
                  <a:lnTo>
                    <a:pt x="628" y="406"/>
                  </a:lnTo>
                  <a:lnTo>
                    <a:pt x="642" y="400"/>
                  </a:lnTo>
                  <a:lnTo>
                    <a:pt x="648" y="396"/>
                  </a:lnTo>
                  <a:lnTo>
                    <a:pt x="656" y="396"/>
                  </a:lnTo>
                  <a:lnTo>
                    <a:pt x="678" y="400"/>
                  </a:lnTo>
                  <a:lnTo>
                    <a:pt x="692" y="398"/>
                  </a:lnTo>
                  <a:lnTo>
                    <a:pt x="698" y="398"/>
                  </a:lnTo>
                  <a:lnTo>
                    <a:pt x="710" y="394"/>
                  </a:lnTo>
                  <a:lnTo>
                    <a:pt x="712" y="392"/>
                  </a:lnTo>
                  <a:lnTo>
                    <a:pt x="720" y="380"/>
                  </a:lnTo>
                  <a:lnTo>
                    <a:pt x="728" y="376"/>
                  </a:lnTo>
                  <a:lnTo>
                    <a:pt x="740" y="378"/>
                  </a:lnTo>
                  <a:lnTo>
                    <a:pt x="746" y="380"/>
                  </a:lnTo>
                  <a:lnTo>
                    <a:pt x="770" y="384"/>
                  </a:lnTo>
                  <a:lnTo>
                    <a:pt x="800" y="390"/>
                  </a:lnTo>
                  <a:lnTo>
                    <a:pt x="808" y="392"/>
                  </a:lnTo>
                  <a:lnTo>
                    <a:pt x="812" y="392"/>
                  </a:lnTo>
                  <a:lnTo>
                    <a:pt x="816" y="392"/>
                  </a:lnTo>
                  <a:lnTo>
                    <a:pt x="826" y="384"/>
                  </a:lnTo>
                  <a:lnTo>
                    <a:pt x="828" y="384"/>
                  </a:lnTo>
                  <a:lnTo>
                    <a:pt x="832" y="384"/>
                  </a:lnTo>
                  <a:lnTo>
                    <a:pt x="850" y="390"/>
                  </a:lnTo>
                  <a:lnTo>
                    <a:pt x="846" y="384"/>
                  </a:lnTo>
                  <a:lnTo>
                    <a:pt x="842" y="378"/>
                  </a:lnTo>
                  <a:lnTo>
                    <a:pt x="840" y="368"/>
                  </a:lnTo>
                  <a:lnTo>
                    <a:pt x="840" y="360"/>
                  </a:lnTo>
                  <a:lnTo>
                    <a:pt x="838" y="356"/>
                  </a:lnTo>
                  <a:lnTo>
                    <a:pt x="836" y="352"/>
                  </a:lnTo>
                  <a:lnTo>
                    <a:pt x="834" y="348"/>
                  </a:lnTo>
                  <a:lnTo>
                    <a:pt x="830" y="346"/>
                  </a:lnTo>
                  <a:lnTo>
                    <a:pt x="820" y="340"/>
                  </a:lnTo>
                  <a:lnTo>
                    <a:pt x="810" y="334"/>
                  </a:lnTo>
                  <a:lnTo>
                    <a:pt x="806" y="330"/>
                  </a:lnTo>
                  <a:lnTo>
                    <a:pt x="798" y="330"/>
                  </a:lnTo>
                  <a:lnTo>
                    <a:pt x="792" y="326"/>
                  </a:lnTo>
                  <a:lnTo>
                    <a:pt x="788" y="318"/>
                  </a:lnTo>
                  <a:lnTo>
                    <a:pt x="786" y="312"/>
                  </a:lnTo>
                  <a:lnTo>
                    <a:pt x="782" y="308"/>
                  </a:lnTo>
                  <a:lnTo>
                    <a:pt x="780" y="304"/>
                  </a:lnTo>
                  <a:lnTo>
                    <a:pt x="778" y="300"/>
                  </a:lnTo>
                  <a:lnTo>
                    <a:pt x="782" y="288"/>
                  </a:lnTo>
                  <a:lnTo>
                    <a:pt x="778" y="284"/>
                  </a:lnTo>
                  <a:lnTo>
                    <a:pt x="770" y="278"/>
                  </a:lnTo>
                  <a:lnTo>
                    <a:pt x="764" y="274"/>
                  </a:lnTo>
                  <a:lnTo>
                    <a:pt x="762" y="268"/>
                  </a:lnTo>
                  <a:lnTo>
                    <a:pt x="752" y="260"/>
                  </a:lnTo>
                  <a:lnTo>
                    <a:pt x="730" y="250"/>
                  </a:lnTo>
                  <a:lnTo>
                    <a:pt x="718" y="242"/>
                  </a:lnTo>
                  <a:lnTo>
                    <a:pt x="712" y="236"/>
                  </a:lnTo>
                  <a:lnTo>
                    <a:pt x="706" y="230"/>
                  </a:lnTo>
                  <a:lnTo>
                    <a:pt x="704" y="228"/>
                  </a:lnTo>
                  <a:lnTo>
                    <a:pt x="708" y="222"/>
                  </a:lnTo>
                  <a:lnTo>
                    <a:pt x="710" y="216"/>
                  </a:lnTo>
                  <a:lnTo>
                    <a:pt x="706" y="212"/>
                  </a:lnTo>
                  <a:lnTo>
                    <a:pt x="694" y="200"/>
                  </a:lnTo>
                  <a:lnTo>
                    <a:pt x="684" y="190"/>
                  </a:lnTo>
                  <a:lnTo>
                    <a:pt x="676" y="186"/>
                  </a:lnTo>
                  <a:lnTo>
                    <a:pt x="658" y="182"/>
                  </a:lnTo>
                  <a:lnTo>
                    <a:pt x="652" y="182"/>
                  </a:lnTo>
                  <a:lnTo>
                    <a:pt x="646" y="180"/>
                  </a:lnTo>
                  <a:lnTo>
                    <a:pt x="642" y="174"/>
                  </a:lnTo>
                  <a:lnTo>
                    <a:pt x="640" y="168"/>
                  </a:lnTo>
                  <a:lnTo>
                    <a:pt x="642" y="158"/>
                  </a:lnTo>
                  <a:lnTo>
                    <a:pt x="640" y="154"/>
                  </a:lnTo>
                  <a:lnTo>
                    <a:pt x="638" y="154"/>
                  </a:lnTo>
                  <a:lnTo>
                    <a:pt x="630" y="152"/>
                  </a:lnTo>
                  <a:lnTo>
                    <a:pt x="622" y="152"/>
                  </a:lnTo>
                  <a:lnTo>
                    <a:pt x="606" y="150"/>
                  </a:lnTo>
                  <a:lnTo>
                    <a:pt x="600" y="148"/>
                  </a:lnTo>
                  <a:lnTo>
                    <a:pt x="598" y="144"/>
                  </a:lnTo>
                  <a:lnTo>
                    <a:pt x="598" y="136"/>
                  </a:lnTo>
                  <a:lnTo>
                    <a:pt x="596" y="134"/>
                  </a:lnTo>
                  <a:lnTo>
                    <a:pt x="594" y="132"/>
                  </a:lnTo>
                  <a:lnTo>
                    <a:pt x="592" y="128"/>
                  </a:lnTo>
                  <a:lnTo>
                    <a:pt x="592" y="124"/>
                  </a:lnTo>
                  <a:lnTo>
                    <a:pt x="600" y="114"/>
                  </a:lnTo>
                  <a:lnTo>
                    <a:pt x="602" y="110"/>
                  </a:lnTo>
                  <a:lnTo>
                    <a:pt x="604" y="92"/>
                  </a:lnTo>
                  <a:lnTo>
                    <a:pt x="604" y="84"/>
                  </a:lnTo>
                  <a:lnTo>
                    <a:pt x="604" y="78"/>
                  </a:lnTo>
                  <a:lnTo>
                    <a:pt x="598" y="64"/>
                  </a:lnTo>
                  <a:lnTo>
                    <a:pt x="592" y="54"/>
                  </a:lnTo>
                  <a:lnTo>
                    <a:pt x="582" y="40"/>
                  </a:lnTo>
                  <a:lnTo>
                    <a:pt x="578" y="36"/>
                  </a:lnTo>
                  <a:lnTo>
                    <a:pt x="560" y="16"/>
                  </a:lnTo>
                  <a:lnTo>
                    <a:pt x="558" y="12"/>
                  </a:lnTo>
                  <a:lnTo>
                    <a:pt x="552"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0" name="Google Shape;4527;p64">
              <a:extLst>
                <a:ext uri="{FF2B5EF4-FFF2-40B4-BE49-F238E27FC236}">
                  <a16:creationId xmlns:a16="http://schemas.microsoft.com/office/drawing/2014/main" id="{D248287F-0B1F-8A9C-7C53-55DA49F77BB5}"/>
                </a:ext>
              </a:extLst>
            </p:cNvPr>
            <p:cNvSpPr/>
            <p:nvPr/>
          </p:nvSpPr>
          <p:spPr>
            <a:xfrm>
              <a:off x="1491808" y="1525094"/>
              <a:ext cx="1900358" cy="2474633"/>
            </a:xfrm>
            <a:custGeom>
              <a:avLst/>
              <a:gdLst/>
              <a:ahLst/>
              <a:cxnLst/>
              <a:rect l="l" t="t" r="r" b="b"/>
              <a:pathLst>
                <a:path w="13797425" h="17966907" extrusionOk="0">
                  <a:moveTo>
                    <a:pt x="9113306" y="17947847"/>
                  </a:moveTo>
                  <a:lnTo>
                    <a:pt x="9113306" y="17952611"/>
                  </a:lnTo>
                  <a:lnTo>
                    <a:pt x="9118071" y="17962143"/>
                  </a:lnTo>
                  <a:lnTo>
                    <a:pt x="9113306" y="17966907"/>
                  </a:lnTo>
                  <a:lnTo>
                    <a:pt x="9108541" y="17966907"/>
                  </a:lnTo>
                  <a:lnTo>
                    <a:pt x="9108541" y="17962143"/>
                  </a:lnTo>
                  <a:lnTo>
                    <a:pt x="9108541" y="17952611"/>
                  </a:lnTo>
                  <a:close/>
                  <a:moveTo>
                    <a:pt x="9237199" y="17847779"/>
                  </a:moveTo>
                  <a:lnTo>
                    <a:pt x="9237199" y="17857311"/>
                  </a:lnTo>
                  <a:lnTo>
                    <a:pt x="9232433" y="17857311"/>
                  </a:lnTo>
                  <a:lnTo>
                    <a:pt x="9232433" y="17852547"/>
                  </a:lnTo>
                  <a:close/>
                  <a:moveTo>
                    <a:pt x="12691917" y="17485631"/>
                  </a:moveTo>
                  <a:lnTo>
                    <a:pt x="12682385" y="17499927"/>
                  </a:lnTo>
                  <a:lnTo>
                    <a:pt x="12663325" y="17504691"/>
                  </a:lnTo>
                  <a:lnTo>
                    <a:pt x="12644265" y="17504691"/>
                  </a:lnTo>
                  <a:lnTo>
                    <a:pt x="12634737" y="17499927"/>
                  </a:lnTo>
                  <a:lnTo>
                    <a:pt x="12629969" y="17495159"/>
                  </a:lnTo>
                  <a:lnTo>
                    <a:pt x="12658561" y="17499927"/>
                  </a:lnTo>
                  <a:lnTo>
                    <a:pt x="12672857" y="17495159"/>
                  </a:lnTo>
                  <a:close/>
                  <a:moveTo>
                    <a:pt x="10052037" y="17442743"/>
                  </a:moveTo>
                  <a:lnTo>
                    <a:pt x="10052037" y="17447511"/>
                  </a:lnTo>
                  <a:lnTo>
                    <a:pt x="10042507" y="17457039"/>
                  </a:lnTo>
                  <a:lnTo>
                    <a:pt x="10037741" y="17457039"/>
                  </a:lnTo>
                  <a:lnTo>
                    <a:pt x="10028211" y="17457039"/>
                  </a:lnTo>
                  <a:lnTo>
                    <a:pt x="10023446" y="17457039"/>
                  </a:lnTo>
                  <a:lnTo>
                    <a:pt x="10028211" y="17452275"/>
                  </a:lnTo>
                  <a:lnTo>
                    <a:pt x="10032976" y="17447511"/>
                  </a:lnTo>
                  <a:close/>
                  <a:moveTo>
                    <a:pt x="10113983" y="17428451"/>
                  </a:moveTo>
                  <a:lnTo>
                    <a:pt x="10113983" y="17433215"/>
                  </a:lnTo>
                  <a:lnTo>
                    <a:pt x="10099688" y="17437979"/>
                  </a:lnTo>
                  <a:lnTo>
                    <a:pt x="10094923" y="17452275"/>
                  </a:lnTo>
                  <a:lnTo>
                    <a:pt x="10085392" y="17457039"/>
                  </a:lnTo>
                  <a:lnTo>
                    <a:pt x="10080627" y="17457039"/>
                  </a:lnTo>
                  <a:lnTo>
                    <a:pt x="10075862" y="17457039"/>
                  </a:lnTo>
                  <a:lnTo>
                    <a:pt x="10075862" y="17452275"/>
                  </a:lnTo>
                  <a:lnTo>
                    <a:pt x="10075862" y="17447511"/>
                  </a:lnTo>
                  <a:lnTo>
                    <a:pt x="10080627" y="17442743"/>
                  </a:lnTo>
                  <a:lnTo>
                    <a:pt x="10085392" y="17437979"/>
                  </a:lnTo>
                  <a:lnTo>
                    <a:pt x="10109218" y="17433215"/>
                  </a:lnTo>
                  <a:close/>
                  <a:moveTo>
                    <a:pt x="11681709" y="17399859"/>
                  </a:moveTo>
                  <a:lnTo>
                    <a:pt x="11672181" y="17423683"/>
                  </a:lnTo>
                  <a:lnTo>
                    <a:pt x="11662649" y="17428451"/>
                  </a:lnTo>
                  <a:lnTo>
                    <a:pt x="11662649" y="17423683"/>
                  </a:lnTo>
                  <a:lnTo>
                    <a:pt x="11672181" y="17404623"/>
                  </a:lnTo>
                  <a:close/>
                  <a:moveTo>
                    <a:pt x="11586405" y="17309319"/>
                  </a:moveTo>
                  <a:lnTo>
                    <a:pt x="11595937" y="17314087"/>
                  </a:lnTo>
                  <a:lnTo>
                    <a:pt x="11595937" y="17328379"/>
                  </a:lnTo>
                  <a:lnTo>
                    <a:pt x="11595937" y="17337911"/>
                  </a:lnTo>
                  <a:lnTo>
                    <a:pt x="11572113" y="17347443"/>
                  </a:lnTo>
                  <a:lnTo>
                    <a:pt x="11581641" y="17318851"/>
                  </a:lnTo>
                  <a:close/>
                  <a:moveTo>
                    <a:pt x="9489751" y="17295027"/>
                  </a:moveTo>
                  <a:lnTo>
                    <a:pt x="9494516" y="17295027"/>
                  </a:lnTo>
                  <a:lnTo>
                    <a:pt x="9499281" y="17295027"/>
                  </a:lnTo>
                  <a:lnTo>
                    <a:pt x="9504046" y="17299791"/>
                  </a:lnTo>
                  <a:lnTo>
                    <a:pt x="9499281" y="17309319"/>
                  </a:lnTo>
                  <a:lnTo>
                    <a:pt x="9494516" y="17304555"/>
                  </a:lnTo>
                  <a:lnTo>
                    <a:pt x="9489751" y="17299791"/>
                  </a:lnTo>
                  <a:close/>
                  <a:moveTo>
                    <a:pt x="9256260" y="17147307"/>
                  </a:moveTo>
                  <a:lnTo>
                    <a:pt x="9261025" y="17147307"/>
                  </a:lnTo>
                  <a:lnTo>
                    <a:pt x="9256260" y="17156835"/>
                  </a:lnTo>
                  <a:lnTo>
                    <a:pt x="9246729" y="17161603"/>
                  </a:lnTo>
                  <a:lnTo>
                    <a:pt x="9241964" y="17161603"/>
                  </a:lnTo>
                  <a:lnTo>
                    <a:pt x="9241964" y="17156835"/>
                  </a:lnTo>
                  <a:close/>
                  <a:moveTo>
                    <a:pt x="12491781" y="17137779"/>
                  </a:moveTo>
                  <a:lnTo>
                    <a:pt x="12506077" y="17142543"/>
                  </a:lnTo>
                  <a:lnTo>
                    <a:pt x="12501313" y="17152075"/>
                  </a:lnTo>
                  <a:lnTo>
                    <a:pt x="12501313" y="17156839"/>
                  </a:lnTo>
                  <a:lnTo>
                    <a:pt x="12491781" y="17161603"/>
                  </a:lnTo>
                  <a:lnTo>
                    <a:pt x="12491781" y="17156839"/>
                  </a:lnTo>
                  <a:lnTo>
                    <a:pt x="12482253" y="17147307"/>
                  </a:lnTo>
                  <a:lnTo>
                    <a:pt x="12482253" y="17142543"/>
                  </a:lnTo>
                  <a:close/>
                  <a:moveTo>
                    <a:pt x="10533313" y="17113951"/>
                  </a:moveTo>
                  <a:lnTo>
                    <a:pt x="10509489" y="17137775"/>
                  </a:lnTo>
                  <a:lnTo>
                    <a:pt x="10495193" y="17142543"/>
                  </a:lnTo>
                  <a:lnTo>
                    <a:pt x="10485661" y="17137775"/>
                  </a:lnTo>
                  <a:lnTo>
                    <a:pt x="10504721" y="17118715"/>
                  </a:lnTo>
                  <a:close/>
                  <a:moveTo>
                    <a:pt x="10538077" y="17109187"/>
                  </a:moveTo>
                  <a:lnTo>
                    <a:pt x="10547609" y="17109187"/>
                  </a:lnTo>
                  <a:lnTo>
                    <a:pt x="10538077" y="17142543"/>
                  </a:lnTo>
                  <a:lnTo>
                    <a:pt x="10533313" y="17156835"/>
                  </a:lnTo>
                  <a:lnTo>
                    <a:pt x="10533313" y="17161603"/>
                  </a:lnTo>
                  <a:lnTo>
                    <a:pt x="10519017" y="17166367"/>
                  </a:lnTo>
                  <a:lnTo>
                    <a:pt x="10499957" y="17161603"/>
                  </a:lnTo>
                  <a:lnTo>
                    <a:pt x="10476133" y="17166367"/>
                  </a:lnTo>
                  <a:lnTo>
                    <a:pt x="10471369" y="17171131"/>
                  </a:lnTo>
                  <a:lnTo>
                    <a:pt x="10485661" y="17152071"/>
                  </a:lnTo>
                  <a:lnTo>
                    <a:pt x="10514253" y="17142543"/>
                  </a:lnTo>
                  <a:close/>
                  <a:moveTo>
                    <a:pt x="9075184" y="17047239"/>
                  </a:moveTo>
                  <a:lnTo>
                    <a:pt x="9084715" y="17047239"/>
                  </a:lnTo>
                  <a:lnTo>
                    <a:pt x="9084715" y="17056767"/>
                  </a:lnTo>
                  <a:lnTo>
                    <a:pt x="9084715" y="17061535"/>
                  </a:lnTo>
                  <a:lnTo>
                    <a:pt x="9089480" y="17066299"/>
                  </a:lnTo>
                  <a:lnTo>
                    <a:pt x="9094245" y="17071063"/>
                  </a:lnTo>
                  <a:lnTo>
                    <a:pt x="9094245" y="17075827"/>
                  </a:lnTo>
                  <a:lnTo>
                    <a:pt x="9099010" y="17075827"/>
                  </a:lnTo>
                  <a:lnTo>
                    <a:pt x="9108540" y="17075827"/>
                  </a:lnTo>
                  <a:lnTo>
                    <a:pt x="9113305" y="17075827"/>
                  </a:lnTo>
                  <a:lnTo>
                    <a:pt x="9113305" y="17080595"/>
                  </a:lnTo>
                  <a:lnTo>
                    <a:pt x="9118071" y="17080595"/>
                  </a:lnTo>
                  <a:lnTo>
                    <a:pt x="9118071" y="17075827"/>
                  </a:lnTo>
                  <a:lnTo>
                    <a:pt x="9122836" y="17080595"/>
                  </a:lnTo>
                  <a:lnTo>
                    <a:pt x="9127601" y="17085359"/>
                  </a:lnTo>
                  <a:lnTo>
                    <a:pt x="9132366" y="17085359"/>
                  </a:lnTo>
                  <a:lnTo>
                    <a:pt x="9132366" y="17080595"/>
                  </a:lnTo>
                  <a:lnTo>
                    <a:pt x="9132366" y="17075827"/>
                  </a:lnTo>
                  <a:lnTo>
                    <a:pt x="9127601" y="17075827"/>
                  </a:lnTo>
                  <a:lnTo>
                    <a:pt x="9127601" y="17071063"/>
                  </a:lnTo>
                  <a:lnTo>
                    <a:pt x="9122836" y="17066299"/>
                  </a:lnTo>
                  <a:lnTo>
                    <a:pt x="9127601" y="17061535"/>
                  </a:lnTo>
                  <a:lnTo>
                    <a:pt x="9132366" y="17056767"/>
                  </a:lnTo>
                  <a:lnTo>
                    <a:pt x="9137131" y="17056767"/>
                  </a:lnTo>
                  <a:lnTo>
                    <a:pt x="9141896" y="17061535"/>
                  </a:lnTo>
                  <a:lnTo>
                    <a:pt x="9141896" y="17056767"/>
                  </a:lnTo>
                  <a:lnTo>
                    <a:pt x="9146661" y="17052003"/>
                  </a:lnTo>
                  <a:lnTo>
                    <a:pt x="9151426" y="17052003"/>
                  </a:lnTo>
                  <a:lnTo>
                    <a:pt x="9160957" y="17047239"/>
                  </a:lnTo>
                  <a:lnTo>
                    <a:pt x="9170487" y="17047239"/>
                  </a:lnTo>
                  <a:lnTo>
                    <a:pt x="9170487" y="17056767"/>
                  </a:lnTo>
                  <a:lnTo>
                    <a:pt x="9180017" y="17056767"/>
                  </a:lnTo>
                  <a:lnTo>
                    <a:pt x="9184782" y="17061535"/>
                  </a:lnTo>
                  <a:lnTo>
                    <a:pt x="9184782" y="17071063"/>
                  </a:lnTo>
                  <a:lnTo>
                    <a:pt x="9189548" y="17071063"/>
                  </a:lnTo>
                  <a:lnTo>
                    <a:pt x="9199078" y="17061535"/>
                  </a:lnTo>
                  <a:lnTo>
                    <a:pt x="9203843" y="17052003"/>
                  </a:lnTo>
                  <a:lnTo>
                    <a:pt x="9218138" y="17047239"/>
                  </a:lnTo>
                  <a:lnTo>
                    <a:pt x="9222903" y="17047239"/>
                  </a:lnTo>
                  <a:lnTo>
                    <a:pt x="9227669" y="17052003"/>
                  </a:lnTo>
                  <a:lnTo>
                    <a:pt x="9232434" y="17056767"/>
                  </a:lnTo>
                  <a:lnTo>
                    <a:pt x="9232434" y="17061535"/>
                  </a:lnTo>
                  <a:lnTo>
                    <a:pt x="9232434" y="17066299"/>
                  </a:lnTo>
                  <a:lnTo>
                    <a:pt x="9237199" y="17071063"/>
                  </a:lnTo>
                  <a:lnTo>
                    <a:pt x="9241964" y="17075827"/>
                  </a:lnTo>
                  <a:lnTo>
                    <a:pt x="9237199" y="17085359"/>
                  </a:lnTo>
                  <a:lnTo>
                    <a:pt x="9241964" y="17090123"/>
                  </a:lnTo>
                  <a:lnTo>
                    <a:pt x="9246729" y="17099655"/>
                  </a:lnTo>
                  <a:lnTo>
                    <a:pt x="9251494" y="17085359"/>
                  </a:lnTo>
                  <a:lnTo>
                    <a:pt x="9256259" y="17075827"/>
                  </a:lnTo>
                  <a:lnTo>
                    <a:pt x="9261024" y="17066299"/>
                  </a:lnTo>
                  <a:lnTo>
                    <a:pt x="9265790" y="17066299"/>
                  </a:lnTo>
                  <a:lnTo>
                    <a:pt x="9265790" y="17071063"/>
                  </a:lnTo>
                  <a:lnTo>
                    <a:pt x="9265790" y="17080595"/>
                  </a:lnTo>
                  <a:lnTo>
                    <a:pt x="9261024" y="17085359"/>
                  </a:lnTo>
                  <a:lnTo>
                    <a:pt x="9265790" y="17090123"/>
                  </a:lnTo>
                  <a:lnTo>
                    <a:pt x="9275320" y="17090123"/>
                  </a:lnTo>
                  <a:lnTo>
                    <a:pt x="9280085" y="17090123"/>
                  </a:lnTo>
                  <a:lnTo>
                    <a:pt x="9265790" y="17118715"/>
                  </a:lnTo>
                  <a:lnTo>
                    <a:pt x="9251494" y="17133011"/>
                  </a:lnTo>
                  <a:lnTo>
                    <a:pt x="9241964" y="17142539"/>
                  </a:lnTo>
                  <a:lnTo>
                    <a:pt x="9232434" y="17147307"/>
                  </a:lnTo>
                  <a:lnTo>
                    <a:pt x="9227669" y="17142539"/>
                  </a:lnTo>
                  <a:lnTo>
                    <a:pt x="9222903" y="17142539"/>
                  </a:lnTo>
                  <a:lnTo>
                    <a:pt x="9218138" y="17142539"/>
                  </a:lnTo>
                  <a:lnTo>
                    <a:pt x="9218138" y="17137775"/>
                  </a:lnTo>
                  <a:lnTo>
                    <a:pt x="9227669" y="17133011"/>
                  </a:lnTo>
                  <a:lnTo>
                    <a:pt x="9237199" y="17133011"/>
                  </a:lnTo>
                  <a:lnTo>
                    <a:pt x="9251494" y="17113951"/>
                  </a:lnTo>
                  <a:lnTo>
                    <a:pt x="9251494" y="17109183"/>
                  </a:lnTo>
                  <a:lnTo>
                    <a:pt x="9241964" y="17113951"/>
                  </a:lnTo>
                  <a:lnTo>
                    <a:pt x="9208608" y="17142539"/>
                  </a:lnTo>
                  <a:lnTo>
                    <a:pt x="9203843" y="17142539"/>
                  </a:lnTo>
                  <a:lnTo>
                    <a:pt x="9203843" y="17137775"/>
                  </a:lnTo>
                  <a:lnTo>
                    <a:pt x="9199078" y="17133011"/>
                  </a:lnTo>
                  <a:lnTo>
                    <a:pt x="9180017" y="17128247"/>
                  </a:lnTo>
                  <a:lnTo>
                    <a:pt x="9175252" y="17118715"/>
                  </a:lnTo>
                  <a:lnTo>
                    <a:pt x="9165722" y="17113951"/>
                  </a:lnTo>
                  <a:lnTo>
                    <a:pt x="9151426" y="17109183"/>
                  </a:lnTo>
                  <a:lnTo>
                    <a:pt x="9132366" y="17104419"/>
                  </a:lnTo>
                  <a:lnTo>
                    <a:pt x="9118071" y="17094891"/>
                  </a:lnTo>
                  <a:lnTo>
                    <a:pt x="9099010" y="17090123"/>
                  </a:lnTo>
                  <a:lnTo>
                    <a:pt x="9070419" y="17085359"/>
                  </a:lnTo>
                  <a:lnTo>
                    <a:pt x="9065654" y="17080595"/>
                  </a:lnTo>
                  <a:lnTo>
                    <a:pt x="9032298" y="17071063"/>
                  </a:lnTo>
                  <a:lnTo>
                    <a:pt x="9022768" y="17066299"/>
                  </a:lnTo>
                  <a:lnTo>
                    <a:pt x="9022768" y="17056767"/>
                  </a:lnTo>
                  <a:lnTo>
                    <a:pt x="9027533" y="17052003"/>
                  </a:lnTo>
                  <a:lnTo>
                    <a:pt x="9032298" y="17052003"/>
                  </a:lnTo>
                  <a:lnTo>
                    <a:pt x="9037063" y="17056767"/>
                  </a:lnTo>
                  <a:lnTo>
                    <a:pt x="9041829" y="17056767"/>
                  </a:lnTo>
                  <a:lnTo>
                    <a:pt x="9046594" y="17052003"/>
                  </a:lnTo>
                  <a:lnTo>
                    <a:pt x="9051359" y="17052003"/>
                  </a:lnTo>
                  <a:lnTo>
                    <a:pt x="9060889" y="17056767"/>
                  </a:lnTo>
                  <a:lnTo>
                    <a:pt x="9065654" y="17056767"/>
                  </a:lnTo>
                  <a:lnTo>
                    <a:pt x="9065654" y="17052003"/>
                  </a:lnTo>
                  <a:close/>
                  <a:moveTo>
                    <a:pt x="8998942" y="17047239"/>
                  </a:moveTo>
                  <a:lnTo>
                    <a:pt x="9003708" y="17047239"/>
                  </a:lnTo>
                  <a:lnTo>
                    <a:pt x="9013238" y="17047239"/>
                  </a:lnTo>
                  <a:lnTo>
                    <a:pt x="9018003" y="17052003"/>
                  </a:lnTo>
                  <a:lnTo>
                    <a:pt x="9018003" y="17056767"/>
                  </a:lnTo>
                  <a:lnTo>
                    <a:pt x="9008473" y="17071063"/>
                  </a:lnTo>
                  <a:lnTo>
                    <a:pt x="8998942" y="17071063"/>
                  </a:lnTo>
                  <a:lnTo>
                    <a:pt x="8989412" y="17071063"/>
                  </a:lnTo>
                  <a:lnTo>
                    <a:pt x="8984647" y="17066299"/>
                  </a:lnTo>
                  <a:lnTo>
                    <a:pt x="8984647" y="17056767"/>
                  </a:lnTo>
                  <a:lnTo>
                    <a:pt x="8989412" y="17052003"/>
                  </a:lnTo>
                  <a:close/>
                  <a:moveTo>
                    <a:pt x="8894110" y="16975763"/>
                  </a:moveTo>
                  <a:lnTo>
                    <a:pt x="8908405" y="16975763"/>
                  </a:lnTo>
                  <a:lnTo>
                    <a:pt x="8917936" y="16980527"/>
                  </a:lnTo>
                  <a:lnTo>
                    <a:pt x="8932231" y="16985291"/>
                  </a:lnTo>
                  <a:lnTo>
                    <a:pt x="8932231" y="16994823"/>
                  </a:lnTo>
                  <a:lnTo>
                    <a:pt x="8932231" y="17004351"/>
                  </a:lnTo>
                  <a:lnTo>
                    <a:pt x="8927466" y="17009119"/>
                  </a:lnTo>
                  <a:lnTo>
                    <a:pt x="8922701" y="17009119"/>
                  </a:lnTo>
                  <a:lnTo>
                    <a:pt x="8917936" y="17018647"/>
                  </a:lnTo>
                  <a:lnTo>
                    <a:pt x="8917936" y="17023415"/>
                  </a:lnTo>
                  <a:lnTo>
                    <a:pt x="8913171" y="17023415"/>
                  </a:lnTo>
                  <a:lnTo>
                    <a:pt x="8903640" y="17018647"/>
                  </a:lnTo>
                  <a:lnTo>
                    <a:pt x="8894110" y="17004351"/>
                  </a:lnTo>
                  <a:lnTo>
                    <a:pt x="8889345" y="16990059"/>
                  </a:lnTo>
                  <a:lnTo>
                    <a:pt x="8889345" y="16980527"/>
                  </a:lnTo>
                  <a:close/>
                  <a:moveTo>
                    <a:pt x="13244673" y="16861399"/>
                  </a:moveTo>
                  <a:lnTo>
                    <a:pt x="13249437" y="16861399"/>
                  </a:lnTo>
                  <a:lnTo>
                    <a:pt x="13254201" y="16861399"/>
                  </a:lnTo>
                  <a:lnTo>
                    <a:pt x="13254201" y="16866167"/>
                  </a:lnTo>
                  <a:lnTo>
                    <a:pt x="13254201" y="16870931"/>
                  </a:lnTo>
                  <a:lnTo>
                    <a:pt x="13249437" y="16870931"/>
                  </a:lnTo>
                  <a:lnTo>
                    <a:pt x="13235141" y="16870931"/>
                  </a:lnTo>
                  <a:close/>
                  <a:moveTo>
                    <a:pt x="10952645" y="16818511"/>
                  </a:moveTo>
                  <a:lnTo>
                    <a:pt x="10962177" y="16818511"/>
                  </a:lnTo>
                  <a:lnTo>
                    <a:pt x="10947881" y="16832807"/>
                  </a:lnTo>
                  <a:lnTo>
                    <a:pt x="10928821" y="16847103"/>
                  </a:lnTo>
                  <a:lnTo>
                    <a:pt x="10914525" y="16847103"/>
                  </a:lnTo>
                  <a:lnTo>
                    <a:pt x="10919289" y="16837571"/>
                  </a:lnTo>
                  <a:lnTo>
                    <a:pt x="10938349" y="16823279"/>
                  </a:lnTo>
                  <a:close/>
                  <a:moveTo>
                    <a:pt x="12572789" y="16813747"/>
                  </a:moveTo>
                  <a:lnTo>
                    <a:pt x="12587085" y="16813747"/>
                  </a:lnTo>
                  <a:lnTo>
                    <a:pt x="12582317" y="16823279"/>
                  </a:lnTo>
                  <a:lnTo>
                    <a:pt x="12582317" y="16832811"/>
                  </a:lnTo>
                  <a:lnTo>
                    <a:pt x="12596613" y="16870931"/>
                  </a:lnTo>
                  <a:lnTo>
                    <a:pt x="12596613" y="16875695"/>
                  </a:lnTo>
                  <a:lnTo>
                    <a:pt x="12591849" y="16904287"/>
                  </a:lnTo>
                  <a:lnTo>
                    <a:pt x="12572789" y="16951939"/>
                  </a:lnTo>
                  <a:lnTo>
                    <a:pt x="12572789" y="16975763"/>
                  </a:lnTo>
                  <a:lnTo>
                    <a:pt x="12572789" y="16980527"/>
                  </a:lnTo>
                  <a:lnTo>
                    <a:pt x="12568025" y="16994823"/>
                  </a:lnTo>
                  <a:lnTo>
                    <a:pt x="12558493" y="17004355"/>
                  </a:lnTo>
                  <a:lnTo>
                    <a:pt x="12534669" y="17023415"/>
                  </a:lnTo>
                  <a:lnTo>
                    <a:pt x="12520373" y="17028179"/>
                  </a:lnTo>
                  <a:lnTo>
                    <a:pt x="12506077" y="17032947"/>
                  </a:lnTo>
                  <a:lnTo>
                    <a:pt x="12477485" y="17056771"/>
                  </a:lnTo>
                  <a:lnTo>
                    <a:pt x="12482249" y="17056771"/>
                  </a:lnTo>
                  <a:lnTo>
                    <a:pt x="12506077" y="17047239"/>
                  </a:lnTo>
                  <a:lnTo>
                    <a:pt x="12515605" y="17047239"/>
                  </a:lnTo>
                  <a:lnTo>
                    <a:pt x="12515605" y="17056771"/>
                  </a:lnTo>
                  <a:lnTo>
                    <a:pt x="12496545" y="17061535"/>
                  </a:lnTo>
                  <a:lnTo>
                    <a:pt x="12487017" y="17071067"/>
                  </a:lnTo>
                  <a:lnTo>
                    <a:pt x="12496545" y="17075831"/>
                  </a:lnTo>
                  <a:lnTo>
                    <a:pt x="12496545" y="17080595"/>
                  </a:lnTo>
                  <a:lnTo>
                    <a:pt x="12487017" y="17090127"/>
                  </a:lnTo>
                  <a:lnTo>
                    <a:pt x="12477485" y="17099655"/>
                  </a:lnTo>
                  <a:lnTo>
                    <a:pt x="12487017" y="17109187"/>
                  </a:lnTo>
                  <a:lnTo>
                    <a:pt x="12506077" y="17099655"/>
                  </a:lnTo>
                  <a:lnTo>
                    <a:pt x="12515605" y="17099655"/>
                  </a:lnTo>
                  <a:lnTo>
                    <a:pt x="12525137" y="17104423"/>
                  </a:lnTo>
                  <a:lnTo>
                    <a:pt x="12534669" y="17099655"/>
                  </a:lnTo>
                  <a:lnTo>
                    <a:pt x="12544197" y="17094891"/>
                  </a:lnTo>
                  <a:lnTo>
                    <a:pt x="12577553" y="17056771"/>
                  </a:lnTo>
                  <a:lnTo>
                    <a:pt x="12577553" y="17052007"/>
                  </a:lnTo>
                  <a:lnTo>
                    <a:pt x="12539433" y="17056771"/>
                  </a:lnTo>
                  <a:lnTo>
                    <a:pt x="12534669" y="17052007"/>
                  </a:lnTo>
                  <a:lnTo>
                    <a:pt x="12558493" y="17028179"/>
                  </a:lnTo>
                  <a:lnTo>
                    <a:pt x="12558493" y="17018651"/>
                  </a:lnTo>
                  <a:lnTo>
                    <a:pt x="12572789" y="16999591"/>
                  </a:lnTo>
                  <a:lnTo>
                    <a:pt x="12582317" y="16985295"/>
                  </a:lnTo>
                  <a:lnTo>
                    <a:pt x="12591849" y="16980527"/>
                  </a:lnTo>
                  <a:lnTo>
                    <a:pt x="12606145" y="16975763"/>
                  </a:lnTo>
                  <a:lnTo>
                    <a:pt x="12610909" y="16980527"/>
                  </a:lnTo>
                  <a:lnTo>
                    <a:pt x="12615673" y="16999591"/>
                  </a:lnTo>
                  <a:lnTo>
                    <a:pt x="12634733" y="16999591"/>
                  </a:lnTo>
                  <a:lnTo>
                    <a:pt x="12658561" y="16999591"/>
                  </a:lnTo>
                  <a:lnTo>
                    <a:pt x="12672857" y="17009119"/>
                  </a:lnTo>
                  <a:lnTo>
                    <a:pt x="12672857" y="17013883"/>
                  </a:lnTo>
                  <a:lnTo>
                    <a:pt x="12672857" y="17018651"/>
                  </a:lnTo>
                  <a:lnTo>
                    <a:pt x="12668089" y="17028179"/>
                  </a:lnTo>
                  <a:lnTo>
                    <a:pt x="12663325" y="17037711"/>
                  </a:lnTo>
                  <a:lnTo>
                    <a:pt x="12677621" y="17052007"/>
                  </a:lnTo>
                  <a:lnTo>
                    <a:pt x="12672857" y="17056771"/>
                  </a:lnTo>
                  <a:lnTo>
                    <a:pt x="12649029" y="17071067"/>
                  </a:lnTo>
                  <a:lnTo>
                    <a:pt x="12634733" y="17085363"/>
                  </a:lnTo>
                  <a:lnTo>
                    <a:pt x="12620441" y="17099655"/>
                  </a:lnTo>
                  <a:lnTo>
                    <a:pt x="12591849" y="17118719"/>
                  </a:lnTo>
                  <a:lnTo>
                    <a:pt x="12544197" y="17133011"/>
                  </a:lnTo>
                  <a:lnTo>
                    <a:pt x="12529901" y="17133011"/>
                  </a:lnTo>
                  <a:lnTo>
                    <a:pt x="12515605" y="17133011"/>
                  </a:lnTo>
                  <a:lnTo>
                    <a:pt x="12496545" y="17133011"/>
                  </a:lnTo>
                  <a:lnTo>
                    <a:pt x="12482249" y="17137779"/>
                  </a:lnTo>
                  <a:lnTo>
                    <a:pt x="12467957" y="17137779"/>
                  </a:lnTo>
                  <a:lnTo>
                    <a:pt x="12458425" y="17137779"/>
                  </a:lnTo>
                  <a:lnTo>
                    <a:pt x="12448893" y="17137779"/>
                  </a:lnTo>
                  <a:lnTo>
                    <a:pt x="12444129" y="17133011"/>
                  </a:lnTo>
                  <a:lnTo>
                    <a:pt x="12429833" y="17118719"/>
                  </a:lnTo>
                  <a:lnTo>
                    <a:pt x="12425069" y="17109187"/>
                  </a:lnTo>
                  <a:lnTo>
                    <a:pt x="12415541" y="17056771"/>
                  </a:lnTo>
                  <a:lnTo>
                    <a:pt x="12420305" y="17028179"/>
                  </a:lnTo>
                  <a:lnTo>
                    <a:pt x="12429833" y="17004355"/>
                  </a:lnTo>
                  <a:lnTo>
                    <a:pt x="12448893" y="16990059"/>
                  </a:lnTo>
                  <a:lnTo>
                    <a:pt x="12458425" y="16975763"/>
                  </a:lnTo>
                  <a:lnTo>
                    <a:pt x="12496545" y="16894755"/>
                  </a:lnTo>
                  <a:lnTo>
                    <a:pt x="12506077" y="16880459"/>
                  </a:lnTo>
                  <a:lnTo>
                    <a:pt x="12515605" y="16861399"/>
                  </a:lnTo>
                  <a:lnTo>
                    <a:pt x="12529901" y="16847103"/>
                  </a:lnTo>
                  <a:lnTo>
                    <a:pt x="12553729" y="16823279"/>
                  </a:lnTo>
                  <a:lnTo>
                    <a:pt x="12563257" y="16818515"/>
                  </a:lnTo>
                  <a:close/>
                  <a:moveTo>
                    <a:pt x="12024797" y="16804219"/>
                  </a:moveTo>
                  <a:lnTo>
                    <a:pt x="12024797" y="16823279"/>
                  </a:lnTo>
                  <a:lnTo>
                    <a:pt x="12029565" y="16837575"/>
                  </a:lnTo>
                  <a:lnTo>
                    <a:pt x="12010505" y="16866167"/>
                  </a:lnTo>
                  <a:lnTo>
                    <a:pt x="12039093" y="16899523"/>
                  </a:lnTo>
                  <a:lnTo>
                    <a:pt x="12043861" y="16904287"/>
                  </a:lnTo>
                  <a:lnTo>
                    <a:pt x="12048625" y="16913819"/>
                  </a:lnTo>
                  <a:lnTo>
                    <a:pt x="12043861" y="16923347"/>
                  </a:lnTo>
                  <a:lnTo>
                    <a:pt x="12039093" y="16928111"/>
                  </a:lnTo>
                  <a:lnTo>
                    <a:pt x="12053389" y="16932879"/>
                  </a:lnTo>
                  <a:lnTo>
                    <a:pt x="12053389" y="16937643"/>
                  </a:lnTo>
                  <a:lnTo>
                    <a:pt x="12058153" y="16942407"/>
                  </a:lnTo>
                  <a:lnTo>
                    <a:pt x="12067685" y="16937643"/>
                  </a:lnTo>
                  <a:lnTo>
                    <a:pt x="12077217" y="16918583"/>
                  </a:lnTo>
                  <a:lnTo>
                    <a:pt x="12101041" y="16923347"/>
                  </a:lnTo>
                  <a:lnTo>
                    <a:pt x="12110569" y="16928111"/>
                  </a:lnTo>
                  <a:lnTo>
                    <a:pt x="12115337" y="16928111"/>
                  </a:lnTo>
                  <a:lnTo>
                    <a:pt x="12124865" y="16928111"/>
                  </a:lnTo>
                  <a:lnTo>
                    <a:pt x="12139161" y="16937643"/>
                  </a:lnTo>
                  <a:lnTo>
                    <a:pt x="12162989" y="16947175"/>
                  </a:lnTo>
                  <a:lnTo>
                    <a:pt x="12186813" y="16947175"/>
                  </a:lnTo>
                  <a:lnTo>
                    <a:pt x="12224933" y="16942407"/>
                  </a:lnTo>
                  <a:lnTo>
                    <a:pt x="12229701" y="16937643"/>
                  </a:lnTo>
                  <a:lnTo>
                    <a:pt x="12272585" y="16937643"/>
                  </a:lnTo>
                  <a:lnTo>
                    <a:pt x="12310705" y="16932879"/>
                  </a:lnTo>
                  <a:lnTo>
                    <a:pt x="12325001" y="16937643"/>
                  </a:lnTo>
                  <a:lnTo>
                    <a:pt x="12329765" y="16942407"/>
                  </a:lnTo>
                  <a:lnTo>
                    <a:pt x="12334533" y="16947175"/>
                  </a:lnTo>
                  <a:lnTo>
                    <a:pt x="12310705" y="16961467"/>
                  </a:lnTo>
                  <a:lnTo>
                    <a:pt x="12286881" y="16980527"/>
                  </a:lnTo>
                  <a:lnTo>
                    <a:pt x="12258289" y="16999591"/>
                  </a:lnTo>
                  <a:lnTo>
                    <a:pt x="12253525" y="17004355"/>
                  </a:lnTo>
                  <a:lnTo>
                    <a:pt x="12253525" y="17023415"/>
                  </a:lnTo>
                  <a:lnTo>
                    <a:pt x="12253525" y="17037711"/>
                  </a:lnTo>
                  <a:lnTo>
                    <a:pt x="12258289" y="17037711"/>
                  </a:lnTo>
                  <a:lnTo>
                    <a:pt x="12263057" y="17042475"/>
                  </a:lnTo>
                  <a:lnTo>
                    <a:pt x="12253525" y="17047239"/>
                  </a:lnTo>
                  <a:lnTo>
                    <a:pt x="12220169" y="17052007"/>
                  </a:lnTo>
                  <a:lnTo>
                    <a:pt x="12210637" y="17047239"/>
                  </a:lnTo>
                  <a:lnTo>
                    <a:pt x="12201109" y="17042475"/>
                  </a:lnTo>
                  <a:lnTo>
                    <a:pt x="12196345" y="17028179"/>
                  </a:lnTo>
                  <a:lnTo>
                    <a:pt x="12182049" y="17028179"/>
                  </a:lnTo>
                  <a:lnTo>
                    <a:pt x="12177281" y="17028179"/>
                  </a:lnTo>
                  <a:lnTo>
                    <a:pt x="12196345" y="17013883"/>
                  </a:lnTo>
                  <a:lnTo>
                    <a:pt x="12186813" y="16999591"/>
                  </a:lnTo>
                  <a:lnTo>
                    <a:pt x="12182049" y="16999591"/>
                  </a:lnTo>
                  <a:lnTo>
                    <a:pt x="12172517" y="16994823"/>
                  </a:lnTo>
                  <a:lnTo>
                    <a:pt x="12172517" y="16980527"/>
                  </a:lnTo>
                  <a:lnTo>
                    <a:pt x="12182049" y="16975763"/>
                  </a:lnTo>
                  <a:lnTo>
                    <a:pt x="12186813" y="16970999"/>
                  </a:lnTo>
                  <a:lnTo>
                    <a:pt x="12172517" y="16975763"/>
                  </a:lnTo>
                  <a:lnTo>
                    <a:pt x="12162989" y="16985295"/>
                  </a:lnTo>
                  <a:lnTo>
                    <a:pt x="12153457" y="16990059"/>
                  </a:lnTo>
                  <a:lnTo>
                    <a:pt x="12139161" y="16999591"/>
                  </a:lnTo>
                  <a:lnTo>
                    <a:pt x="12158221" y="16999591"/>
                  </a:lnTo>
                  <a:lnTo>
                    <a:pt x="12148693" y="17009119"/>
                  </a:lnTo>
                  <a:lnTo>
                    <a:pt x="12139161" y="17009119"/>
                  </a:lnTo>
                  <a:lnTo>
                    <a:pt x="12091509" y="16994823"/>
                  </a:lnTo>
                  <a:lnTo>
                    <a:pt x="12081981" y="16990059"/>
                  </a:lnTo>
                  <a:lnTo>
                    <a:pt x="12067685" y="16980527"/>
                  </a:lnTo>
                  <a:lnTo>
                    <a:pt x="12058153" y="16961467"/>
                  </a:lnTo>
                  <a:lnTo>
                    <a:pt x="12062921" y="16961467"/>
                  </a:lnTo>
                  <a:lnTo>
                    <a:pt x="12062921" y="16956703"/>
                  </a:lnTo>
                  <a:lnTo>
                    <a:pt x="12062921" y="16951939"/>
                  </a:lnTo>
                  <a:lnTo>
                    <a:pt x="12048625" y="16951939"/>
                  </a:lnTo>
                  <a:lnTo>
                    <a:pt x="12024797" y="16951939"/>
                  </a:lnTo>
                  <a:lnTo>
                    <a:pt x="12010505" y="16947175"/>
                  </a:lnTo>
                  <a:lnTo>
                    <a:pt x="12010505" y="16918583"/>
                  </a:lnTo>
                  <a:lnTo>
                    <a:pt x="12005737" y="16909051"/>
                  </a:lnTo>
                  <a:lnTo>
                    <a:pt x="11986677" y="16899523"/>
                  </a:lnTo>
                  <a:lnTo>
                    <a:pt x="11967617" y="16899523"/>
                  </a:lnTo>
                  <a:lnTo>
                    <a:pt x="11962853" y="16885227"/>
                  </a:lnTo>
                  <a:lnTo>
                    <a:pt x="11972381" y="16870931"/>
                  </a:lnTo>
                  <a:lnTo>
                    <a:pt x="11981913" y="16851871"/>
                  </a:lnTo>
                  <a:lnTo>
                    <a:pt x="11991441" y="16837575"/>
                  </a:lnTo>
                  <a:lnTo>
                    <a:pt x="12000973" y="16828043"/>
                  </a:lnTo>
                  <a:close/>
                  <a:moveTo>
                    <a:pt x="13216081" y="16794687"/>
                  </a:moveTo>
                  <a:lnTo>
                    <a:pt x="13230377" y="16799455"/>
                  </a:lnTo>
                  <a:lnTo>
                    <a:pt x="13230377" y="16808983"/>
                  </a:lnTo>
                  <a:lnTo>
                    <a:pt x="13225609" y="16828043"/>
                  </a:lnTo>
                  <a:lnTo>
                    <a:pt x="13230377" y="16837575"/>
                  </a:lnTo>
                  <a:lnTo>
                    <a:pt x="13235141" y="16847107"/>
                  </a:lnTo>
                  <a:lnTo>
                    <a:pt x="13235141" y="16851871"/>
                  </a:lnTo>
                  <a:lnTo>
                    <a:pt x="13220845" y="16861399"/>
                  </a:lnTo>
                  <a:lnTo>
                    <a:pt x="13216081" y="16856635"/>
                  </a:lnTo>
                  <a:lnTo>
                    <a:pt x="13216081" y="16851871"/>
                  </a:lnTo>
                  <a:lnTo>
                    <a:pt x="13225609" y="16837575"/>
                  </a:lnTo>
                  <a:lnTo>
                    <a:pt x="13220845" y="16832811"/>
                  </a:lnTo>
                  <a:lnTo>
                    <a:pt x="13216081" y="16799455"/>
                  </a:lnTo>
                  <a:close/>
                  <a:moveTo>
                    <a:pt x="13568701" y="16666031"/>
                  </a:moveTo>
                  <a:lnTo>
                    <a:pt x="13563933" y="16685091"/>
                  </a:lnTo>
                  <a:lnTo>
                    <a:pt x="13554405" y="16713683"/>
                  </a:lnTo>
                  <a:lnTo>
                    <a:pt x="13544873" y="16723211"/>
                  </a:lnTo>
                  <a:lnTo>
                    <a:pt x="13535345" y="16723211"/>
                  </a:lnTo>
                  <a:lnTo>
                    <a:pt x="13535345" y="16713683"/>
                  </a:lnTo>
                  <a:lnTo>
                    <a:pt x="13549641" y="16704151"/>
                  </a:lnTo>
                  <a:lnTo>
                    <a:pt x="13554405" y="16689855"/>
                  </a:lnTo>
                  <a:lnTo>
                    <a:pt x="13554405" y="16685091"/>
                  </a:lnTo>
                  <a:lnTo>
                    <a:pt x="13554405" y="16680327"/>
                  </a:lnTo>
                  <a:lnTo>
                    <a:pt x="13563933" y="16675559"/>
                  </a:lnTo>
                  <a:close/>
                  <a:moveTo>
                    <a:pt x="12420305" y="16666031"/>
                  </a:moveTo>
                  <a:lnTo>
                    <a:pt x="12434601" y="16670795"/>
                  </a:lnTo>
                  <a:lnTo>
                    <a:pt x="12420305" y="16685091"/>
                  </a:lnTo>
                  <a:lnTo>
                    <a:pt x="12401245" y="16689855"/>
                  </a:lnTo>
                  <a:lnTo>
                    <a:pt x="12386949" y="16704151"/>
                  </a:lnTo>
                  <a:lnTo>
                    <a:pt x="12377417" y="16718447"/>
                  </a:lnTo>
                  <a:lnTo>
                    <a:pt x="12363121" y="16727975"/>
                  </a:lnTo>
                  <a:lnTo>
                    <a:pt x="12358357" y="16737507"/>
                  </a:lnTo>
                  <a:lnTo>
                    <a:pt x="12353593" y="16751803"/>
                  </a:lnTo>
                  <a:lnTo>
                    <a:pt x="12358357" y="16756567"/>
                  </a:lnTo>
                  <a:lnTo>
                    <a:pt x="12367889" y="16756567"/>
                  </a:lnTo>
                  <a:lnTo>
                    <a:pt x="12372653" y="16756567"/>
                  </a:lnTo>
                  <a:lnTo>
                    <a:pt x="12363121" y="16766099"/>
                  </a:lnTo>
                  <a:lnTo>
                    <a:pt x="12344061" y="16766099"/>
                  </a:lnTo>
                  <a:lnTo>
                    <a:pt x="12339297" y="16761331"/>
                  </a:lnTo>
                  <a:lnTo>
                    <a:pt x="12348829" y="16718447"/>
                  </a:lnTo>
                  <a:lnTo>
                    <a:pt x="12363121" y="16708915"/>
                  </a:lnTo>
                  <a:lnTo>
                    <a:pt x="12396477" y="16680327"/>
                  </a:lnTo>
                  <a:lnTo>
                    <a:pt x="12410773" y="16670795"/>
                  </a:lnTo>
                  <a:close/>
                  <a:moveTo>
                    <a:pt x="8608202" y="16632673"/>
                  </a:moveTo>
                  <a:lnTo>
                    <a:pt x="8617732" y="16632673"/>
                  </a:lnTo>
                  <a:lnTo>
                    <a:pt x="8627263" y="16632673"/>
                  </a:lnTo>
                  <a:lnTo>
                    <a:pt x="8646323" y="16637439"/>
                  </a:lnTo>
                  <a:lnTo>
                    <a:pt x="8651088" y="16642203"/>
                  </a:lnTo>
                  <a:lnTo>
                    <a:pt x="8651088" y="16646969"/>
                  </a:lnTo>
                  <a:lnTo>
                    <a:pt x="8641558" y="16646969"/>
                  </a:lnTo>
                  <a:lnTo>
                    <a:pt x="8612967" y="16651735"/>
                  </a:lnTo>
                  <a:lnTo>
                    <a:pt x="8598672" y="16646969"/>
                  </a:lnTo>
                  <a:lnTo>
                    <a:pt x="8598672" y="16642203"/>
                  </a:lnTo>
                  <a:lnTo>
                    <a:pt x="8598672" y="16637439"/>
                  </a:lnTo>
                  <a:close/>
                  <a:moveTo>
                    <a:pt x="11934261" y="16613615"/>
                  </a:moveTo>
                  <a:lnTo>
                    <a:pt x="11939025" y="16618379"/>
                  </a:lnTo>
                  <a:lnTo>
                    <a:pt x="11948557" y="16613615"/>
                  </a:lnTo>
                  <a:lnTo>
                    <a:pt x="11943793" y="16627911"/>
                  </a:lnTo>
                  <a:lnTo>
                    <a:pt x="11929497" y="16642203"/>
                  </a:lnTo>
                  <a:lnTo>
                    <a:pt x="11919965" y="16642203"/>
                  </a:lnTo>
                  <a:lnTo>
                    <a:pt x="11924733" y="16632675"/>
                  </a:lnTo>
                  <a:lnTo>
                    <a:pt x="11924733" y="16618379"/>
                  </a:lnTo>
                  <a:close/>
                  <a:moveTo>
                    <a:pt x="11948557" y="16580259"/>
                  </a:moveTo>
                  <a:lnTo>
                    <a:pt x="11948557" y="16585023"/>
                  </a:lnTo>
                  <a:lnTo>
                    <a:pt x="11953321" y="16594555"/>
                  </a:lnTo>
                  <a:lnTo>
                    <a:pt x="11934261" y="16608847"/>
                  </a:lnTo>
                  <a:lnTo>
                    <a:pt x="11943793" y="16589787"/>
                  </a:lnTo>
                  <a:lnTo>
                    <a:pt x="11943793" y="16585023"/>
                  </a:lnTo>
                  <a:close/>
                  <a:moveTo>
                    <a:pt x="8319911" y="16384887"/>
                  </a:moveTo>
                  <a:lnTo>
                    <a:pt x="8324676" y="16384887"/>
                  </a:lnTo>
                  <a:lnTo>
                    <a:pt x="8329442" y="16394417"/>
                  </a:lnTo>
                  <a:lnTo>
                    <a:pt x="8338972" y="16403947"/>
                  </a:lnTo>
                  <a:lnTo>
                    <a:pt x="8338972" y="16408713"/>
                  </a:lnTo>
                  <a:lnTo>
                    <a:pt x="8329442" y="16408713"/>
                  </a:lnTo>
                  <a:lnTo>
                    <a:pt x="8319911" y="16408713"/>
                  </a:lnTo>
                  <a:lnTo>
                    <a:pt x="8319911" y="16403947"/>
                  </a:lnTo>
                  <a:lnTo>
                    <a:pt x="8319911" y="16399183"/>
                  </a:lnTo>
                  <a:lnTo>
                    <a:pt x="8319911" y="16389653"/>
                  </a:lnTo>
                  <a:close/>
                  <a:moveTo>
                    <a:pt x="8291320" y="16380123"/>
                  </a:moveTo>
                  <a:lnTo>
                    <a:pt x="8310381" y="16384887"/>
                  </a:lnTo>
                  <a:lnTo>
                    <a:pt x="8315146" y="16384887"/>
                  </a:lnTo>
                  <a:lnTo>
                    <a:pt x="8315146" y="16394417"/>
                  </a:lnTo>
                  <a:lnTo>
                    <a:pt x="8315146" y="16399183"/>
                  </a:lnTo>
                  <a:lnTo>
                    <a:pt x="8310381" y="16399183"/>
                  </a:lnTo>
                  <a:lnTo>
                    <a:pt x="8310381" y="16403947"/>
                  </a:lnTo>
                  <a:lnTo>
                    <a:pt x="8300851" y="16408713"/>
                  </a:lnTo>
                  <a:lnTo>
                    <a:pt x="8286555" y="16408713"/>
                  </a:lnTo>
                  <a:lnTo>
                    <a:pt x="8281790" y="16408713"/>
                  </a:lnTo>
                  <a:lnTo>
                    <a:pt x="8272260" y="16418243"/>
                  </a:lnTo>
                  <a:lnTo>
                    <a:pt x="8267495" y="16413477"/>
                  </a:lnTo>
                  <a:lnTo>
                    <a:pt x="8267495" y="16394417"/>
                  </a:lnTo>
                  <a:lnTo>
                    <a:pt x="8272260" y="16389653"/>
                  </a:lnTo>
                  <a:lnTo>
                    <a:pt x="8281790" y="16384887"/>
                  </a:lnTo>
                  <a:close/>
                  <a:moveTo>
                    <a:pt x="2720887" y="16365827"/>
                  </a:moveTo>
                  <a:lnTo>
                    <a:pt x="2725652" y="16370591"/>
                  </a:lnTo>
                  <a:lnTo>
                    <a:pt x="2739948" y="16380119"/>
                  </a:lnTo>
                  <a:lnTo>
                    <a:pt x="2735182" y="16384887"/>
                  </a:lnTo>
                  <a:lnTo>
                    <a:pt x="2744713" y="16399179"/>
                  </a:lnTo>
                  <a:lnTo>
                    <a:pt x="2749478" y="16408711"/>
                  </a:lnTo>
                  <a:lnTo>
                    <a:pt x="2744713" y="16408711"/>
                  </a:lnTo>
                  <a:lnTo>
                    <a:pt x="2739948" y="16413475"/>
                  </a:lnTo>
                  <a:lnTo>
                    <a:pt x="2735182" y="16413475"/>
                  </a:lnTo>
                  <a:lnTo>
                    <a:pt x="2730417" y="16408711"/>
                  </a:lnTo>
                  <a:close/>
                  <a:moveTo>
                    <a:pt x="2706591" y="16327703"/>
                  </a:moveTo>
                  <a:lnTo>
                    <a:pt x="2735182" y="16361059"/>
                  </a:lnTo>
                  <a:lnTo>
                    <a:pt x="2754242" y="16370591"/>
                  </a:lnTo>
                  <a:lnTo>
                    <a:pt x="2754242" y="16375355"/>
                  </a:lnTo>
                  <a:lnTo>
                    <a:pt x="2754242" y="16380119"/>
                  </a:lnTo>
                  <a:lnTo>
                    <a:pt x="2730416" y="16361059"/>
                  </a:lnTo>
                  <a:lnTo>
                    <a:pt x="2711356" y="16341999"/>
                  </a:lnTo>
                  <a:close/>
                  <a:moveTo>
                    <a:pt x="11786541" y="16284819"/>
                  </a:moveTo>
                  <a:lnTo>
                    <a:pt x="11805601" y="16284819"/>
                  </a:lnTo>
                  <a:lnTo>
                    <a:pt x="11896141" y="16303879"/>
                  </a:lnTo>
                  <a:lnTo>
                    <a:pt x="11939025" y="16322943"/>
                  </a:lnTo>
                  <a:lnTo>
                    <a:pt x="11986677" y="16370591"/>
                  </a:lnTo>
                  <a:lnTo>
                    <a:pt x="11991441" y="16380123"/>
                  </a:lnTo>
                  <a:lnTo>
                    <a:pt x="11991441" y="16394419"/>
                  </a:lnTo>
                  <a:lnTo>
                    <a:pt x="11967617" y="16389651"/>
                  </a:lnTo>
                  <a:lnTo>
                    <a:pt x="11943793" y="16384887"/>
                  </a:lnTo>
                  <a:lnTo>
                    <a:pt x="11962853" y="16394419"/>
                  </a:lnTo>
                  <a:lnTo>
                    <a:pt x="11986677" y="16423007"/>
                  </a:lnTo>
                  <a:lnTo>
                    <a:pt x="11986677" y="16456363"/>
                  </a:lnTo>
                  <a:lnTo>
                    <a:pt x="11972381" y="16484955"/>
                  </a:lnTo>
                  <a:lnTo>
                    <a:pt x="11924729" y="16499251"/>
                  </a:lnTo>
                  <a:lnTo>
                    <a:pt x="11915201" y="16513547"/>
                  </a:lnTo>
                  <a:lnTo>
                    <a:pt x="11905669" y="16532607"/>
                  </a:lnTo>
                  <a:lnTo>
                    <a:pt x="11896141" y="16537371"/>
                  </a:lnTo>
                  <a:lnTo>
                    <a:pt x="11877081" y="16546903"/>
                  </a:lnTo>
                  <a:lnTo>
                    <a:pt x="11862785" y="16561199"/>
                  </a:lnTo>
                  <a:lnTo>
                    <a:pt x="11829429" y="16580259"/>
                  </a:lnTo>
                  <a:lnTo>
                    <a:pt x="11815133" y="16585023"/>
                  </a:lnTo>
                  <a:lnTo>
                    <a:pt x="11796073" y="16575491"/>
                  </a:lnTo>
                  <a:lnTo>
                    <a:pt x="11753185" y="16561199"/>
                  </a:lnTo>
                  <a:lnTo>
                    <a:pt x="11724597" y="16542135"/>
                  </a:lnTo>
                  <a:lnTo>
                    <a:pt x="11710301" y="16551667"/>
                  </a:lnTo>
                  <a:lnTo>
                    <a:pt x="11700769" y="16561199"/>
                  </a:lnTo>
                  <a:lnTo>
                    <a:pt x="11672181" y="16556431"/>
                  </a:lnTo>
                  <a:lnTo>
                    <a:pt x="11662649" y="16561199"/>
                  </a:lnTo>
                  <a:lnTo>
                    <a:pt x="11643589" y="16556431"/>
                  </a:lnTo>
                  <a:lnTo>
                    <a:pt x="11605469" y="16580259"/>
                  </a:lnTo>
                  <a:lnTo>
                    <a:pt x="11614997" y="16585023"/>
                  </a:lnTo>
                  <a:lnTo>
                    <a:pt x="11648353" y="16570727"/>
                  </a:lnTo>
                  <a:lnTo>
                    <a:pt x="11657885" y="16570727"/>
                  </a:lnTo>
                  <a:lnTo>
                    <a:pt x="11681709" y="16589787"/>
                  </a:lnTo>
                  <a:lnTo>
                    <a:pt x="11738893" y="16604083"/>
                  </a:lnTo>
                  <a:lnTo>
                    <a:pt x="11753185" y="16618379"/>
                  </a:lnTo>
                  <a:lnTo>
                    <a:pt x="11767481" y="16656499"/>
                  </a:lnTo>
                  <a:lnTo>
                    <a:pt x="11777013" y="16661267"/>
                  </a:lnTo>
                  <a:lnTo>
                    <a:pt x="11796073" y="16656499"/>
                  </a:lnTo>
                  <a:lnTo>
                    <a:pt x="11815133" y="16637439"/>
                  </a:lnTo>
                  <a:lnTo>
                    <a:pt x="11834193" y="16627911"/>
                  </a:lnTo>
                  <a:lnTo>
                    <a:pt x="11867549" y="16618379"/>
                  </a:lnTo>
                  <a:lnTo>
                    <a:pt x="11862785" y="16632675"/>
                  </a:lnTo>
                  <a:lnTo>
                    <a:pt x="11891377" y="16632675"/>
                  </a:lnTo>
                  <a:lnTo>
                    <a:pt x="11915201" y="16651735"/>
                  </a:lnTo>
                  <a:lnTo>
                    <a:pt x="11905669" y="16661267"/>
                  </a:lnTo>
                  <a:lnTo>
                    <a:pt x="11891377" y="16685091"/>
                  </a:lnTo>
                  <a:lnTo>
                    <a:pt x="11881845" y="16732743"/>
                  </a:lnTo>
                  <a:lnTo>
                    <a:pt x="11858021" y="16761331"/>
                  </a:lnTo>
                  <a:lnTo>
                    <a:pt x="11819897" y="16794687"/>
                  </a:lnTo>
                  <a:lnTo>
                    <a:pt x="11829429" y="16799455"/>
                  </a:lnTo>
                  <a:lnTo>
                    <a:pt x="11838957" y="16804219"/>
                  </a:lnTo>
                  <a:lnTo>
                    <a:pt x="11862785" y="16794687"/>
                  </a:lnTo>
                  <a:lnTo>
                    <a:pt x="11877081" y="16794687"/>
                  </a:lnTo>
                  <a:lnTo>
                    <a:pt x="11896141" y="16804219"/>
                  </a:lnTo>
                  <a:lnTo>
                    <a:pt x="11891377" y="16828043"/>
                  </a:lnTo>
                  <a:lnTo>
                    <a:pt x="11886609" y="16842339"/>
                  </a:lnTo>
                  <a:lnTo>
                    <a:pt x="11886609" y="16856635"/>
                  </a:lnTo>
                  <a:lnTo>
                    <a:pt x="11900905" y="16885227"/>
                  </a:lnTo>
                  <a:lnTo>
                    <a:pt x="11910437" y="16889991"/>
                  </a:lnTo>
                  <a:lnTo>
                    <a:pt x="11919965" y="16928111"/>
                  </a:lnTo>
                  <a:lnTo>
                    <a:pt x="11924729" y="16947171"/>
                  </a:lnTo>
                  <a:lnTo>
                    <a:pt x="11924729" y="16961467"/>
                  </a:lnTo>
                  <a:lnTo>
                    <a:pt x="11939025" y="16975763"/>
                  </a:lnTo>
                  <a:lnTo>
                    <a:pt x="11943793" y="16990059"/>
                  </a:lnTo>
                  <a:lnTo>
                    <a:pt x="11991441" y="16994823"/>
                  </a:lnTo>
                  <a:lnTo>
                    <a:pt x="12000973" y="16999591"/>
                  </a:lnTo>
                  <a:lnTo>
                    <a:pt x="12039093" y="17004355"/>
                  </a:lnTo>
                  <a:lnTo>
                    <a:pt x="12043861" y="17009119"/>
                  </a:lnTo>
                  <a:lnTo>
                    <a:pt x="12053389" y="17018651"/>
                  </a:lnTo>
                  <a:lnTo>
                    <a:pt x="12015269" y="17037711"/>
                  </a:lnTo>
                  <a:lnTo>
                    <a:pt x="12043861" y="17052007"/>
                  </a:lnTo>
                  <a:lnTo>
                    <a:pt x="12072449" y="17075831"/>
                  </a:lnTo>
                  <a:lnTo>
                    <a:pt x="12091509" y="17071067"/>
                  </a:lnTo>
                  <a:lnTo>
                    <a:pt x="12101041" y="17071067"/>
                  </a:lnTo>
                  <a:lnTo>
                    <a:pt x="12124865" y="17085363"/>
                  </a:lnTo>
                  <a:lnTo>
                    <a:pt x="12134397" y="17094891"/>
                  </a:lnTo>
                  <a:lnTo>
                    <a:pt x="12134397" y="17099655"/>
                  </a:lnTo>
                  <a:lnTo>
                    <a:pt x="12148693" y="17099655"/>
                  </a:lnTo>
                  <a:lnTo>
                    <a:pt x="12162989" y="17094891"/>
                  </a:lnTo>
                  <a:lnTo>
                    <a:pt x="12196345" y="17094891"/>
                  </a:lnTo>
                  <a:lnTo>
                    <a:pt x="12229701" y="17099655"/>
                  </a:lnTo>
                  <a:lnTo>
                    <a:pt x="12224933" y="17113951"/>
                  </a:lnTo>
                  <a:lnTo>
                    <a:pt x="12220169" y="17123483"/>
                  </a:lnTo>
                  <a:lnTo>
                    <a:pt x="12248761" y="17118719"/>
                  </a:lnTo>
                  <a:lnTo>
                    <a:pt x="12263053" y="17128247"/>
                  </a:lnTo>
                  <a:lnTo>
                    <a:pt x="12267821" y="17123483"/>
                  </a:lnTo>
                  <a:lnTo>
                    <a:pt x="12272585" y="17118719"/>
                  </a:lnTo>
                  <a:lnTo>
                    <a:pt x="12305941" y="17104423"/>
                  </a:lnTo>
                  <a:lnTo>
                    <a:pt x="12344061" y="17071067"/>
                  </a:lnTo>
                  <a:lnTo>
                    <a:pt x="12348829" y="17075831"/>
                  </a:lnTo>
                  <a:lnTo>
                    <a:pt x="12353593" y="17090127"/>
                  </a:lnTo>
                  <a:lnTo>
                    <a:pt x="12358357" y="17109187"/>
                  </a:lnTo>
                  <a:lnTo>
                    <a:pt x="12372653" y="17118719"/>
                  </a:lnTo>
                  <a:lnTo>
                    <a:pt x="12391713" y="17123483"/>
                  </a:lnTo>
                  <a:lnTo>
                    <a:pt x="12415541" y="17113951"/>
                  </a:lnTo>
                  <a:lnTo>
                    <a:pt x="12429833" y="17123483"/>
                  </a:lnTo>
                  <a:lnTo>
                    <a:pt x="12439365" y="17137779"/>
                  </a:lnTo>
                  <a:lnTo>
                    <a:pt x="12453661" y="17161603"/>
                  </a:lnTo>
                  <a:lnTo>
                    <a:pt x="12448893" y="17171135"/>
                  </a:lnTo>
                  <a:lnTo>
                    <a:pt x="12434601" y="17175899"/>
                  </a:lnTo>
                  <a:lnTo>
                    <a:pt x="12420305" y="17185431"/>
                  </a:lnTo>
                  <a:lnTo>
                    <a:pt x="12477485" y="17190195"/>
                  </a:lnTo>
                  <a:lnTo>
                    <a:pt x="12482249" y="17194959"/>
                  </a:lnTo>
                  <a:lnTo>
                    <a:pt x="12491781" y="17199723"/>
                  </a:lnTo>
                  <a:lnTo>
                    <a:pt x="12482249" y="17209255"/>
                  </a:lnTo>
                  <a:lnTo>
                    <a:pt x="12477485" y="17214019"/>
                  </a:lnTo>
                  <a:lnTo>
                    <a:pt x="12467957" y="17209255"/>
                  </a:lnTo>
                  <a:lnTo>
                    <a:pt x="12448893" y="17214019"/>
                  </a:lnTo>
                  <a:lnTo>
                    <a:pt x="12434601" y="17223551"/>
                  </a:lnTo>
                  <a:lnTo>
                    <a:pt x="12415541" y="17233079"/>
                  </a:lnTo>
                  <a:lnTo>
                    <a:pt x="12406009" y="17233079"/>
                  </a:lnTo>
                  <a:lnTo>
                    <a:pt x="12391713" y="17237847"/>
                  </a:lnTo>
                  <a:lnTo>
                    <a:pt x="12382185" y="17247375"/>
                  </a:lnTo>
                  <a:lnTo>
                    <a:pt x="12372653" y="17247375"/>
                  </a:lnTo>
                  <a:lnTo>
                    <a:pt x="12334533" y="17266435"/>
                  </a:lnTo>
                  <a:lnTo>
                    <a:pt x="12296409" y="17280731"/>
                  </a:lnTo>
                  <a:lnTo>
                    <a:pt x="12258289" y="17299791"/>
                  </a:lnTo>
                  <a:lnTo>
                    <a:pt x="12220169" y="17314087"/>
                  </a:lnTo>
                  <a:lnTo>
                    <a:pt x="12177281" y="17328383"/>
                  </a:lnTo>
                  <a:lnTo>
                    <a:pt x="12167753" y="17328383"/>
                  </a:lnTo>
                  <a:lnTo>
                    <a:pt x="12158221" y="17328383"/>
                  </a:lnTo>
                  <a:lnTo>
                    <a:pt x="12134397" y="17342679"/>
                  </a:lnTo>
                  <a:lnTo>
                    <a:pt x="12124865" y="17342679"/>
                  </a:lnTo>
                  <a:lnTo>
                    <a:pt x="12110569" y="17347443"/>
                  </a:lnTo>
                  <a:lnTo>
                    <a:pt x="12096277" y="17342679"/>
                  </a:lnTo>
                  <a:lnTo>
                    <a:pt x="12086745" y="17337915"/>
                  </a:lnTo>
                  <a:lnTo>
                    <a:pt x="12096277" y="17352207"/>
                  </a:lnTo>
                  <a:lnTo>
                    <a:pt x="12096277" y="17366503"/>
                  </a:lnTo>
                  <a:lnTo>
                    <a:pt x="12091509" y="17371271"/>
                  </a:lnTo>
                  <a:lnTo>
                    <a:pt x="12086745" y="17380799"/>
                  </a:lnTo>
                  <a:lnTo>
                    <a:pt x="12062921" y="17380799"/>
                  </a:lnTo>
                  <a:lnTo>
                    <a:pt x="12053389" y="17376035"/>
                  </a:lnTo>
                  <a:lnTo>
                    <a:pt x="12043861" y="17366503"/>
                  </a:lnTo>
                  <a:lnTo>
                    <a:pt x="12039093" y="17352207"/>
                  </a:lnTo>
                  <a:lnTo>
                    <a:pt x="12024797" y="17342679"/>
                  </a:lnTo>
                  <a:lnTo>
                    <a:pt x="12020033" y="17356975"/>
                  </a:lnTo>
                  <a:lnTo>
                    <a:pt x="12020033" y="17366503"/>
                  </a:lnTo>
                  <a:lnTo>
                    <a:pt x="12010505" y="17380799"/>
                  </a:lnTo>
                  <a:lnTo>
                    <a:pt x="12000973" y="17356975"/>
                  </a:lnTo>
                  <a:lnTo>
                    <a:pt x="11981913" y="17366503"/>
                  </a:lnTo>
                  <a:lnTo>
                    <a:pt x="11972381" y="17390331"/>
                  </a:lnTo>
                  <a:lnTo>
                    <a:pt x="11977149" y="17395095"/>
                  </a:lnTo>
                  <a:lnTo>
                    <a:pt x="11981913" y="17414155"/>
                  </a:lnTo>
                  <a:lnTo>
                    <a:pt x="11972381" y="17423687"/>
                  </a:lnTo>
                  <a:lnTo>
                    <a:pt x="11967617" y="17418919"/>
                  </a:lnTo>
                  <a:lnTo>
                    <a:pt x="11953321" y="17447511"/>
                  </a:lnTo>
                  <a:lnTo>
                    <a:pt x="11934261" y="17452275"/>
                  </a:lnTo>
                  <a:lnTo>
                    <a:pt x="11915201" y="17480867"/>
                  </a:lnTo>
                  <a:lnTo>
                    <a:pt x="11896141" y="17499927"/>
                  </a:lnTo>
                  <a:lnTo>
                    <a:pt x="11891377" y="17514223"/>
                  </a:lnTo>
                  <a:lnTo>
                    <a:pt x="11858021" y="17542815"/>
                  </a:lnTo>
                  <a:lnTo>
                    <a:pt x="11843725" y="17542815"/>
                  </a:lnTo>
                  <a:lnTo>
                    <a:pt x="11834193" y="17542815"/>
                  </a:lnTo>
                  <a:lnTo>
                    <a:pt x="11819897" y="17557111"/>
                  </a:lnTo>
                  <a:lnTo>
                    <a:pt x="11815133" y="17580935"/>
                  </a:lnTo>
                  <a:lnTo>
                    <a:pt x="11810369" y="17580935"/>
                  </a:lnTo>
                  <a:lnTo>
                    <a:pt x="11800837" y="17580935"/>
                  </a:lnTo>
                  <a:lnTo>
                    <a:pt x="11800837" y="17590463"/>
                  </a:lnTo>
                  <a:lnTo>
                    <a:pt x="11796073" y="17590463"/>
                  </a:lnTo>
                  <a:lnTo>
                    <a:pt x="11781777" y="17580935"/>
                  </a:lnTo>
                  <a:lnTo>
                    <a:pt x="11767481" y="17585699"/>
                  </a:lnTo>
                  <a:lnTo>
                    <a:pt x="11753185" y="17580935"/>
                  </a:lnTo>
                  <a:lnTo>
                    <a:pt x="11738893" y="17542815"/>
                  </a:lnTo>
                  <a:lnTo>
                    <a:pt x="11729361" y="17528519"/>
                  </a:lnTo>
                  <a:lnTo>
                    <a:pt x="11715065" y="17523755"/>
                  </a:lnTo>
                  <a:lnTo>
                    <a:pt x="11715065" y="17533283"/>
                  </a:lnTo>
                  <a:lnTo>
                    <a:pt x="11705537" y="17542815"/>
                  </a:lnTo>
                  <a:lnTo>
                    <a:pt x="11696005" y="17523755"/>
                  </a:lnTo>
                  <a:lnTo>
                    <a:pt x="11681709" y="17466571"/>
                  </a:lnTo>
                  <a:lnTo>
                    <a:pt x="11681709" y="17452275"/>
                  </a:lnTo>
                  <a:lnTo>
                    <a:pt x="11696005" y="17404623"/>
                  </a:lnTo>
                  <a:lnTo>
                    <a:pt x="11734125" y="17361739"/>
                  </a:lnTo>
                  <a:lnTo>
                    <a:pt x="11719829" y="17361739"/>
                  </a:lnTo>
                  <a:lnTo>
                    <a:pt x="11691241" y="17390331"/>
                  </a:lnTo>
                  <a:lnTo>
                    <a:pt x="11696005" y="17380799"/>
                  </a:lnTo>
                  <a:lnTo>
                    <a:pt x="11700769" y="17376035"/>
                  </a:lnTo>
                  <a:lnTo>
                    <a:pt x="11710301" y="17361739"/>
                  </a:lnTo>
                  <a:lnTo>
                    <a:pt x="11724597" y="17352207"/>
                  </a:lnTo>
                  <a:lnTo>
                    <a:pt x="11748421" y="17342679"/>
                  </a:lnTo>
                  <a:lnTo>
                    <a:pt x="11762717" y="17342679"/>
                  </a:lnTo>
                  <a:lnTo>
                    <a:pt x="11772245" y="17337915"/>
                  </a:lnTo>
                  <a:lnTo>
                    <a:pt x="11786541" y="17323619"/>
                  </a:lnTo>
                  <a:lnTo>
                    <a:pt x="11791309" y="17318851"/>
                  </a:lnTo>
                  <a:lnTo>
                    <a:pt x="11777013" y="17328383"/>
                  </a:lnTo>
                  <a:lnTo>
                    <a:pt x="11757953" y="17333147"/>
                  </a:lnTo>
                  <a:lnTo>
                    <a:pt x="11762717" y="17323619"/>
                  </a:lnTo>
                  <a:lnTo>
                    <a:pt x="11767481" y="17318851"/>
                  </a:lnTo>
                  <a:lnTo>
                    <a:pt x="11886609" y="17237847"/>
                  </a:lnTo>
                  <a:lnTo>
                    <a:pt x="11910437" y="17228315"/>
                  </a:lnTo>
                  <a:lnTo>
                    <a:pt x="11953321" y="17209255"/>
                  </a:lnTo>
                  <a:lnTo>
                    <a:pt x="11962853" y="17199723"/>
                  </a:lnTo>
                  <a:lnTo>
                    <a:pt x="11953321" y="17190195"/>
                  </a:lnTo>
                  <a:lnTo>
                    <a:pt x="11972381" y="17199723"/>
                  </a:lnTo>
                  <a:lnTo>
                    <a:pt x="11972381" y="17209255"/>
                  </a:lnTo>
                  <a:lnTo>
                    <a:pt x="11967617" y="17214019"/>
                  </a:lnTo>
                  <a:lnTo>
                    <a:pt x="11967617" y="17223551"/>
                  </a:lnTo>
                  <a:lnTo>
                    <a:pt x="11972381" y="17237847"/>
                  </a:lnTo>
                  <a:lnTo>
                    <a:pt x="11986677" y="17242611"/>
                  </a:lnTo>
                  <a:lnTo>
                    <a:pt x="12005737" y="17261671"/>
                  </a:lnTo>
                  <a:lnTo>
                    <a:pt x="11996209" y="17233079"/>
                  </a:lnTo>
                  <a:lnTo>
                    <a:pt x="12010505" y="17218787"/>
                  </a:lnTo>
                  <a:lnTo>
                    <a:pt x="12062921" y="17199723"/>
                  </a:lnTo>
                  <a:lnTo>
                    <a:pt x="12110569" y="17194959"/>
                  </a:lnTo>
                  <a:lnTo>
                    <a:pt x="12124865" y="17185431"/>
                  </a:lnTo>
                  <a:lnTo>
                    <a:pt x="12086745" y="17180663"/>
                  </a:lnTo>
                  <a:lnTo>
                    <a:pt x="12039093" y="17180663"/>
                  </a:lnTo>
                  <a:lnTo>
                    <a:pt x="12010505" y="17175899"/>
                  </a:lnTo>
                  <a:lnTo>
                    <a:pt x="11972381" y="17180663"/>
                  </a:lnTo>
                  <a:lnTo>
                    <a:pt x="11934261" y="17175899"/>
                  </a:lnTo>
                  <a:lnTo>
                    <a:pt x="11919965" y="17180663"/>
                  </a:lnTo>
                  <a:lnTo>
                    <a:pt x="11910437" y="17194959"/>
                  </a:lnTo>
                  <a:lnTo>
                    <a:pt x="11896141" y="17190195"/>
                  </a:lnTo>
                  <a:lnTo>
                    <a:pt x="11891377" y="17185431"/>
                  </a:lnTo>
                  <a:lnTo>
                    <a:pt x="11881845" y="17185431"/>
                  </a:lnTo>
                  <a:lnTo>
                    <a:pt x="11896141" y="17161603"/>
                  </a:lnTo>
                  <a:lnTo>
                    <a:pt x="11939025" y="17128247"/>
                  </a:lnTo>
                  <a:lnTo>
                    <a:pt x="11962853" y="17099655"/>
                  </a:lnTo>
                  <a:lnTo>
                    <a:pt x="11972381" y="17090127"/>
                  </a:lnTo>
                  <a:lnTo>
                    <a:pt x="11977149" y="17080595"/>
                  </a:lnTo>
                  <a:lnTo>
                    <a:pt x="11962853" y="17080595"/>
                  </a:lnTo>
                  <a:lnTo>
                    <a:pt x="11948557" y="17085363"/>
                  </a:lnTo>
                  <a:lnTo>
                    <a:pt x="11943793" y="17075831"/>
                  </a:lnTo>
                  <a:lnTo>
                    <a:pt x="11924729" y="17056771"/>
                  </a:lnTo>
                  <a:lnTo>
                    <a:pt x="11924729" y="17061535"/>
                  </a:lnTo>
                  <a:lnTo>
                    <a:pt x="11934261" y="17085363"/>
                  </a:lnTo>
                  <a:lnTo>
                    <a:pt x="11905669" y="17123483"/>
                  </a:lnTo>
                  <a:lnTo>
                    <a:pt x="11886609" y="17128247"/>
                  </a:lnTo>
                  <a:lnTo>
                    <a:pt x="11862785" y="17147307"/>
                  </a:lnTo>
                  <a:lnTo>
                    <a:pt x="11824665" y="17161603"/>
                  </a:lnTo>
                  <a:lnTo>
                    <a:pt x="11786541" y="17190195"/>
                  </a:lnTo>
                  <a:lnTo>
                    <a:pt x="11729361" y="17218787"/>
                  </a:lnTo>
                  <a:lnTo>
                    <a:pt x="11719829" y="17218787"/>
                  </a:lnTo>
                  <a:lnTo>
                    <a:pt x="11696005" y="17194959"/>
                  </a:lnTo>
                  <a:lnTo>
                    <a:pt x="11705537" y="17185431"/>
                  </a:lnTo>
                  <a:lnTo>
                    <a:pt x="11710301" y="17175899"/>
                  </a:lnTo>
                  <a:lnTo>
                    <a:pt x="11705537" y="17175899"/>
                  </a:lnTo>
                  <a:lnTo>
                    <a:pt x="11700769" y="17180663"/>
                  </a:lnTo>
                  <a:lnTo>
                    <a:pt x="11686473" y="17190195"/>
                  </a:lnTo>
                  <a:lnTo>
                    <a:pt x="11696005" y="17209255"/>
                  </a:lnTo>
                  <a:lnTo>
                    <a:pt x="11691241" y="17214019"/>
                  </a:lnTo>
                  <a:lnTo>
                    <a:pt x="11672181" y="17223551"/>
                  </a:lnTo>
                  <a:lnTo>
                    <a:pt x="11657885" y="17237847"/>
                  </a:lnTo>
                  <a:lnTo>
                    <a:pt x="11643589" y="17242611"/>
                  </a:lnTo>
                  <a:lnTo>
                    <a:pt x="11634057" y="17233079"/>
                  </a:lnTo>
                  <a:lnTo>
                    <a:pt x="11600701" y="17247375"/>
                  </a:lnTo>
                  <a:lnTo>
                    <a:pt x="11576877" y="17252139"/>
                  </a:lnTo>
                  <a:lnTo>
                    <a:pt x="11572113" y="17242611"/>
                  </a:lnTo>
                  <a:lnTo>
                    <a:pt x="11572113" y="17233079"/>
                  </a:lnTo>
                  <a:lnTo>
                    <a:pt x="11562581" y="17233079"/>
                  </a:lnTo>
                  <a:lnTo>
                    <a:pt x="11543521" y="17233079"/>
                  </a:lnTo>
                  <a:lnTo>
                    <a:pt x="11538757" y="17228315"/>
                  </a:lnTo>
                  <a:lnTo>
                    <a:pt x="11529225" y="17223551"/>
                  </a:lnTo>
                  <a:lnTo>
                    <a:pt x="11524461" y="17223551"/>
                  </a:lnTo>
                  <a:lnTo>
                    <a:pt x="11519697" y="17223551"/>
                  </a:lnTo>
                  <a:lnTo>
                    <a:pt x="11514929" y="17223551"/>
                  </a:lnTo>
                  <a:lnTo>
                    <a:pt x="11510165" y="17228315"/>
                  </a:lnTo>
                  <a:lnTo>
                    <a:pt x="11510165" y="17233079"/>
                  </a:lnTo>
                  <a:lnTo>
                    <a:pt x="11500633" y="17228315"/>
                  </a:lnTo>
                  <a:lnTo>
                    <a:pt x="11495869" y="17218787"/>
                  </a:lnTo>
                  <a:lnTo>
                    <a:pt x="11486341" y="17214019"/>
                  </a:lnTo>
                  <a:lnTo>
                    <a:pt x="11481573" y="17204491"/>
                  </a:lnTo>
                  <a:lnTo>
                    <a:pt x="11486341" y="17199723"/>
                  </a:lnTo>
                  <a:lnTo>
                    <a:pt x="11491105" y="17190195"/>
                  </a:lnTo>
                  <a:lnTo>
                    <a:pt x="11491105" y="17180663"/>
                  </a:lnTo>
                  <a:lnTo>
                    <a:pt x="11486341" y="17171135"/>
                  </a:lnTo>
                  <a:lnTo>
                    <a:pt x="11481573" y="17166367"/>
                  </a:lnTo>
                  <a:lnTo>
                    <a:pt x="11481573" y="17161603"/>
                  </a:lnTo>
                  <a:lnTo>
                    <a:pt x="11481573" y="17156839"/>
                  </a:lnTo>
                  <a:lnTo>
                    <a:pt x="11486341" y="17152075"/>
                  </a:lnTo>
                  <a:lnTo>
                    <a:pt x="11491105" y="17147307"/>
                  </a:lnTo>
                  <a:lnTo>
                    <a:pt x="11491105" y="17142543"/>
                  </a:lnTo>
                  <a:lnTo>
                    <a:pt x="11491105" y="17133011"/>
                  </a:lnTo>
                  <a:lnTo>
                    <a:pt x="11486341" y="17133011"/>
                  </a:lnTo>
                  <a:lnTo>
                    <a:pt x="11486341" y="17123483"/>
                  </a:lnTo>
                  <a:lnTo>
                    <a:pt x="11481573" y="17113951"/>
                  </a:lnTo>
                  <a:lnTo>
                    <a:pt x="11472045" y="17123483"/>
                  </a:lnTo>
                  <a:lnTo>
                    <a:pt x="11462513" y="17123483"/>
                  </a:lnTo>
                  <a:lnTo>
                    <a:pt x="11448217" y="17113951"/>
                  </a:lnTo>
                  <a:lnTo>
                    <a:pt x="11433921" y="17099655"/>
                  </a:lnTo>
                  <a:lnTo>
                    <a:pt x="11433921" y="17094891"/>
                  </a:lnTo>
                  <a:lnTo>
                    <a:pt x="11433921" y="17090127"/>
                  </a:lnTo>
                  <a:lnTo>
                    <a:pt x="11433921" y="17085363"/>
                  </a:lnTo>
                  <a:lnTo>
                    <a:pt x="11438689" y="17080595"/>
                  </a:lnTo>
                  <a:lnTo>
                    <a:pt x="11433921" y="17075831"/>
                  </a:lnTo>
                  <a:lnTo>
                    <a:pt x="11433921" y="17071067"/>
                  </a:lnTo>
                  <a:lnTo>
                    <a:pt x="11433921" y="17066299"/>
                  </a:lnTo>
                  <a:lnTo>
                    <a:pt x="11438689" y="17061535"/>
                  </a:lnTo>
                  <a:lnTo>
                    <a:pt x="11433921" y="17052007"/>
                  </a:lnTo>
                  <a:lnTo>
                    <a:pt x="11433921" y="17032947"/>
                  </a:lnTo>
                  <a:lnTo>
                    <a:pt x="11433921" y="16994823"/>
                  </a:lnTo>
                  <a:lnTo>
                    <a:pt x="11433921" y="16966235"/>
                  </a:lnTo>
                  <a:lnTo>
                    <a:pt x="11433921" y="16932879"/>
                  </a:lnTo>
                  <a:lnTo>
                    <a:pt x="11433921" y="16904287"/>
                  </a:lnTo>
                  <a:lnTo>
                    <a:pt x="11433921" y="16866167"/>
                  </a:lnTo>
                  <a:lnTo>
                    <a:pt x="11433921" y="16832811"/>
                  </a:lnTo>
                  <a:lnTo>
                    <a:pt x="11429157" y="16799455"/>
                  </a:lnTo>
                  <a:lnTo>
                    <a:pt x="11410097" y="16780395"/>
                  </a:lnTo>
                  <a:lnTo>
                    <a:pt x="11386273" y="16751803"/>
                  </a:lnTo>
                  <a:lnTo>
                    <a:pt x="11362445" y="16737507"/>
                  </a:lnTo>
                  <a:lnTo>
                    <a:pt x="11352917" y="16732743"/>
                  </a:lnTo>
                  <a:lnTo>
                    <a:pt x="11343385" y="16737507"/>
                  </a:lnTo>
                  <a:lnTo>
                    <a:pt x="11343385" y="16742271"/>
                  </a:lnTo>
                  <a:lnTo>
                    <a:pt x="11324325" y="16751803"/>
                  </a:lnTo>
                  <a:lnTo>
                    <a:pt x="11295733" y="16756567"/>
                  </a:lnTo>
                  <a:lnTo>
                    <a:pt x="11271909" y="16770863"/>
                  </a:lnTo>
                  <a:lnTo>
                    <a:pt x="11262377" y="16770863"/>
                  </a:lnTo>
                  <a:lnTo>
                    <a:pt x="11252849" y="16766099"/>
                  </a:lnTo>
                  <a:lnTo>
                    <a:pt x="11243317" y="16761331"/>
                  </a:lnTo>
                  <a:lnTo>
                    <a:pt x="11238553" y="16751803"/>
                  </a:lnTo>
                  <a:lnTo>
                    <a:pt x="11233789" y="16737507"/>
                  </a:lnTo>
                  <a:lnTo>
                    <a:pt x="11238553" y="16718447"/>
                  </a:lnTo>
                  <a:lnTo>
                    <a:pt x="11224257" y="16713683"/>
                  </a:lnTo>
                  <a:lnTo>
                    <a:pt x="11205197" y="16708915"/>
                  </a:lnTo>
                  <a:lnTo>
                    <a:pt x="11195665" y="16723211"/>
                  </a:lnTo>
                  <a:lnTo>
                    <a:pt x="11190901" y="16737507"/>
                  </a:lnTo>
                  <a:lnTo>
                    <a:pt x="11171841" y="16761331"/>
                  </a:lnTo>
                  <a:lnTo>
                    <a:pt x="11148017" y="16799455"/>
                  </a:lnTo>
                  <a:lnTo>
                    <a:pt x="11133721" y="16818515"/>
                  </a:lnTo>
                  <a:lnTo>
                    <a:pt x="11109893" y="16851871"/>
                  </a:lnTo>
                  <a:lnTo>
                    <a:pt x="11086069" y="16885227"/>
                  </a:lnTo>
                  <a:lnTo>
                    <a:pt x="11081305" y="16913815"/>
                  </a:lnTo>
                  <a:lnTo>
                    <a:pt x="11076537" y="16942407"/>
                  </a:lnTo>
                  <a:lnTo>
                    <a:pt x="11062241" y="16966235"/>
                  </a:lnTo>
                  <a:lnTo>
                    <a:pt x="11047949" y="16985295"/>
                  </a:lnTo>
                  <a:lnTo>
                    <a:pt x="11043181" y="17009119"/>
                  </a:lnTo>
                  <a:lnTo>
                    <a:pt x="11043181" y="17028179"/>
                  </a:lnTo>
                  <a:lnTo>
                    <a:pt x="11043181" y="17047239"/>
                  </a:lnTo>
                  <a:lnTo>
                    <a:pt x="11043181" y="17056771"/>
                  </a:lnTo>
                  <a:lnTo>
                    <a:pt x="11043181" y="17066299"/>
                  </a:lnTo>
                  <a:lnTo>
                    <a:pt x="11038417" y="17071067"/>
                  </a:lnTo>
                  <a:lnTo>
                    <a:pt x="11024121" y="17085363"/>
                  </a:lnTo>
                  <a:lnTo>
                    <a:pt x="11024121" y="17104423"/>
                  </a:lnTo>
                  <a:lnTo>
                    <a:pt x="11014593" y="17109187"/>
                  </a:lnTo>
                  <a:lnTo>
                    <a:pt x="10995533" y="17123483"/>
                  </a:lnTo>
                  <a:lnTo>
                    <a:pt x="10976469" y="17142543"/>
                  </a:lnTo>
                  <a:lnTo>
                    <a:pt x="10976469" y="17156839"/>
                  </a:lnTo>
                  <a:lnTo>
                    <a:pt x="10981237" y="17166367"/>
                  </a:lnTo>
                  <a:lnTo>
                    <a:pt x="10981237" y="17171135"/>
                  </a:lnTo>
                  <a:lnTo>
                    <a:pt x="10976469" y="17175899"/>
                  </a:lnTo>
                  <a:lnTo>
                    <a:pt x="10971705" y="17175899"/>
                  </a:lnTo>
                  <a:lnTo>
                    <a:pt x="10962177" y="17175899"/>
                  </a:lnTo>
                  <a:lnTo>
                    <a:pt x="10957409" y="17185431"/>
                  </a:lnTo>
                  <a:lnTo>
                    <a:pt x="10957409" y="17199723"/>
                  </a:lnTo>
                  <a:lnTo>
                    <a:pt x="10952645" y="17204491"/>
                  </a:lnTo>
                  <a:lnTo>
                    <a:pt x="10947881" y="17209255"/>
                  </a:lnTo>
                  <a:lnTo>
                    <a:pt x="10943113" y="17199723"/>
                  </a:lnTo>
                  <a:lnTo>
                    <a:pt x="10938349" y="17194959"/>
                  </a:lnTo>
                  <a:lnTo>
                    <a:pt x="10933585" y="17190195"/>
                  </a:lnTo>
                  <a:lnTo>
                    <a:pt x="10924053" y="17199723"/>
                  </a:lnTo>
                  <a:lnTo>
                    <a:pt x="10909757" y="17209255"/>
                  </a:lnTo>
                  <a:lnTo>
                    <a:pt x="10900229" y="17209255"/>
                  </a:lnTo>
                  <a:lnTo>
                    <a:pt x="10881169" y="17199723"/>
                  </a:lnTo>
                  <a:lnTo>
                    <a:pt x="10866873" y="17223551"/>
                  </a:lnTo>
                  <a:lnTo>
                    <a:pt x="10852577" y="17266435"/>
                  </a:lnTo>
                  <a:lnTo>
                    <a:pt x="10657209" y="17266435"/>
                  </a:lnTo>
                  <a:lnTo>
                    <a:pt x="10590497" y="17266435"/>
                  </a:lnTo>
                  <a:lnTo>
                    <a:pt x="10352241" y="17266435"/>
                  </a:lnTo>
                  <a:lnTo>
                    <a:pt x="10376065" y="17256907"/>
                  </a:lnTo>
                  <a:lnTo>
                    <a:pt x="10423717" y="17223551"/>
                  </a:lnTo>
                  <a:lnTo>
                    <a:pt x="10457073" y="17214019"/>
                  </a:lnTo>
                  <a:lnTo>
                    <a:pt x="10499957" y="17180663"/>
                  </a:lnTo>
                  <a:lnTo>
                    <a:pt x="10533313" y="17171135"/>
                  </a:lnTo>
                  <a:lnTo>
                    <a:pt x="10538077" y="17166367"/>
                  </a:lnTo>
                  <a:lnTo>
                    <a:pt x="10542845" y="17137779"/>
                  </a:lnTo>
                  <a:lnTo>
                    <a:pt x="10547609" y="17123483"/>
                  </a:lnTo>
                  <a:lnTo>
                    <a:pt x="10561905" y="17099655"/>
                  </a:lnTo>
                  <a:lnTo>
                    <a:pt x="10580965" y="17075831"/>
                  </a:lnTo>
                  <a:lnTo>
                    <a:pt x="10595261" y="17042475"/>
                  </a:lnTo>
                  <a:lnTo>
                    <a:pt x="10619085" y="17018651"/>
                  </a:lnTo>
                  <a:lnTo>
                    <a:pt x="10661973" y="17004355"/>
                  </a:lnTo>
                  <a:lnTo>
                    <a:pt x="10700093" y="16966235"/>
                  </a:lnTo>
                  <a:lnTo>
                    <a:pt x="10719153" y="16951939"/>
                  </a:lnTo>
                  <a:lnTo>
                    <a:pt x="10738213" y="16942407"/>
                  </a:lnTo>
                  <a:lnTo>
                    <a:pt x="10747745" y="16928111"/>
                  </a:lnTo>
                  <a:lnTo>
                    <a:pt x="10757273" y="16918583"/>
                  </a:lnTo>
                  <a:lnTo>
                    <a:pt x="10790629" y="16899523"/>
                  </a:lnTo>
                  <a:lnTo>
                    <a:pt x="10828753" y="16894755"/>
                  </a:lnTo>
                  <a:lnTo>
                    <a:pt x="10862109" y="16880459"/>
                  </a:lnTo>
                  <a:lnTo>
                    <a:pt x="10890697" y="16870931"/>
                  </a:lnTo>
                  <a:lnTo>
                    <a:pt x="10909757" y="16856635"/>
                  </a:lnTo>
                  <a:lnTo>
                    <a:pt x="10933585" y="16851871"/>
                  </a:lnTo>
                  <a:lnTo>
                    <a:pt x="11009825" y="16808983"/>
                  </a:lnTo>
                  <a:lnTo>
                    <a:pt x="11028889" y="16789923"/>
                  </a:lnTo>
                  <a:lnTo>
                    <a:pt x="11052713" y="16751803"/>
                  </a:lnTo>
                  <a:lnTo>
                    <a:pt x="11076537" y="16727975"/>
                  </a:lnTo>
                  <a:lnTo>
                    <a:pt x="11086069" y="16708915"/>
                  </a:lnTo>
                  <a:lnTo>
                    <a:pt x="11119425" y="16670795"/>
                  </a:lnTo>
                  <a:lnTo>
                    <a:pt x="11152781" y="16627911"/>
                  </a:lnTo>
                  <a:lnTo>
                    <a:pt x="11171841" y="16594555"/>
                  </a:lnTo>
                  <a:lnTo>
                    <a:pt x="11195665" y="16575491"/>
                  </a:lnTo>
                  <a:lnTo>
                    <a:pt x="11248081" y="16523075"/>
                  </a:lnTo>
                  <a:lnTo>
                    <a:pt x="11271909" y="16499251"/>
                  </a:lnTo>
                  <a:lnTo>
                    <a:pt x="11286205" y="16499251"/>
                  </a:lnTo>
                  <a:lnTo>
                    <a:pt x="11314793" y="16480191"/>
                  </a:lnTo>
                  <a:lnTo>
                    <a:pt x="11333857" y="16456363"/>
                  </a:lnTo>
                  <a:lnTo>
                    <a:pt x="11362445" y="16437303"/>
                  </a:lnTo>
                  <a:lnTo>
                    <a:pt x="11419629" y="16413479"/>
                  </a:lnTo>
                  <a:lnTo>
                    <a:pt x="11472045" y="16384887"/>
                  </a:lnTo>
                  <a:lnTo>
                    <a:pt x="11538757" y="16356295"/>
                  </a:lnTo>
                  <a:lnTo>
                    <a:pt x="11619761" y="16318175"/>
                  </a:lnTo>
                  <a:lnTo>
                    <a:pt x="11686473" y="16299115"/>
                  </a:lnTo>
                  <a:lnTo>
                    <a:pt x="11729361" y="16294351"/>
                  </a:lnTo>
                  <a:close/>
                  <a:moveTo>
                    <a:pt x="2311086" y="16260995"/>
                  </a:moveTo>
                  <a:lnTo>
                    <a:pt x="2325382" y="16260995"/>
                  </a:lnTo>
                  <a:lnTo>
                    <a:pt x="2330147" y="16265759"/>
                  </a:lnTo>
                  <a:lnTo>
                    <a:pt x="2334912" y="16284819"/>
                  </a:lnTo>
                  <a:lnTo>
                    <a:pt x="2315851" y="16284819"/>
                  </a:lnTo>
                  <a:lnTo>
                    <a:pt x="2306321" y="16280055"/>
                  </a:lnTo>
                  <a:lnTo>
                    <a:pt x="2306321" y="16270523"/>
                  </a:lnTo>
                  <a:close/>
                  <a:moveTo>
                    <a:pt x="13492457" y="16199047"/>
                  </a:moveTo>
                  <a:lnTo>
                    <a:pt x="13501989" y="16199047"/>
                  </a:lnTo>
                  <a:lnTo>
                    <a:pt x="13501989" y="16208579"/>
                  </a:lnTo>
                  <a:lnTo>
                    <a:pt x="13478161" y="16222875"/>
                  </a:lnTo>
                  <a:lnTo>
                    <a:pt x="13473397" y="16227639"/>
                  </a:lnTo>
                  <a:lnTo>
                    <a:pt x="13463869" y="16232403"/>
                  </a:lnTo>
                  <a:lnTo>
                    <a:pt x="13459101" y="16227639"/>
                  </a:lnTo>
                  <a:lnTo>
                    <a:pt x="13454337" y="16213343"/>
                  </a:lnTo>
                  <a:lnTo>
                    <a:pt x="13454337" y="16208579"/>
                  </a:lnTo>
                  <a:lnTo>
                    <a:pt x="13459101" y="16203815"/>
                  </a:lnTo>
                  <a:lnTo>
                    <a:pt x="13463869" y="16208579"/>
                  </a:lnTo>
                  <a:lnTo>
                    <a:pt x="13463869" y="16213343"/>
                  </a:lnTo>
                  <a:lnTo>
                    <a:pt x="13468633" y="16213343"/>
                  </a:lnTo>
                  <a:lnTo>
                    <a:pt x="13473397" y="16213343"/>
                  </a:lnTo>
                  <a:close/>
                  <a:moveTo>
                    <a:pt x="13568701" y="16170455"/>
                  </a:moveTo>
                  <a:lnTo>
                    <a:pt x="13573465" y="16170455"/>
                  </a:lnTo>
                  <a:lnTo>
                    <a:pt x="13582993" y="16184751"/>
                  </a:lnTo>
                  <a:lnTo>
                    <a:pt x="13592525" y="16189519"/>
                  </a:lnTo>
                  <a:lnTo>
                    <a:pt x="13549641" y="16208579"/>
                  </a:lnTo>
                  <a:lnTo>
                    <a:pt x="13544873" y="16208579"/>
                  </a:lnTo>
                  <a:lnTo>
                    <a:pt x="13540109" y="16189519"/>
                  </a:lnTo>
                  <a:lnTo>
                    <a:pt x="13544873" y="16179987"/>
                  </a:lnTo>
                  <a:lnTo>
                    <a:pt x="13549641" y="16175223"/>
                  </a:lnTo>
                  <a:lnTo>
                    <a:pt x="13554405" y="16184751"/>
                  </a:lnTo>
                  <a:close/>
                  <a:moveTo>
                    <a:pt x="2554107" y="16165691"/>
                  </a:moveTo>
                  <a:lnTo>
                    <a:pt x="2558872" y="16165691"/>
                  </a:lnTo>
                  <a:lnTo>
                    <a:pt x="2573167" y="16165691"/>
                  </a:lnTo>
                  <a:lnTo>
                    <a:pt x="2592228" y="16175219"/>
                  </a:lnTo>
                  <a:lnTo>
                    <a:pt x="2606523" y="16189515"/>
                  </a:lnTo>
                  <a:lnTo>
                    <a:pt x="2630349" y="16222871"/>
                  </a:lnTo>
                  <a:lnTo>
                    <a:pt x="2635114" y="16227639"/>
                  </a:lnTo>
                  <a:lnTo>
                    <a:pt x="2601758" y="16208575"/>
                  </a:lnTo>
                  <a:lnTo>
                    <a:pt x="2582698" y="16199047"/>
                  </a:lnTo>
                  <a:lnTo>
                    <a:pt x="2577933" y="16189515"/>
                  </a:lnTo>
                  <a:lnTo>
                    <a:pt x="2577933" y="16184751"/>
                  </a:lnTo>
                  <a:lnTo>
                    <a:pt x="2558872" y="16175219"/>
                  </a:lnTo>
                  <a:close/>
                  <a:moveTo>
                    <a:pt x="2215783" y="16141863"/>
                  </a:moveTo>
                  <a:lnTo>
                    <a:pt x="2230079" y="16146631"/>
                  </a:lnTo>
                  <a:lnTo>
                    <a:pt x="2234844" y="16156159"/>
                  </a:lnTo>
                  <a:lnTo>
                    <a:pt x="2244374" y="16170455"/>
                  </a:lnTo>
                  <a:lnTo>
                    <a:pt x="2244374" y="16189515"/>
                  </a:lnTo>
                  <a:lnTo>
                    <a:pt x="2244374" y="16199047"/>
                  </a:lnTo>
                  <a:lnTo>
                    <a:pt x="2244374" y="16203811"/>
                  </a:lnTo>
                  <a:lnTo>
                    <a:pt x="2239609" y="16203811"/>
                  </a:lnTo>
                  <a:lnTo>
                    <a:pt x="2230079" y="16203811"/>
                  </a:lnTo>
                  <a:lnTo>
                    <a:pt x="2215783" y="16194279"/>
                  </a:lnTo>
                  <a:lnTo>
                    <a:pt x="2196723" y="16175219"/>
                  </a:lnTo>
                  <a:lnTo>
                    <a:pt x="2196723" y="16170455"/>
                  </a:lnTo>
                  <a:lnTo>
                    <a:pt x="2201488" y="16165691"/>
                  </a:lnTo>
                  <a:lnTo>
                    <a:pt x="2206253" y="16160923"/>
                  </a:lnTo>
                  <a:lnTo>
                    <a:pt x="2201488" y="16146631"/>
                  </a:lnTo>
                  <a:close/>
                  <a:moveTo>
                    <a:pt x="11986677" y="16122807"/>
                  </a:moveTo>
                  <a:lnTo>
                    <a:pt x="12005737" y="16122807"/>
                  </a:lnTo>
                  <a:lnTo>
                    <a:pt x="12062921" y="16141867"/>
                  </a:lnTo>
                  <a:lnTo>
                    <a:pt x="12134397" y="16156163"/>
                  </a:lnTo>
                  <a:lnTo>
                    <a:pt x="12167753" y="16165691"/>
                  </a:lnTo>
                  <a:lnTo>
                    <a:pt x="12205873" y="16179987"/>
                  </a:lnTo>
                  <a:lnTo>
                    <a:pt x="12239229" y="16199047"/>
                  </a:lnTo>
                  <a:lnTo>
                    <a:pt x="12315473" y="16251463"/>
                  </a:lnTo>
                  <a:lnTo>
                    <a:pt x="12329765" y="16256231"/>
                  </a:lnTo>
                  <a:lnTo>
                    <a:pt x="12367889" y="16280055"/>
                  </a:lnTo>
                  <a:lnTo>
                    <a:pt x="12377417" y="16299115"/>
                  </a:lnTo>
                  <a:lnTo>
                    <a:pt x="12386949" y="16318175"/>
                  </a:lnTo>
                  <a:lnTo>
                    <a:pt x="12377417" y="16322943"/>
                  </a:lnTo>
                  <a:lnTo>
                    <a:pt x="12367889" y="16327707"/>
                  </a:lnTo>
                  <a:lnTo>
                    <a:pt x="12305941" y="16332471"/>
                  </a:lnTo>
                  <a:lnTo>
                    <a:pt x="12253525" y="16318175"/>
                  </a:lnTo>
                  <a:lnTo>
                    <a:pt x="12215405" y="16308647"/>
                  </a:lnTo>
                  <a:lnTo>
                    <a:pt x="12177281" y="16294351"/>
                  </a:lnTo>
                  <a:lnTo>
                    <a:pt x="12096277" y="16256231"/>
                  </a:lnTo>
                  <a:lnTo>
                    <a:pt x="12081981" y="16241935"/>
                  </a:lnTo>
                  <a:lnTo>
                    <a:pt x="12077213" y="16222875"/>
                  </a:lnTo>
                  <a:lnTo>
                    <a:pt x="12062921" y="16203815"/>
                  </a:lnTo>
                  <a:lnTo>
                    <a:pt x="12043857" y="16189519"/>
                  </a:lnTo>
                  <a:lnTo>
                    <a:pt x="11958085" y="16151395"/>
                  </a:lnTo>
                  <a:lnTo>
                    <a:pt x="11948557" y="16137103"/>
                  </a:lnTo>
                  <a:lnTo>
                    <a:pt x="11967617" y="16127571"/>
                  </a:lnTo>
                  <a:close/>
                  <a:moveTo>
                    <a:pt x="2501691" y="16056091"/>
                  </a:moveTo>
                  <a:lnTo>
                    <a:pt x="2511222" y="16070387"/>
                  </a:lnTo>
                  <a:lnTo>
                    <a:pt x="2515987" y="16075151"/>
                  </a:lnTo>
                  <a:lnTo>
                    <a:pt x="2515987" y="16089447"/>
                  </a:lnTo>
                  <a:lnTo>
                    <a:pt x="2501691" y="16103743"/>
                  </a:lnTo>
                  <a:lnTo>
                    <a:pt x="2496926" y="16075151"/>
                  </a:lnTo>
                  <a:lnTo>
                    <a:pt x="2501691" y="16065623"/>
                  </a:lnTo>
                  <a:lnTo>
                    <a:pt x="2501691" y="16060859"/>
                  </a:lnTo>
                  <a:close/>
                  <a:moveTo>
                    <a:pt x="2454039" y="16008443"/>
                  </a:moveTo>
                  <a:lnTo>
                    <a:pt x="2458804" y="16008443"/>
                  </a:lnTo>
                  <a:lnTo>
                    <a:pt x="2468335" y="16013207"/>
                  </a:lnTo>
                  <a:lnTo>
                    <a:pt x="2477865" y="16027503"/>
                  </a:lnTo>
                  <a:lnTo>
                    <a:pt x="2482630" y="16032267"/>
                  </a:lnTo>
                  <a:lnTo>
                    <a:pt x="2487395" y="16041795"/>
                  </a:lnTo>
                  <a:lnTo>
                    <a:pt x="2487395" y="16056091"/>
                  </a:lnTo>
                  <a:lnTo>
                    <a:pt x="2482630" y="16070387"/>
                  </a:lnTo>
                  <a:lnTo>
                    <a:pt x="2473100" y="16084683"/>
                  </a:lnTo>
                  <a:lnTo>
                    <a:pt x="2468335" y="16098979"/>
                  </a:lnTo>
                  <a:lnTo>
                    <a:pt x="2458804" y="16079919"/>
                  </a:lnTo>
                  <a:lnTo>
                    <a:pt x="2444509" y="16032267"/>
                  </a:lnTo>
                  <a:lnTo>
                    <a:pt x="2444509" y="16022735"/>
                  </a:lnTo>
                  <a:close/>
                  <a:moveTo>
                    <a:pt x="13349505" y="15913139"/>
                  </a:moveTo>
                  <a:lnTo>
                    <a:pt x="13359033" y="15913139"/>
                  </a:lnTo>
                  <a:lnTo>
                    <a:pt x="13359033" y="15917907"/>
                  </a:lnTo>
                  <a:lnTo>
                    <a:pt x="13354269" y="15927435"/>
                  </a:lnTo>
                  <a:lnTo>
                    <a:pt x="13349505" y="15932199"/>
                  </a:lnTo>
                  <a:lnTo>
                    <a:pt x="13339973" y="15936967"/>
                  </a:lnTo>
                  <a:lnTo>
                    <a:pt x="13335209" y="15932199"/>
                  </a:lnTo>
                  <a:lnTo>
                    <a:pt x="13330445" y="15927435"/>
                  </a:lnTo>
                  <a:lnTo>
                    <a:pt x="13335209" y="15917907"/>
                  </a:lnTo>
                  <a:close/>
                  <a:moveTo>
                    <a:pt x="2015648" y="15898843"/>
                  </a:moveTo>
                  <a:lnTo>
                    <a:pt x="2044239" y="15898843"/>
                  </a:lnTo>
                  <a:lnTo>
                    <a:pt x="2077595" y="15908375"/>
                  </a:lnTo>
                  <a:lnTo>
                    <a:pt x="2158602" y="15951259"/>
                  </a:lnTo>
                  <a:lnTo>
                    <a:pt x="2234844" y="15984615"/>
                  </a:lnTo>
                  <a:lnTo>
                    <a:pt x="2311086" y="15998911"/>
                  </a:lnTo>
                  <a:lnTo>
                    <a:pt x="2368267" y="16017971"/>
                  </a:lnTo>
                  <a:lnTo>
                    <a:pt x="2406388" y="16022735"/>
                  </a:lnTo>
                  <a:lnTo>
                    <a:pt x="2415919" y="16027503"/>
                  </a:lnTo>
                  <a:lnTo>
                    <a:pt x="2425449" y="16032267"/>
                  </a:lnTo>
                  <a:lnTo>
                    <a:pt x="2434979" y="16046563"/>
                  </a:lnTo>
                  <a:lnTo>
                    <a:pt x="2449275" y="16084683"/>
                  </a:lnTo>
                  <a:lnTo>
                    <a:pt x="2463570" y="16103743"/>
                  </a:lnTo>
                  <a:lnTo>
                    <a:pt x="2492161" y="16146631"/>
                  </a:lnTo>
                  <a:lnTo>
                    <a:pt x="2511221" y="16175219"/>
                  </a:lnTo>
                  <a:lnTo>
                    <a:pt x="2515986" y="16184751"/>
                  </a:lnTo>
                  <a:lnTo>
                    <a:pt x="2511221" y="16189515"/>
                  </a:lnTo>
                  <a:lnTo>
                    <a:pt x="2511221" y="16194279"/>
                  </a:lnTo>
                  <a:lnTo>
                    <a:pt x="2525517" y="16222871"/>
                  </a:lnTo>
                  <a:lnTo>
                    <a:pt x="2554107" y="16246699"/>
                  </a:lnTo>
                  <a:lnTo>
                    <a:pt x="2577933" y="16260991"/>
                  </a:lnTo>
                  <a:lnTo>
                    <a:pt x="2625584" y="16280055"/>
                  </a:lnTo>
                  <a:lnTo>
                    <a:pt x="2658940" y="16294347"/>
                  </a:lnTo>
                  <a:lnTo>
                    <a:pt x="2668470" y="16308643"/>
                  </a:lnTo>
                  <a:lnTo>
                    <a:pt x="2678001" y="16322939"/>
                  </a:lnTo>
                  <a:lnTo>
                    <a:pt x="2682766" y="16327703"/>
                  </a:lnTo>
                  <a:lnTo>
                    <a:pt x="2697061" y="16361059"/>
                  </a:lnTo>
                  <a:lnTo>
                    <a:pt x="2716122" y="16389651"/>
                  </a:lnTo>
                  <a:lnTo>
                    <a:pt x="2735182" y="16446831"/>
                  </a:lnTo>
                  <a:lnTo>
                    <a:pt x="2739947" y="16442067"/>
                  </a:lnTo>
                  <a:lnTo>
                    <a:pt x="2739947" y="16427771"/>
                  </a:lnTo>
                  <a:lnTo>
                    <a:pt x="2744712" y="16423007"/>
                  </a:lnTo>
                  <a:lnTo>
                    <a:pt x="2749478" y="16423007"/>
                  </a:lnTo>
                  <a:lnTo>
                    <a:pt x="2754243" y="16427771"/>
                  </a:lnTo>
                  <a:lnTo>
                    <a:pt x="2754243" y="16442067"/>
                  </a:lnTo>
                  <a:lnTo>
                    <a:pt x="2768538" y="16480187"/>
                  </a:lnTo>
                  <a:lnTo>
                    <a:pt x="2763773" y="16489719"/>
                  </a:lnTo>
                  <a:lnTo>
                    <a:pt x="2759008" y="16489719"/>
                  </a:lnTo>
                  <a:lnTo>
                    <a:pt x="2744712" y="16484955"/>
                  </a:lnTo>
                  <a:lnTo>
                    <a:pt x="2735182" y="16489719"/>
                  </a:lnTo>
                  <a:lnTo>
                    <a:pt x="2730417" y="16504015"/>
                  </a:lnTo>
                  <a:lnTo>
                    <a:pt x="2720887" y="16508779"/>
                  </a:lnTo>
                  <a:lnTo>
                    <a:pt x="2668470" y="16494483"/>
                  </a:lnTo>
                  <a:lnTo>
                    <a:pt x="2639880" y="16484955"/>
                  </a:lnTo>
                  <a:lnTo>
                    <a:pt x="2596993" y="16465891"/>
                  </a:lnTo>
                  <a:lnTo>
                    <a:pt x="2549342" y="16446831"/>
                  </a:lnTo>
                  <a:lnTo>
                    <a:pt x="2520751" y="16432539"/>
                  </a:lnTo>
                  <a:lnTo>
                    <a:pt x="2496926" y="16418243"/>
                  </a:lnTo>
                  <a:lnTo>
                    <a:pt x="2482630" y="16408711"/>
                  </a:lnTo>
                  <a:lnTo>
                    <a:pt x="2477865" y="16394415"/>
                  </a:lnTo>
                  <a:lnTo>
                    <a:pt x="2477865" y="16389651"/>
                  </a:lnTo>
                  <a:lnTo>
                    <a:pt x="2511221" y="16361059"/>
                  </a:lnTo>
                  <a:lnTo>
                    <a:pt x="2525517" y="16341999"/>
                  </a:lnTo>
                  <a:lnTo>
                    <a:pt x="2530282" y="16327703"/>
                  </a:lnTo>
                  <a:lnTo>
                    <a:pt x="2530282" y="16318175"/>
                  </a:lnTo>
                  <a:lnTo>
                    <a:pt x="2530282" y="16299115"/>
                  </a:lnTo>
                  <a:lnTo>
                    <a:pt x="2525517" y="16318175"/>
                  </a:lnTo>
                  <a:lnTo>
                    <a:pt x="2520751" y="16332471"/>
                  </a:lnTo>
                  <a:lnTo>
                    <a:pt x="2515986" y="16341999"/>
                  </a:lnTo>
                  <a:lnTo>
                    <a:pt x="2511221" y="16346763"/>
                  </a:lnTo>
                  <a:lnTo>
                    <a:pt x="2473100" y="16351531"/>
                  </a:lnTo>
                  <a:lnTo>
                    <a:pt x="2444509" y="16351531"/>
                  </a:lnTo>
                  <a:lnTo>
                    <a:pt x="2430214" y="16361059"/>
                  </a:lnTo>
                  <a:lnTo>
                    <a:pt x="2425449" y="16365827"/>
                  </a:lnTo>
                  <a:lnTo>
                    <a:pt x="2415919" y="16361059"/>
                  </a:lnTo>
                  <a:lnTo>
                    <a:pt x="2396858" y="16341999"/>
                  </a:lnTo>
                  <a:lnTo>
                    <a:pt x="2373032" y="16327703"/>
                  </a:lnTo>
                  <a:lnTo>
                    <a:pt x="2373032" y="16322939"/>
                  </a:lnTo>
                  <a:lnTo>
                    <a:pt x="2392093" y="16318175"/>
                  </a:lnTo>
                  <a:lnTo>
                    <a:pt x="2401623" y="16303879"/>
                  </a:lnTo>
                  <a:lnTo>
                    <a:pt x="2396858" y="16303879"/>
                  </a:lnTo>
                  <a:lnTo>
                    <a:pt x="2392093" y="16303879"/>
                  </a:lnTo>
                  <a:lnTo>
                    <a:pt x="2387328" y="16303879"/>
                  </a:lnTo>
                  <a:lnTo>
                    <a:pt x="2377798" y="16289583"/>
                  </a:lnTo>
                  <a:lnTo>
                    <a:pt x="2368267" y="16284819"/>
                  </a:lnTo>
                  <a:lnTo>
                    <a:pt x="2358737" y="16289583"/>
                  </a:lnTo>
                  <a:lnTo>
                    <a:pt x="2349207" y="16289583"/>
                  </a:lnTo>
                  <a:lnTo>
                    <a:pt x="2344442" y="16280055"/>
                  </a:lnTo>
                  <a:lnTo>
                    <a:pt x="2353972" y="16260991"/>
                  </a:lnTo>
                  <a:lnTo>
                    <a:pt x="2353972" y="16256227"/>
                  </a:lnTo>
                  <a:lnTo>
                    <a:pt x="2339677" y="16260991"/>
                  </a:lnTo>
                  <a:lnTo>
                    <a:pt x="2334912" y="16260991"/>
                  </a:lnTo>
                  <a:lnTo>
                    <a:pt x="2334912" y="16251463"/>
                  </a:lnTo>
                  <a:lnTo>
                    <a:pt x="2330146" y="16246699"/>
                  </a:lnTo>
                  <a:lnTo>
                    <a:pt x="2315851" y="16251463"/>
                  </a:lnTo>
                  <a:lnTo>
                    <a:pt x="2306321" y="16241931"/>
                  </a:lnTo>
                  <a:lnTo>
                    <a:pt x="2301556" y="16246699"/>
                  </a:lnTo>
                  <a:lnTo>
                    <a:pt x="2301556" y="16256227"/>
                  </a:lnTo>
                  <a:lnTo>
                    <a:pt x="2296790" y="16256227"/>
                  </a:lnTo>
                  <a:lnTo>
                    <a:pt x="2277730" y="16241931"/>
                  </a:lnTo>
                  <a:lnTo>
                    <a:pt x="2272965" y="16241931"/>
                  </a:lnTo>
                  <a:lnTo>
                    <a:pt x="2268200" y="16256227"/>
                  </a:lnTo>
                  <a:lnTo>
                    <a:pt x="2263435" y="16256227"/>
                  </a:lnTo>
                  <a:lnTo>
                    <a:pt x="2258669" y="16251463"/>
                  </a:lnTo>
                  <a:lnTo>
                    <a:pt x="2258669" y="16218107"/>
                  </a:lnTo>
                  <a:lnTo>
                    <a:pt x="2258669" y="16213343"/>
                  </a:lnTo>
                  <a:lnTo>
                    <a:pt x="2258669" y="16208575"/>
                  </a:lnTo>
                  <a:lnTo>
                    <a:pt x="2272965" y="16199047"/>
                  </a:lnTo>
                  <a:lnTo>
                    <a:pt x="2320616" y="16194279"/>
                  </a:lnTo>
                  <a:lnTo>
                    <a:pt x="2325381" y="16189515"/>
                  </a:lnTo>
                  <a:lnTo>
                    <a:pt x="2292025" y="16189515"/>
                  </a:lnTo>
                  <a:lnTo>
                    <a:pt x="2282495" y="16184751"/>
                  </a:lnTo>
                  <a:lnTo>
                    <a:pt x="2272965" y="16175219"/>
                  </a:lnTo>
                  <a:lnTo>
                    <a:pt x="2263435" y="16175219"/>
                  </a:lnTo>
                  <a:lnTo>
                    <a:pt x="2258669" y="16175219"/>
                  </a:lnTo>
                  <a:lnTo>
                    <a:pt x="2249139" y="16165691"/>
                  </a:lnTo>
                  <a:lnTo>
                    <a:pt x="2239609" y="16137099"/>
                  </a:lnTo>
                  <a:lnTo>
                    <a:pt x="2230079" y="16132335"/>
                  </a:lnTo>
                  <a:lnTo>
                    <a:pt x="2211018" y="16127571"/>
                  </a:lnTo>
                  <a:lnTo>
                    <a:pt x="2201488" y="16122803"/>
                  </a:lnTo>
                  <a:lnTo>
                    <a:pt x="2196723" y="16132335"/>
                  </a:lnTo>
                  <a:lnTo>
                    <a:pt x="2191958" y="16137099"/>
                  </a:lnTo>
                  <a:lnTo>
                    <a:pt x="2182427" y="16141863"/>
                  </a:lnTo>
                  <a:lnTo>
                    <a:pt x="2168132" y="16137099"/>
                  </a:lnTo>
                  <a:lnTo>
                    <a:pt x="2163367" y="16132335"/>
                  </a:lnTo>
                  <a:lnTo>
                    <a:pt x="2158602" y="16122803"/>
                  </a:lnTo>
                  <a:lnTo>
                    <a:pt x="2153837" y="16108507"/>
                  </a:lnTo>
                  <a:lnTo>
                    <a:pt x="2158602" y="16098979"/>
                  </a:lnTo>
                  <a:lnTo>
                    <a:pt x="2158602" y="16089447"/>
                  </a:lnTo>
                  <a:lnTo>
                    <a:pt x="2158602" y="16084683"/>
                  </a:lnTo>
                  <a:lnTo>
                    <a:pt x="2153837" y="16079919"/>
                  </a:lnTo>
                  <a:lnTo>
                    <a:pt x="2149072" y="16075151"/>
                  </a:lnTo>
                  <a:lnTo>
                    <a:pt x="2144306" y="16079919"/>
                  </a:lnTo>
                  <a:lnTo>
                    <a:pt x="2144306" y="16084683"/>
                  </a:lnTo>
                  <a:lnTo>
                    <a:pt x="2144306" y="16089447"/>
                  </a:lnTo>
                  <a:lnTo>
                    <a:pt x="2134776" y="16098979"/>
                  </a:lnTo>
                  <a:lnTo>
                    <a:pt x="2125246" y="16089447"/>
                  </a:lnTo>
                  <a:lnTo>
                    <a:pt x="2120481" y="16075151"/>
                  </a:lnTo>
                  <a:lnTo>
                    <a:pt x="2115716" y="16070387"/>
                  </a:lnTo>
                  <a:lnTo>
                    <a:pt x="2082360" y="16070387"/>
                  </a:lnTo>
                  <a:lnTo>
                    <a:pt x="2068064" y="16079919"/>
                  </a:lnTo>
                  <a:lnTo>
                    <a:pt x="2058534" y="16079919"/>
                  </a:lnTo>
                  <a:lnTo>
                    <a:pt x="2053769" y="16079919"/>
                  </a:lnTo>
                  <a:lnTo>
                    <a:pt x="2053769" y="16070387"/>
                  </a:lnTo>
                  <a:lnTo>
                    <a:pt x="2058534" y="16056091"/>
                  </a:lnTo>
                  <a:lnTo>
                    <a:pt x="2058534" y="16037031"/>
                  </a:lnTo>
                  <a:lnTo>
                    <a:pt x="2053769" y="16032267"/>
                  </a:lnTo>
                  <a:lnTo>
                    <a:pt x="2039474" y="16027503"/>
                  </a:lnTo>
                  <a:lnTo>
                    <a:pt x="2039474" y="16022735"/>
                  </a:lnTo>
                  <a:lnTo>
                    <a:pt x="2044239" y="15998911"/>
                  </a:lnTo>
                  <a:lnTo>
                    <a:pt x="2053769" y="15994147"/>
                  </a:lnTo>
                  <a:lnTo>
                    <a:pt x="2058534" y="15994147"/>
                  </a:lnTo>
                  <a:lnTo>
                    <a:pt x="2087125" y="15994147"/>
                  </a:lnTo>
                  <a:lnTo>
                    <a:pt x="2096655" y="15994147"/>
                  </a:lnTo>
                  <a:lnTo>
                    <a:pt x="2110951" y="16008439"/>
                  </a:lnTo>
                  <a:lnTo>
                    <a:pt x="2110951" y="16003675"/>
                  </a:lnTo>
                  <a:lnTo>
                    <a:pt x="2106185" y="15989379"/>
                  </a:lnTo>
                  <a:lnTo>
                    <a:pt x="2106185" y="15979851"/>
                  </a:lnTo>
                  <a:lnTo>
                    <a:pt x="2115716" y="15965555"/>
                  </a:lnTo>
                  <a:lnTo>
                    <a:pt x="2106185" y="15965555"/>
                  </a:lnTo>
                  <a:lnTo>
                    <a:pt x="2072830" y="15960791"/>
                  </a:lnTo>
                  <a:lnTo>
                    <a:pt x="2072830" y="15965555"/>
                  </a:lnTo>
                  <a:lnTo>
                    <a:pt x="2072830" y="15979851"/>
                  </a:lnTo>
                  <a:lnTo>
                    <a:pt x="2053769" y="15989379"/>
                  </a:lnTo>
                  <a:lnTo>
                    <a:pt x="2039474" y="15989379"/>
                  </a:lnTo>
                  <a:lnTo>
                    <a:pt x="2025178" y="15989379"/>
                  </a:lnTo>
                  <a:lnTo>
                    <a:pt x="2010883" y="15979851"/>
                  </a:lnTo>
                  <a:lnTo>
                    <a:pt x="1991822" y="15960791"/>
                  </a:lnTo>
                  <a:lnTo>
                    <a:pt x="1977527" y="15936963"/>
                  </a:lnTo>
                  <a:lnTo>
                    <a:pt x="1977527" y="15927435"/>
                  </a:lnTo>
                  <a:lnTo>
                    <a:pt x="1987057" y="15913139"/>
                  </a:lnTo>
                  <a:lnTo>
                    <a:pt x="1991822" y="15908375"/>
                  </a:lnTo>
                  <a:close/>
                  <a:moveTo>
                    <a:pt x="13349505" y="15713003"/>
                  </a:moveTo>
                  <a:lnTo>
                    <a:pt x="13354269" y="15717771"/>
                  </a:lnTo>
                  <a:lnTo>
                    <a:pt x="13359033" y="15722535"/>
                  </a:lnTo>
                  <a:lnTo>
                    <a:pt x="13359033" y="15727299"/>
                  </a:lnTo>
                  <a:lnTo>
                    <a:pt x="13349505" y="15755891"/>
                  </a:lnTo>
                  <a:lnTo>
                    <a:pt x="13339973" y="15765423"/>
                  </a:lnTo>
                  <a:lnTo>
                    <a:pt x="13335209" y="15770187"/>
                  </a:lnTo>
                  <a:lnTo>
                    <a:pt x="13316149" y="15774951"/>
                  </a:lnTo>
                  <a:lnTo>
                    <a:pt x="13282793" y="15779715"/>
                  </a:lnTo>
                  <a:lnTo>
                    <a:pt x="13268497" y="15779715"/>
                  </a:lnTo>
                  <a:lnTo>
                    <a:pt x="13268497" y="15798779"/>
                  </a:lnTo>
                  <a:lnTo>
                    <a:pt x="13268497" y="15808307"/>
                  </a:lnTo>
                  <a:lnTo>
                    <a:pt x="13273261" y="15813071"/>
                  </a:lnTo>
                  <a:lnTo>
                    <a:pt x="13282793" y="15817839"/>
                  </a:lnTo>
                  <a:lnTo>
                    <a:pt x="13297089" y="15813071"/>
                  </a:lnTo>
                  <a:lnTo>
                    <a:pt x="13301853" y="15813071"/>
                  </a:lnTo>
                  <a:lnTo>
                    <a:pt x="13301853" y="15817839"/>
                  </a:lnTo>
                  <a:lnTo>
                    <a:pt x="13306617" y="15822603"/>
                  </a:lnTo>
                  <a:lnTo>
                    <a:pt x="13311385" y="15832135"/>
                  </a:lnTo>
                  <a:lnTo>
                    <a:pt x="13311385" y="15841663"/>
                  </a:lnTo>
                  <a:lnTo>
                    <a:pt x="13306617" y="15855959"/>
                  </a:lnTo>
                  <a:lnTo>
                    <a:pt x="13297089" y="15884551"/>
                  </a:lnTo>
                  <a:lnTo>
                    <a:pt x="13282793" y="15903611"/>
                  </a:lnTo>
                  <a:lnTo>
                    <a:pt x="13263733" y="15917907"/>
                  </a:lnTo>
                  <a:lnTo>
                    <a:pt x="13258965" y="15922671"/>
                  </a:lnTo>
                  <a:lnTo>
                    <a:pt x="13254201" y="15927435"/>
                  </a:lnTo>
                  <a:lnTo>
                    <a:pt x="13254201" y="15951263"/>
                  </a:lnTo>
                  <a:lnTo>
                    <a:pt x="13244673" y="15965555"/>
                  </a:lnTo>
                  <a:lnTo>
                    <a:pt x="13216081" y="16008443"/>
                  </a:lnTo>
                  <a:lnTo>
                    <a:pt x="13206549" y="16017975"/>
                  </a:lnTo>
                  <a:lnTo>
                    <a:pt x="13201785" y="16022739"/>
                  </a:lnTo>
                  <a:lnTo>
                    <a:pt x="13201785" y="16041799"/>
                  </a:lnTo>
                  <a:lnTo>
                    <a:pt x="13192253" y="16060859"/>
                  </a:lnTo>
                  <a:lnTo>
                    <a:pt x="13168429" y="16094215"/>
                  </a:lnTo>
                  <a:lnTo>
                    <a:pt x="13158897" y="16108511"/>
                  </a:lnTo>
                  <a:lnTo>
                    <a:pt x="13158897" y="16118039"/>
                  </a:lnTo>
                  <a:lnTo>
                    <a:pt x="13158897" y="16132335"/>
                  </a:lnTo>
                  <a:lnTo>
                    <a:pt x="13158897" y="16137103"/>
                  </a:lnTo>
                  <a:lnTo>
                    <a:pt x="13154133" y="16151395"/>
                  </a:lnTo>
                  <a:lnTo>
                    <a:pt x="13144605" y="16160927"/>
                  </a:lnTo>
                  <a:lnTo>
                    <a:pt x="13144605" y="16165691"/>
                  </a:lnTo>
                  <a:lnTo>
                    <a:pt x="13144605" y="16175223"/>
                  </a:lnTo>
                  <a:lnTo>
                    <a:pt x="13149369" y="16179987"/>
                  </a:lnTo>
                  <a:lnTo>
                    <a:pt x="13149369" y="16189519"/>
                  </a:lnTo>
                  <a:lnTo>
                    <a:pt x="13144605" y="16203815"/>
                  </a:lnTo>
                  <a:lnTo>
                    <a:pt x="13158897" y="16194283"/>
                  </a:lnTo>
                  <a:lnTo>
                    <a:pt x="13177961" y="16160927"/>
                  </a:lnTo>
                  <a:lnTo>
                    <a:pt x="13197021" y="16141867"/>
                  </a:lnTo>
                  <a:lnTo>
                    <a:pt x="13206549" y="16132335"/>
                  </a:lnTo>
                  <a:lnTo>
                    <a:pt x="13216081" y="16122807"/>
                  </a:lnTo>
                  <a:lnTo>
                    <a:pt x="13225609" y="16103747"/>
                  </a:lnTo>
                  <a:lnTo>
                    <a:pt x="13235141" y="16089451"/>
                  </a:lnTo>
                  <a:lnTo>
                    <a:pt x="13249437" y="16079919"/>
                  </a:lnTo>
                  <a:lnTo>
                    <a:pt x="13254201" y="16084687"/>
                  </a:lnTo>
                  <a:lnTo>
                    <a:pt x="13254201" y="16094215"/>
                  </a:lnTo>
                  <a:lnTo>
                    <a:pt x="13254201" y="16103747"/>
                  </a:lnTo>
                  <a:lnTo>
                    <a:pt x="13249437" y="16118039"/>
                  </a:lnTo>
                  <a:lnTo>
                    <a:pt x="13249437" y="16122807"/>
                  </a:lnTo>
                  <a:lnTo>
                    <a:pt x="13263733" y="16113275"/>
                  </a:lnTo>
                  <a:lnTo>
                    <a:pt x="13287557" y="16103747"/>
                  </a:lnTo>
                  <a:lnTo>
                    <a:pt x="13297089" y="16103747"/>
                  </a:lnTo>
                  <a:lnTo>
                    <a:pt x="13311385" y="16118039"/>
                  </a:lnTo>
                  <a:lnTo>
                    <a:pt x="13325677" y="16118039"/>
                  </a:lnTo>
                  <a:lnTo>
                    <a:pt x="13349505" y="16108511"/>
                  </a:lnTo>
                  <a:lnTo>
                    <a:pt x="13354269" y="16113275"/>
                  </a:lnTo>
                  <a:lnTo>
                    <a:pt x="13349505" y="16122807"/>
                  </a:lnTo>
                  <a:lnTo>
                    <a:pt x="13339973" y="16137103"/>
                  </a:lnTo>
                  <a:lnTo>
                    <a:pt x="13320913" y="16151395"/>
                  </a:lnTo>
                  <a:lnTo>
                    <a:pt x="13268497" y="16179987"/>
                  </a:lnTo>
                  <a:lnTo>
                    <a:pt x="13254201" y="16199047"/>
                  </a:lnTo>
                  <a:lnTo>
                    <a:pt x="13268497" y="16189519"/>
                  </a:lnTo>
                  <a:lnTo>
                    <a:pt x="13278029" y="16184751"/>
                  </a:lnTo>
                  <a:lnTo>
                    <a:pt x="13292321" y="16184751"/>
                  </a:lnTo>
                  <a:lnTo>
                    <a:pt x="13297089" y="16189519"/>
                  </a:lnTo>
                  <a:lnTo>
                    <a:pt x="13292321" y="16194283"/>
                  </a:lnTo>
                  <a:lnTo>
                    <a:pt x="13292321" y="16213343"/>
                  </a:lnTo>
                  <a:lnTo>
                    <a:pt x="13263733" y="16241935"/>
                  </a:lnTo>
                  <a:lnTo>
                    <a:pt x="13268497" y="16241935"/>
                  </a:lnTo>
                  <a:lnTo>
                    <a:pt x="13301853" y="16227639"/>
                  </a:lnTo>
                  <a:lnTo>
                    <a:pt x="13325677" y="16246699"/>
                  </a:lnTo>
                  <a:lnTo>
                    <a:pt x="13354269" y="16237171"/>
                  </a:lnTo>
                  <a:lnTo>
                    <a:pt x="13373329" y="16232403"/>
                  </a:lnTo>
                  <a:lnTo>
                    <a:pt x="13373329" y="16237171"/>
                  </a:lnTo>
                  <a:lnTo>
                    <a:pt x="13378093" y="16246699"/>
                  </a:lnTo>
                  <a:lnTo>
                    <a:pt x="13378093" y="16260995"/>
                  </a:lnTo>
                  <a:lnTo>
                    <a:pt x="13387625" y="16256231"/>
                  </a:lnTo>
                  <a:lnTo>
                    <a:pt x="13387625" y="16251463"/>
                  </a:lnTo>
                  <a:lnTo>
                    <a:pt x="13387625" y="16227639"/>
                  </a:lnTo>
                  <a:lnTo>
                    <a:pt x="13392389" y="16222875"/>
                  </a:lnTo>
                  <a:lnTo>
                    <a:pt x="13397157" y="16227639"/>
                  </a:lnTo>
                  <a:lnTo>
                    <a:pt x="13397157" y="16232403"/>
                  </a:lnTo>
                  <a:lnTo>
                    <a:pt x="13401921" y="16251463"/>
                  </a:lnTo>
                  <a:lnTo>
                    <a:pt x="13397157" y="16270527"/>
                  </a:lnTo>
                  <a:lnTo>
                    <a:pt x="13392389" y="16284819"/>
                  </a:lnTo>
                  <a:lnTo>
                    <a:pt x="13378093" y="16308647"/>
                  </a:lnTo>
                  <a:lnTo>
                    <a:pt x="13378093" y="16318175"/>
                  </a:lnTo>
                  <a:lnTo>
                    <a:pt x="13378093" y="16332471"/>
                  </a:lnTo>
                  <a:lnTo>
                    <a:pt x="13392389" y="16322943"/>
                  </a:lnTo>
                  <a:lnTo>
                    <a:pt x="13392389" y="16318175"/>
                  </a:lnTo>
                  <a:lnTo>
                    <a:pt x="13392389" y="16308647"/>
                  </a:lnTo>
                  <a:lnTo>
                    <a:pt x="13392389" y="16303879"/>
                  </a:lnTo>
                  <a:lnTo>
                    <a:pt x="13406685" y="16289587"/>
                  </a:lnTo>
                  <a:lnTo>
                    <a:pt x="13420981" y="16280055"/>
                  </a:lnTo>
                  <a:lnTo>
                    <a:pt x="13425745" y="16275291"/>
                  </a:lnTo>
                  <a:lnTo>
                    <a:pt x="13430513" y="16280055"/>
                  </a:lnTo>
                  <a:lnTo>
                    <a:pt x="13430513" y="16284819"/>
                  </a:lnTo>
                  <a:lnTo>
                    <a:pt x="13435277" y="16284819"/>
                  </a:lnTo>
                  <a:lnTo>
                    <a:pt x="13444805" y="16275291"/>
                  </a:lnTo>
                  <a:lnTo>
                    <a:pt x="13454337" y="16265759"/>
                  </a:lnTo>
                  <a:lnTo>
                    <a:pt x="13463869" y="16265759"/>
                  </a:lnTo>
                  <a:lnTo>
                    <a:pt x="13473397" y="16256231"/>
                  </a:lnTo>
                  <a:lnTo>
                    <a:pt x="13487693" y="16241935"/>
                  </a:lnTo>
                  <a:lnTo>
                    <a:pt x="13497225" y="16232403"/>
                  </a:lnTo>
                  <a:lnTo>
                    <a:pt x="13511517" y="16222875"/>
                  </a:lnTo>
                  <a:lnTo>
                    <a:pt x="13516285" y="16222875"/>
                  </a:lnTo>
                  <a:lnTo>
                    <a:pt x="13511517" y="16237171"/>
                  </a:lnTo>
                  <a:lnTo>
                    <a:pt x="13516285" y="16256231"/>
                  </a:lnTo>
                  <a:lnTo>
                    <a:pt x="13516285" y="16265759"/>
                  </a:lnTo>
                  <a:lnTo>
                    <a:pt x="13516285" y="16270527"/>
                  </a:lnTo>
                  <a:lnTo>
                    <a:pt x="13525813" y="16256231"/>
                  </a:lnTo>
                  <a:lnTo>
                    <a:pt x="13530577" y="16251463"/>
                  </a:lnTo>
                  <a:lnTo>
                    <a:pt x="13540109" y="16246699"/>
                  </a:lnTo>
                  <a:lnTo>
                    <a:pt x="13544873" y="16246699"/>
                  </a:lnTo>
                  <a:lnTo>
                    <a:pt x="13592525" y="16241935"/>
                  </a:lnTo>
                  <a:lnTo>
                    <a:pt x="13611585" y="16246699"/>
                  </a:lnTo>
                  <a:lnTo>
                    <a:pt x="13625881" y="16256231"/>
                  </a:lnTo>
                  <a:lnTo>
                    <a:pt x="13644941" y="16275291"/>
                  </a:lnTo>
                  <a:lnTo>
                    <a:pt x="13654473" y="16284819"/>
                  </a:lnTo>
                  <a:lnTo>
                    <a:pt x="13654473" y="16303879"/>
                  </a:lnTo>
                  <a:lnTo>
                    <a:pt x="13654473" y="16318175"/>
                  </a:lnTo>
                  <a:lnTo>
                    <a:pt x="13640177" y="16332471"/>
                  </a:lnTo>
                  <a:lnTo>
                    <a:pt x="13625881" y="16342003"/>
                  </a:lnTo>
                  <a:lnTo>
                    <a:pt x="13616353" y="16351531"/>
                  </a:lnTo>
                  <a:lnTo>
                    <a:pt x="13616353" y="16361063"/>
                  </a:lnTo>
                  <a:lnTo>
                    <a:pt x="13611585" y="16365827"/>
                  </a:lnTo>
                  <a:lnTo>
                    <a:pt x="13602057" y="16375359"/>
                  </a:lnTo>
                  <a:lnTo>
                    <a:pt x="13563933" y="16399183"/>
                  </a:lnTo>
                  <a:lnTo>
                    <a:pt x="13573465" y="16399183"/>
                  </a:lnTo>
                  <a:lnTo>
                    <a:pt x="13597289" y="16394419"/>
                  </a:lnTo>
                  <a:lnTo>
                    <a:pt x="13611585" y="16394419"/>
                  </a:lnTo>
                  <a:lnTo>
                    <a:pt x="13611585" y="16399183"/>
                  </a:lnTo>
                  <a:lnTo>
                    <a:pt x="13606821" y="16403947"/>
                  </a:lnTo>
                  <a:lnTo>
                    <a:pt x="13592525" y="16413479"/>
                  </a:lnTo>
                  <a:lnTo>
                    <a:pt x="13592525" y="16418243"/>
                  </a:lnTo>
                  <a:lnTo>
                    <a:pt x="13606821" y="16423011"/>
                  </a:lnTo>
                  <a:lnTo>
                    <a:pt x="13621117" y="16423011"/>
                  </a:lnTo>
                  <a:lnTo>
                    <a:pt x="13635413" y="16423011"/>
                  </a:lnTo>
                  <a:lnTo>
                    <a:pt x="13635413" y="16432539"/>
                  </a:lnTo>
                  <a:lnTo>
                    <a:pt x="13621117" y="16451599"/>
                  </a:lnTo>
                  <a:lnTo>
                    <a:pt x="13621117" y="16461131"/>
                  </a:lnTo>
                  <a:lnTo>
                    <a:pt x="13606821" y="16470659"/>
                  </a:lnTo>
                  <a:lnTo>
                    <a:pt x="13578229" y="16489719"/>
                  </a:lnTo>
                  <a:lnTo>
                    <a:pt x="13568701" y="16494487"/>
                  </a:lnTo>
                  <a:lnTo>
                    <a:pt x="13573465" y="16494487"/>
                  </a:lnTo>
                  <a:lnTo>
                    <a:pt x="13597289" y="16484955"/>
                  </a:lnTo>
                  <a:lnTo>
                    <a:pt x="13611585" y="16480191"/>
                  </a:lnTo>
                  <a:lnTo>
                    <a:pt x="13621117" y="16480191"/>
                  </a:lnTo>
                  <a:lnTo>
                    <a:pt x="13630645" y="16470659"/>
                  </a:lnTo>
                  <a:lnTo>
                    <a:pt x="13644941" y="16465895"/>
                  </a:lnTo>
                  <a:lnTo>
                    <a:pt x="13659237" y="16470659"/>
                  </a:lnTo>
                  <a:lnTo>
                    <a:pt x="13678297" y="16451599"/>
                  </a:lnTo>
                  <a:lnTo>
                    <a:pt x="13687829" y="16451599"/>
                  </a:lnTo>
                  <a:lnTo>
                    <a:pt x="13702125" y="16451599"/>
                  </a:lnTo>
                  <a:lnTo>
                    <a:pt x="13711653" y="16451599"/>
                  </a:lnTo>
                  <a:lnTo>
                    <a:pt x="13725949" y="16437303"/>
                  </a:lnTo>
                  <a:lnTo>
                    <a:pt x="13735481" y="16432539"/>
                  </a:lnTo>
                  <a:lnTo>
                    <a:pt x="13740245" y="16437303"/>
                  </a:lnTo>
                  <a:lnTo>
                    <a:pt x="13740245" y="16451599"/>
                  </a:lnTo>
                  <a:lnTo>
                    <a:pt x="13735481" y="16465895"/>
                  </a:lnTo>
                  <a:lnTo>
                    <a:pt x="13735481" y="16470659"/>
                  </a:lnTo>
                  <a:lnTo>
                    <a:pt x="13721185" y="16489719"/>
                  </a:lnTo>
                  <a:lnTo>
                    <a:pt x="13716417" y="16499251"/>
                  </a:lnTo>
                  <a:lnTo>
                    <a:pt x="13706889" y="16499251"/>
                  </a:lnTo>
                  <a:lnTo>
                    <a:pt x="13697357" y="16499251"/>
                  </a:lnTo>
                  <a:lnTo>
                    <a:pt x="13692593" y="16504015"/>
                  </a:lnTo>
                  <a:lnTo>
                    <a:pt x="13683061" y="16518311"/>
                  </a:lnTo>
                  <a:lnTo>
                    <a:pt x="13659237" y="16532607"/>
                  </a:lnTo>
                  <a:lnTo>
                    <a:pt x="13649709" y="16537371"/>
                  </a:lnTo>
                  <a:lnTo>
                    <a:pt x="13654473" y="16546903"/>
                  </a:lnTo>
                  <a:lnTo>
                    <a:pt x="13659237" y="16561199"/>
                  </a:lnTo>
                  <a:lnTo>
                    <a:pt x="13654473" y="16565963"/>
                  </a:lnTo>
                  <a:lnTo>
                    <a:pt x="13635413" y="16570727"/>
                  </a:lnTo>
                  <a:lnTo>
                    <a:pt x="13630645" y="16570727"/>
                  </a:lnTo>
                  <a:lnTo>
                    <a:pt x="13625881" y="16575495"/>
                  </a:lnTo>
                  <a:lnTo>
                    <a:pt x="13606821" y="16580259"/>
                  </a:lnTo>
                  <a:lnTo>
                    <a:pt x="13621117" y="16585023"/>
                  </a:lnTo>
                  <a:lnTo>
                    <a:pt x="13640177" y="16580259"/>
                  </a:lnTo>
                  <a:lnTo>
                    <a:pt x="13644941" y="16580259"/>
                  </a:lnTo>
                  <a:lnTo>
                    <a:pt x="13640177" y="16594555"/>
                  </a:lnTo>
                  <a:lnTo>
                    <a:pt x="13635413" y="16604083"/>
                  </a:lnTo>
                  <a:lnTo>
                    <a:pt x="13611585" y="16632675"/>
                  </a:lnTo>
                  <a:lnTo>
                    <a:pt x="13606821" y="16632675"/>
                  </a:lnTo>
                  <a:lnTo>
                    <a:pt x="13611585" y="16646971"/>
                  </a:lnTo>
                  <a:lnTo>
                    <a:pt x="13616353" y="16661267"/>
                  </a:lnTo>
                  <a:lnTo>
                    <a:pt x="13625881" y="16666031"/>
                  </a:lnTo>
                  <a:lnTo>
                    <a:pt x="13640177" y="16666031"/>
                  </a:lnTo>
                  <a:lnTo>
                    <a:pt x="13649709" y="16666031"/>
                  </a:lnTo>
                  <a:lnTo>
                    <a:pt x="13664001" y="16646971"/>
                  </a:lnTo>
                  <a:lnTo>
                    <a:pt x="13702125" y="16585023"/>
                  </a:lnTo>
                  <a:lnTo>
                    <a:pt x="13730713" y="16570727"/>
                  </a:lnTo>
                  <a:lnTo>
                    <a:pt x="13754541" y="16551667"/>
                  </a:lnTo>
                  <a:lnTo>
                    <a:pt x="13764069" y="16556431"/>
                  </a:lnTo>
                  <a:lnTo>
                    <a:pt x="13764069" y="16565963"/>
                  </a:lnTo>
                  <a:lnTo>
                    <a:pt x="13749773" y="16580259"/>
                  </a:lnTo>
                  <a:lnTo>
                    <a:pt x="13745009" y="16589787"/>
                  </a:lnTo>
                  <a:lnTo>
                    <a:pt x="13725949" y="16627911"/>
                  </a:lnTo>
                  <a:lnTo>
                    <a:pt x="13721185" y="16646971"/>
                  </a:lnTo>
                  <a:lnTo>
                    <a:pt x="13716417" y="16666031"/>
                  </a:lnTo>
                  <a:lnTo>
                    <a:pt x="13716417" y="16699387"/>
                  </a:lnTo>
                  <a:lnTo>
                    <a:pt x="13721185" y="16704151"/>
                  </a:lnTo>
                  <a:lnTo>
                    <a:pt x="13725949" y="16713683"/>
                  </a:lnTo>
                  <a:lnTo>
                    <a:pt x="13735481" y="16704151"/>
                  </a:lnTo>
                  <a:lnTo>
                    <a:pt x="13754541" y="16689855"/>
                  </a:lnTo>
                  <a:lnTo>
                    <a:pt x="13764069" y="16675559"/>
                  </a:lnTo>
                  <a:lnTo>
                    <a:pt x="13773601" y="16646971"/>
                  </a:lnTo>
                  <a:lnTo>
                    <a:pt x="13778365" y="16637439"/>
                  </a:lnTo>
                  <a:lnTo>
                    <a:pt x="13783129" y="16637439"/>
                  </a:lnTo>
                  <a:lnTo>
                    <a:pt x="13787897" y="16646971"/>
                  </a:lnTo>
                  <a:lnTo>
                    <a:pt x="13787897" y="16656499"/>
                  </a:lnTo>
                  <a:lnTo>
                    <a:pt x="13797425" y="16675559"/>
                  </a:lnTo>
                  <a:lnTo>
                    <a:pt x="13797425" y="16689855"/>
                  </a:lnTo>
                  <a:lnTo>
                    <a:pt x="13797425" y="16708915"/>
                  </a:lnTo>
                  <a:lnTo>
                    <a:pt x="13792661" y="16718447"/>
                  </a:lnTo>
                  <a:lnTo>
                    <a:pt x="13759305" y="16794691"/>
                  </a:lnTo>
                  <a:lnTo>
                    <a:pt x="13759305" y="16804219"/>
                  </a:lnTo>
                  <a:lnTo>
                    <a:pt x="13764069" y="16813751"/>
                  </a:lnTo>
                  <a:lnTo>
                    <a:pt x="13759305" y="16823279"/>
                  </a:lnTo>
                  <a:lnTo>
                    <a:pt x="13749773" y="16856635"/>
                  </a:lnTo>
                  <a:lnTo>
                    <a:pt x="13740245" y="16880463"/>
                  </a:lnTo>
                  <a:lnTo>
                    <a:pt x="13730713" y="16889991"/>
                  </a:lnTo>
                  <a:lnTo>
                    <a:pt x="13725949" y="16894755"/>
                  </a:lnTo>
                  <a:lnTo>
                    <a:pt x="13716417" y="16899523"/>
                  </a:lnTo>
                  <a:lnTo>
                    <a:pt x="13711653" y="16894755"/>
                  </a:lnTo>
                  <a:lnTo>
                    <a:pt x="13702125" y="16885227"/>
                  </a:lnTo>
                  <a:lnTo>
                    <a:pt x="13697357" y="16880463"/>
                  </a:lnTo>
                  <a:lnTo>
                    <a:pt x="13692593" y="16880463"/>
                  </a:lnTo>
                  <a:lnTo>
                    <a:pt x="13683061" y="16880463"/>
                  </a:lnTo>
                  <a:lnTo>
                    <a:pt x="13659237" y="16899523"/>
                  </a:lnTo>
                  <a:lnTo>
                    <a:pt x="13654473" y="16899523"/>
                  </a:lnTo>
                  <a:lnTo>
                    <a:pt x="13649709" y="16899523"/>
                  </a:lnTo>
                  <a:lnTo>
                    <a:pt x="13649709" y="16889991"/>
                  </a:lnTo>
                  <a:lnTo>
                    <a:pt x="13649709" y="16842339"/>
                  </a:lnTo>
                  <a:lnTo>
                    <a:pt x="13654473" y="16828047"/>
                  </a:lnTo>
                  <a:lnTo>
                    <a:pt x="13649709" y="16813751"/>
                  </a:lnTo>
                  <a:lnTo>
                    <a:pt x="13654473" y="16794691"/>
                  </a:lnTo>
                  <a:lnTo>
                    <a:pt x="13654473" y="16785159"/>
                  </a:lnTo>
                  <a:lnTo>
                    <a:pt x="13649709" y="16785159"/>
                  </a:lnTo>
                  <a:lnTo>
                    <a:pt x="13644941" y="16785159"/>
                  </a:lnTo>
                  <a:lnTo>
                    <a:pt x="13635413" y="16794691"/>
                  </a:lnTo>
                  <a:lnTo>
                    <a:pt x="13621117" y="16813751"/>
                  </a:lnTo>
                  <a:lnTo>
                    <a:pt x="13611585" y="16828047"/>
                  </a:lnTo>
                  <a:lnTo>
                    <a:pt x="13587761" y="16851871"/>
                  </a:lnTo>
                  <a:lnTo>
                    <a:pt x="13573465" y="16856635"/>
                  </a:lnTo>
                  <a:lnTo>
                    <a:pt x="13568701" y="16851871"/>
                  </a:lnTo>
                  <a:lnTo>
                    <a:pt x="13559169" y="16842339"/>
                  </a:lnTo>
                  <a:lnTo>
                    <a:pt x="13559169" y="16837575"/>
                  </a:lnTo>
                  <a:lnTo>
                    <a:pt x="13563933" y="16823279"/>
                  </a:lnTo>
                  <a:lnTo>
                    <a:pt x="13573465" y="16794691"/>
                  </a:lnTo>
                  <a:lnTo>
                    <a:pt x="13592525" y="16756567"/>
                  </a:lnTo>
                  <a:lnTo>
                    <a:pt x="13606821" y="16727979"/>
                  </a:lnTo>
                  <a:lnTo>
                    <a:pt x="13611585" y="16713683"/>
                  </a:lnTo>
                  <a:lnTo>
                    <a:pt x="13606821" y="16708915"/>
                  </a:lnTo>
                  <a:lnTo>
                    <a:pt x="13602057" y="16699387"/>
                  </a:lnTo>
                  <a:lnTo>
                    <a:pt x="13597289" y="16666031"/>
                  </a:lnTo>
                  <a:lnTo>
                    <a:pt x="13587761" y="16642207"/>
                  </a:lnTo>
                  <a:lnTo>
                    <a:pt x="13578229" y="16632675"/>
                  </a:lnTo>
                  <a:lnTo>
                    <a:pt x="13559169" y="16618379"/>
                  </a:lnTo>
                  <a:lnTo>
                    <a:pt x="13554405" y="16618379"/>
                  </a:lnTo>
                  <a:lnTo>
                    <a:pt x="13549641" y="16637439"/>
                  </a:lnTo>
                  <a:lnTo>
                    <a:pt x="13525813" y="16689855"/>
                  </a:lnTo>
                  <a:lnTo>
                    <a:pt x="13521049" y="16708915"/>
                  </a:lnTo>
                  <a:lnTo>
                    <a:pt x="13516285" y="16718447"/>
                  </a:lnTo>
                  <a:lnTo>
                    <a:pt x="13511517" y="16723211"/>
                  </a:lnTo>
                  <a:lnTo>
                    <a:pt x="13501989" y="16727979"/>
                  </a:lnTo>
                  <a:lnTo>
                    <a:pt x="13501989" y="16718447"/>
                  </a:lnTo>
                  <a:lnTo>
                    <a:pt x="13516285" y="16694623"/>
                  </a:lnTo>
                  <a:lnTo>
                    <a:pt x="13511517" y="16689855"/>
                  </a:lnTo>
                  <a:lnTo>
                    <a:pt x="13497225" y="16708915"/>
                  </a:lnTo>
                  <a:lnTo>
                    <a:pt x="13487693" y="16723211"/>
                  </a:lnTo>
                  <a:lnTo>
                    <a:pt x="13473397" y="16727979"/>
                  </a:lnTo>
                  <a:lnTo>
                    <a:pt x="13463869" y="16723211"/>
                  </a:lnTo>
                  <a:lnTo>
                    <a:pt x="13454337" y="16727979"/>
                  </a:lnTo>
                  <a:lnTo>
                    <a:pt x="13416217" y="16775627"/>
                  </a:lnTo>
                  <a:lnTo>
                    <a:pt x="13416217" y="16794691"/>
                  </a:lnTo>
                  <a:lnTo>
                    <a:pt x="13411449" y="16804219"/>
                  </a:lnTo>
                  <a:lnTo>
                    <a:pt x="13392389" y="16828047"/>
                  </a:lnTo>
                  <a:lnTo>
                    <a:pt x="13382861" y="16837575"/>
                  </a:lnTo>
                  <a:lnTo>
                    <a:pt x="13368565" y="16837575"/>
                  </a:lnTo>
                  <a:lnTo>
                    <a:pt x="13359033" y="16837575"/>
                  </a:lnTo>
                  <a:lnTo>
                    <a:pt x="13349505" y="16837575"/>
                  </a:lnTo>
                  <a:lnTo>
                    <a:pt x="13330445" y="16842339"/>
                  </a:lnTo>
                  <a:lnTo>
                    <a:pt x="13306617" y="16847107"/>
                  </a:lnTo>
                  <a:lnTo>
                    <a:pt x="13301853" y="16847107"/>
                  </a:lnTo>
                  <a:lnTo>
                    <a:pt x="13292321" y="16842339"/>
                  </a:lnTo>
                  <a:lnTo>
                    <a:pt x="13282793" y="16832811"/>
                  </a:lnTo>
                  <a:lnTo>
                    <a:pt x="13282793" y="16828047"/>
                  </a:lnTo>
                  <a:lnTo>
                    <a:pt x="13282793" y="16823279"/>
                  </a:lnTo>
                  <a:lnTo>
                    <a:pt x="13287557" y="16813751"/>
                  </a:lnTo>
                  <a:lnTo>
                    <a:pt x="13301853" y="16799455"/>
                  </a:lnTo>
                  <a:lnTo>
                    <a:pt x="13311385" y="16794691"/>
                  </a:lnTo>
                  <a:lnTo>
                    <a:pt x="13335209" y="16789923"/>
                  </a:lnTo>
                  <a:lnTo>
                    <a:pt x="13354269" y="16780395"/>
                  </a:lnTo>
                  <a:lnTo>
                    <a:pt x="13368565" y="16766099"/>
                  </a:lnTo>
                  <a:lnTo>
                    <a:pt x="13373329" y="16756567"/>
                  </a:lnTo>
                  <a:lnTo>
                    <a:pt x="13401921" y="16713683"/>
                  </a:lnTo>
                  <a:lnTo>
                    <a:pt x="13435277" y="16699387"/>
                  </a:lnTo>
                  <a:lnTo>
                    <a:pt x="13454337" y="16685091"/>
                  </a:lnTo>
                  <a:lnTo>
                    <a:pt x="13463869" y="16670795"/>
                  </a:lnTo>
                  <a:lnTo>
                    <a:pt x="13463869" y="16661267"/>
                  </a:lnTo>
                  <a:lnTo>
                    <a:pt x="13449573" y="16670795"/>
                  </a:lnTo>
                  <a:lnTo>
                    <a:pt x="13440041" y="16675559"/>
                  </a:lnTo>
                  <a:lnTo>
                    <a:pt x="13425745" y="16670795"/>
                  </a:lnTo>
                  <a:lnTo>
                    <a:pt x="13420981" y="16666031"/>
                  </a:lnTo>
                  <a:lnTo>
                    <a:pt x="13401921" y="16666031"/>
                  </a:lnTo>
                  <a:lnTo>
                    <a:pt x="13373329" y="16666031"/>
                  </a:lnTo>
                  <a:lnTo>
                    <a:pt x="13368565" y="16670795"/>
                  </a:lnTo>
                  <a:lnTo>
                    <a:pt x="13368565" y="16689855"/>
                  </a:lnTo>
                  <a:lnTo>
                    <a:pt x="13363801" y="16699387"/>
                  </a:lnTo>
                  <a:lnTo>
                    <a:pt x="13359033" y="16704151"/>
                  </a:lnTo>
                  <a:lnTo>
                    <a:pt x="13354269" y="16708915"/>
                  </a:lnTo>
                  <a:lnTo>
                    <a:pt x="13339973" y="16708915"/>
                  </a:lnTo>
                  <a:lnTo>
                    <a:pt x="13311385" y="16704151"/>
                  </a:lnTo>
                  <a:lnTo>
                    <a:pt x="13306617" y="16699387"/>
                  </a:lnTo>
                  <a:lnTo>
                    <a:pt x="13297089" y="16694623"/>
                  </a:lnTo>
                  <a:lnTo>
                    <a:pt x="13263733" y="16704151"/>
                  </a:lnTo>
                  <a:lnTo>
                    <a:pt x="13254201" y="16699387"/>
                  </a:lnTo>
                  <a:lnTo>
                    <a:pt x="13263733" y="16694623"/>
                  </a:lnTo>
                  <a:lnTo>
                    <a:pt x="13297089" y="16680327"/>
                  </a:lnTo>
                  <a:lnTo>
                    <a:pt x="13301853" y="16632675"/>
                  </a:lnTo>
                  <a:lnTo>
                    <a:pt x="13297089" y="16627911"/>
                  </a:lnTo>
                  <a:lnTo>
                    <a:pt x="13287557" y="16632675"/>
                  </a:lnTo>
                  <a:lnTo>
                    <a:pt x="13273261" y="16642207"/>
                  </a:lnTo>
                  <a:lnTo>
                    <a:pt x="13258965" y="16637439"/>
                  </a:lnTo>
                  <a:lnTo>
                    <a:pt x="13254201" y="16632675"/>
                  </a:lnTo>
                  <a:lnTo>
                    <a:pt x="13254201" y="16637439"/>
                  </a:lnTo>
                  <a:lnTo>
                    <a:pt x="13239905" y="16661267"/>
                  </a:lnTo>
                  <a:lnTo>
                    <a:pt x="13235141" y="16666031"/>
                  </a:lnTo>
                  <a:lnTo>
                    <a:pt x="13225609" y="16666031"/>
                  </a:lnTo>
                  <a:lnTo>
                    <a:pt x="13201785" y="16675559"/>
                  </a:lnTo>
                  <a:lnTo>
                    <a:pt x="13163665" y="16680327"/>
                  </a:lnTo>
                  <a:lnTo>
                    <a:pt x="13154133" y="16685091"/>
                  </a:lnTo>
                  <a:lnTo>
                    <a:pt x="13125545" y="16685091"/>
                  </a:lnTo>
                  <a:lnTo>
                    <a:pt x="13044537" y="16670795"/>
                  </a:lnTo>
                  <a:lnTo>
                    <a:pt x="13015945" y="16670795"/>
                  </a:lnTo>
                  <a:lnTo>
                    <a:pt x="12982589" y="16666031"/>
                  </a:lnTo>
                  <a:lnTo>
                    <a:pt x="12973057" y="16661267"/>
                  </a:lnTo>
                  <a:lnTo>
                    <a:pt x="12925409" y="16661267"/>
                  </a:lnTo>
                  <a:lnTo>
                    <a:pt x="12911113" y="16661267"/>
                  </a:lnTo>
                  <a:lnTo>
                    <a:pt x="12911113" y="16651735"/>
                  </a:lnTo>
                  <a:lnTo>
                    <a:pt x="12911113" y="16646971"/>
                  </a:lnTo>
                  <a:lnTo>
                    <a:pt x="12896817" y="16656499"/>
                  </a:lnTo>
                  <a:lnTo>
                    <a:pt x="12882521" y="16666031"/>
                  </a:lnTo>
                  <a:lnTo>
                    <a:pt x="12868225" y="16670795"/>
                  </a:lnTo>
                  <a:lnTo>
                    <a:pt x="12815809" y="16685091"/>
                  </a:lnTo>
                  <a:lnTo>
                    <a:pt x="12787221" y="16685091"/>
                  </a:lnTo>
                  <a:lnTo>
                    <a:pt x="12772925" y="16675559"/>
                  </a:lnTo>
                  <a:lnTo>
                    <a:pt x="12768157" y="16670795"/>
                  </a:lnTo>
                  <a:lnTo>
                    <a:pt x="12758629" y="16646971"/>
                  </a:lnTo>
                  <a:lnTo>
                    <a:pt x="12749097" y="16618379"/>
                  </a:lnTo>
                  <a:lnTo>
                    <a:pt x="12749097" y="16613615"/>
                  </a:lnTo>
                  <a:lnTo>
                    <a:pt x="12753865" y="16599319"/>
                  </a:lnTo>
                  <a:lnTo>
                    <a:pt x="12763393" y="16585023"/>
                  </a:lnTo>
                  <a:lnTo>
                    <a:pt x="12811045" y="16546903"/>
                  </a:lnTo>
                  <a:lnTo>
                    <a:pt x="12853929" y="16508783"/>
                  </a:lnTo>
                  <a:lnTo>
                    <a:pt x="12868225" y="16489719"/>
                  </a:lnTo>
                  <a:lnTo>
                    <a:pt x="12882521" y="16480191"/>
                  </a:lnTo>
                  <a:lnTo>
                    <a:pt x="12911113" y="16465895"/>
                  </a:lnTo>
                  <a:lnTo>
                    <a:pt x="12911113" y="16461131"/>
                  </a:lnTo>
                  <a:lnTo>
                    <a:pt x="12887285" y="16465895"/>
                  </a:lnTo>
                  <a:lnTo>
                    <a:pt x="12868225" y="16461131"/>
                  </a:lnTo>
                  <a:lnTo>
                    <a:pt x="12849165" y="16456367"/>
                  </a:lnTo>
                  <a:lnTo>
                    <a:pt x="12815809" y="16461131"/>
                  </a:lnTo>
                  <a:lnTo>
                    <a:pt x="12782453" y="16461131"/>
                  </a:lnTo>
                  <a:lnTo>
                    <a:pt x="12782453" y="16456367"/>
                  </a:lnTo>
                  <a:lnTo>
                    <a:pt x="12796749" y="16437303"/>
                  </a:lnTo>
                  <a:lnTo>
                    <a:pt x="12830105" y="16408715"/>
                  </a:lnTo>
                  <a:lnTo>
                    <a:pt x="12834869" y="16408715"/>
                  </a:lnTo>
                  <a:lnTo>
                    <a:pt x="12825341" y="16423011"/>
                  </a:lnTo>
                  <a:lnTo>
                    <a:pt x="12820573" y="16432539"/>
                  </a:lnTo>
                  <a:lnTo>
                    <a:pt x="12825341" y="16437303"/>
                  </a:lnTo>
                  <a:lnTo>
                    <a:pt x="12830105" y="16442071"/>
                  </a:lnTo>
                  <a:lnTo>
                    <a:pt x="12849165" y="16446835"/>
                  </a:lnTo>
                  <a:lnTo>
                    <a:pt x="12853929" y="16437303"/>
                  </a:lnTo>
                  <a:lnTo>
                    <a:pt x="12863461" y="16408715"/>
                  </a:lnTo>
                  <a:lnTo>
                    <a:pt x="12877757" y="16375359"/>
                  </a:lnTo>
                  <a:lnTo>
                    <a:pt x="12887285" y="16351531"/>
                  </a:lnTo>
                  <a:lnTo>
                    <a:pt x="12901581" y="16327707"/>
                  </a:lnTo>
                  <a:lnTo>
                    <a:pt x="12906349" y="16327707"/>
                  </a:lnTo>
                  <a:lnTo>
                    <a:pt x="12911113" y="16332471"/>
                  </a:lnTo>
                  <a:lnTo>
                    <a:pt x="12934937" y="16337235"/>
                  </a:lnTo>
                  <a:lnTo>
                    <a:pt x="12953997" y="16351531"/>
                  </a:lnTo>
                  <a:lnTo>
                    <a:pt x="12963529" y="16356299"/>
                  </a:lnTo>
                  <a:lnTo>
                    <a:pt x="12963529" y="16351531"/>
                  </a:lnTo>
                  <a:lnTo>
                    <a:pt x="12958765" y="16346767"/>
                  </a:lnTo>
                  <a:lnTo>
                    <a:pt x="12949233" y="16337235"/>
                  </a:lnTo>
                  <a:lnTo>
                    <a:pt x="12949233" y="16332471"/>
                  </a:lnTo>
                  <a:lnTo>
                    <a:pt x="12953997" y="16308647"/>
                  </a:lnTo>
                  <a:lnTo>
                    <a:pt x="12963529" y="16299115"/>
                  </a:lnTo>
                  <a:lnTo>
                    <a:pt x="12968293" y="16294351"/>
                  </a:lnTo>
                  <a:lnTo>
                    <a:pt x="12949233" y="16294351"/>
                  </a:lnTo>
                  <a:lnTo>
                    <a:pt x="12934937" y="16289587"/>
                  </a:lnTo>
                  <a:lnTo>
                    <a:pt x="12930173" y="16275291"/>
                  </a:lnTo>
                  <a:lnTo>
                    <a:pt x="12930173" y="16256231"/>
                  </a:lnTo>
                  <a:lnTo>
                    <a:pt x="12934937" y="16246699"/>
                  </a:lnTo>
                  <a:lnTo>
                    <a:pt x="12944469" y="16227639"/>
                  </a:lnTo>
                  <a:lnTo>
                    <a:pt x="12958765" y="16218107"/>
                  </a:lnTo>
                  <a:lnTo>
                    <a:pt x="12968293" y="16222875"/>
                  </a:lnTo>
                  <a:lnTo>
                    <a:pt x="12987353" y="16237171"/>
                  </a:lnTo>
                  <a:lnTo>
                    <a:pt x="12996885" y="16232403"/>
                  </a:lnTo>
                  <a:lnTo>
                    <a:pt x="12996885" y="16227639"/>
                  </a:lnTo>
                  <a:lnTo>
                    <a:pt x="12977825" y="16203815"/>
                  </a:lnTo>
                  <a:lnTo>
                    <a:pt x="12973057" y="16189519"/>
                  </a:lnTo>
                  <a:lnTo>
                    <a:pt x="12973057" y="16179987"/>
                  </a:lnTo>
                  <a:lnTo>
                    <a:pt x="13006413" y="16103747"/>
                  </a:lnTo>
                  <a:lnTo>
                    <a:pt x="13025477" y="16060859"/>
                  </a:lnTo>
                  <a:lnTo>
                    <a:pt x="13044537" y="15994147"/>
                  </a:lnTo>
                  <a:lnTo>
                    <a:pt x="13054065" y="15984619"/>
                  </a:lnTo>
                  <a:lnTo>
                    <a:pt x="13063597" y="15965555"/>
                  </a:lnTo>
                  <a:lnTo>
                    <a:pt x="13068361" y="15960791"/>
                  </a:lnTo>
                  <a:lnTo>
                    <a:pt x="13082657" y="15960791"/>
                  </a:lnTo>
                  <a:lnTo>
                    <a:pt x="13092189" y="15956027"/>
                  </a:lnTo>
                  <a:lnTo>
                    <a:pt x="13077893" y="15951263"/>
                  </a:lnTo>
                  <a:lnTo>
                    <a:pt x="13073125" y="15946495"/>
                  </a:lnTo>
                  <a:lnTo>
                    <a:pt x="13073125" y="15936967"/>
                  </a:lnTo>
                  <a:lnTo>
                    <a:pt x="13077893" y="15932199"/>
                  </a:lnTo>
                  <a:lnTo>
                    <a:pt x="13082657" y="15927435"/>
                  </a:lnTo>
                  <a:lnTo>
                    <a:pt x="13096953" y="15917907"/>
                  </a:lnTo>
                  <a:lnTo>
                    <a:pt x="13111249" y="15898847"/>
                  </a:lnTo>
                  <a:lnTo>
                    <a:pt x="13116013" y="15879783"/>
                  </a:lnTo>
                  <a:lnTo>
                    <a:pt x="13116013" y="15870255"/>
                  </a:lnTo>
                  <a:lnTo>
                    <a:pt x="13111249" y="15865491"/>
                  </a:lnTo>
                  <a:lnTo>
                    <a:pt x="13116013" y="15860723"/>
                  </a:lnTo>
                  <a:lnTo>
                    <a:pt x="13120777" y="15855959"/>
                  </a:lnTo>
                  <a:lnTo>
                    <a:pt x="13144605" y="15832135"/>
                  </a:lnTo>
                  <a:lnTo>
                    <a:pt x="13149369" y="15827367"/>
                  </a:lnTo>
                  <a:lnTo>
                    <a:pt x="13158897" y="15794011"/>
                  </a:lnTo>
                  <a:lnTo>
                    <a:pt x="13168429" y="15779715"/>
                  </a:lnTo>
                  <a:lnTo>
                    <a:pt x="13177961" y="15774951"/>
                  </a:lnTo>
                  <a:lnTo>
                    <a:pt x="13192253" y="15765423"/>
                  </a:lnTo>
                  <a:lnTo>
                    <a:pt x="13244673" y="15741595"/>
                  </a:lnTo>
                  <a:lnTo>
                    <a:pt x="13273261" y="15722535"/>
                  </a:lnTo>
                  <a:lnTo>
                    <a:pt x="13292321" y="15722535"/>
                  </a:lnTo>
                  <a:lnTo>
                    <a:pt x="13297089" y="15736831"/>
                  </a:lnTo>
                  <a:lnTo>
                    <a:pt x="13325677" y="15746359"/>
                  </a:lnTo>
                  <a:lnTo>
                    <a:pt x="13330445" y="15736831"/>
                  </a:lnTo>
                  <a:lnTo>
                    <a:pt x="13320913" y="15722535"/>
                  </a:lnTo>
                  <a:lnTo>
                    <a:pt x="13325677" y="15717771"/>
                  </a:lnTo>
                  <a:close/>
                  <a:moveTo>
                    <a:pt x="2025178" y="15684415"/>
                  </a:moveTo>
                  <a:lnTo>
                    <a:pt x="2029944" y="15689179"/>
                  </a:lnTo>
                  <a:lnTo>
                    <a:pt x="2034709" y="15693943"/>
                  </a:lnTo>
                  <a:lnTo>
                    <a:pt x="2044239" y="15713003"/>
                  </a:lnTo>
                  <a:lnTo>
                    <a:pt x="2044239" y="15717771"/>
                  </a:lnTo>
                  <a:lnTo>
                    <a:pt x="2044239" y="15736831"/>
                  </a:lnTo>
                  <a:lnTo>
                    <a:pt x="2044239" y="15746359"/>
                  </a:lnTo>
                  <a:lnTo>
                    <a:pt x="2039474" y="15751127"/>
                  </a:lnTo>
                  <a:lnTo>
                    <a:pt x="2034709" y="15751127"/>
                  </a:lnTo>
                  <a:lnTo>
                    <a:pt x="2025178" y="15746359"/>
                  </a:lnTo>
                  <a:lnTo>
                    <a:pt x="2015648" y="15736831"/>
                  </a:lnTo>
                  <a:lnTo>
                    <a:pt x="2010883" y="15708239"/>
                  </a:lnTo>
                  <a:lnTo>
                    <a:pt x="2010883" y="15703475"/>
                  </a:lnTo>
                  <a:lnTo>
                    <a:pt x="2010883" y="15698711"/>
                  </a:lnTo>
                  <a:close/>
                  <a:moveTo>
                    <a:pt x="13387625" y="15612935"/>
                  </a:moveTo>
                  <a:lnTo>
                    <a:pt x="13387625" y="15631999"/>
                  </a:lnTo>
                  <a:lnTo>
                    <a:pt x="13373329" y="15641527"/>
                  </a:lnTo>
                  <a:lnTo>
                    <a:pt x="13368565" y="15641527"/>
                  </a:lnTo>
                  <a:lnTo>
                    <a:pt x="13368565" y="15636763"/>
                  </a:lnTo>
                  <a:lnTo>
                    <a:pt x="13368565" y="15627231"/>
                  </a:lnTo>
                  <a:lnTo>
                    <a:pt x="13378093" y="15617703"/>
                  </a:lnTo>
                  <a:close/>
                  <a:moveTo>
                    <a:pt x="9627940" y="15589111"/>
                  </a:moveTo>
                  <a:lnTo>
                    <a:pt x="9642235" y="15589111"/>
                  </a:lnTo>
                  <a:lnTo>
                    <a:pt x="9642235" y="15593879"/>
                  </a:lnTo>
                  <a:lnTo>
                    <a:pt x="9632705" y="15608171"/>
                  </a:lnTo>
                  <a:lnTo>
                    <a:pt x="9632705" y="15612939"/>
                  </a:lnTo>
                  <a:lnTo>
                    <a:pt x="9627940" y="15622467"/>
                  </a:lnTo>
                  <a:lnTo>
                    <a:pt x="9623174" y="15627231"/>
                  </a:lnTo>
                  <a:lnTo>
                    <a:pt x="9618409" y="15627231"/>
                  </a:lnTo>
                  <a:lnTo>
                    <a:pt x="9599349" y="15627231"/>
                  </a:lnTo>
                  <a:lnTo>
                    <a:pt x="9589818" y="15617703"/>
                  </a:lnTo>
                  <a:lnTo>
                    <a:pt x="9580288" y="15608171"/>
                  </a:lnTo>
                  <a:close/>
                  <a:moveTo>
                    <a:pt x="1548667" y="15574815"/>
                  </a:moveTo>
                  <a:lnTo>
                    <a:pt x="1562962" y="15589111"/>
                  </a:lnTo>
                  <a:lnTo>
                    <a:pt x="1558197" y="15622467"/>
                  </a:lnTo>
                  <a:lnTo>
                    <a:pt x="1548667" y="15617703"/>
                  </a:lnTo>
                  <a:lnTo>
                    <a:pt x="1548667" y="15608171"/>
                  </a:lnTo>
                  <a:lnTo>
                    <a:pt x="1543900" y="15589111"/>
                  </a:lnTo>
                  <a:lnTo>
                    <a:pt x="1548667" y="15579583"/>
                  </a:lnTo>
                  <a:close/>
                  <a:moveTo>
                    <a:pt x="1972762" y="15412803"/>
                  </a:moveTo>
                  <a:lnTo>
                    <a:pt x="1991823" y="15412803"/>
                  </a:lnTo>
                  <a:lnTo>
                    <a:pt x="1991823" y="15422331"/>
                  </a:lnTo>
                  <a:lnTo>
                    <a:pt x="1987058" y="15474747"/>
                  </a:lnTo>
                  <a:lnTo>
                    <a:pt x="1982293" y="15493811"/>
                  </a:lnTo>
                  <a:lnTo>
                    <a:pt x="1977528" y="15503339"/>
                  </a:lnTo>
                  <a:lnTo>
                    <a:pt x="1972762" y="15512871"/>
                  </a:lnTo>
                  <a:lnTo>
                    <a:pt x="1963232" y="15512871"/>
                  </a:lnTo>
                  <a:lnTo>
                    <a:pt x="1967997" y="15498575"/>
                  </a:lnTo>
                  <a:lnTo>
                    <a:pt x="1967997" y="15493811"/>
                  </a:lnTo>
                  <a:lnTo>
                    <a:pt x="1963232" y="15484279"/>
                  </a:lnTo>
                  <a:lnTo>
                    <a:pt x="1963232" y="15469983"/>
                  </a:lnTo>
                  <a:lnTo>
                    <a:pt x="1963232" y="15436627"/>
                  </a:lnTo>
                  <a:close/>
                  <a:moveTo>
                    <a:pt x="1839338" y="15403271"/>
                  </a:moveTo>
                  <a:lnTo>
                    <a:pt x="1844103" y="15408039"/>
                  </a:lnTo>
                  <a:lnTo>
                    <a:pt x="1848868" y="15408039"/>
                  </a:lnTo>
                  <a:lnTo>
                    <a:pt x="1877459" y="15441391"/>
                  </a:lnTo>
                  <a:lnTo>
                    <a:pt x="1882224" y="15460455"/>
                  </a:lnTo>
                  <a:lnTo>
                    <a:pt x="1886989" y="15484279"/>
                  </a:lnTo>
                  <a:lnTo>
                    <a:pt x="1882224" y="15493807"/>
                  </a:lnTo>
                  <a:lnTo>
                    <a:pt x="1858398" y="15465219"/>
                  </a:lnTo>
                  <a:lnTo>
                    <a:pt x="1853633" y="15455687"/>
                  </a:lnTo>
                  <a:lnTo>
                    <a:pt x="1834573" y="15427099"/>
                  </a:lnTo>
                  <a:lnTo>
                    <a:pt x="1834573" y="15412803"/>
                  </a:lnTo>
                  <a:lnTo>
                    <a:pt x="1834573" y="15408039"/>
                  </a:lnTo>
                  <a:close/>
                  <a:moveTo>
                    <a:pt x="1796452" y="15307967"/>
                  </a:moveTo>
                  <a:lnTo>
                    <a:pt x="1801217" y="15307967"/>
                  </a:lnTo>
                  <a:lnTo>
                    <a:pt x="1805982" y="15312735"/>
                  </a:lnTo>
                  <a:lnTo>
                    <a:pt x="1820278" y="15341323"/>
                  </a:lnTo>
                  <a:lnTo>
                    <a:pt x="1825043" y="15360383"/>
                  </a:lnTo>
                  <a:lnTo>
                    <a:pt x="1815513" y="15355619"/>
                  </a:lnTo>
                  <a:lnTo>
                    <a:pt x="1810748" y="15350855"/>
                  </a:lnTo>
                  <a:lnTo>
                    <a:pt x="1801217" y="15331795"/>
                  </a:lnTo>
                  <a:lnTo>
                    <a:pt x="1796452" y="15322263"/>
                  </a:lnTo>
                  <a:close/>
                  <a:moveTo>
                    <a:pt x="9318206" y="15298439"/>
                  </a:moveTo>
                  <a:lnTo>
                    <a:pt x="9351562" y="15303203"/>
                  </a:lnTo>
                  <a:lnTo>
                    <a:pt x="9384918" y="15346091"/>
                  </a:lnTo>
                  <a:lnTo>
                    <a:pt x="9408744" y="15374679"/>
                  </a:lnTo>
                  <a:lnTo>
                    <a:pt x="9418274" y="15398507"/>
                  </a:lnTo>
                  <a:lnTo>
                    <a:pt x="9418274" y="15412803"/>
                  </a:lnTo>
                  <a:lnTo>
                    <a:pt x="9413509" y="15422331"/>
                  </a:lnTo>
                  <a:lnTo>
                    <a:pt x="9399213" y="15422331"/>
                  </a:lnTo>
                  <a:lnTo>
                    <a:pt x="9370623" y="15417567"/>
                  </a:lnTo>
                  <a:lnTo>
                    <a:pt x="9356327" y="15412803"/>
                  </a:lnTo>
                  <a:lnTo>
                    <a:pt x="9313441" y="15393743"/>
                  </a:lnTo>
                  <a:lnTo>
                    <a:pt x="9241964" y="15365151"/>
                  </a:lnTo>
                  <a:lnTo>
                    <a:pt x="9213373" y="15355619"/>
                  </a:lnTo>
                  <a:lnTo>
                    <a:pt x="9208608" y="15341327"/>
                  </a:lnTo>
                  <a:lnTo>
                    <a:pt x="9222903" y="15322263"/>
                  </a:lnTo>
                  <a:lnTo>
                    <a:pt x="9227669" y="15312735"/>
                  </a:lnTo>
                  <a:lnTo>
                    <a:pt x="9237199" y="15307971"/>
                  </a:lnTo>
                  <a:close/>
                  <a:moveTo>
                    <a:pt x="1424773" y="15293675"/>
                  </a:moveTo>
                  <a:lnTo>
                    <a:pt x="1429539" y="15298439"/>
                  </a:lnTo>
                  <a:lnTo>
                    <a:pt x="1443834" y="15303203"/>
                  </a:lnTo>
                  <a:lnTo>
                    <a:pt x="1462894" y="15327031"/>
                  </a:lnTo>
                  <a:lnTo>
                    <a:pt x="1467660" y="15350855"/>
                  </a:lnTo>
                  <a:lnTo>
                    <a:pt x="1462894" y="15374683"/>
                  </a:lnTo>
                  <a:lnTo>
                    <a:pt x="1439068" y="15384211"/>
                  </a:lnTo>
                  <a:lnTo>
                    <a:pt x="1424773" y="15379447"/>
                  </a:lnTo>
                  <a:lnTo>
                    <a:pt x="1420006" y="15379447"/>
                  </a:lnTo>
                  <a:lnTo>
                    <a:pt x="1410477" y="15388975"/>
                  </a:lnTo>
                  <a:lnTo>
                    <a:pt x="1420006" y="15388975"/>
                  </a:lnTo>
                  <a:lnTo>
                    <a:pt x="1439068" y="15403271"/>
                  </a:lnTo>
                  <a:lnTo>
                    <a:pt x="1448598" y="15417567"/>
                  </a:lnTo>
                  <a:lnTo>
                    <a:pt x="1467660" y="15422331"/>
                  </a:lnTo>
                  <a:lnTo>
                    <a:pt x="1491484" y="15431863"/>
                  </a:lnTo>
                  <a:lnTo>
                    <a:pt x="1472424" y="15455687"/>
                  </a:lnTo>
                  <a:lnTo>
                    <a:pt x="1472424" y="15465219"/>
                  </a:lnTo>
                  <a:lnTo>
                    <a:pt x="1496248" y="15498575"/>
                  </a:lnTo>
                  <a:lnTo>
                    <a:pt x="1496248" y="15503339"/>
                  </a:lnTo>
                  <a:lnTo>
                    <a:pt x="1501015" y="15508103"/>
                  </a:lnTo>
                  <a:lnTo>
                    <a:pt x="1520074" y="15503339"/>
                  </a:lnTo>
                  <a:lnTo>
                    <a:pt x="1524840" y="15508103"/>
                  </a:lnTo>
                  <a:lnTo>
                    <a:pt x="1524840" y="15512871"/>
                  </a:lnTo>
                  <a:lnTo>
                    <a:pt x="1510545" y="15531931"/>
                  </a:lnTo>
                  <a:lnTo>
                    <a:pt x="1515310" y="15536695"/>
                  </a:lnTo>
                  <a:lnTo>
                    <a:pt x="1524840" y="15536695"/>
                  </a:lnTo>
                  <a:lnTo>
                    <a:pt x="1539136" y="15536695"/>
                  </a:lnTo>
                  <a:lnTo>
                    <a:pt x="1543900" y="15555755"/>
                  </a:lnTo>
                  <a:lnTo>
                    <a:pt x="1529605" y="15574815"/>
                  </a:lnTo>
                  <a:lnTo>
                    <a:pt x="1496248" y="15550991"/>
                  </a:lnTo>
                  <a:lnTo>
                    <a:pt x="1481953" y="15531931"/>
                  </a:lnTo>
                  <a:lnTo>
                    <a:pt x="1477189" y="15512871"/>
                  </a:lnTo>
                  <a:lnTo>
                    <a:pt x="1467660" y="15498575"/>
                  </a:lnTo>
                  <a:lnTo>
                    <a:pt x="1439068" y="15474747"/>
                  </a:lnTo>
                  <a:lnTo>
                    <a:pt x="1391416" y="15422331"/>
                  </a:lnTo>
                  <a:lnTo>
                    <a:pt x="1381887" y="15412803"/>
                  </a:lnTo>
                  <a:lnTo>
                    <a:pt x="1367592" y="15388975"/>
                  </a:lnTo>
                  <a:lnTo>
                    <a:pt x="1367592" y="15379447"/>
                  </a:lnTo>
                  <a:lnTo>
                    <a:pt x="1367592" y="15374683"/>
                  </a:lnTo>
                  <a:lnTo>
                    <a:pt x="1372356" y="15369915"/>
                  </a:lnTo>
                  <a:lnTo>
                    <a:pt x="1386651" y="15365151"/>
                  </a:lnTo>
                  <a:lnTo>
                    <a:pt x="1386651" y="15355619"/>
                  </a:lnTo>
                  <a:lnTo>
                    <a:pt x="1334235" y="15336559"/>
                  </a:lnTo>
                  <a:lnTo>
                    <a:pt x="1329470" y="15331795"/>
                  </a:lnTo>
                  <a:lnTo>
                    <a:pt x="1319941" y="15322263"/>
                  </a:lnTo>
                  <a:lnTo>
                    <a:pt x="1324705" y="15317499"/>
                  </a:lnTo>
                  <a:lnTo>
                    <a:pt x="1353297" y="15322263"/>
                  </a:lnTo>
                  <a:lnTo>
                    <a:pt x="1381887" y="15312735"/>
                  </a:lnTo>
                  <a:lnTo>
                    <a:pt x="1400949" y="15307971"/>
                  </a:lnTo>
                  <a:lnTo>
                    <a:pt x="1410477" y="15303203"/>
                  </a:lnTo>
                  <a:close/>
                  <a:moveTo>
                    <a:pt x="1872694" y="15284143"/>
                  </a:moveTo>
                  <a:lnTo>
                    <a:pt x="1882224" y="15284143"/>
                  </a:lnTo>
                  <a:lnTo>
                    <a:pt x="1896519" y="15298439"/>
                  </a:lnTo>
                  <a:lnTo>
                    <a:pt x="1915580" y="15307971"/>
                  </a:lnTo>
                  <a:lnTo>
                    <a:pt x="1934640" y="15327031"/>
                  </a:lnTo>
                  <a:lnTo>
                    <a:pt x="1944171" y="15369915"/>
                  </a:lnTo>
                  <a:lnTo>
                    <a:pt x="1953701" y="15455687"/>
                  </a:lnTo>
                  <a:lnTo>
                    <a:pt x="1953701" y="15479515"/>
                  </a:lnTo>
                  <a:lnTo>
                    <a:pt x="1944171" y="15498575"/>
                  </a:lnTo>
                  <a:lnTo>
                    <a:pt x="1934640" y="15527167"/>
                  </a:lnTo>
                  <a:lnTo>
                    <a:pt x="1925110" y="15536695"/>
                  </a:lnTo>
                  <a:lnTo>
                    <a:pt x="1915580" y="15522399"/>
                  </a:lnTo>
                  <a:lnTo>
                    <a:pt x="1915580" y="15493811"/>
                  </a:lnTo>
                  <a:lnTo>
                    <a:pt x="1915580" y="15469983"/>
                  </a:lnTo>
                  <a:lnTo>
                    <a:pt x="1910815" y="15460455"/>
                  </a:lnTo>
                  <a:lnTo>
                    <a:pt x="1915580" y="15417567"/>
                  </a:lnTo>
                  <a:lnTo>
                    <a:pt x="1910815" y="15422331"/>
                  </a:lnTo>
                  <a:lnTo>
                    <a:pt x="1901284" y="15441395"/>
                  </a:lnTo>
                  <a:lnTo>
                    <a:pt x="1891754" y="15441395"/>
                  </a:lnTo>
                  <a:lnTo>
                    <a:pt x="1872694" y="15417567"/>
                  </a:lnTo>
                  <a:lnTo>
                    <a:pt x="1863163" y="15403271"/>
                  </a:lnTo>
                  <a:lnTo>
                    <a:pt x="1858398" y="15384211"/>
                  </a:lnTo>
                  <a:lnTo>
                    <a:pt x="1848868" y="15365151"/>
                  </a:lnTo>
                  <a:lnTo>
                    <a:pt x="1848868" y="15360387"/>
                  </a:lnTo>
                  <a:lnTo>
                    <a:pt x="1848868" y="15350855"/>
                  </a:lnTo>
                  <a:lnTo>
                    <a:pt x="1858398" y="15331795"/>
                  </a:lnTo>
                  <a:lnTo>
                    <a:pt x="1863163" y="15317499"/>
                  </a:lnTo>
                  <a:lnTo>
                    <a:pt x="1867929" y="15293675"/>
                  </a:lnTo>
                  <a:close/>
                  <a:moveTo>
                    <a:pt x="1839339" y="15269847"/>
                  </a:moveTo>
                  <a:lnTo>
                    <a:pt x="1844104" y="15279379"/>
                  </a:lnTo>
                  <a:lnTo>
                    <a:pt x="1848869" y="15288907"/>
                  </a:lnTo>
                  <a:lnTo>
                    <a:pt x="1848869" y="15327031"/>
                  </a:lnTo>
                  <a:lnTo>
                    <a:pt x="1834573" y="15327031"/>
                  </a:lnTo>
                  <a:lnTo>
                    <a:pt x="1829808" y="15322263"/>
                  </a:lnTo>
                  <a:lnTo>
                    <a:pt x="1825043" y="15317499"/>
                  </a:lnTo>
                  <a:lnTo>
                    <a:pt x="1825043" y="15312735"/>
                  </a:lnTo>
                  <a:lnTo>
                    <a:pt x="1825043" y="15298439"/>
                  </a:lnTo>
                  <a:lnTo>
                    <a:pt x="1834573" y="15279379"/>
                  </a:lnTo>
                  <a:lnTo>
                    <a:pt x="1834573" y="15274615"/>
                  </a:lnTo>
                  <a:close/>
                  <a:moveTo>
                    <a:pt x="9518341" y="15260319"/>
                  </a:moveTo>
                  <a:lnTo>
                    <a:pt x="9532637" y="15265083"/>
                  </a:lnTo>
                  <a:lnTo>
                    <a:pt x="9537402" y="15274615"/>
                  </a:lnTo>
                  <a:lnTo>
                    <a:pt x="9537402" y="15284143"/>
                  </a:lnTo>
                  <a:lnTo>
                    <a:pt x="9527872" y="15284143"/>
                  </a:lnTo>
                  <a:lnTo>
                    <a:pt x="9518341" y="15279379"/>
                  </a:lnTo>
                  <a:lnTo>
                    <a:pt x="9518341" y="15269847"/>
                  </a:lnTo>
                  <a:lnTo>
                    <a:pt x="9513576" y="15265083"/>
                  </a:lnTo>
                  <a:close/>
                  <a:moveTo>
                    <a:pt x="1648733" y="15188839"/>
                  </a:moveTo>
                  <a:lnTo>
                    <a:pt x="1658267" y="15193607"/>
                  </a:lnTo>
                  <a:lnTo>
                    <a:pt x="1686857" y="15212667"/>
                  </a:lnTo>
                  <a:lnTo>
                    <a:pt x="1715447" y="15231727"/>
                  </a:lnTo>
                  <a:lnTo>
                    <a:pt x="1729742" y="15241259"/>
                  </a:lnTo>
                  <a:lnTo>
                    <a:pt x="1758332" y="15293675"/>
                  </a:lnTo>
                  <a:lnTo>
                    <a:pt x="1753567" y="15298439"/>
                  </a:lnTo>
                  <a:lnTo>
                    <a:pt x="1744037" y="15312735"/>
                  </a:lnTo>
                  <a:lnTo>
                    <a:pt x="1739273" y="15312735"/>
                  </a:lnTo>
                  <a:lnTo>
                    <a:pt x="1729742" y="15312735"/>
                  </a:lnTo>
                  <a:lnTo>
                    <a:pt x="1696387" y="15265083"/>
                  </a:lnTo>
                  <a:lnTo>
                    <a:pt x="1672562" y="15250787"/>
                  </a:lnTo>
                  <a:lnTo>
                    <a:pt x="1653500" y="15226963"/>
                  </a:lnTo>
                  <a:lnTo>
                    <a:pt x="1639204" y="15212667"/>
                  </a:lnTo>
                  <a:close/>
                  <a:moveTo>
                    <a:pt x="1648733" y="15069711"/>
                  </a:moveTo>
                  <a:lnTo>
                    <a:pt x="1658267" y="15069711"/>
                  </a:lnTo>
                  <a:lnTo>
                    <a:pt x="1672562" y="15079243"/>
                  </a:lnTo>
                  <a:lnTo>
                    <a:pt x="1672562" y="15084007"/>
                  </a:lnTo>
                  <a:lnTo>
                    <a:pt x="1682090" y="15103067"/>
                  </a:lnTo>
                  <a:lnTo>
                    <a:pt x="1677325" y="15112599"/>
                  </a:lnTo>
                  <a:lnTo>
                    <a:pt x="1667795" y="15126895"/>
                  </a:lnTo>
                  <a:lnTo>
                    <a:pt x="1658267" y="15136423"/>
                  </a:lnTo>
                  <a:lnTo>
                    <a:pt x="1658267" y="15131659"/>
                  </a:lnTo>
                  <a:lnTo>
                    <a:pt x="1643968" y="15131659"/>
                  </a:lnTo>
                  <a:lnTo>
                    <a:pt x="1634440" y="15117363"/>
                  </a:lnTo>
                  <a:lnTo>
                    <a:pt x="1629673" y="15107835"/>
                  </a:lnTo>
                  <a:lnTo>
                    <a:pt x="1620142" y="15107835"/>
                  </a:lnTo>
                  <a:lnTo>
                    <a:pt x="1620142" y="15112599"/>
                  </a:lnTo>
                  <a:lnTo>
                    <a:pt x="1620142" y="15122131"/>
                  </a:lnTo>
                  <a:lnTo>
                    <a:pt x="1620142" y="15131659"/>
                  </a:lnTo>
                  <a:lnTo>
                    <a:pt x="1620142" y="15136423"/>
                  </a:lnTo>
                  <a:lnTo>
                    <a:pt x="1615378" y="15131659"/>
                  </a:lnTo>
                  <a:lnTo>
                    <a:pt x="1610614" y="15131659"/>
                  </a:lnTo>
                  <a:lnTo>
                    <a:pt x="1610614" y="15122131"/>
                  </a:lnTo>
                  <a:lnTo>
                    <a:pt x="1610614" y="15112599"/>
                  </a:lnTo>
                  <a:lnTo>
                    <a:pt x="1610614" y="15107835"/>
                  </a:lnTo>
                  <a:lnTo>
                    <a:pt x="1620142" y="15093539"/>
                  </a:lnTo>
                  <a:lnTo>
                    <a:pt x="1643968" y="15074479"/>
                  </a:lnTo>
                  <a:close/>
                  <a:moveTo>
                    <a:pt x="1243698" y="15050651"/>
                  </a:moveTo>
                  <a:lnTo>
                    <a:pt x="1253228" y="15050651"/>
                  </a:lnTo>
                  <a:lnTo>
                    <a:pt x="1267525" y="15055419"/>
                  </a:lnTo>
                  <a:lnTo>
                    <a:pt x="1305645" y="15060183"/>
                  </a:lnTo>
                  <a:lnTo>
                    <a:pt x="1319941" y="15074479"/>
                  </a:lnTo>
                  <a:lnTo>
                    <a:pt x="1353297" y="15064947"/>
                  </a:lnTo>
                  <a:lnTo>
                    <a:pt x="1358061" y="15064947"/>
                  </a:lnTo>
                  <a:lnTo>
                    <a:pt x="1367592" y="15074479"/>
                  </a:lnTo>
                  <a:lnTo>
                    <a:pt x="1372356" y="15084007"/>
                  </a:lnTo>
                  <a:lnTo>
                    <a:pt x="1381888" y="15103067"/>
                  </a:lnTo>
                  <a:lnTo>
                    <a:pt x="1381888" y="15126895"/>
                  </a:lnTo>
                  <a:lnTo>
                    <a:pt x="1381888" y="15131659"/>
                  </a:lnTo>
                  <a:lnTo>
                    <a:pt x="1372356" y="15141191"/>
                  </a:lnTo>
                  <a:lnTo>
                    <a:pt x="1319941" y="15174547"/>
                  </a:lnTo>
                  <a:lnTo>
                    <a:pt x="1319941" y="15179311"/>
                  </a:lnTo>
                  <a:lnTo>
                    <a:pt x="1319941" y="15184075"/>
                  </a:lnTo>
                  <a:lnTo>
                    <a:pt x="1324705" y="15184075"/>
                  </a:lnTo>
                  <a:lnTo>
                    <a:pt x="1334235" y="15184075"/>
                  </a:lnTo>
                  <a:lnTo>
                    <a:pt x="1377121" y="15179311"/>
                  </a:lnTo>
                  <a:lnTo>
                    <a:pt x="1381888" y="15169779"/>
                  </a:lnTo>
                  <a:lnTo>
                    <a:pt x="1381888" y="15145955"/>
                  </a:lnTo>
                  <a:lnTo>
                    <a:pt x="1391416" y="15131659"/>
                  </a:lnTo>
                  <a:lnTo>
                    <a:pt x="1391416" y="15122127"/>
                  </a:lnTo>
                  <a:lnTo>
                    <a:pt x="1386651" y="15093539"/>
                  </a:lnTo>
                  <a:lnTo>
                    <a:pt x="1386651" y="15084007"/>
                  </a:lnTo>
                  <a:lnTo>
                    <a:pt x="1415244" y="15084007"/>
                  </a:lnTo>
                  <a:lnTo>
                    <a:pt x="1434303" y="15074479"/>
                  </a:lnTo>
                  <a:lnTo>
                    <a:pt x="1453363" y="15055419"/>
                  </a:lnTo>
                  <a:lnTo>
                    <a:pt x="1458129" y="15055419"/>
                  </a:lnTo>
                  <a:lnTo>
                    <a:pt x="1458129" y="15088775"/>
                  </a:lnTo>
                  <a:lnTo>
                    <a:pt x="1453363" y="15098303"/>
                  </a:lnTo>
                  <a:lnTo>
                    <a:pt x="1434303" y="15136423"/>
                  </a:lnTo>
                  <a:lnTo>
                    <a:pt x="1424773" y="15169779"/>
                  </a:lnTo>
                  <a:lnTo>
                    <a:pt x="1420008" y="15203135"/>
                  </a:lnTo>
                  <a:lnTo>
                    <a:pt x="1420008" y="15255551"/>
                  </a:lnTo>
                  <a:lnTo>
                    <a:pt x="1415244" y="15274615"/>
                  </a:lnTo>
                  <a:lnTo>
                    <a:pt x="1405711" y="15288907"/>
                  </a:lnTo>
                  <a:lnTo>
                    <a:pt x="1353297" y="15307967"/>
                  </a:lnTo>
                  <a:lnTo>
                    <a:pt x="1324705" y="15303203"/>
                  </a:lnTo>
                  <a:lnTo>
                    <a:pt x="1300879" y="15288907"/>
                  </a:lnTo>
                  <a:lnTo>
                    <a:pt x="1291350" y="15274615"/>
                  </a:lnTo>
                  <a:lnTo>
                    <a:pt x="1300879" y="15260319"/>
                  </a:lnTo>
                  <a:lnTo>
                    <a:pt x="1305645" y="15260319"/>
                  </a:lnTo>
                  <a:lnTo>
                    <a:pt x="1319941" y="15260319"/>
                  </a:lnTo>
                  <a:lnTo>
                    <a:pt x="1334235" y="15269847"/>
                  </a:lnTo>
                  <a:lnTo>
                    <a:pt x="1339002" y="15269847"/>
                  </a:lnTo>
                  <a:lnTo>
                    <a:pt x="1339002" y="15265083"/>
                  </a:lnTo>
                  <a:lnTo>
                    <a:pt x="1300879" y="15236491"/>
                  </a:lnTo>
                  <a:lnTo>
                    <a:pt x="1277055" y="15222195"/>
                  </a:lnTo>
                  <a:lnTo>
                    <a:pt x="1267525" y="15207903"/>
                  </a:lnTo>
                  <a:lnTo>
                    <a:pt x="1267525" y="15198371"/>
                  </a:lnTo>
                  <a:lnTo>
                    <a:pt x="1262760" y="15193607"/>
                  </a:lnTo>
                  <a:lnTo>
                    <a:pt x="1243698" y="15150719"/>
                  </a:lnTo>
                  <a:lnTo>
                    <a:pt x="1238933" y="15136423"/>
                  </a:lnTo>
                  <a:lnTo>
                    <a:pt x="1234170" y="15112599"/>
                  </a:lnTo>
                  <a:lnTo>
                    <a:pt x="1234170" y="15093539"/>
                  </a:lnTo>
                  <a:lnTo>
                    <a:pt x="1238933" y="15055419"/>
                  </a:lnTo>
                  <a:close/>
                  <a:moveTo>
                    <a:pt x="1577257" y="14926759"/>
                  </a:moveTo>
                  <a:lnTo>
                    <a:pt x="1596319" y="14926759"/>
                  </a:lnTo>
                  <a:lnTo>
                    <a:pt x="1601083" y="14926759"/>
                  </a:lnTo>
                  <a:lnTo>
                    <a:pt x="1601083" y="14931523"/>
                  </a:lnTo>
                  <a:lnTo>
                    <a:pt x="1601083" y="14941055"/>
                  </a:lnTo>
                  <a:lnTo>
                    <a:pt x="1591553" y="14945819"/>
                  </a:lnTo>
                  <a:lnTo>
                    <a:pt x="1572492" y="14964879"/>
                  </a:lnTo>
                  <a:lnTo>
                    <a:pt x="1567729" y="14960115"/>
                  </a:lnTo>
                  <a:lnTo>
                    <a:pt x="1572492" y="14950583"/>
                  </a:lnTo>
                  <a:close/>
                  <a:moveTo>
                    <a:pt x="1686857" y="14817159"/>
                  </a:moveTo>
                  <a:lnTo>
                    <a:pt x="1686857" y="14836220"/>
                  </a:lnTo>
                  <a:lnTo>
                    <a:pt x="1663030" y="14874340"/>
                  </a:lnTo>
                  <a:lnTo>
                    <a:pt x="1634440" y="14893403"/>
                  </a:lnTo>
                  <a:lnTo>
                    <a:pt x="1629673" y="14888636"/>
                  </a:lnTo>
                  <a:lnTo>
                    <a:pt x="1643969" y="14869575"/>
                  </a:lnTo>
                  <a:lnTo>
                    <a:pt x="1672562" y="14840985"/>
                  </a:lnTo>
                  <a:close/>
                  <a:moveTo>
                    <a:pt x="12482249" y="14507426"/>
                  </a:moveTo>
                  <a:lnTo>
                    <a:pt x="12487017" y="14512191"/>
                  </a:lnTo>
                  <a:lnTo>
                    <a:pt x="12501313" y="14521721"/>
                  </a:lnTo>
                  <a:lnTo>
                    <a:pt x="12501313" y="14526486"/>
                  </a:lnTo>
                  <a:lnTo>
                    <a:pt x="12496545" y="14536017"/>
                  </a:lnTo>
                  <a:lnTo>
                    <a:pt x="12496545" y="14545547"/>
                  </a:lnTo>
                  <a:lnTo>
                    <a:pt x="12472721" y="14540782"/>
                  </a:lnTo>
                  <a:lnTo>
                    <a:pt x="12463189" y="14536017"/>
                  </a:lnTo>
                  <a:lnTo>
                    <a:pt x="12463189" y="14531252"/>
                  </a:lnTo>
                  <a:lnTo>
                    <a:pt x="12463189" y="14521721"/>
                  </a:lnTo>
                  <a:lnTo>
                    <a:pt x="12467957" y="14516956"/>
                  </a:lnTo>
                  <a:close/>
                  <a:moveTo>
                    <a:pt x="9728007" y="14426419"/>
                  </a:moveTo>
                  <a:lnTo>
                    <a:pt x="9732772" y="14426419"/>
                  </a:lnTo>
                  <a:lnTo>
                    <a:pt x="9737537" y="14459775"/>
                  </a:lnTo>
                  <a:lnTo>
                    <a:pt x="9732772" y="14474070"/>
                  </a:lnTo>
                  <a:lnTo>
                    <a:pt x="9728007" y="14488365"/>
                  </a:lnTo>
                  <a:lnTo>
                    <a:pt x="9718477" y="14497896"/>
                  </a:lnTo>
                  <a:lnTo>
                    <a:pt x="9708946" y="14507426"/>
                  </a:lnTo>
                  <a:lnTo>
                    <a:pt x="9704181" y="14512191"/>
                  </a:lnTo>
                  <a:lnTo>
                    <a:pt x="9694651" y="14512191"/>
                  </a:lnTo>
                  <a:lnTo>
                    <a:pt x="9699416" y="14502661"/>
                  </a:lnTo>
                  <a:lnTo>
                    <a:pt x="9704181" y="14483600"/>
                  </a:lnTo>
                  <a:lnTo>
                    <a:pt x="9708946" y="14469305"/>
                  </a:lnTo>
                  <a:lnTo>
                    <a:pt x="9708946" y="14455010"/>
                  </a:lnTo>
                  <a:lnTo>
                    <a:pt x="9713711" y="14440714"/>
                  </a:lnTo>
                  <a:lnTo>
                    <a:pt x="9718477" y="14431184"/>
                  </a:lnTo>
                  <a:close/>
                  <a:moveTo>
                    <a:pt x="9594583" y="14416888"/>
                  </a:moveTo>
                  <a:lnTo>
                    <a:pt x="9585053" y="14440714"/>
                  </a:lnTo>
                  <a:lnTo>
                    <a:pt x="9575523" y="14455009"/>
                  </a:lnTo>
                  <a:lnTo>
                    <a:pt x="9532636" y="14493130"/>
                  </a:lnTo>
                  <a:lnTo>
                    <a:pt x="9523106" y="14493130"/>
                  </a:lnTo>
                  <a:lnTo>
                    <a:pt x="9513576" y="14488365"/>
                  </a:lnTo>
                  <a:lnTo>
                    <a:pt x="9518341" y="14469304"/>
                  </a:lnTo>
                  <a:lnTo>
                    <a:pt x="9527871" y="14459774"/>
                  </a:lnTo>
                  <a:lnTo>
                    <a:pt x="9546932" y="14450244"/>
                  </a:lnTo>
                  <a:lnTo>
                    <a:pt x="9551697" y="14445479"/>
                  </a:lnTo>
                  <a:lnTo>
                    <a:pt x="9556462" y="14440714"/>
                  </a:lnTo>
                  <a:lnTo>
                    <a:pt x="9565992" y="14440714"/>
                  </a:lnTo>
                  <a:lnTo>
                    <a:pt x="9575523" y="14435948"/>
                  </a:lnTo>
                  <a:lnTo>
                    <a:pt x="9589818" y="14421653"/>
                  </a:lnTo>
                  <a:close/>
                  <a:moveTo>
                    <a:pt x="9642235" y="14378767"/>
                  </a:moveTo>
                  <a:lnTo>
                    <a:pt x="9642235" y="14388297"/>
                  </a:lnTo>
                  <a:lnTo>
                    <a:pt x="9651766" y="14393062"/>
                  </a:lnTo>
                  <a:lnTo>
                    <a:pt x="9656531" y="14397828"/>
                  </a:lnTo>
                  <a:lnTo>
                    <a:pt x="9661296" y="14402593"/>
                  </a:lnTo>
                  <a:lnTo>
                    <a:pt x="9666061" y="14416888"/>
                  </a:lnTo>
                  <a:lnTo>
                    <a:pt x="9670826" y="14421653"/>
                  </a:lnTo>
                  <a:lnTo>
                    <a:pt x="9685122" y="14426418"/>
                  </a:lnTo>
                  <a:lnTo>
                    <a:pt x="9689887" y="14431183"/>
                  </a:lnTo>
                  <a:lnTo>
                    <a:pt x="9694652" y="14445479"/>
                  </a:lnTo>
                  <a:lnTo>
                    <a:pt x="9689887" y="14450244"/>
                  </a:lnTo>
                  <a:lnTo>
                    <a:pt x="9694652" y="14455009"/>
                  </a:lnTo>
                  <a:lnTo>
                    <a:pt x="9699417" y="14459774"/>
                  </a:lnTo>
                  <a:lnTo>
                    <a:pt x="9694652" y="14474070"/>
                  </a:lnTo>
                  <a:lnTo>
                    <a:pt x="9680356" y="14502660"/>
                  </a:lnTo>
                  <a:lnTo>
                    <a:pt x="9670826" y="14531251"/>
                  </a:lnTo>
                  <a:lnTo>
                    <a:pt x="9656531" y="14578902"/>
                  </a:lnTo>
                  <a:lnTo>
                    <a:pt x="9647001" y="14583667"/>
                  </a:lnTo>
                  <a:lnTo>
                    <a:pt x="9642235" y="14569372"/>
                  </a:lnTo>
                  <a:lnTo>
                    <a:pt x="9661296" y="14512191"/>
                  </a:lnTo>
                  <a:lnTo>
                    <a:pt x="9661296" y="14502660"/>
                  </a:lnTo>
                  <a:lnTo>
                    <a:pt x="9661296" y="14497895"/>
                  </a:lnTo>
                  <a:lnTo>
                    <a:pt x="9656531" y="14488365"/>
                  </a:lnTo>
                  <a:lnTo>
                    <a:pt x="9647001" y="14497895"/>
                  </a:lnTo>
                  <a:lnTo>
                    <a:pt x="9618410" y="14564607"/>
                  </a:lnTo>
                  <a:lnTo>
                    <a:pt x="9613645" y="14578902"/>
                  </a:lnTo>
                  <a:lnTo>
                    <a:pt x="9604114" y="14583667"/>
                  </a:lnTo>
                  <a:lnTo>
                    <a:pt x="9599349" y="14583667"/>
                  </a:lnTo>
                  <a:lnTo>
                    <a:pt x="9589819" y="14583667"/>
                  </a:lnTo>
                  <a:lnTo>
                    <a:pt x="9561228" y="14602728"/>
                  </a:lnTo>
                  <a:lnTo>
                    <a:pt x="9604114" y="14521721"/>
                  </a:lnTo>
                  <a:lnTo>
                    <a:pt x="9604114" y="14516956"/>
                  </a:lnTo>
                  <a:lnTo>
                    <a:pt x="9599349" y="14512191"/>
                  </a:lnTo>
                  <a:lnTo>
                    <a:pt x="9594584" y="14516956"/>
                  </a:lnTo>
                  <a:lnTo>
                    <a:pt x="9561228" y="14564607"/>
                  </a:lnTo>
                  <a:lnTo>
                    <a:pt x="9542168" y="14583667"/>
                  </a:lnTo>
                  <a:lnTo>
                    <a:pt x="9527872" y="14578902"/>
                  </a:lnTo>
                  <a:lnTo>
                    <a:pt x="9523107" y="14574137"/>
                  </a:lnTo>
                  <a:lnTo>
                    <a:pt x="9527872" y="14569372"/>
                  </a:lnTo>
                  <a:lnTo>
                    <a:pt x="9561228" y="14516956"/>
                  </a:lnTo>
                  <a:lnTo>
                    <a:pt x="9589819" y="14478835"/>
                  </a:lnTo>
                  <a:lnTo>
                    <a:pt x="9604114" y="14455009"/>
                  </a:lnTo>
                  <a:lnTo>
                    <a:pt x="9608879" y="14435949"/>
                  </a:lnTo>
                  <a:lnTo>
                    <a:pt x="9608879" y="14421653"/>
                  </a:lnTo>
                  <a:lnTo>
                    <a:pt x="9608879" y="14402593"/>
                  </a:lnTo>
                  <a:lnTo>
                    <a:pt x="9613645" y="14397828"/>
                  </a:lnTo>
                  <a:lnTo>
                    <a:pt x="9613645" y="14402593"/>
                  </a:lnTo>
                  <a:lnTo>
                    <a:pt x="9613645" y="14421653"/>
                  </a:lnTo>
                  <a:lnTo>
                    <a:pt x="9608879" y="14459774"/>
                  </a:lnTo>
                  <a:lnTo>
                    <a:pt x="9604114" y="14478835"/>
                  </a:lnTo>
                  <a:lnTo>
                    <a:pt x="9594584" y="14493130"/>
                  </a:lnTo>
                  <a:lnTo>
                    <a:pt x="9599349" y="14497895"/>
                  </a:lnTo>
                  <a:lnTo>
                    <a:pt x="9613645" y="14488365"/>
                  </a:lnTo>
                  <a:lnTo>
                    <a:pt x="9623175" y="14469304"/>
                  </a:lnTo>
                  <a:lnTo>
                    <a:pt x="9627940" y="14440714"/>
                  </a:lnTo>
                  <a:lnTo>
                    <a:pt x="9637470" y="14416888"/>
                  </a:lnTo>
                  <a:close/>
                  <a:moveTo>
                    <a:pt x="9594583" y="14321586"/>
                  </a:moveTo>
                  <a:lnTo>
                    <a:pt x="9604114" y="14331116"/>
                  </a:lnTo>
                  <a:lnTo>
                    <a:pt x="9604114" y="14340646"/>
                  </a:lnTo>
                  <a:lnTo>
                    <a:pt x="9608879" y="14345412"/>
                  </a:lnTo>
                  <a:lnTo>
                    <a:pt x="9608879" y="14354942"/>
                  </a:lnTo>
                  <a:lnTo>
                    <a:pt x="9604114" y="14359707"/>
                  </a:lnTo>
                  <a:lnTo>
                    <a:pt x="9604114" y="14364472"/>
                  </a:lnTo>
                  <a:lnTo>
                    <a:pt x="9594583" y="14369237"/>
                  </a:lnTo>
                  <a:lnTo>
                    <a:pt x="9594583" y="14364472"/>
                  </a:lnTo>
                  <a:lnTo>
                    <a:pt x="9599348" y="14340646"/>
                  </a:lnTo>
                  <a:lnTo>
                    <a:pt x="9594583" y="14331116"/>
                  </a:lnTo>
                  <a:lnTo>
                    <a:pt x="9589818" y="14326351"/>
                  </a:lnTo>
                  <a:lnTo>
                    <a:pt x="9594583" y="14326351"/>
                  </a:lnTo>
                  <a:close/>
                  <a:moveTo>
                    <a:pt x="9542167" y="14302525"/>
                  </a:moveTo>
                  <a:lnTo>
                    <a:pt x="9546932" y="14302525"/>
                  </a:lnTo>
                  <a:lnTo>
                    <a:pt x="9551697" y="14312055"/>
                  </a:lnTo>
                  <a:lnTo>
                    <a:pt x="9551697" y="14316820"/>
                  </a:lnTo>
                  <a:lnTo>
                    <a:pt x="9546932" y="14331116"/>
                  </a:lnTo>
                  <a:lnTo>
                    <a:pt x="9542167" y="14335881"/>
                  </a:lnTo>
                  <a:lnTo>
                    <a:pt x="9537402" y="14331116"/>
                  </a:lnTo>
                  <a:lnTo>
                    <a:pt x="9537402" y="14316820"/>
                  </a:lnTo>
                  <a:close/>
                  <a:moveTo>
                    <a:pt x="12363121" y="14097625"/>
                  </a:moveTo>
                  <a:lnTo>
                    <a:pt x="12377417" y="14107155"/>
                  </a:lnTo>
                  <a:lnTo>
                    <a:pt x="12391713" y="14111920"/>
                  </a:lnTo>
                  <a:lnTo>
                    <a:pt x="12396481" y="14145276"/>
                  </a:lnTo>
                  <a:lnTo>
                    <a:pt x="12372653" y="14145276"/>
                  </a:lnTo>
                  <a:lnTo>
                    <a:pt x="12344061" y="14121450"/>
                  </a:lnTo>
                  <a:lnTo>
                    <a:pt x="12334533" y="14107155"/>
                  </a:lnTo>
                  <a:lnTo>
                    <a:pt x="12339297" y="14102390"/>
                  </a:lnTo>
                  <a:lnTo>
                    <a:pt x="12348829" y="14107155"/>
                  </a:lnTo>
                  <a:lnTo>
                    <a:pt x="12353593" y="14102390"/>
                  </a:lnTo>
                  <a:close/>
                  <a:moveTo>
                    <a:pt x="9565993" y="14088095"/>
                  </a:moveTo>
                  <a:lnTo>
                    <a:pt x="9570758" y="14092860"/>
                  </a:lnTo>
                  <a:lnTo>
                    <a:pt x="9570758" y="14107155"/>
                  </a:lnTo>
                  <a:lnTo>
                    <a:pt x="9570758" y="14116686"/>
                  </a:lnTo>
                  <a:lnTo>
                    <a:pt x="9570758" y="14121451"/>
                  </a:lnTo>
                  <a:lnTo>
                    <a:pt x="9561228" y="14116686"/>
                  </a:lnTo>
                  <a:lnTo>
                    <a:pt x="9561228" y="14135746"/>
                  </a:lnTo>
                  <a:lnTo>
                    <a:pt x="9556462" y="14135746"/>
                  </a:lnTo>
                  <a:lnTo>
                    <a:pt x="9551697" y="14126216"/>
                  </a:lnTo>
                  <a:lnTo>
                    <a:pt x="9556462" y="14116686"/>
                  </a:lnTo>
                  <a:lnTo>
                    <a:pt x="9556462" y="14107155"/>
                  </a:lnTo>
                  <a:lnTo>
                    <a:pt x="9556462" y="14102390"/>
                  </a:lnTo>
                  <a:lnTo>
                    <a:pt x="9561228" y="14092860"/>
                  </a:lnTo>
                  <a:close/>
                  <a:moveTo>
                    <a:pt x="11195665" y="13630643"/>
                  </a:moveTo>
                  <a:lnTo>
                    <a:pt x="11214725" y="13630643"/>
                  </a:lnTo>
                  <a:lnTo>
                    <a:pt x="11214725" y="13649704"/>
                  </a:lnTo>
                  <a:lnTo>
                    <a:pt x="11214725" y="13654469"/>
                  </a:lnTo>
                  <a:lnTo>
                    <a:pt x="11219493" y="13654469"/>
                  </a:lnTo>
                  <a:lnTo>
                    <a:pt x="11219493" y="13663999"/>
                  </a:lnTo>
                  <a:lnTo>
                    <a:pt x="11209961" y="13687825"/>
                  </a:lnTo>
                  <a:lnTo>
                    <a:pt x="11195665" y="13683060"/>
                  </a:lnTo>
                  <a:lnTo>
                    <a:pt x="11195665" y="13687825"/>
                  </a:lnTo>
                  <a:lnTo>
                    <a:pt x="11190901" y="13687825"/>
                  </a:lnTo>
                  <a:lnTo>
                    <a:pt x="11195665" y="13668764"/>
                  </a:lnTo>
                  <a:lnTo>
                    <a:pt x="11195665" y="13654469"/>
                  </a:lnTo>
                  <a:lnTo>
                    <a:pt x="11195665" y="13640173"/>
                  </a:lnTo>
                  <a:close/>
                  <a:moveTo>
                    <a:pt x="9494516" y="13454333"/>
                  </a:moveTo>
                  <a:lnTo>
                    <a:pt x="9499281" y="13459098"/>
                  </a:lnTo>
                  <a:lnTo>
                    <a:pt x="9499281" y="13468628"/>
                  </a:lnTo>
                  <a:lnTo>
                    <a:pt x="9489751" y="13478159"/>
                  </a:lnTo>
                  <a:lnTo>
                    <a:pt x="9480220" y="13482924"/>
                  </a:lnTo>
                  <a:lnTo>
                    <a:pt x="9475455" y="13487689"/>
                  </a:lnTo>
                  <a:lnTo>
                    <a:pt x="9475455" y="13482924"/>
                  </a:lnTo>
                  <a:lnTo>
                    <a:pt x="9480220" y="13468628"/>
                  </a:lnTo>
                  <a:lnTo>
                    <a:pt x="9484985" y="13468628"/>
                  </a:lnTo>
                  <a:close/>
                  <a:moveTo>
                    <a:pt x="9518341" y="13406682"/>
                  </a:moveTo>
                  <a:lnTo>
                    <a:pt x="9532637" y="13406682"/>
                  </a:lnTo>
                  <a:lnTo>
                    <a:pt x="9542167" y="13416212"/>
                  </a:lnTo>
                  <a:lnTo>
                    <a:pt x="9532637" y="13425743"/>
                  </a:lnTo>
                  <a:lnTo>
                    <a:pt x="9518341" y="13440038"/>
                  </a:lnTo>
                  <a:lnTo>
                    <a:pt x="9499281" y="13440038"/>
                  </a:lnTo>
                  <a:lnTo>
                    <a:pt x="9508811" y="13420977"/>
                  </a:lnTo>
                  <a:lnTo>
                    <a:pt x="9513576" y="13416212"/>
                  </a:lnTo>
                  <a:close/>
                  <a:moveTo>
                    <a:pt x="11905669" y="13206546"/>
                  </a:moveTo>
                  <a:lnTo>
                    <a:pt x="11924729" y="13206546"/>
                  </a:lnTo>
                  <a:lnTo>
                    <a:pt x="11943793" y="13230372"/>
                  </a:lnTo>
                  <a:lnTo>
                    <a:pt x="11948557" y="13230372"/>
                  </a:lnTo>
                  <a:lnTo>
                    <a:pt x="11962853" y="13254197"/>
                  </a:lnTo>
                  <a:lnTo>
                    <a:pt x="11958085" y="13273258"/>
                  </a:lnTo>
                  <a:lnTo>
                    <a:pt x="11939025" y="13268493"/>
                  </a:lnTo>
                  <a:lnTo>
                    <a:pt x="11910437" y="13249432"/>
                  </a:lnTo>
                  <a:lnTo>
                    <a:pt x="11900905" y="13239902"/>
                  </a:lnTo>
                  <a:lnTo>
                    <a:pt x="11896141" y="13225607"/>
                  </a:lnTo>
                  <a:lnTo>
                    <a:pt x="11896141" y="13211311"/>
                  </a:lnTo>
                  <a:close/>
                  <a:moveTo>
                    <a:pt x="11386273" y="13182721"/>
                  </a:moveTo>
                  <a:lnTo>
                    <a:pt x="11405333" y="13187486"/>
                  </a:lnTo>
                  <a:lnTo>
                    <a:pt x="11414861" y="13197016"/>
                  </a:lnTo>
                  <a:lnTo>
                    <a:pt x="11424393" y="13216077"/>
                  </a:lnTo>
                  <a:lnTo>
                    <a:pt x="11429157" y="13225607"/>
                  </a:lnTo>
                  <a:lnTo>
                    <a:pt x="11424393" y="13244668"/>
                  </a:lnTo>
                  <a:lnTo>
                    <a:pt x="11414861" y="13263728"/>
                  </a:lnTo>
                  <a:lnTo>
                    <a:pt x="11400565" y="13273258"/>
                  </a:lnTo>
                  <a:lnTo>
                    <a:pt x="11362445" y="13292319"/>
                  </a:lnTo>
                  <a:lnTo>
                    <a:pt x="11352917" y="13297084"/>
                  </a:lnTo>
                  <a:lnTo>
                    <a:pt x="11343385" y="13287554"/>
                  </a:lnTo>
                  <a:lnTo>
                    <a:pt x="11343385" y="13268493"/>
                  </a:lnTo>
                  <a:lnTo>
                    <a:pt x="11348149" y="13254198"/>
                  </a:lnTo>
                  <a:lnTo>
                    <a:pt x="11362445" y="13225607"/>
                  </a:lnTo>
                  <a:lnTo>
                    <a:pt x="11376741" y="13192251"/>
                  </a:lnTo>
                  <a:close/>
                  <a:moveTo>
                    <a:pt x="9775658" y="13111244"/>
                  </a:moveTo>
                  <a:lnTo>
                    <a:pt x="9799484" y="13111244"/>
                  </a:lnTo>
                  <a:lnTo>
                    <a:pt x="9794719" y="13120774"/>
                  </a:lnTo>
                  <a:lnTo>
                    <a:pt x="9780423" y="13130305"/>
                  </a:lnTo>
                  <a:lnTo>
                    <a:pt x="9756598" y="13139835"/>
                  </a:lnTo>
                  <a:lnTo>
                    <a:pt x="9732772" y="13139835"/>
                  </a:lnTo>
                  <a:lnTo>
                    <a:pt x="9732772" y="13135070"/>
                  </a:lnTo>
                  <a:lnTo>
                    <a:pt x="9742302" y="13125540"/>
                  </a:lnTo>
                  <a:close/>
                  <a:moveTo>
                    <a:pt x="11848489" y="12830101"/>
                  </a:moveTo>
                  <a:lnTo>
                    <a:pt x="11877077" y="12830101"/>
                  </a:lnTo>
                  <a:lnTo>
                    <a:pt x="11900905" y="12834866"/>
                  </a:lnTo>
                  <a:lnTo>
                    <a:pt x="11905669" y="12844396"/>
                  </a:lnTo>
                  <a:lnTo>
                    <a:pt x="11919965" y="12858692"/>
                  </a:lnTo>
                  <a:lnTo>
                    <a:pt x="11915201" y="12877752"/>
                  </a:lnTo>
                  <a:lnTo>
                    <a:pt x="11915201" y="12896813"/>
                  </a:lnTo>
                  <a:lnTo>
                    <a:pt x="11910433" y="12911108"/>
                  </a:lnTo>
                  <a:lnTo>
                    <a:pt x="11900905" y="12915873"/>
                  </a:lnTo>
                  <a:lnTo>
                    <a:pt x="11896141" y="12930169"/>
                  </a:lnTo>
                  <a:lnTo>
                    <a:pt x="11891373" y="12934934"/>
                  </a:lnTo>
                  <a:lnTo>
                    <a:pt x="11886609" y="12934934"/>
                  </a:lnTo>
                  <a:lnTo>
                    <a:pt x="11877077" y="12915873"/>
                  </a:lnTo>
                  <a:lnTo>
                    <a:pt x="11862785" y="12911108"/>
                  </a:lnTo>
                  <a:lnTo>
                    <a:pt x="11853253" y="12906343"/>
                  </a:lnTo>
                  <a:lnTo>
                    <a:pt x="11810369" y="12868222"/>
                  </a:lnTo>
                  <a:lnTo>
                    <a:pt x="11800837" y="12853927"/>
                  </a:lnTo>
                  <a:lnTo>
                    <a:pt x="11800837" y="12839631"/>
                  </a:lnTo>
                  <a:lnTo>
                    <a:pt x="11819897" y="12834866"/>
                  </a:lnTo>
                  <a:close/>
                  <a:moveTo>
                    <a:pt x="11843725" y="12744329"/>
                  </a:moveTo>
                  <a:lnTo>
                    <a:pt x="11848489" y="12744329"/>
                  </a:lnTo>
                  <a:lnTo>
                    <a:pt x="11858017" y="12749094"/>
                  </a:lnTo>
                  <a:lnTo>
                    <a:pt x="11862785" y="12763390"/>
                  </a:lnTo>
                  <a:lnTo>
                    <a:pt x="11867549" y="12768155"/>
                  </a:lnTo>
                  <a:lnTo>
                    <a:pt x="11872313" y="12763390"/>
                  </a:lnTo>
                  <a:lnTo>
                    <a:pt x="11877081" y="12768155"/>
                  </a:lnTo>
                  <a:lnTo>
                    <a:pt x="11877081" y="12777685"/>
                  </a:lnTo>
                  <a:lnTo>
                    <a:pt x="11881845" y="12782450"/>
                  </a:lnTo>
                  <a:lnTo>
                    <a:pt x="11891377" y="12791980"/>
                  </a:lnTo>
                  <a:lnTo>
                    <a:pt x="11891377" y="12796746"/>
                  </a:lnTo>
                  <a:lnTo>
                    <a:pt x="11891377" y="12801511"/>
                  </a:lnTo>
                  <a:lnTo>
                    <a:pt x="11886609" y="12811041"/>
                  </a:lnTo>
                  <a:lnTo>
                    <a:pt x="11881845" y="12811041"/>
                  </a:lnTo>
                  <a:lnTo>
                    <a:pt x="11843725" y="12791980"/>
                  </a:lnTo>
                  <a:lnTo>
                    <a:pt x="11834193" y="12768155"/>
                  </a:lnTo>
                  <a:lnTo>
                    <a:pt x="11834193" y="12758624"/>
                  </a:lnTo>
                  <a:lnTo>
                    <a:pt x="11834193" y="12749094"/>
                  </a:lnTo>
                  <a:close/>
                  <a:moveTo>
                    <a:pt x="7486014" y="12744329"/>
                  </a:moveTo>
                  <a:lnTo>
                    <a:pt x="7500309" y="12758624"/>
                  </a:lnTo>
                  <a:lnTo>
                    <a:pt x="7500309" y="12768155"/>
                  </a:lnTo>
                  <a:lnTo>
                    <a:pt x="7490779" y="12777685"/>
                  </a:lnTo>
                  <a:lnTo>
                    <a:pt x="7486014" y="12777685"/>
                  </a:lnTo>
                  <a:lnTo>
                    <a:pt x="7471718" y="12758624"/>
                  </a:lnTo>
                  <a:lnTo>
                    <a:pt x="7466953" y="12749094"/>
                  </a:lnTo>
                  <a:close/>
                  <a:moveTo>
                    <a:pt x="9546933" y="12587080"/>
                  </a:moveTo>
                  <a:lnTo>
                    <a:pt x="9570758" y="12591845"/>
                  </a:lnTo>
                  <a:lnTo>
                    <a:pt x="9580288" y="12591845"/>
                  </a:lnTo>
                  <a:lnTo>
                    <a:pt x="9589819" y="12587080"/>
                  </a:lnTo>
                  <a:lnTo>
                    <a:pt x="9599349" y="12587080"/>
                  </a:lnTo>
                  <a:lnTo>
                    <a:pt x="9608879" y="12596610"/>
                  </a:lnTo>
                  <a:lnTo>
                    <a:pt x="9627940" y="12625201"/>
                  </a:lnTo>
                  <a:lnTo>
                    <a:pt x="9637470" y="12639496"/>
                  </a:lnTo>
                  <a:lnTo>
                    <a:pt x="9642235" y="12663322"/>
                  </a:lnTo>
                  <a:lnTo>
                    <a:pt x="9637470" y="12687148"/>
                  </a:lnTo>
                  <a:lnTo>
                    <a:pt x="9632705" y="12715738"/>
                  </a:lnTo>
                  <a:lnTo>
                    <a:pt x="9623175" y="12734799"/>
                  </a:lnTo>
                  <a:lnTo>
                    <a:pt x="9608879" y="12758624"/>
                  </a:lnTo>
                  <a:lnTo>
                    <a:pt x="9599349" y="12787215"/>
                  </a:lnTo>
                  <a:lnTo>
                    <a:pt x="9585054" y="12820571"/>
                  </a:lnTo>
                  <a:lnTo>
                    <a:pt x="9580288" y="12839632"/>
                  </a:lnTo>
                  <a:lnTo>
                    <a:pt x="9570758" y="12853927"/>
                  </a:lnTo>
                  <a:lnTo>
                    <a:pt x="9561228" y="12858692"/>
                  </a:lnTo>
                  <a:lnTo>
                    <a:pt x="9556463" y="12858692"/>
                  </a:lnTo>
                  <a:lnTo>
                    <a:pt x="9542167" y="12844397"/>
                  </a:lnTo>
                  <a:lnTo>
                    <a:pt x="9527872" y="12820571"/>
                  </a:lnTo>
                  <a:lnTo>
                    <a:pt x="9513577" y="12806276"/>
                  </a:lnTo>
                  <a:lnTo>
                    <a:pt x="9494516" y="12796745"/>
                  </a:lnTo>
                  <a:lnTo>
                    <a:pt x="9484986" y="12782450"/>
                  </a:lnTo>
                  <a:lnTo>
                    <a:pt x="9484986" y="12772920"/>
                  </a:lnTo>
                  <a:lnTo>
                    <a:pt x="9484986" y="12725269"/>
                  </a:lnTo>
                  <a:lnTo>
                    <a:pt x="9484986" y="12706208"/>
                  </a:lnTo>
                  <a:lnTo>
                    <a:pt x="9484986" y="12687148"/>
                  </a:lnTo>
                  <a:lnTo>
                    <a:pt x="9489751" y="12672852"/>
                  </a:lnTo>
                  <a:lnTo>
                    <a:pt x="9499281" y="12653792"/>
                  </a:lnTo>
                  <a:lnTo>
                    <a:pt x="9523107" y="12610906"/>
                  </a:lnTo>
                  <a:lnTo>
                    <a:pt x="9537402" y="12591845"/>
                  </a:lnTo>
                  <a:close/>
                  <a:moveTo>
                    <a:pt x="11896141" y="12534663"/>
                  </a:moveTo>
                  <a:lnTo>
                    <a:pt x="11929497" y="12539428"/>
                  </a:lnTo>
                  <a:lnTo>
                    <a:pt x="11943789" y="12539428"/>
                  </a:lnTo>
                  <a:lnTo>
                    <a:pt x="11953321" y="12544193"/>
                  </a:lnTo>
                  <a:lnTo>
                    <a:pt x="11962853" y="12558489"/>
                  </a:lnTo>
                  <a:lnTo>
                    <a:pt x="11953321" y="12582315"/>
                  </a:lnTo>
                  <a:lnTo>
                    <a:pt x="11939025" y="12591845"/>
                  </a:lnTo>
                  <a:lnTo>
                    <a:pt x="11924729" y="12596610"/>
                  </a:lnTo>
                  <a:lnTo>
                    <a:pt x="11896141" y="12587080"/>
                  </a:lnTo>
                  <a:lnTo>
                    <a:pt x="11886609" y="12582315"/>
                  </a:lnTo>
                  <a:lnTo>
                    <a:pt x="11877081" y="12568019"/>
                  </a:lnTo>
                  <a:lnTo>
                    <a:pt x="11881845" y="12563254"/>
                  </a:lnTo>
                  <a:lnTo>
                    <a:pt x="11896141" y="12558489"/>
                  </a:lnTo>
                  <a:lnTo>
                    <a:pt x="11896141" y="12553724"/>
                  </a:lnTo>
                  <a:lnTo>
                    <a:pt x="11891373" y="12548958"/>
                  </a:lnTo>
                  <a:lnTo>
                    <a:pt x="11891373" y="12539428"/>
                  </a:lnTo>
                  <a:close/>
                  <a:moveTo>
                    <a:pt x="10366533" y="12477482"/>
                  </a:moveTo>
                  <a:lnTo>
                    <a:pt x="10376065" y="12477482"/>
                  </a:lnTo>
                  <a:lnTo>
                    <a:pt x="10385593" y="12477482"/>
                  </a:lnTo>
                  <a:lnTo>
                    <a:pt x="10399889" y="12487012"/>
                  </a:lnTo>
                  <a:lnTo>
                    <a:pt x="10447541" y="12496542"/>
                  </a:lnTo>
                  <a:lnTo>
                    <a:pt x="10461837" y="12501308"/>
                  </a:lnTo>
                  <a:lnTo>
                    <a:pt x="10466601" y="12510838"/>
                  </a:lnTo>
                  <a:lnTo>
                    <a:pt x="10461837" y="12515603"/>
                  </a:lnTo>
                  <a:lnTo>
                    <a:pt x="10457073" y="12520368"/>
                  </a:lnTo>
                  <a:lnTo>
                    <a:pt x="10423717" y="12515603"/>
                  </a:lnTo>
                  <a:lnTo>
                    <a:pt x="10385593" y="12496542"/>
                  </a:lnTo>
                  <a:lnTo>
                    <a:pt x="10366533" y="12482247"/>
                  </a:lnTo>
                  <a:close/>
                  <a:moveTo>
                    <a:pt x="10909757" y="12425065"/>
                  </a:moveTo>
                  <a:lnTo>
                    <a:pt x="10928817" y="12429830"/>
                  </a:lnTo>
                  <a:lnTo>
                    <a:pt x="10957409" y="12439360"/>
                  </a:lnTo>
                  <a:lnTo>
                    <a:pt x="10981237" y="12448891"/>
                  </a:lnTo>
                  <a:lnTo>
                    <a:pt x="11019357" y="12477481"/>
                  </a:lnTo>
                  <a:lnTo>
                    <a:pt x="11028885" y="12501307"/>
                  </a:lnTo>
                  <a:lnTo>
                    <a:pt x="11043181" y="12515602"/>
                  </a:lnTo>
                  <a:lnTo>
                    <a:pt x="11047949" y="12529898"/>
                  </a:lnTo>
                  <a:lnTo>
                    <a:pt x="11043181" y="12534663"/>
                  </a:lnTo>
                  <a:lnTo>
                    <a:pt x="11038417" y="12539428"/>
                  </a:lnTo>
                  <a:lnTo>
                    <a:pt x="11024121" y="12539428"/>
                  </a:lnTo>
                  <a:lnTo>
                    <a:pt x="11005061" y="12539428"/>
                  </a:lnTo>
                  <a:lnTo>
                    <a:pt x="10981237" y="12529898"/>
                  </a:lnTo>
                  <a:lnTo>
                    <a:pt x="10966941" y="12525133"/>
                  </a:lnTo>
                  <a:lnTo>
                    <a:pt x="10957409" y="12506072"/>
                  </a:lnTo>
                  <a:lnTo>
                    <a:pt x="10957409" y="12487012"/>
                  </a:lnTo>
                  <a:lnTo>
                    <a:pt x="10933585" y="12458421"/>
                  </a:lnTo>
                  <a:lnTo>
                    <a:pt x="10909757" y="12448891"/>
                  </a:lnTo>
                  <a:lnTo>
                    <a:pt x="10895465" y="12429830"/>
                  </a:lnTo>
                  <a:close/>
                  <a:moveTo>
                    <a:pt x="9180017" y="12391710"/>
                  </a:moveTo>
                  <a:lnTo>
                    <a:pt x="9194312" y="12391710"/>
                  </a:lnTo>
                  <a:lnTo>
                    <a:pt x="9208608" y="12396475"/>
                  </a:lnTo>
                  <a:lnTo>
                    <a:pt x="9213373" y="12401240"/>
                  </a:lnTo>
                  <a:lnTo>
                    <a:pt x="9222903" y="12410770"/>
                  </a:lnTo>
                  <a:lnTo>
                    <a:pt x="9222903" y="12425066"/>
                  </a:lnTo>
                  <a:lnTo>
                    <a:pt x="9218138" y="12444126"/>
                  </a:lnTo>
                  <a:lnTo>
                    <a:pt x="9218138" y="12463187"/>
                  </a:lnTo>
                  <a:lnTo>
                    <a:pt x="9208608" y="12477482"/>
                  </a:lnTo>
                  <a:lnTo>
                    <a:pt x="9194312" y="12506073"/>
                  </a:lnTo>
                  <a:lnTo>
                    <a:pt x="9151426" y="12548959"/>
                  </a:lnTo>
                  <a:lnTo>
                    <a:pt x="9137131" y="12572785"/>
                  </a:lnTo>
                  <a:lnTo>
                    <a:pt x="9127600" y="12587080"/>
                  </a:lnTo>
                  <a:lnTo>
                    <a:pt x="9056124" y="12653792"/>
                  </a:lnTo>
                  <a:lnTo>
                    <a:pt x="9046593" y="12658557"/>
                  </a:lnTo>
                  <a:lnTo>
                    <a:pt x="9037063" y="12653792"/>
                  </a:lnTo>
                  <a:lnTo>
                    <a:pt x="9018003" y="12644261"/>
                  </a:lnTo>
                  <a:lnTo>
                    <a:pt x="8998942" y="12644261"/>
                  </a:lnTo>
                  <a:lnTo>
                    <a:pt x="8951291" y="12668087"/>
                  </a:lnTo>
                  <a:lnTo>
                    <a:pt x="8946526" y="12663322"/>
                  </a:lnTo>
                  <a:lnTo>
                    <a:pt x="8946526" y="12639496"/>
                  </a:lnTo>
                  <a:lnTo>
                    <a:pt x="8936996" y="12620436"/>
                  </a:lnTo>
                  <a:lnTo>
                    <a:pt x="8917935" y="12587080"/>
                  </a:lnTo>
                  <a:lnTo>
                    <a:pt x="8917935" y="12582315"/>
                  </a:lnTo>
                  <a:lnTo>
                    <a:pt x="8917935" y="12572785"/>
                  </a:lnTo>
                  <a:lnTo>
                    <a:pt x="8917935" y="12563254"/>
                  </a:lnTo>
                  <a:lnTo>
                    <a:pt x="8941761" y="12529898"/>
                  </a:lnTo>
                  <a:lnTo>
                    <a:pt x="8998942" y="12420301"/>
                  </a:lnTo>
                  <a:lnTo>
                    <a:pt x="9013238" y="12410770"/>
                  </a:lnTo>
                  <a:lnTo>
                    <a:pt x="9041828" y="12425066"/>
                  </a:lnTo>
                  <a:lnTo>
                    <a:pt x="9056124" y="12429831"/>
                  </a:lnTo>
                  <a:lnTo>
                    <a:pt x="9065654" y="12429831"/>
                  </a:lnTo>
                  <a:lnTo>
                    <a:pt x="9103775" y="12406005"/>
                  </a:lnTo>
                  <a:lnTo>
                    <a:pt x="9141896" y="12406005"/>
                  </a:lnTo>
                  <a:close/>
                  <a:moveTo>
                    <a:pt x="9804249" y="12215400"/>
                  </a:moveTo>
                  <a:lnTo>
                    <a:pt x="9851900" y="12220165"/>
                  </a:lnTo>
                  <a:lnTo>
                    <a:pt x="9856666" y="12220165"/>
                  </a:lnTo>
                  <a:lnTo>
                    <a:pt x="9870961" y="12234460"/>
                  </a:lnTo>
                  <a:lnTo>
                    <a:pt x="9885256" y="12234460"/>
                  </a:lnTo>
                  <a:lnTo>
                    <a:pt x="9894787" y="12248756"/>
                  </a:lnTo>
                  <a:lnTo>
                    <a:pt x="9909082" y="12286877"/>
                  </a:lnTo>
                  <a:lnTo>
                    <a:pt x="9913847" y="12291642"/>
                  </a:lnTo>
                  <a:lnTo>
                    <a:pt x="9913847" y="12305937"/>
                  </a:lnTo>
                  <a:lnTo>
                    <a:pt x="9904317" y="12320232"/>
                  </a:lnTo>
                  <a:lnTo>
                    <a:pt x="9894787" y="12329763"/>
                  </a:lnTo>
                  <a:lnTo>
                    <a:pt x="9870961" y="12339293"/>
                  </a:lnTo>
                  <a:lnTo>
                    <a:pt x="9847135" y="12344058"/>
                  </a:lnTo>
                  <a:lnTo>
                    <a:pt x="9837605" y="12339293"/>
                  </a:lnTo>
                  <a:lnTo>
                    <a:pt x="9799484" y="12301172"/>
                  </a:lnTo>
                  <a:lnTo>
                    <a:pt x="9766128" y="12263051"/>
                  </a:lnTo>
                  <a:lnTo>
                    <a:pt x="9756598" y="12239226"/>
                  </a:lnTo>
                  <a:lnTo>
                    <a:pt x="9761363" y="12229695"/>
                  </a:lnTo>
                  <a:lnTo>
                    <a:pt x="9775658" y="12220165"/>
                  </a:lnTo>
                  <a:close/>
                  <a:moveTo>
                    <a:pt x="9975794" y="12148688"/>
                  </a:moveTo>
                  <a:lnTo>
                    <a:pt x="10032976" y="12186809"/>
                  </a:lnTo>
                  <a:lnTo>
                    <a:pt x="10047271" y="12210635"/>
                  </a:lnTo>
                  <a:lnTo>
                    <a:pt x="10047271" y="12248756"/>
                  </a:lnTo>
                  <a:lnTo>
                    <a:pt x="10028210" y="12253521"/>
                  </a:lnTo>
                  <a:lnTo>
                    <a:pt x="10009150" y="12243991"/>
                  </a:lnTo>
                  <a:lnTo>
                    <a:pt x="9985324" y="12229695"/>
                  </a:lnTo>
                  <a:lnTo>
                    <a:pt x="9937673" y="12182044"/>
                  </a:lnTo>
                  <a:close/>
                  <a:moveTo>
                    <a:pt x="9885256" y="12020030"/>
                  </a:moveTo>
                  <a:lnTo>
                    <a:pt x="9899552" y="12020030"/>
                  </a:lnTo>
                  <a:lnTo>
                    <a:pt x="9904317" y="12024795"/>
                  </a:lnTo>
                  <a:lnTo>
                    <a:pt x="9909082" y="12029560"/>
                  </a:lnTo>
                  <a:lnTo>
                    <a:pt x="9894787" y="12039091"/>
                  </a:lnTo>
                  <a:lnTo>
                    <a:pt x="9885256" y="12053386"/>
                  </a:lnTo>
                  <a:lnTo>
                    <a:pt x="9851900" y="12048621"/>
                  </a:lnTo>
                  <a:lnTo>
                    <a:pt x="9847135" y="12043856"/>
                  </a:lnTo>
                  <a:lnTo>
                    <a:pt x="9842370" y="12039091"/>
                  </a:lnTo>
                  <a:lnTo>
                    <a:pt x="9851900" y="12029560"/>
                  </a:lnTo>
                  <a:close/>
                  <a:moveTo>
                    <a:pt x="8660618" y="11329086"/>
                  </a:moveTo>
                  <a:lnTo>
                    <a:pt x="8665384" y="11329086"/>
                  </a:lnTo>
                  <a:lnTo>
                    <a:pt x="8670149" y="11333851"/>
                  </a:lnTo>
                  <a:lnTo>
                    <a:pt x="8674914" y="11352912"/>
                  </a:lnTo>
                  <a:lnTo>
                    <a:pt x="8708270" y="11371972"/>
                  </a:lnTo>
                  <a:lnTo>
                    <a:pt x="8717800" y="11391033"/>
                  </a:lnTo>
                  <a:lnTo>
                    <a:pt x="8727330" y="11414858"/>
                  </a:lnTo>
                  <a:lnTo>
                    <a:pt x="8727330" y="11438684"/>
                  </a:lnTo>
                  <a:lnTo>
                    <a:pt x="8727330" y="11452979"/>
                  </a:lnTo>
                  <a:lnTo>
                    <a:pt x="8713035" y="11467275"/>
                  </a:lnTo>
                  <a:lnTo>
                    <a:pt x="8708270" y="11476805"/>
                  </a:lnTo>
                  <a:lnTo>
                    <a:pt x="8708270" y="11481570"/>
                  </a:lnTo>
                  <a:lnTo>
                    <a:pt x="8736861" y="11510161"/>
                  </a:lnTo>
                  <a:lnTo>
                    <a:pt x="8755921" y="11576873"/>
                  </a:lnTo>
                  <a:lnTo>
                    <a:pt x="8765451" y="11581638"/>
                  </a:lnTo>
                  <a:lnTo>
                    <a:pt x="8770216" y="11576873"/>
                  </a:lnTo>
                  <a:lnTo>
                    <a:pt x="8779747" y="11557812"/>
                  </a:lnTo>
                  <a:lnTo>
                    <a:pt x="8803572" y="11505396"/>
                  </a:lnTo>
                  <a:lnTo>
                    <a:pt x="8813103" y="11500631"/>
                  </a:lnTo>
                  <a:lnTo>
                    <a:pt x="8822633" y="11500631"/>
                  </a:lnTo>
                  <a:lnTo>
                    <a:pt x="8860754" y="11533986"/>
                  </a:lnTo>
                  <a:lnTo>
                    <a:pt x="8875049" y="11553047"/>
                  </a:lnTo>
                  <a:lnTo>
                    <a:pt x="8879814" y="11581638"/>
                  </a:lnTo>
                  <a:lnTo>
                    <a:pt x="8889345" y="11591168"/>
                  </a:lnTo>
                  <a:lnTo>
                    <a:pt x="8917936" y="11605463"/>
                  </a:lnTo>
                  <a:lnTo>
                    <a:pt x="8946526" y="11610228"/>
                  </a:lnTo>
                  <a:lnTo>
                    <a:pt x="8979882" y="11624524"/>
                  </a:lnTo>
                  <a:lnTo>
                    <a:pt x="8994178" y="11634054"/>
                  </a:lnTo>
                  <a:lnTo>
                    <a:pt x="9022768" y="11681705"/>
                  </a:lnTo>
                  <a:lnTo>
                    <a:pt x="9027534" y="11686470"/>
                  </a:lnTo>
                  <a:lnTo>
                    <a:pt x="9060889" y="11705531"/>
                  </a:lnTo>
                  <a:lnTo>
                    <a:pt x="9108541" y="11753182"/>
                  </a:lnTo>
                  <a:lnTo>
                    <a:pt x="9122836" y="11757947"/>
                  </a:lnTo>
                  <a:lnTo>
                    <a:pt x="9170487" y="11777008"/>
                  </a:lnTo>
                  <a:lnTo>
                    <a:pt x="9189548" y="11786538"/>
                  </a:lnTo>
                  <a:lnTo>
                    <a:pt x="9208608" y="11800834"/>
                  </a:lnTo>
                  <a:lnTo>
                    <a:pt x="9227669" y="11834189"/>
                  </a:lnTo>
                  <a:lnTo>
                    <a:pt x="9246730" y="11881841"/>
                  </a:lnTo>
                  <a:lnTo>
                    <a:pt x="9265790" y="11958083"/>
                  </a:lnTo>
                  <a:lnTo>
                    <a:pt x="9265790" y="11972378"/>
                  </a:lnTo>
                  <a:lnTo>
                    <a:pt x="9265790" y="11981908"/>
                  </a:lnTo>
                  <a:lnTo>
                    <a:pt x="9256260" y="11991439"/>
                  </a:lnTo>
                  <a:lnTo>
                    <a:pt x="9227669" y="12024794"/>
                  </a:lnTo>
                  <a:lnTo>
                    <a:pt x="9232434" y="12029560"/>
                  </a:lnTo>
                  <a:lnTo>
                    <a:pt x="9261025" y="12029560"/>
                  </a:lnTo>
                  <a:lnTo>
                    <a:pt x="9318206" y="12010499"/>
                  </a:lnTo>
                  <a:lnTo>
                    <a:pt x="9351562" y="12020029"/>
                  </a:lnTo>
                  <a:lnTo>
                    <a:pt x="9365858" y="12024794"/>
                  </a:lnTo>
                  <a:lnTo>
                    <a:pt x="9370623" y="12024794"/>
                  </a:lnTo>
                  <a:lnTo>
                    <a:pt x="9384918" y="12000969"/>
                  </a:lnTo>
                  <a:lnTo>
                    <a:pt x="9399214" y="12000969"/>
                  </a:lnTo>
                  <a:lnTo>
                    <a:pt x="9418274" y="12024794"/>
                  </a:lnTo>
                  <a:lnTo>
                    <a:pt x="9432570" y="12043855"/>
                  </a:lnTo>
                  <a:lnTo>
                    <a:pt x="9437335" y="12058150"/>
                  </a:lnTo>
                  <a:lnTo>
                    <a:pt x="9437335" y="12067681"/>
                  </a:lnTo>
                  <a:lnTo>
                    <a:pt x="9423039" y="12072446"/>
                  </a:lnTo>
                  <a:lnTo>
                    <a:pt x="9456395" y="12081976"/>
                  </a:lnTo>
                  <a:lnTo>
                    <a:pt x="9484986" y="12105802"/>
                  </a:lnTo>
                  <a:lnTo>
                    <a:pt x="9480221" y="12120097"/>
                  </a:lnTo>
                  <a:lnTo>
                    <a:pt x="9446865" y="12148688"/>
                  </a:lnTo>
                  <a:lnTo>
                    <a:pt x="9413509" y="12177279"/>
                  </a:lnTo>
                  <a:lnTo>
                    <a:pt x="9380153" y="12220165"/>
                  </a:lnTo>
                  <a:lnTo>
                    <a:pt x="9365858" y="12224930"/>
                  </a:lnTo>
                  <a:lnTo>
                    <a:pt x="9361093" y="12224930"/>
                  </a:lnTo>
                  <a:lnTo>
                    <a:pt x="9342032" y="12215400"/>
                  </a:lnTo>
                  <a:lnTo>
                    <a:pt x="9313441" y="12196339"/>
                  </a:lnTo>
                  <a:lnTo>
                    <a:pt x="9218139" y="12153453"/>
                  </a:lnTo>
                  <a:lnTo>
                    <a:pt x="9189548" y="12143923"/>
                  </a:lnTo>
                  <a:lnTo>
                    <a:pt x="9156192" y="12139158"/>
                  </a:lnTo>
                  <a:lnTo>
                    <a:pt x="9151427" y="12129627"/>
                  </a:lnTo>
                  <a:lnTo>
                    <a:pt x="9141897" y="12062916"/>
                  </a:lnTo>
                  <a:lnTo>
                    <a:pt x="9127601" y="12048620"/>
                  </a:lnTo>
                  <a:lnTo>
                    <a:pt x="9070420" y="12034325"/>
                  </a:lnTo>
                  <a:lnTo>
                    <a:pt x="9051359" y="12024794"/>
                  </a:lnTo>
                  <a:lnTo>
                    <a:pt x="9051359" y="12015264"/>
                  </a:lnTo>
                  <a:lnTo>
                    <a:pt x="9056124" y="11991439"/>
                  </a:lnTo>
                  <a:lnTo>
                    <a:pt x="9046594" y="11977143"/>
                  </a:lnTo>
                  <a:lnTo>
                    <a:pt x="9027534" y="11977143"/>
                  </a:lnTo>
                  <a:lnTo>
                    <a:pt x="9008473" y="11981908"/>
                  </a:lnTo>
                  <a:lnTo>
                    <a:pt x="8979882" y="12000969"/>
                  </a:lnTo>
                  <a:lnTo>
                    <a:pt x="8965587" y="12015264"/>
                  </a:lnTo>
                  <a:lnTo>
                    <a:pt x="8960822" y="12029560"/>
                  </a:lnTo>
                  <a:lnTo>
                    <a:pt x="8956057" y="12062916"/>
                  </a:lnTo>
                  <a:lnTo>
                    <a:pt x="8956057" y="12081976"/>
                  </a:lnTo>
                  <a:lnTo>
                    <a:pt x="8946526" y="12101037"/>
                  </a:lnTo>
                  <a:lnTo>
                    <a:pt x="8898875" y="12153453"/>
                  </a:lnTo>
                  <a:lnTo>
                    <a:pt x="8879814" y="12172513"/>
                  </a:lnTo>
                  <a:lnTo>
                    <a:pt x="8860754" y="12177279"/>
                  </a:lnTo>
                  <a:lnTo>
                    <a:pt x="8855989" y="12182044"/>
                  </a:lnTo>
                  <a:lnTo>
                    <a:pt x="8841693" y="12201104"/>
                  </a:lnTo>
                  <a:lnTo>
                    <a:pt x="8822633" y="12248755"/>
                  </a:lnTo>
                  <a:lnTo>
                    <a:pt x="8813103" y="12263051"/>
                  </a:lnTo>
                  <a:lnTo>
                    <a:pt x="8803572" y="12277346"/>
                  </a:lnTo>
                  <a:lnTo>
                    <a:pt x="8779747" y="12301172"/>
                  </a:lnTo>
                  <a:lnTo>
                    <a:pt x="8751156" y="12315467"/>
                  </a:lnTo>
                  <a:lnTo>
                    <a:pt x="8708270" y="12339293"/>
                  </a:lnTo>
                  <a:lnTo>
                    <a:pt x="8684444" y="12344058"/>
                  </a:lnTo>
                  <a:lnTo>
                    <a:pt x="8670149" y="12339293"/>
                  </a:lnTo>
                  <a:lnTo>
                    <a:pt x="8655853" y="12291642"/>
                  </a:lnTo>
                  <a:lnTo>
                    <a:pt x="8636793" y="12158218"/>
                  </a:lnTo>
                  <a:lnTo>
                    <a:pt x="8632028" y="12148688"/>
                  </a:lnTo>
                  <a:lnTo>
                    <a:pt x="8627263" y="12143923"/>
                  </a:lnTo>
                  <a:lnTo>
                    <a:pt x="8617732" y="12139158"/>
                  </a:lnTo>
                  <a:lnTo>
                    <a:pt x="8543873" y="12158218"/>
                  </a:lnTo>
                  <a:lnTo>
                    <a:pt x="8500987" y="12153453"/>
                  </a:lnTo>
                  <a:lnTo>
                    <a:pt x="8458100" y="12186809"/>
                  </a:lnTo>
                  <a:lnTo>
                    <a:pt x="8448570" y="12186809"/>
                  </a:lnTo>
                  <a:lnTo>
                    <a:pt x="8429510" y="12186809"/>
                  </a:lnTo>
                  <a:lnTo>
                    <a:pt x="8410449" y="12182044"/>
                  </a:lnTo>
                  <a:lnTo>
                    <a:pt x="8410449" y="12177279"/>
                  </a:lnTo>
                  <a:lnTo>
                    <a:pt x="8405684" y="12162983"/>
                  </a:lnTo>
                  <a:lnTo>
                    <a:pt x="8405684" y="12153453"/>
                  </a:lnTo>
                  <a:lnTo>
                    <a:pt x="8410449" y="12134392"/>
                  </a:lnTo>
                  <a:lnTo>
                    <a:pt x="8429510" y="12096271"/>
                  </a:lnTo>
                  <a:lnTo>
                    <a:pt x="8448570" y="12072446"/>
                  </a:lnTo>
                  <a:lnTo>
                    <a:pt x="8453335" y="12062916"/>
                  </a:lnTo>
                  <a:lnTo>
                    <a:pt x="8524812" y="12015264"/>
                  </a:lnTo>
                  <a:lnTo>
                    <a:pt x="8543873" y="12000969"/>
                  </a:lnTo>
                  <a:lnTo>
                    <a:pt x="8553403" y="11986674"/>
                  </a:lnTo>
                  <a:lnTo>
                    <a:pt x="8553403" y="11972378"/>
                  </a:lnTo>
                  <a:lnTo>
                    <a:pt x="8548638" y="11948552"/>
                  </a:lnTo>
                  <a:lnTo>
                    <a:pt x="8539108" y="11900901"/>
                  </a:lnTo>
                  <a:lnTo>
                    <a:pt x="8534343" y="11853250"/>
                  </a:lnTo>
                  <a:lnTo>
                    <a:pt x="8534343" y="11829424"/>
                  </a:lnTo>
                  <a:lnTo>
                    <a:pt x="8539108" y="11796068"/>
                  </a:lnTo>
                  <a:lnTo>
                    <a:pt x="8558168" y="11710296"/>
                  </a:lnTo>
                  <a:lnTo>
                    <a:pt x="8562933" y="11667410"/>
                  </a:lnTo>
                  <a:lnTo>
                    <a:pt x="8572464" y="11514926"/>
                  </a:lnTo>
                  <a:lnTo>
                    <a:pt x="8579611" y="11472040"/>
                  </a:lnTo>
                  <a:lnTo>
                    <a:pt x="8584376" y="11433919"/>
                  </a:lnTo>
                  <a:lnTo>
                    <a:pt x="8593907" y="11410093"/>
                  </a:lnTo>
                  <a:lnTo>
                    <a:pt x="8617732" y="11362442"/>
                  </a:lnTo>
                  <a:lnTo>
                    <a:pt x="8636793" y="11338616"/>
                  </a:lnTo>
                  <a:close/>
                  <a:moveTo>
                    <a:pt x="8741626" y="11286200"/>
                  </a:moveTo>
                  <a:lnTo>
                    <a:pt x="8755921" y="11290965"/>
                  </a:lnTo>
                  <a:lnTo>
                    <a:pt x="8755921" y="11295730"/>
                  </a:lnTo>
                  <a:lnTo>
                    <a:pt x="8760686" y="11305261"/>
                  </a:lnTo>
                  <a:lnTo>
                    <a:pt x="8765451" y="11319556"/>
                  </a:lnTo>
                  <a:lnTo>
                    <a:pt x="8784511" y="11348147"/>
                  </a:lnTo>
                  <a:lnTo>
                    <a:pt x="8794042" y="11376738"/>
                  </a:lnTo>
                  <a:lnTo>
                    <a:pt x="8808337" y="11424389"/>
                  </a:lnTo>
                  <a:lnTo>
                    <a:pt x="8808337" y="11438684"/>
                  </a:lnTo>
                  <a:lnTo>
                    <a:pt x="8803572" y="11448215"/>
                  </a:lnTo>
                  <a:lnTo>
                    <a:pt x="8798807" y="11457745"/>
                  </a:lnTo>
                  <a:lnTo>
                    <a:pt x="8789277" y="11462510"/>
                  </a:lnTo>
                  <a:lnTo>
                    <a:pt x="8779746" y="11457745"/>
                  </a:lnTo>
                  <a:lnTo>
                    <a:pt x="8770216" y="11448215"/>
                  </a:lnTo>
                  <a:lnTo>
                    <a:pt x="8765451" y="11429154"/>
                  </a:lnTo>
                  <a:lnTo>
                    <a:pt x="8755921" y="11414859"/>
                  </a:lnTo>
                  <a:lnTo>
                    <a:pt x="8736860" y="11395798"/>
                  </a:lnTo>
                  <a:lnTo>
                    <a:pt x="8732095" y="11391033"/>
                  </a:lnTo>
                  <a:lnTo>
                    <a:pt x="8722565" y="11362442"/>
                  </a:lnTo>
                  <a:lnTo>
                    <a:pt x="8722565" y="11338616"/>
                  </a:lnTo>
                  <a:lnTo>
                    <a:pt x="8717800" y="11314791"/>
                  </a:lnTo>
                  <a:lnTo>
                    <a:pt x="8717800" y="11305261"/>
                  </a:lnTo>
                  <a:lnTo>
                    <a:pt x="8722565" y="11290965"/>
                  </a:lnTo>
                  <a:close/>
                  <a:moveTo>
                    <a:pt x="8836928" y="11243314"/>
                  </a:moveTo>
                  <a:lnTo>
                    <a:pt x="8884579" y="11267140"/>
                  </a:lnTo>
                  <a:lnTo>
                    <a:pt x="8908405" y="11286200"/>
                  </a:lnTo>
                  <a:lnTo>
                    <a:pt x="8936996" y="11310026"/>
                  </a:lnTo>
                  <a:lnTo>
                    <a:pt x="8946526" y="11324321"/>
                  </a:lnTo>
                  <a:lnTo>
                    <a:pt x="8951291" y="11338616"/>
                  </a:lnTo>
                  <a:lnTo>
                    <a:pt x="8946526" y="11348147"/>
                  </a:lnTo>
                  <a:lnTo>
                    <a:pt x="8936996" y="11362442"/>
                  </a:lnTo>
                  <a:lnTo>
                    <a:pt x="8946526" y="11371972"/>
                  </a:lnTo>
                  <a:lnTo>
                    <a:pt x="8965587" y="11386268"/>
                  </a:lnTo>
                  <a:lnTo>
                    <a:pt x="8984647" y="11395798"/>
                  </a:lnTo>
                  <a:lnTo>
                    <a:pt x="9018003" y="11400563"/>
                  </a:lnTo>
                  <a:lnTo>
                    <a:pt x="9022768" y="11405328"/>
                  </a:lnTo>
                  <a:lnTo>
                    <a:pt x="9022768" y="11410093"/>
                  </a:lnTo>
                  <a:lnTo>
                    <a:pt x="9018003" y="11424389"/>
                  </a:lnTo>
                  <a:lnTo>
                    <a:pt x="9008473" y="11438684"/>
                  </a:lnTo>
                  <a:lnTo>
                    <a:pt x="8998942" y="11438684"/>
                  </a:lnTo>
                  <a:lnTo>
                    <a:pt x="8979882" y="11429154"/>
                  </a:lnTo>
                  <a:lnTo>
                    <a:pt x="8975117" y="11424389"/>
                  </a:lnTo>
                  <a:lnTo>
                    <a:pt x="8965587" y="11410093"/>
                  </a:lnTo>
                  <a:lnTo>
                    <a:pt x="8960821" y="11410093"/>
                  </a:lnTo>
                  <a:lnTo>
                    <a:pt x="8960821" y="11414858"/>
                  </a:lnTo>
                  <a:lnTo>
                    <a:pt x="8956056" y="11419624"/>
                  </a:lnTo>
                  <a:lnTo>
                    <a:pt x="8960821" y="11424389"/>
                  </a:lnTo>
                  <a:lnTo>
                    <a:pt x="8956056" y="11424389"/>
                  </a:lnTo>
                  <a:lnTo>
                    <a:pt x="8936996" y="11424389"/>
                  </a:lnTo>
                  <a:lnTo>
                    <a:pt x="8932231" y="11419624"/>
                  </a:lnTo>
                  <a:lnTo>
                    <a:pt x="8932231" y="11405328"/>
                  </a:lnTo>
                  <a:lnTo>
                    <a:pt x="8946526" y="11391033"/>
                  </a:lnTo>
                  <a:lnTo>
                    <a:pt x="8936996" y="11381503"/>
                  </a:lnTo>
                  <a:lnTo>
                    <a:pt x="8932231" y="11376737"/>
                  </a:lnTo>
                  <a:lnTo>
                    <a:pt x="8913170" y="11386268"/>
                  </a:lnTo>
                  <a:lnTo>
                    <a:pt x="8898875" y="11391033"/>
                  </a:lnTo>
                  <a:lnTo>
                    <a:pt x="8884579" y="11381503"/>
                  </a:lnTo>
                  <a:lnTo>
                    <a:pt x="8879814" y="11343382"/>
                  </a:lnTo>
                  <a:lnTo>
                    <a:pt x="8879814" y="11329086"/>
                  </a:lnTo>
                  <a:lnTo>
                    <a:pt x="8870284" y="11319556"/>
                  </a:lnTo>
                  <a:lnTo>
                    <a:pt x="8865519" y="11305261"/>
                  </a:lnTo>
                  <a:lnTo>
                    <a:pt x="8860754" y="11300495"/>
                  </a:lnTo>
                  <a:lnTo>
                    <a:pt x="8841693" y="11290965"/>
                  </a:lnTo>
                  <a:lnTo>
                    <a:pt x="8832163" y="11271905"/>
                  </a:lnTo>
                  <a:lnTo>
                    <a:pt x="8827398" y="11262374"/>
                  </a:lnTo>
                  <a:lnTo>
                    <a:pt x="8832163" y="11252844"/>
                  </a:lnTo>
                  <a:close/>
                  <a:moveTo>
                    <a:pt x="9022768" y="11167072"/>
                  </a:moveTo>
                  <a:lnTo>
                    <a:pt x="9037063" y="11186132"/>
                  </a:lnTo>
                  <a:lnTo>
                    <a:pt x="9056124" y="11190897"/>
                  </a:lnTo>
                  <a:lnTo>
                    <a:pt x="9065654" y="11190897"/>
                  </a:lnTo>
                  <a:lnTo>
                    <a:pt x="9070419" y="11195663"/>
                  </a:lnTo>
                  <a:lnTo>
                    <a:pt x="9056124" y="11214723"/>
                  </a:lnTo>
                  <a:lnTo>
                    <a:pt x="9046594" y="11219488"/>
                  </a:lnTo>
                  <a:lnTo>
                    <a:pt x="9037063" y="11205193"/>
                  </a:lnTo>
                  <a:lnTo>
                    <a:pt x="9022768" y="11190897"/>
                  </a:lnTo>
                  <a:lnTo>
                    <a:pt x="9022768" y="11176602"/>
                  </a:lnTo>
                  <a:close/>
                  <a:moveTo>
                    <a:pt x="5141571" y="10900225"/>
                  </a:moveTo>
                  <a:lnTo>
                    <a:pt x="5160631" y="10904990"/>
                  </a:lnTo>
                  <a:lnTo>
                    <a:pt x="5184457" y="10904990"/>
                  </a:lnTo>
                  <a:lnTo>
                    <a:pt x="5179692" y="10933581"/>
                  </a:lnTo>
                  <a:lnTo>
                    <a:pt x="5170162" y="10957407"/>
                  </a:lnTo>
                  <a:lnTo>
                    <a:pt x="5165397" y="10962172"/>
                  </a:lnTo>
                  <a:lnTo>
                    <a:pt x="5160631" y="10947877"/>
                  </a:lnTo>
                  <a:lnTo>
                    <a:pt x="5146336" y="10924051"/>
                  </a:lnTo>
                  <a:close/>
                  <a:moveTo>
                    <a:pt x="12263053" y="10828748"/>
                  </a:moveTo>
                  <a:lnTo>
                    <a:pt x="12272585" y="10828748"/>
                  </a:lnTo>
                  <a:lnTo>
                    <a:pt x="12277349" y="10833513"/>
                  </a:lnTo>
                  <a:lnTo>
                    <a:pt x="12263053" y="10852574"/>
                  </a:lnTo>
                  <a:lnTo>
                    <a:pt x="12229697" y="10881165"/>
                  </a:lnTo>
                  <a:lnTo>
                    <a:pt x="12210637" y="10890695"/>
                  </a:lnTo>
                  <a:lnTo>
                    <a:pt x="12201109" y="10881165"/>
                  </a:lnTo>
                  <a:lnTo>
                    <a:pt x="12210637" y="10876400"/>
                  </a:lnTo>
                  <a:lnTo>
                    <a:pt x="12220169" y="10857339"/>
                  </a:lnTo>
                  <a:lnTo>
                    <a:pt x="12234465" y="10843043"/>
                  </a:lnTo>
                  <a:lnTo>
                    <a:pt x="12239229" y="10833513"/>
                  </a:lnTo>
                  <a:close/>
                  <a:moveTo>
                    <a:pt x="5146336" y="10633378"/>
                  </a:moveTo>
                  <a:lnTo>
                    <a:pt x="5155867" y="10652439"/>
                  </a:lnTo>
                  <a:lnTo>
                    <a:pt x="5160632" y="10681029"/>
                  </a:lnTo>
                  <a:lnTo>
                    <a:pt x="5155867" y="10695325"/>
                  </a:lnTo>
                  <a:lnTo>
                    <a:pt x="5165397" y="10709620"/>
                  </a:lnTo>
                  <a:lnTo>
                    <a:pt x="5170162" y="10714385"/>
                  </a:lnTo>
                  <a:lnTo>
                    <a:pt x="5174927" y="10728681"/>
                  </a:lnTo>
                  <a:lnTo>
                    <a:pt x="5170162" y="10742976"/>
                  </a:lnTo>
                  <a:lnTo>
                    <a:pt x="5165397" y="10776332"/>
                  </a:lnTo>
                  <a:lnTo>
                    <a:pt x="5160632" y="10771567"/>
                  </a:lnTo>
                  <a:lnTo>
                    <a:pt x="5155867" y="10757271"/>
                  </a:lnTo>
                  <a:lnTo>
                    <a:pt x="5146336" y="10747741"/>
                  </a:lnTo>
                  <a:lnTo>
                    <a:pt x="5132041" y="10728681"/>
                  </a:lnTo>
                  <a:lnTo>
                    <a:pt x="5132041" y="10690560"/>
                  </a:lnTo>
                  <a:lnTo>
                    <a:pt x="5136806" y="10676264"/>
                  </a:lnTo>
                  <a:lnTo>
                    <a:pt x="5136806" y="10647673"/>
                  </a:lnTo>
                  <a:close/>
                  <a:moveTo>
                    <a:pt x="4970027" y="10504719"/>
                  </a:moveTo>
                  <a:lnTo>
                    <a:pt x="4974792" y="10504719"/>
                  </a:lnTo>
                  <a:lnTo>
                    <a:pt x="4989087" y="10509484"/>
                  </a:lnTo>
                  <a:lnTo>
                    <a:pt x="5003383" y="10504719"/>
                  </a:lnTo>
                  <a:lnTo>
                    <a:pt x="5012913" y="10519014"/>
                  </a:lnTo>
                  <a:lnTo>
                    <a:pt x="5017678" y="10538075"/>
                  </a:lnTo>
                  <a:lnTo>
                    <a:pt x="5017678" y="10542840"/>
                  </a:lnTo>
                  <a:lnTo>
                    <a:pt x="5012913" y="10547605"/>
                  </a:lnTo>
                  <a:lnTo>
                    <a:pt x="4984322" y="10528545"/>
                  </a:lnTo>
                  <a:lnTo>
                    <a:pt x="4974792" y="10514249"/>
                  </a:lnTo>
                  <a:close/>
                  <a:moveTo>
                    <a:pt x="10404657" y="10457068"/>
                  </a:moveTo>
                  <a:lnTo>
                    <a:pt x="10447541" y="10471363"/>
                  </a:lnTo>
                  <a:lnTo>
                    <a:pt x="10480897" y="10485659"/>
                  </a:lnTo>
                  <a:lnTo>
                    <a:pt x="10528549" y="10490424"/>
                  </a:lnTo>
                  <a:lnTo>
                    <a:pt x="10542845" y="10495189"/>
                  </a:lnTo>
                  <a:lnTo>
                    <a:pt x="10547609" y="10499954"/>
                  </a:lnTo>
                  <a:lnTo>
                    <a:pt x="10552373" y="10509484"/>
                  </a:lnTo>
                  <a:lnTo>
                    <a:pt x="10557141" y="10547605"/>
                  </a:lnTo>
                  <a:lnTo>
                    <a:pt x="10557141" y="10566666"/>
                  </a:lnTo>
                  <a:lnTo>
                    <a:pt x="10557141" y="10580961"/>
                  </a:lnTo>
                  <a:lnTo>
                    <a:pt x="10523785" y="10585726"/>
                  </a:lnTo>
                  <a:lnTo>
                    <a:pt x="10447541" y="10585726"/>
                  </a:lnTo>
                  <a:lnTo>
                    <a:pt x="10404657" y="10580961"/>
                  </a:lnTo>
                  <a:lnTo>
                    <a:pt x="10390361" y="10576196"/>
                  </a:lnTo>
                  <a:lnTo>
                    <a:pt x="10376065" y="10566666"/>
                  </a:lnTo>
                  <a:lnTo>
                    <a:pt x="10357005" y="10533310"/>
                  </a:lnTo>
                  <a:lnTo>
                    <a:pt x="10347473" y="10499954"/>
                  </a:lnTo>
                  <a:lnTo>
                    <a:pt x="10347473" y="10485659"/>
                  </a:lnTo>
                  <a:lnTo>
                    <a:pt x="10347473" y="10476128"/>
                  </a:lnTo>
                  <a:lnTo>
                    <a:pt x="10352241" y="10466598"/>
                  </a:lnTo>
                  <a:close/>
                  <a:moveTo>
                    <a:pt x="4927141" y="10452303"/>
                  </a:moveTo>
                  <a:lnTo>
                    <a:pt x="4946202" y="10476128"/>
                  </a:lnTo>
                  <a:lnTo>
                    <a:pt x="4950967" y="10490424"/>
                  </a:lnTo>
                  <a:lnTo>
                    <a:pt x="4950967" y="10499954"/>
                  </a:lnTo>
                  <a:lnTo>
                    <a:pt x="4941437" y="10499954"/>
                  </a:lnTo>
                  <a:lnTo>
                    <a:pt x="4922376" y="10476128"/>
                  </a:lnTo>
                  <a:close/>
                  <a:moveTo>
                    <a:pt x="8481926" y="10366531"/>
                  </a:moveTo>
                  <a:lnTo>
                    <a:pt x="8500986" y="10376061"/>
                  </a:lnTo>
                  <a:lnTo>
                    <a:pt x="8520047" y="10399887"/>
                  </a:lnTo>
                  <a:lnTo>
                    <a:pt x="8524812" y="10418947"/>
                  </a:lnTo>
                  <a:lnTo>
                    <a:pt x="8524812" y="10438008"/>
                  </a:lnTo>
                  <a:lnTo>
                    <a:pt x="8524812" y="10466599"/>
                  </a:lnTo>
                  <a:lnTo>
                    <a:pt x="8529577" y="10499954"/>
                  </a:lnTo>
                  <a:lnTo>
                    <a:pt x="8534342" y="10523780"/>
                  </a:lnTo>
                  <a:lnTo>
                    <a:pt x="8529577" y="10542840"/>
                  </a:lnTo>
                  <a:lnTo>
                    <a:pt x="8520047" y="10571431"/>
                  </a:lnTo>
                  <a:lnTo>
                    <a:pt x="8515282" y="10585727"/>
                  </a:lnTo>
                  <a:lnTo>
                    <a:pt x="8505751" y="10600022"/>
                  </a:lnTo>
                  <a:lnTo>
                    <a:pt x="8500986" y="10604787"/>
                  </a:lnTo>
                  <a:lnTo>
                    <a:pt x="8491456" y="10604787"/>
                  </a:lnTo>
                  <a:lnTo>
                    <a:pt x="8481926" y="10600022"/>
                  </a:lnTo>
                  <a:lnTo>
                    <a:pt x="8458100" y="10576196"/>
                  </a:lnTo>
                  <a:lnTo>
                    <a:pt x="8453335" y="10561901"/>
                  </a:lnTo>
                  <a:lnTo>
                    <a:pt x="8448570" y="10552371"/>
                  </a:lnTo>
                  <a:lnTo>
                    <a:pt x="8448570" y="10538075"/>
                  </a:lnTo>
                  <a:lnTo>
                    <a:pt x="8453335" y="10523780"/>
                  </a:lnTo>
                  <a:lnTo>
                    <a:pt x="8458100" y="10490424"/>
                  </a:lnTo>
                  <a:lnTo>
                    <a:pt x="8443805" y="10466599"/>
                  </a:lnTo>
                  <a:lnTo>
                    <a:pt x="8443805" y="10452303"/>
                  </a:lnTo>
                  <a:lnTo>
                    <a:pt x="8443805" y="10447538"/>
                  </a:lnTo>
                  <a:lnTo>
                    <a:pt x="8453335" y="10428478"/>
                  </a:lnTo>
                  <a:lnTo>
                    <a:pt x="8453335" y="10414182"/>
                  </a:lnTo>
                  <a:lnTo>
                    <a:pt x="8462865" y="10399887"/>
                  </a:lnTo>
                  <a:close/>
                  <a:moveTo>
                    <a:pt x="10171164" y="10352235"/>
                  </a:moveTo>
                  <a:lnTo>
                    <a:pt x="10204521" y="10361765"/>
                  </a:lnTo>
                  <a:lnTo>
                    <a:pt x="10285525" y="10395121"/>
                  </a:lnTo>
                  <a:lnTo>
                    <a:pt x="10290293" y="10409416"/>
                  </a:lnTo>
                  <a:lnTo>
                    <a:pt x="10295057" y="10423712"/>
                  </a:lnTo>
                  <a:lnTo>
                    <a:pt x="10299821" y="10438007"/>
                  </a:lnTo>
                  <a:lnTo>
                    <a:pt x="10299821" y="10466598"/>
                  </a:lnTo>
                  <a:lnTo>
                    <a:pt x="10295057" y="10476128"/>
                  </a:lnTo>
                  <a:lnTo>
                    <a:pt x="10290293" y="10499954"/>
                  </a:lnTo>
                  <a:lnTo>
                    <a:pt x="10285525" y="10509484"/>
                  </a:lnTo>
                  <a:lnTo>
                    <a:pt x="10295057" y="10600022"/>
                  </a:lnTo>
                  <a:lnTo>
                    <a:pt x="10295057" y="10647673"/>
                  </a:lnTo>
                  <a:lnTo>
                    <a:pt x="10285525" y="10685794"/>
                  </a:lnTo>
                  <a:lnTo>
                    <a:pt x="10275997" y="10719150"/>
                  </a:lnTo>
                  <a:lnTo>
                    <a:pt x="10256937" y="10742975"/>
                  </a:lnTo>
                  <a:lnTo>
                    <a:pt x="10247405" y="10757271"/>
                  </a:lnTo>
                  <a:lnTo>
                    <a:pt x="10185461" y="10790626"/>
                  </a:lnTo>
                  <a:lnTo>
                    <a:pt x="10142573" y="10800157"/>
                  </a:lnTo>
                  <a:lnTo>
                    <a:pt x="10099687" y="10800157"/>
                  </a:lnTo>
                  <a:lnTo>
                    <a:pt x="10042505" y="10809687"/>
                  </a:lnTo>
                  <a:lnTo>
                    <a:pt x="10018680" y="10804922"/>
                  </a:lnTo>
                  <a:lnTo>
                    <a:pt x="10004384" y="10804922"/>
                  </a:lnTo>
                  <a:lnTo>
                    <a:pt x="9994854" y="10795392"/>
                  </a:lnTo>
                  <a:lnTo>
                    <a:pt x="9985324" y="10776331"/>
                  </a:lnTo>
                  <a:lnTo>
                    <a:pt x="9971029" y="10738210"/>
                  </a:lnTo>
                  <a:lnTo>
                    <a:pt x="9961498" y="10700089"/>
                  </a:lnTo>
                  <a:lnTo>
                    <a:pt x="9947203" y="10623847"/>
                  </a:lnTo>
                  <a:lnTo>
                    <a:pt x="9947203" y="10619082"/>
                  </a:lnTo>
                  <a:lnTo>
                    <a:pt x="9961498" y="10557135"/>
                  </a:lnTo>
                  <a:lnTo>
                    <a:pt x="9975794" y="10519014"/>
                  </a:lnTo>
                  <a:lnTo>
                    <a:pt x="10004384" y="10457068"/>
                  </a:lnTo>
                  <a:lnTo>
                    <a:pt x="10037740" y="10399886"/>
                  </a:lnTo>
                  <a:lnTo>
                    <a:pt x="10042505" y="10390356"/>
                  </a:lnTo>
                  <a:lnTo>
                    <a:pt x="10056801" y="10376061"/>
                  </a:lnTo>
                  <a:lnTo>
                    <a:pt x="10094922" y="10361765"/>
                  </a:lnTo>
                  <a:lnTo>
                    <a:pt x="10123512" y="10366530"/>
                  </a:lnTo>
                  <a:lnTo>
                    <a:pt x="10137808" y="10361765"/>
                  </a:lnTo>
                  <a:lnTo>
                    <a:pt x="10152103" y="10357000"/>
                  </a:lnTo>
                  <a:close/>
                  <a:moveTo>
                    <a:pt x="9689886" y="10347470"/>
                  </a:moveTo>
                  <a:lnTo>
                    <a:pt x="9704181" y="10366531"/>
                  </a:lnTo>
                  <a:lnTo>
                    <a:pt x="9708946" y="10385591"/>
                  </a:lnTo>
                  <a:lnTo>
                    <a:pt x="9685121" y="10414182"/>
                  </a:lnTo>
                  <a:lnTo>
                    <a:pt x="9670825" y="10418947"/>
                  </a:lnTo>
                  <a:lnTo>
                    <a:pt x="9656530" y="10395121"/>
                  </a:lnTo>
                  <a:lnTo>
                    <a:pt x="9656530" y="10385591"/>
                  </a:lnTo>
                  <a:lnTo>
                    <a:pt x="9656530" y="10357000"/>
                  </a:lnTo>
                  <a:close/>
                  <a:moveTo>
                    <a:pt x="5627614" y="10252168"/>
                  </a:moveTo>
                  <a:lnTo>
                    <a:pt x="5637145" y="10252168"/>
                  </a:lnTo>
                  <a:lnTo>
                    <a:pt x="5670501" y="10252168"/>
                  </a:lnTo>
                  <a:lnTo>
                    <a:pt x="5684796" y="10256933"/>
                  </a:lnTo>
                  <a:lnTo>
                    <a:pt x="5708622" y="10285524"/>
                  </a:lnTo>
                  <a:lnTo>
                    <a:pt x="5708622" y="10295054"/>
                  </a:lnTo>
                  <a:lnTo>
                    <a:pt x="5713387" y="10304584"/>
                  </a:lnTo>
                  <a:lnTo>
                    <a:pt x="5708622" y="10314115"/>
                  </a:lnTo>
                  <a:lnTo>
                    <a:pt x="5694326" y="10323645"/>
                  </a:lnTo>
                  <a:lnTo>
                    <a:pt x="5689561" y="10328410"/>
                  </a:lnTo>
                  <a:lnTo>
                    <a:pt x="5670501" y="10318880"/>
                  </a:lnTo>
                  <a:lnTo>
                    <a:pt x="5646675" y="10304584"/>
                  </a:lnTo>
                  <a:lnTo>
                    <a:pt x="5627614" y="10290289"/>
                  </a:lnTo>
                  <a:lnTo>
                    <a:pt x="5618084" y="10271228"/>
                  </a:lnTo>
                  <a:lnTo>
                    <a:pt x="5618084" y="10261698"/>
                  </a:lnTo>
                  <a:close/>
                  <a:moveTo>
                    <a:pt x="10275997" y="10199751"/>
                  </a:moveTo>
                  <a:lnTo>
                    <a:pt x="10295057" y="10204516"/>
                  </a:lnTo>
                  <a:lnTo>
                    <a:pt x="10309353" y="10223577"/>
                  </a:lnTo>
                  <a:lnTo>
                    <a:pt x="10323649" y="10266463"/>
                  </a:lnTo>
                  <a:lnTo>
                    <a:pt x="10337945" y="10285523"/>
                  </a:lnTo>
                  <a:lnTo>
                    <a:pt x="10337945" y="10304584"/>
                  </a:lnTo>
                  <a:lnTo>
                    <a:pt x="10333177" y="10309349"/>
                  </a:lnTo>
                  <a:lnTo>
                    <a:pt x="10333177" y="10318879"/>
                  </a:lnTo>
                  <a:lnTo>
                    <a:pt x="10337945" y="10323644"/>
                  </a:lnTo>
                  <a:lnTo>
                    <a:pt x="10337945" y="10328409"/>
                  </a:lnTo>
                  <a:lnTo>
                    <a:pt x="10333177" y="10342705"/>
                  </a:lnTo>
                  <a:lnTo>
                    <a:pt x="10328413" y="10347470"/>
                  </a:lnTo>
                  <a:lnTo>
                    <a:pt x="10314117" y="10352235"/>
                  </a:lnTo>
                  <a:lnTo>
                    <a:pt x="10295057" y="10323644"/>
                  </a:lnTo>
                  <a:lnTo>
                    <a:pt x="10261701" y="10295054"/>
                  </a:lnTo>
                  <a:lnTo>
                    <a:pt x="10247405" y="10275993"/>
                  </a:lnTo>
                  <a:lnTo>
                    <a:pt x="10242641" y="10261698"/>
                  </a:lnTo>
                  <a:lnTo>
                    <a:pt x="10247405" y="10247402"/>
                  </a:lnTo>
                  <a:lnTo>
                    <a:pt x="10247405" y="10228342"/>
                  </a:lnTo>
                  <a:lnTo>
                    <a:pt x="10261701" y="10204516"/>
                  </a:lnTo>
                  <a:close/>
                  <a:moveTo>
                    <a:pt x="6089832" y="10142570"/>
                  </a:moveTo>
                  <a:lnTo>
                    <a:pt x="6118423" y="10156865"/>
                  </a:lnTo>
                  <a:lnTo>
                    <a:pt x="6132718" y="10166396"/>
                  </a:lnTo>
                  <a:lnTo>
                    <a:pt x="6132718" y="10175926"/>
                  </a:lnTo>
                  <a:lnTo>
                    <a:pt x="6137483" y="10190221"/>
                  </a:lnTo>
                  <a:lnTo>
                    <a:pt x="6132718" y="10218812"/>
                  </a:lnTo>
                  <a:lnTo>
                    <a:pt x="6123188" y="10223577"/>
                  </a:lnTo>
                  <a:lnTo>
                    <a:pt x="6118423" y="10247403"/>
                  </a:lnTo>
                  <a:lnTo>
                    <a:pt x="6108892" y="10247403"/>
                  </a:lnTo>
                  <a:lnTo>
                    <a:pt x="6099362" y="10242638"/>
                  </a:lnTo>
                  <a:lnTo>
                    <a:pt x="6051711" y="10214047"/>
                  </a:lnTo>
                  <a:lnTo>
                    <a:pt x="6046946" y="10209282"/>
                  </a:lnTo>
                  <a:lnTo>
                    <a:pt x="6051711" y="10194986"/>
                  </a:lnTo>
                  <a:lnTo>
                    <a:pt x="6070772" y="10180691"/>
                  </a:lnTo>
                  <a:lnTo>
                    <a:pt x="6080302" y="10166396"/>
                  </a:lnTo>
                  <a:close/>
                  <a:moveTo>
                    <a:pt x="6323323" y="10052032"/>
                  </a:moveTo>
                  <a:lnTo>
                    <a:pt x="6342384" y="10056797"/>
                  </a:lnTo>
                  <a:lnTo>
                    <a:pt x="6351914" y="10071093"/>
                  </a:lnTo>
                  <a:lnTo>
                    <a:pt x="6361445" y="10090153"/>
                  </a:lnTo>
                  <a:lnTo>
                    <a:pt x="6370975" y="10099683"/>
                  </a:lnTo>
                  <a:lnTo>
                    <a:pt x="6375740" y="10109214"/>
                  </a:lnTo>
                  <a:lnTo>
                    <a:pt x="6370975" y="10152100"/>
                  </a:lnTo>
                  <a:lnTo>
                    <a:pt x="6366210" y="10166395"/>
                  </a:lnTo>
                  <a:lnTo>
                    <a:pt x="6361445" y="10171160"/>
                  </a:lnTo>
                  <a:lnTo>
                    <a:pt x="6347149" y="10185456"/>
                  </a:lnTo>
                  <a:lnTo>
                    <a:pt x="6342384" y="10190221"/>
                  </a:lnTo>
                  <a:lnTo>
                    <a:pt x="6337619" y="10180691"/>
                  </a:lnTo>
                  <a:lnTo>
                    <a:pt x="6328089" y="10161630"/>
                  </a:lnTo>
                  <a:lnTo>
                    <a:pt x="6323323" y="10161630"/>
                  </a:lnTo>
                  <a:lnTo>
                    <a:pt x="6313793" y="10171160"/>
                  </a:lnTo>
                  <a:lnTo>
                    <a:pt x="6309028" y="10161630"/>
                  </a:lnTo>
                  <a:lnTo>
                    <a:pt x="6309028" y="10147335"/>
                  </a:lnTo>
                  <a:lnTo>
                    <a:pt x="6309028" y="10128274"/>
                  </a:lnTo>
                  <a:lnTo>
                    <a:pt x="6313793" y="10094918"/>
                  </a:lnTo>
                  <a:lnTo>
                    <a:pt x="6313793" y="10080623"/>
                  </a:lnTo>
                  <a:lnTo>
                    <a:pt x="6309028" y="10075858"/>
                  </a:lnTo>
                  <a:lnTo>
                    <a:pt x="6313793" y="10066327"/>
                  </a:lnTo>
                  <a:lnTo>
                    <a:pt x="6318558" y="10056797"/>
                  </a:lnTo>
                  <a:close/>
                  <a:moveTo>
                    <a:pt x="6380504" y="10013911"/>
                  </a:moveTo>
                  <a:lnTo>
                    <a:pt x="6394800" y="10018676"/>
                  </a:lnTo>
                  <a:lnTo>
                    <a:pt x="6399565" y="10032972"/>
                  </a:lnTo>
                  <a:lnTo>
                    <a:pt x="6404330" y="10047267"/>
                  </a:lnTo>
                  <a:lnTo>
                    <a:pt x="6404330" y="10061562"/>
                  </a:lnTo>
                  <a:lnTo>
                    <a:pt x="6404330" y="10090153"/>
                  </a:lnTo>
                  <a:lnTo>
                    <a:pt x="6380504" y="10080623"/>
                  </a:lnTo>
                  <a:lnTo>
                    <a:pt x="6375739" y="10071092"/>
                  </a:lnTo>
                  <a:lnTo>
                    <a:pt x="6366209" y="10052032"/>
                  </a:lnTo>
                  <a:lnTo>
                    <a:pt x="6366209" y="10047267"/>
                  </a:lnTo>
                  <a:lnTo>
                    <a:pt x="6366209" y="10037737"/>
                  </a:lnTo>
                  <a:lnTo>
                    <a:pt x="6375739" y="10018676"/>
                  </a:lnTo>
                  <a:close/>
                  <a:moveTo>
                    <a:pt x="7862459" y="9904313"/>
                  </a:moveTo>
                  <a:lnTo>
                    <a:pt x="7871990" y="9909078"/>
                  </a:lnTo>
                  <a:lnTo>
                    <a:pt x="7881520" y="9928139"/>
                  </a:lnTo>
                  <a:lnTo>
                    <a:pt x="7886285" y="9942434"/>
                  </a:lnTo>
                  <a:lnTo>
                    <a:pt x="7891050" y="9961495"/>
                  </a:lnTo>
                  <a:lnTo>
                    <a:pt x="7891050" y="9971025"/>
                  </a:lnTo>
                  <a:lnTo>
                    <a:pt x="7876755" y="9975790"/>
                  </a:lnTo>
                  <a:lnTo>
                    <a:pt x="7871990" y="9961495"/>
                  </a:lnTo>
                  <a:lnTo>
                    <a:pt x="7862459" y="9956729"/>
                  </a:lnTo>
                  <a:lnTo>
                    <a:pt x="7857694" y="9942434"/>
                  </a:lnTo>
                  <a:lnTo>
                    <a:pt x="7848164" y="9942434"/>
                  </a:lnTo>
                  <a:lnTo>
                    <a:pt x="7848164" y="9923374"/>
                  </a:lnTo>
                  <a:lnTo>
                    <a:pt x="7852929" y="9913843"/>
                  </a:lnTo>
                  <a:close/>
                  <a:moveTo>
                    <a:pt x="9766128" y="9899548"/>
                  </a:moveTo>
                  <a:lnTo>
                    <a:pt x="9785188" y="9899548"/>
                  </a:lnTo>
                  <a:lnTo>
                    <a:pt x="9789954" y="9904313"/>
                  </a:lnTo>
                  <a:lnTo>
                    <a:pt x="9794719" y="9909078"/>
                  </a:lnTo>
                  <a:lnTo>
                    <a:pt x="9804249" y="9932904"/>
                  </a:lnTo>
                  <a:lnTo>
                    <a:pt x="9804249" y="9937669"/>
                  </a:lnTo>
                  <a:lnTo>
                    <a:pt x="9794719" y="9956729"/>
                  </a:lnTo>
                  <a:lnTo>
                    <a:pt x="9770893" y="9980555"/>
                  </a:lnTo>
                  <a:lnTo>
                    <a:pt x="9756598" y="10004381"/>
                  </a:lnTo>
                  <a:lnTo>
                    <a:pt x="9751833" y="10013911"/>
                  </a:lnTo>
                  <a:lnTo>
                    <a:pt x="9751833" y="10023441"/>
                  </a:lnTo>
                  <a:lnTo>
                    <a:pt x="9747067" y="10032971"/>
                  </a:lnTo>
                  <a:lnTo>
                    <a:pt x="9728007" y="10061562"/>
                  </a:lnTo>
                  <a:lnTo>
                    <a:pt x="9718477" y="10090153"/>
                  </a:lnTo>
                  <a:lnTo>
                    <a:pt x="9704181" y="10104448"/>
                  </a:lnTo>
                  <a:lnTo>
                    <a:pt x="9675591" y="10118744"/>
                  </a:lnTo>
                  <a:lnTo>
                    <a:pt x="9651765" y="10137804"/>
                  </a:lnTo>
                  <a:lnTo>
                    <a:pt x="9637470" y="10137804"/>
                  </a:lnTo>
                  <a:lnTo>
                    <a:pt x="9627939" y="10133039"/>
                  </a:lnTo>
                  <a:lnTo>
                    <a:pt x="9623174" y="10118744"/>
                  </a:lnTo>
                  <a:lnTo>
                    <a:pt x="9618409" y="10104448"/>
                  </a:lnTo>
                  <a:lnTo>
                    <a:pt x="9623174" y="10094918"/>
                  </a:lnTo>
                  <a:lnTo>
                    <a:pt x="9627939" y="10090153"/>
                  </a:lnTo>
                  <a:lnTo>
                    <a:pt x="9637470" y="10071092"/>
                  </a:lnTo>
                  <a:lnTo>
                    <a:pt x="9647000" y="10047267"/>
                  </a:lnTo>
                  <a:lnTo>
                    <a:pt x="9661295" y="10032971"/>
                  </a:lnTo>
                  <a:lnTo>
                    <a:pt x="9694651" y="10013911"/>
                  </a:lnTo>
                  <a:lnTo>
                    <a:pt x="9699416" y="10009146"/>
                  </a:lnTo>
                  <a:lnTo>
                    <a:pt x="9713712" y="9966260"/>
                  </a:lnTo>
                  <a:lnTo>
                    <a:pt x="9718477" y="9956729"/>
                  </a:lnTo>
                  <a:lnTo>
                    <a:pt x="9737537" y="9956729"/>
                  </a:lnTo>
                  <a:lnTo>
                    <a:pt x="9737537" y="9947199"/>
                  </a:lnTo>
                  <a:lnTo>
                    <a:pt x="9732772" y="9937669"/>
                  </a:lnTo>
                  <a:lnTo>
                    <a:pt x="9732772" y="9928139"/>
                  </a:lnTo>
                  <a:lnTo>
                    <a:pt x="9737537" y="9913843"/>
                  </a:lnTo>
                  <a:lnTo>
                    <a:pt x="9747067" y="9904313"/>
                  </a:lnTo>
                  <a:close/>
                  <a:moveTo>
                    <a:pt x="9966264" y="9875723"/>
                  </a:moveTo>
                  <a:lnTo>
                    <a:pt x="9975794" y="9875723"/>
                  </a:lnTo>
                  <a:lnTo>
                    <a:pt x="9994855" y="9890018"/>
                  </a:lnTo>
                  <a:lnTo>
                    <a:pt x="10032976" y="9890018"/>
                  </a:lnTo>
                  <a:lnTo>
                    <a:pt x="10042506" y="9904314"/>
                  </a:lnTo>
                  <a:lnTo>
                    <a:pt x="10047271" y="9909079"/>
                  </a:lnTo>
                  <a:lnTo>
                    <a:pt x="10047271" y="9918609"/>
                  </a:lnTo>
                  <a:lnTo>
                    <a:pt x="10042506" y="9923374"/>
                  </a:lnTo>
                  <a:lnTo>
                    <a:pt x="10023445" y="9951965"/>
                  </a:lnTo>
                  <a:lnTo>
                    <a:pt x="10013915" y="9971026"/>
                  </a:lnTo>
                  <a:lnTo>
                    <a:pt x="10009150" y="9994851"/>
                  </a:lnTo>
                  <a:lnTo>
                    <a:pt x="9994855" y="10004382"/>
                  </a:lnTo>
                  <a:lnTo>
                    <a:pt x="9975794" y="10013912"/>
                  </a:lnTo>
                  <a:lnTo>
                    <a:pt x="9961499" y="10009147"/>
                  </a:lnTo>
                  <a:lnTo>
                    <a:pt x="9951968" y="9999617"/>
                  </a:lnTo>
                  <a:lnTo>
                    <a:pt x="9947203" y="9985321"/>
                  </a:lnTo>
                  <a:lnTo>
                    <a:pt x="9937673" y="9947200"/>
                  </a:lnTo>
                  <a:lnTo>
                    <a:pt x="9937673" y="9932905"/>
                  </a:lnTo>
                  <a:lnTo>
                    <a:pt x="9942438" y="9904314"/>
                  </a:lnTo>
                  <a:lnTo>
                    <a:pt x="9942438" y="9890018"/>
                  </a:lnTo>
                  <a:lnTo>
                    <a:pt x="9947203" y="9885253"/>
                  </a:lnTo>
                  <a:close/>
                  <a:moveTo>
                    <a:pt x="7933936" y="9875723"/>
                  </a:moveTo>
                  <a:lnTo>
                    <a:pt x="7933936" y="9885253"/>
                  </a:lnTo>
                  <a:lnTo>
                    <a:pt x="7938701" y="9913844"/>
                  </a:lnTo>
                  <a:lnTo>
                    <a:pt x="7924406" y="9947200"/>
                  </a:lnTo>
                  <a:lnTo>
                    <a:pt x="7919641" y="9956730"/>
                  </a:lnTo>
                  <a:lnTo>
                    <a:pt x="7914876" y="9956730"/>
                  </a:lnTo>
                  <a:lnTo>
                    <a:pt x="7910110" y="9956730"/>
                  </a:lnTo>
                  <a:lnTo>
                    <a:pt x="7895815" y="9923374"/>
                  </a:lnTo>
                  <a:lnTo>
                    <a:pt x="7891050" y="9904314"/>
                  </a:lnTo>
                  <a:lnTo>
                    <a:pt x="7895815" y="9899549"/>
                  </a:lnTo>
                  <a:lnTo>
                    <a:pt x="7910110" y="9885253"/>
                  </a:lnTo>
                  <a:lnTo>
                    <a:pt x="7914876" y="9880488"/>
                  </a:lnTo>
                  <a:lnTo>
                    <a:pt x="7929171" y="9885253"/>
                  </a:lnTo>
                  <a:close/>
                  <a:moveTo>
                    <a:pt x="6199429" y="9813776"/>
                  </a:moveTo>
                  <a:lnTo>
                    <a:pt x="6208959" y="9818541"/>
                  </a:lnTo>
                  <a:lnTo>
                    <a:pt x="6232785" y="9832836"/>
                  </a:lnTo>
                  <a:lnTo>
                    <a:pt x="6242315" y="9851897"/>
                  </a:lnTo>
                  <a:lnTo>
                    <a:pt x="6247080" y="9866192"/>
                  </a:lnTo>
                  <a:lnTo>
                    <a:pt x="6242315" y="9866192"/>
                  </a:lnTo>
                  <a:lnTo>
                    <a:pt x="6237550" y="9875722"/>
                  </a:lnTo>
                  <a:lnTo>
                    <a:pt x="6228020" y="9885253"/>
                  </a:lnTo>
                  <a:lnTo>
                    <a:pt x="6223255" y="9894783"/>
                  </a:lnTo>
                  <a:lnTo>
                    <a:pt x="6208959" y="9899548"/>
                  </a:lnTo>
                  <a:lnTo>
                    <a:pt x="6208959" y="9885253"/>
                  </a:lnTo>
                  <a:lnTo>
                    <a:pt x="6208959" y="9880488"/>
                  </a:lnTo>
                  <a:lnTo>
                    <a:pt x="6204194" y="9875722"/>
                  </a:lnTo>
                  <a:lnTo>
                    <a:pt x="6213724" y="9866192"/>
                  </a:lnTo>
                  <a:lnTo>
                    <a:pt x="6218489" y="9856662"/>
                  </a:lnTo>
                  <a:lnTo>
                    <a:pt x="6213724" y="9851897"/>
                  </a:lnTo>
                  <a:lnTo>
                    <a:pt x="6199429" y="9842367"/>
                  </a:lnTo>
                  <a:lnTo>
                    <a:pt x="6194664" y="9832836"/>
                  </a:lnTo>
                  <a:lnTo>
                    <a:pt x="6194664" y="9823306"/>
                  </a:lnTo>
                  <a:close/>
                  <a:moveTo>
                    <a:pt x="7061918" y="9794715"/>
                  </a:moveTo>
                  <a:lnTo>
                    <a:pt x="7076213" y="9794715"/>
                  </a:lnTo>
                  <a:lnTo>
                    <a:pt x="7090509" y="9804245"/>
                  </a:lnTo>
                  <a:lnTo>
                    <a:pt x="7104804" y="9818541"/>
                  </a:lnTo>
                  <a:lnTo>
                    <a:pt x="7128630" y="9847131"/>
                  </a:lnTo>
                  <a:lnTo>
                    <a:pt x="7128630" y="9861427"/>
                  </a:lnTo>
                  <a:lnTo>
                    <a:pt x="7123865" y="9885252"/>
                  </a:lnTo>
                  <a:lnTo>
                    <a:pt x="7119100" y="9904313"/>
                  </a:lnTo>
                  <a:lnTo>
                    <a:pt x="7109569" y="9913843"/>
                  </a:lnTo>
                  <a:lnTo>
                    <a:pt x="7095274" y="9923373"/>
                  </a:lnTo>
                  <a:lnTo>
                    <a:pt x="7080978" y="9923373"/>
                  </a:lnTo>
                  <a:lnTo>
                    <a:pt x="7071448" y="9918608"/>
                  </a:lnTo>
                  <a:lnTo>
                    <a:pt x="7076213" y="9899547"/>
                  </a:lnTo>
                  <a:lnTo>
                    <a:pt x="7080978" y="9894782"/>
                  </a:lnTo>
                  <a:lnTo>
                    <a:pt x="7080978" y="9875722"/>
                  </a:lnTo>
                  <a:lnTo>
                    <a:pt x="7080978" y="9847131"/>
                  </a:lnTo>
                  <a:lnTo>
                    <a:pt x="7076213" y="9832836"/>
                  </a:lnTo>
                  <a:lnTo>
                    <a:pt x="7066683" y="9823306"/>
                  </a:lnTo>
                  <a:lnTo>
                    <a:pt x="7061918" y="9823306"/>
                  </a:lnTo>
                  <a:lnTo>
                    <a:pt x="7057153" y="9832836"/>
                  </a:lnTo>
                  <a:lnTo>
                    <a:pt x="7061918" y="9847131"/>
                  </a:lnTo>
                  <a:lnTo>
                    <a:pt x="7057153" y="9870957"/>
                  </a:lnTo>
                  <a:lnTo>
                    <a:pt x="7052388" y="9899547"/>
                  </a:lnTo>
                  <a:lnTo>
                    <a:pt x="7047622" y="9913843"/>
                  </a:lnTo>
                  <a:lnTo>
                    <a:pt x="7038092" y="9909078"/>
                  </a:lnTo>
                  <a:lnTo>
                    <a:pt x="7033327" y="9899547"/>
                  </a:lnTo>
                  <a:lnTo>
                    <a:pt x="7033327" y="9880487"/>
                  </a:lnTo>
                  <a:lnTo>
                    <a:pt x="7033327" y="9861427"/>
                  </a:lnTo>
                  <a:lnTo>
                    <a:pt x="7033327" y="9847131"/>
                  </a:lnTo>
                  <a:lnTo>
                    <a:pt x="7038092" y="9818541"/>
                  </a:lnTo>
                  <a:lnTo>
                    <a:pt x="7047622" y="9799480"/>
                  </a:lnTo>
                  <a:close/>
                  <a:moveTo>
                    <a:pt x="290673" y="9780421"/>
                  </a:moveTo>
                  <a:lnTo>
                    <a:pt x="300203" y="9785186"/>
                  </a:lnTo>
                  <a:lnTo>
                    <a:pt x="324029" y="9794716"/>
                  </a:lnTo>
                  <a:lnTo>
                    <a:pt x="333560" y="9809012"/>
                  </a:lnTo>
                  <a:lnTo>
                    <a:pt x="304969" y="9813777"/>
                  </a:lnTo>
                  <a:lnTo>
                    <a:pt x="295438" y="9832837"/>
                  </a:lnTo>
                  <a:lnTo>
                    <a:pt x="271613" y="9813777"/>
                  </a:lnTo>
                  <a:lnTo>
                    <a:pt x="266847" y="9804246"/>
                  </a:lnTo>
                  <a:close/>
                  <a:moveTo>
                    <a:pt x="11414861" y="9766125"/>
                  </a:moveTo>
                  <a:lnTo>
                    <a:pt x="11429157" y="9770890"/>
                  </a:lnTo>
                  <a:lnTo>
                    <a:pt x="11438689" y="9789951"/>
                  </a:lnTo>
                  <a:lnTo>
                    <a:pt x="11424393" y="9809011"/>
                  </a:lnTo>
                  <a:lnTo>
                    <a:pt x="11414861" y="9828072"/>
                  </a:lnTo>
                  <a:lnTo>
                    <a:pt x="11410097" y="9832837"/>
                  </a:lnTo>
                  <a:lnTo>
                    <a:pt x="11367213" y="9813776"/>
                  </a:lnTo>
                  <a:lnTo>
                    <a:pt x="11367213" y="9794716"/>
                  </a:lnTo>
                  <a:lnTo>
                    <a:pt x="11386273" y="9780420"/>
                  </a:lnTo>
                  <a:lnTo>
                    <a:pt x="11400565" y="9770890"/>
                  </a:lnTo>
                  <a:close/>
                  <a:moveTo>
                    <a:pt x="9809014" y="9742299"/>
                  </a:moveTo>
                  <a:lnTo>
                    <a:pt x="9818544" y="9742299"/>
                  </a:lnTo>
                  <a:lnTo>
                    <a:pt x="9832840" y="9751829"/>
                  </a:lnTo>
                  <a:lnTo>
                    <a:pt x="9842370" y="9775655"/>
                  </a:lnTo>
                  <a:lnTo>
                    <a:pt x="9842370" y="9785185"/>
                  </a:lnTo>
                  <a:lnTo>
                    <a:pt x="9832840" y="9799480"/>
                  </a:lnTo>
                  <a:lnTo>
                    <a:pt x="9789953" y="9828071"/>
                  </a:lnTo>
                  <a:lnTo>
                    <a:pt x="9766128" y="9847132"/>
                  </a:lnTo>
                  <a:lnTo>
                    <a:pt x="9751832" y="9851897"/>
                  </a:lnTo>
                  <a:lnTo>
                    <a:pt x="9737537" y="9847132"/>
                  </a:lnTo>
                  <a:lnTo>
                    <a:pt x="9713711" y="9856662"/>
                  </a:lnTo>
                  <a:lnTo>
                    <a:pt x="9704181" y="9856662"/>
                  </a:lnTo>
                  <a:lnTo>
                    <a:pt x="9713711" y="9837602"/>
                  </a:lnTo>
                  <a:lnTo>
                    <a:pt x="9747067" y="9785185"/>
                  </a:lnTo>
                  <a:lnTo>
                    <a:pt x="9775658" y="9780420"/>
                  </a:lnTo>
                  <a:lnTo>
                    <a:pt x="9785188" y="9770890"/>
                  </a:lnTo>
                  <a:lnTo>
                    <a:pt x="9794719" y="9775655"/>
                  </a:lnTo>
                  <a:lnTo>
                    <a:pt x="9799484" y="9766125"/>
                  </a:lnTo>
                  <a:lnTo>
                    <a:pt x="9799484" y="9751829"/>
                  </a:lnTo>
                  <a:close/>
                  <a:moveTo>
                    <a:pt x="9589818" y="9708943"/>
                  </a:moveTo>
                  <a:lnTo>
                    <a:pt x="9613644" y="9718473"/>
                  </a:lnTo>
                  <a:lnTo>
                    <a:pt x="9623174" y="9747064"/>
                  </a:lnTo>
                  <a:lnTo>
                    <a:pt x="9627939" y="9751829"/>
                  </a:lnTo>
                  <a:lnTo>
                    <a:pt x="9618409" y="9766125"/>
                  </a:lnTo>
                  <a:lnTo>
                    <a:pt x="9594583" y="9789950"/>
                  </a:lnTo>
                  <a:lnTo>
                    <a:pt x="9546932" y="9799481"/>
                  </a:lnTo>
                  <a:lnTo>
                    <a:pt x="9518341" y="9789950"/>
                  </a:lnTo>
                  <a:lnTo>
                    <a:pt x="9532636" y="9823306"/>
                  </a:lnTo>
                  <a:lnTo>
                    <a:pt x="9532636" y="9837602"/>
                  </a:lnTo>
                  <a:lnTo>
                    <a:pt x="9532636" y="9842367"/>
                  </a:lnTo>
                  <a:lnTo>
                    <a:pt x="9518341" y="9842367"/>
                  </a:lnTo>
                  <a:lnTo>
                    <a:pt x="9499281" y="9832837"/>
                  </a:lnTo>
                  <a:lnTo>
                    <a:pt x="9489750" y="9823306"/>
                  </a:lnTo>
                  <a:lnTo>
                    <a:pt x="9489750" y="9809011"/>
                  </a:lnTo>
                  <a:lnTo>
                    <a:pt x="9484985" y="9804246"/>
                  </a:lnTo>
                  <a:lnTo>
                    <a:pt x="9480220" y="9813776"/>
                  </a:lnTo>
                  <a:lnTo>
                    <a:pt x="9475455" y="9809011"/>
                  </a:lnTo>
                  <a:lnTo>
                    <a:pt x="9465925" y="9789950"/>
                  </a:lnTo>
                  <a:lnTo>
                    <a:pt x="9456394" y="9780420"/>
                  </a:lnTo>
                  <a:lnTo>
                    <a:pt x="9403978" y="9770890"/>
                  </a:lnTo>
                  <a:lnTo>
                    <a:pt x="9403978" y="9766125"/>
                  </a:lnTo>
                  <a:lnTo>
                    <a:pt x="9403978" y="9756594"/>
                  </a:lnTo>
                  <a:lnTo>
                    <a:pt x="9413508" y="9742299"/>
                  </a:lnTo>
                  <a:lnTo>
                    <a:pt x="9423039" y="9737534"/>
                  </a:lnTo>
                  <a:lnTo>
                    <a:pt x="9456394" y="9742299"/>
                  </a:lnTo>
                  <a:lnTo>
                    <a:pt x="9456394" y="9737534"/>
                  </a:lnTo>
                  <a:lnTo>
                    <a:pt x="9456394" y="9723238"/>
                  </a:lnTo>
                  <a:lnTo>
                    <a:pt x="9461160" y="9713708"/>
                  </a:lnTo>
                  <a:lnTo>
                    <a:pt x="9480220" y="9718473"/>
                  </a:lnTo>
                  <a:lnTo>
                    <a:pt x="9494515" y="9713708"/>
                  </a:lnTo>
                  <a:lnTo>
                    <a:pt x="9499281" y="9723238"/>
                  </a:lnTo>
                  <a:lnTo>
                    <a:pt x="9508811" y="9742299"/>
                  </a:lnTo>
                  <a:lnTo>
                    <a:pt x="9518341" y="9737534"/>
                  </a:lnTo>
                  <a:lnTo>
                    <a:pt x="9532636" y="9742299"/>
                  </a:lnTo>
                  <a:lnTo>
                    <a:pt x="9546932" y="9732769"/>
                  </a:lnTo>
                  <a:lnTo>
                    <a:pt x="9570757" y="9713708"/>
                  </a:lnTo>
                  <a:close/>
                  <a:moveTo>
                    <a:pt x="6752185" y="9685117"/>
                  </a:moveTo>
                  <a:lnTo>
                    <a:pt x="6766480" y="9694647"/>
                  </a:lnTo>
                  <a:lnTo>
                    <a:pt x="6780775" y="9713708"/>
                  </a:lnTo>
                  <a:lnTo>
                    <a:pt x="6809366" y="9742298"/>
                  </a:lnTo>
                  <a:lnTo>
                    <a:pt x="6814131" y="9751829"/>
                  </a:lnTo>
                  <a:lnTo>
                    <a:pt x="6814131" y="9761359"/>
                  </a:lnTo>
                  <a:lnTo>
                    <a:pt x="6799836" y="9766124"/>
                  </a:lnTo>
                  <a:lnTo>
                    <a:pt x="6799836" y="9775654"/>
                  </a:lnTo>
                  <a:lnTo>
                    <a:pt x="6804601" y="9785185"/>
                  </a:lnTo>
                  <a:lnTo>
                    <a:pt x="6809366" y="9789950"/>
                  </a:lnTo>
                  <a:lnTo>
                    <a:pt x="6818896" y="9785185"/>
                  </a:lnTo>
                  <a:lnTo>
                    <a:pt x="6823661" y="9770889"/>
                  </a:lnTo>
                  <a:lnTo>
                    <a:pt x="6828427" y="9766124"/>
                  </a:lnTo>
                  <a:lnTo>
                    <a:pt x="6837957" y="9770889"/>
                  </a:lnTo>
                  <a:lnTo>
                    <a:pt x="6857017" y="9799480"/>
                  </a:lnTo>
                  <a:lnTo>
                    <a:pt x="6876078" y="9823306"/>
                  </a:lnTo>
                  <a:lnTo>
                    <a:pt x="6895138" y="9842366"/>
                  </a:lnTo>
                  <a:lnTo>
                    <a:pt x="6923729" y="9861427"/>
                  </a:lnTo>
                  <a:lnTo>
                    <a:pt x="6980911" y="9918608"/>
                  </a:lnTo>
                  <a:lnTo>
                    <a:pt x="6999971" y="9956729"/>
                  </a:lnTo>
                  <a:lnTo>
                    <a:pt x="7019032" y="10013911"/>
                  </a:lnTo>
                  <a:lnTo>
                    <a:pt x="7038092" y="10056797"/>
                  </a:lnTo>
                  <a:lnTo>
                    <a:pt x="7052388" y="10090153"/>
                  </a:lnTo>
                  <a:lnTo>
                    <a:pt x="7071448" y="10113978"/>
                  </a:lnTo>
                  <a:lnTo>
                    <a:pt x="7095274" y="10142569"/>
                  </a:lnTo>
                  <a:lnTo>
                    <a:pt x="7119099" y="10118743"/>
                  </a:lnTo>
                  <a:lnTo>
                    <a:pt x="7128630" y="10113978"/>
                  </a:lnTo>
                  <a:lnTo>
                    <a:pt x="7138160" y="10123508"/>
                  </a:lnTo>
                  <a:lnTo>
                    <a:pt x="7142925" y="10142569"/>
                  </a:lnTo>
                  <a:lnTo>
                    <a:pt x="7138160" y="10152099"/>
                  </a:lnTo>
                  <a:lnTo>
                    <a:pt x="7128630" y="10166395"/>
                  </a:lnTo>
                  <a:lnTo>
                    <a:pt x="7114334" y="10180690"/>
                  </a:lnTo>
                  <a:lnTo>
                    <a:pt x="7090509" y="10180690"/>
                  </a:lnTo>
                  <a:lnTo>
                    <a:pt x="7080978" y="10185455"/>
                  </a:lnTo>
                  <a:lnTo>
                    <a:pt x="7061918" y="10204516"/>
                  </a:lnTo>
                  <a:lnTo>
                    <a:pt x="7047622" y="10228341"/>
                  </a:lnTo>
                  <a:lnTo>
                    <a:pt x="7023797" y="10237871"/>
                  </a:lnTo>
                  <a:lnTo>
                    <a:pt x="6985676" y="10280758"/>
                  </a:lnTo>
                  <a:lnTo>
                    <a:pt x="6966615" y="10295053"/>
                  </a:lnTo>
                  <a:lnTo>
                    <a:pt x="6938024" y="10299818"/>
                  </a:lnTo>
                  <a:lnTo>
                    <a:pt x="6871313" y="10266462"/>
                  </a:lnTo>
                  <a:lnTo>
                    <a:pt x="6833192" y="10271227"/>
                  </a:lnTo>
                  <a:lnTo>
                    <a:pt x="6799836" y="10266462"/>
                  </a:lnTo>
                  <a:lnTo>
                    <a:pt x="6761715" y="10233106"/>
                  </a:lnTo>
                  <a:lnTo>
                    <a:pt x="6737889" y="10209281"/>
                  </a:lnTo>
                  <a:lnTo>
                    <a:pt x="6680708" y="10180690"/>
                  </a:lnTo>
                  <a:lnTo>
                    <a:pt x="6675942" y="10175925"/>
                  </a:lnTo>
                  <a:lnTo>
                    <a:pt x="6675942" y="10166395"/>
                  </a:lnTo>
                  <a:lnTo>
                    <a:pt x="6675942" y="10152099"/>
                  </a:lnTo>
                  <a:lnTo>
                    <a:pt x="6671177" y="10142569"/>
                  </a:lnTo>
                  <a:lnTo>
                    <a:pt x="6666412" y="10137804"/>
                  </a:lnTo>
                  <a:lnTo>
                    <a:pt x="6656882" y="10137804"/>
                  </a:lnTo>
                  <a:lnTo>
                    <a:pt x="6652117" y="10147334"/>
                  </a:lnTo>
                  <a:lnTo>
                    <a:pt x="6633056" y="10156864"/>
                  </a:lnTo>
                  <a:lnTo>
                    <a:pt x="6609231" y="10156864"/>
                  </a:lnTo>
                  <a:lnTo>
                    <a:pt x="6594935" y="10147334"/>
                  </a:lnTo>
                  <a:lnTo>
                    <a:pt x="6590170" y="10137804"/>
                  </a:lnTo>
                  <a:lnTo>
                    <a:pt x="6585405" y="10128274"/>
                  </a:lnTo>
                  <a:lnTo>
                    <a:pt x="6580640" y="10113978"/>
                  </a:lnTo>
                  <a:lnTo>
                    <a:pt x="6580640" y="10104448"/>
                  </a:lnTo>
                  <a:lnTo>
                    <a:pt x="6575875" y="10099683"/>
                  </a:lnTo>
                  <a:lnTo>
                    <a:pt x="6566345" y="10099683"/>
                  </a:lnTo>
                  <a:lnTo>
                    <a:pt x="6552049" y="10104448"/>
                  </a:lnTo>
                  <a:lnTo>
                    <a:pt x="6547284" y="10113978"/>
                  </a:lnTo>
                  <a:lnTo>
                    <a:pt x="6552049" y="10123508"/>
                  </a:lnTo>
                  <a:lnTo>
                    <a:pt x="6547284" y="10128274"/>
                  </a:lnTo>
                  <a:lnTo>
                    <a:pt x="6523458" y="10128274"/>
                  </a:lnTo>
                  <a:lnTo>
                    <a:pt x="6513928" y="10123508"/>
                  </a:lnTo>
                  <a:lnTo>
                    <a:pt x="6494868" y="10104448"/>
                  </a:lnTo>
                  <a:lnTo>
                    <a:pt x="6485337" y="10085387"/>
                  </a:lnTo>
                  <a:lnTo>
                    <a:pt x="6471042" y="10056797"/>
                  </a:lnTo>
                  <a:lnTo>
                    <a:pt x="6475807" y="10047266"/>
                  </a:lnTo>
                  <a:lnTo>
                    <a:pt x="6480572" y="10023441"/>
                  </a:lnTo>
                  <a:lnTo>
                    <a:pt x="6490103" y="10013911"/>
                  </a:lnTo>
                  <a:lnTo>
                    <a:pt x="6547284" y="10004380"/>
                  </a:lnTo>
                  <a:lnTo>
                    <a:pt x="6575875" y="9994850"/>
                  </a:lnTo>
                  <a:lnTo>
                    <a:pt x="6604466" y="9975790"/>
                  </a:lnTo>
                  <a:lnTo>
                    <a:pt x="6637821" y="9932903"/>
                  </a:lnTo>
                  <a:lnTo>
                    <a:pt x="6647352" y="9923373"/>
                  </a:lnTo>
                  <a:lnTo>
                    <a:pt x="6647352" y="9913843"/>
                  </a:lnTo>
                  <a:lnTo>
                    <a:pt x="6642587" y="9904313"/>
                  </a:lnTo>
                  <a:lnTo>
                    <a:pt x="6633056" y="9880487"/>
                  </a:lnTo>
                  <a:lnTo>
                    <a:pt x="6628291" y="9866192"/>
                  </a:lnTo>
                  <a:lnTo>
                    <a:pt x="6633056" y="9856661"/>
                  </a:lnTo>
                  <a:lnTo>
                    <a:pt x="6647352" y="9856661"/>
                  </a:lnTo>
                  <a:lnTo>
                    <a:pt x="6642587" y="9847131"/>
                  </a:lnTo>
                  <a:lnTo>
                    <a:pt x="6633056" y="9837601"/>
                  </a:lnTo>
                  <a:lnTo>
                    <a:pt x="6633056" y="9828071"/>
                  </a:lnTo>
                  <a:lnTo>
                    <a:pt x="6633056" y="9818540"/>
                  </a:lnTo>
                  <a:lnTo>
                    <a:pt x="6642587" y="9813775"/>
                  </a:lnTo>
                  <a:lnTo>
                    <a:pt x="6656882" y="9818540"/>
                  </a:lnTo>
                  <a:lnTo>
                    <a:pt x="6680708" y="9856661"/>
                  </a:lnTo>
                  <a:lnTo>
                    <a:pt x="6695003" y="9861427"/>
                  </a:lnTo>
                  <a:lnTo>
                    <a:pt x="6709298" y="9866192"/>
                  </a:lnTo>
                  <a:lnTo>
                    <a:pt x="6690238" y="9842366"/>
                  </a:lnTo>
                  <a:lnTo>
                    <a:pt x="6671177" y="9789950"/>
                  </a:lnTo>
                  <a:lnTo>
                    <a:pt x="6671177" y="9775654"/>
                  </a:lnTo>
                  <a:lnTo>
                    <a:pt x="6671177" y="9761359"/>
                  </a:lnTo>
                  <a:lnTo>
                    <a:pt x="6675942" y="9732768"/>
                  </a:lnTo>
                  <a:lnTo>
                    <a:pt x="6680708" y="9723238"/>
                  </a:lnTo>
                  <a:lnTo>
                    <a:pt x="6685473" y="9713708"/>
                  </a:lnTo>
                  <a:lnTo>
                    <a:pt x="6704533" y="9699412"/>
                  </a:lnTo>
                  <a:lnTo>
                    <a:pt x="6733124" y="9689882"/>
                  </a:lnTo>
                  <a:close/>
                  <a:moveTo>
                    <a:pt x="8419979" y="9556459"/>
                  </a:moveTo>
                  <a:lnTo>
                    <a:pt x="8448570" y="9570754"/>
                  </a:lnTo>
                  <a:lnTo>
                    <a:pt x="8467630" y="9575520"/>
                  </a:lnTo>
                  <a:lnTo>
                    <a:pt x="8481925" y="9570754"/>
                  </a:lnTo>
                  <a:lnTo>
                    <a:pt x="8496221" y="9575520"/>
                  </a:lnTo>
                  <a:lnTo>
                    <a:pt x="8505751" y="9589815"/>
                  </a:lnTo>
                  <a:lnTo>
                    <a:pt x="8510516" y="9604110"/>
                  </a:lnTo>
                  <a:lnTo>
                    <a:pt x="8510516" y="9613640"/>
                  </a:lnTo>
                  <a:lnTo>
                    <a:pt x="8505751" y="9623171"/>
                  </a:lnTo>
                  <a:lnTo>
                    <a:pt x="8477160" y="9632701"/>
                  </a:lnTo>
                  <a:lnTo>
                    <a:pt x="8458100" y="9627936"/>
                  </a:lnTo>
                  <a:lnTo>
                    <a:pt x="8439039" y="9618406"/>
                  </a:lnTo>
                  <a:lnTo>
                    <a:pt x="8429509" y="9623171"/>
                  </a:lnTo>
                  <a:lnTo>
                    <a:pt x="8405683" y="9613640"/>
                  </a:lnTo>
                  <a:lnTo>
                    <a:pt x="8396153" y="9604110"/>
                  </a:lnTo>
                  <a:lnTo>
                    <a:pt x="8386623" y="9585050"/>
                  </a:lnTo>
                  <a:lnTo>
                    <a:pt x="8386623" y="9575520"/>
                  </a:lnTo>
                  <a:lnTo>
                    <a:pt x="8410449" y="9565989"/>
                  </a:lnTo>
                  <a:close/>
                  <a:moveTo>
                    <a:pt x="6304262" y="9313438"/>
                  </a:moveTo>
                  <a:lnTo>
                    <a:pt x="6323323" y="9313438"/>
                  </a:lnTo>
                  <a:lnTo>
                    <a:pt x="6337618" y="9322968"/>
                  </a:lnTo>
                  <a:lnTo>
                    <a:pt x="6361444" y="9346794"/>
                  </a:lnTo>
                  <a:lnTo>
                    <a:pt x="6356679" y="9356324"/>
                  </a:lnTo>
                  <a:lnTo>
                    <a:pt x="6356679" y="9370619"/>
                  </a:lnTo>
                  <a:lnTo>
                    <a:pt x="6356679" y="9389680"/>
                  </a:lnTo>
                  <a:lnTo>
                    <a:pt x="6356679" y="9394445"/>
                  </a:lnTo>
                  <a:lnTo>
                    <a:pt x="6356679" y="9399210"/>
                  </a:lnTo>
                  <a:lnTo>
                    <a:pt x="6323323" y="9380150"/>
                  </a:lnTo>
                  <a:lnTo>
                    <a:pt x="6309027" y="9370619"/>
                  </a:lnTo>
                  <a:lnTo>
                    <a:pt x="6304262" y="9361089"/>
                  </a:lnTo>
                  <a:lnTo>
                    <a:pt x="6299497" y="9346794"/>
                  </a:lnTo>
                  <a:lnTo>
                    <a:pt x="6299497" y="9322968"/>
                  </a:lnTo>
                  <a:close/>
                  <a:moveTo>
                    <a:pt x="7228698" y="8670145"/>
                  </a:moveTo>
                  <a:lnTo>
                    <a:pt x="7247758" y="8670145"/>
                  </a:lnTo>
                  <a:lnTo>
                    <a:pt x="7257288" y="8674910"/>
                  </a:lnTo>
                  <a:lnTo>
                    <a:pt x="7266818" y="8703501"/>
                  </a:lnTo>
                  <a:lnTo>
                    <a:pt x="7266818" y="8741622"/>
                  </a:lnTo>
                  <a:lnTo>
                    <a:pt x="7295409" y="8779743"/>
                  </a:lnTo>
                  <a:lnTo>
                    <a:pt x="7314470" y="8784508"/>
                  </a:lnTo>
                  <a:lnTo>
                    <a:pt x="7328765" y="8779743"/>
                  </a:lnTo>
                  <a:lnTo>
                    <a:pt x="7371651" y="8779743"/>
                  </a:lnTo>
                  <a:lnTo>
                    <a:pt x="7381182" y="8794038"/>
                  </a:lnTo>
                  <a:lnTo>
                    <a:pt x="7381182" y="8803569"/>
                  </a:lnTo>
                  <a:lnTo>
                    <a:pt x="7376416" y="8827394"/>
                  </a:lnTo>
                  <a:lnTo>
                    <a:pt x="7381182" y="8846455"/>
                  </a:lnTo>
                  <a:lnTo>
                    <a:pt x="7409772" y="8879811"/>
                  </a:lnTo>
                  <a:lnTo>
                    <a:pt x="7433598" y="8903636"/>
                  </a:lnTo>
                  <a:lnTo>
                    <a:pt x="7457424" y="8932227"/>
                  </a:lnTo>
                  <a:lnTo>
                    <a:pt x="7495544" y="8994174"/>
                  </a:lnTo>
                  <a:lnTo>
                    <a:pt x="7500310" y="9008469"/>
                  </a:lnTo>
                  <a:lnTo>
                    <a:pt x="7505075" y="9027530"/>
                  </a:lnTo>
                  <a:lnTo>
                    <a:pt x="7514605" y="9094241"/>
                  </a:lnTo>
                  <a:lnTo>
                    <a:pt x="7519370" y="9122832"/>
                  </a:lnTo>
                  <a:lnTo>
                    <a:pt x="7514605" y="9194309"/>
                  </a:lnTo>
                  <a:lnTo>
                    <a:pt x="7509840" y="9208604"/>
                  </a:lnTo>
                  <a:lnTo>
                    <a:pt x="7500310" y="9227665"/>
                  </a:lnTo>
                  <a:lnTo>
                    <a:pt x="7505075" y="9232430"/>
                  </a:lnTo>
                  <a:lnTo>
                    <a:pt x="7533666" y="9251490"/>
                  </a:lnTo>
                  <a:lnTo>
                    <a:pt x="7552726" y="9289611"/>
                  </a:lnTo>
                  <a:lnTo>
                    <a:pt x="7567022" y="9299142"/>
                  </a:lnTo>
                  <a:lnTo>
                    <a:pt x="7595612" y="9322967"/>
                  </a:lnTo>
                  <a:lnTo>
                    <a:pt x="7600378" y="9327732"/>
                  </a:lnTo>
                  <a:lnTo>
                    <a:pt x="7605142" y="9342028"/>
                  </a:lnTo>
                  <a:lnTo>
                    <a:pt x="7619438" y="9394444"/>
                  </a:lnTo>
                  <a:lnTo>
                    <a:pt x="7648028" y="9442096"/>
                  </a:lnTo>
                  <a:lnTo>
                    <a:pt x="7648028" y="9451626"/>
                  </a:lnTo>
                  <a:lnTo>
                    <a:pt x="7643264" y="9475451"/>
                  </a:lnTo>
                  <a:lnTo>
                    <a:pt x="7648028" y="9484982"/>
                  </a:lnTo>
                  <a:lnTo>
                    <a:pt x="7657559" y="9489747"/>
                  </a:lnTo>
                  <a:lnTo>
                    <a:pt x="7667089" y="9489747"/>
                  </a:lnTo>
                  <a:lnTo>
                    <a:pt x="7676620" y="9470686"/>
                  </a:lnTo>
                  <a:lnTo>
                    <a:pt x="7681384" y="9465921"/>
                  </a:lnTo>
                  <a:lnTo>
                    <a:pt x="7690915" y="9470686"/>
                  </a:lnTo>
                  <a:lnTo>
                    <a:pt x="7700445" y="9484982"/>
                  </a:lnTo>
                  <a:lnTo>
                    <a:pt x="7709976" y="9518338"/>
                  </a:lnTo>
                  <a:lnTo>
                    <a:pt x="7724270" y="9542163"/>
                  </a:lnTo>
                  <a:lnTo>
                    <a:pt x="7719506" y="9546928"/>
                  </a:lnTo>
                  <a:lnTo>
                    <a:pt x="7714740" y="9556459"/>
                  </a:lnTo>
                  <a:lnTo>
                    <a:pt x="7676620" y="9561224"/>
                  </a:lnTo>
                  <a:lnTo>
                    <a:pt x="7657559" y="9556459"/>
                  </a:lnTo>
                  <a:lnTo>
                    <a:pt x="7638498" y="9546928"/>
                  </a:lnTo>
                  <a:lnTo>
                    <a:pt x="7624203" y="9532633"/>
                  </a:lnTo>
                  <a:lnTo>
                    <a:pt x="7609908" y="9513572"/>
                  </a:lnTo>
                  <a:lnTo>
                    <a:pt x="7605142" y="9513572"/>
                  </a:lnTo>
                  <a:lnTo>
                    <a:pt x="7600378" y="9532633"/>
                  </a:lnTo>
                  <a:lnTo>
                    <a:pt x="7586082" y="9556459"/>
                  </a:lnTo>
                  <a:lnTo>
                    <a:pt x="7576552" y="9575519"/>
                  </a:lnTo>
                  <a:lnTo>
                    <a:pt x="7586082" y="9585049"/>
                  </a:lnTo>
                  <a:lnTo>
                    <a:pt x="7633733" y="9585049"/>
                  </a:lnTo>
                  <a:lnTo>
                    <a:pt x="7648028" y="9589814"/>
                  </a:lnTo>
                  <a:lnTo>
                    <a:pt x="7657559" y="9604110"/>
                  </a:lnTo>
                  <a:lnTo>
                    <a:pt x="7643264" y="9632701"/>
                  </a:lnTo>
                  <a:lnTo>
                    <a:pt x="7609908" y="9670822"/>
                  </a:lnTo>
                  <a:lnTo>
                    <a:pt x="7538430" y="9751829"/>
                  </a:lnTo>
                  <a:lnTo>
                    <a:pt x="7514605" y="9775654"/>
                  </a:lnTo>
                  <a:lnTo>
                    <a:pt x="7519370" y="9780420"/>
                  </a:lnTo>
                  <a:lnTo>
                    <a:pt x="7528900" y="9780420"/>
                  </a:lnTo>
                  <a:lnTo>
                    <a:pt x="7552726" y="9775654"/>
                  </a:lnTo>
                  <a:lnTo>
                    <a:pt x="7576552" y="9766124"/>
                  </a:lnTo>
                  <a:lnTo>
                    <a:pt x="7605142" y="9770889"/>
                  </a:lnTo>
                  <a:lnTo>
                    <a:pt x="7619438" y="9780420"/>
                  </a:lnTo>
                  <a:lnTo>
                    <a:pt x="7614672" y="9789950"/>
                  </a:lnTo>
                  <a:lnTo>
                    <a:pt x="7624203" y="9804245"/>
                  </a:lnTo>
                  <a:lnTo>
                    <a:pt x="7667089" y="9837601"/>
                  </a:lnTo>
                  <a:lnTo>
                    <a:pt x="7700445" y="9828071"/>
                  </a:lnTo>
                  <a:lnTo>
                    <a:pt x="7729036" y="9799480"/>
                  </a:lnTo>
                  <a:lnTo>
                    <a:pt x="7752862" y="9780420"/>
                  </a:lnTo>
                  <a:lnTo>
                    <a:pt x="7781452" y="9785185"/>
                  </a:lnTo>
                  <a:lnTo>
                    <a:pt x="7786218" y="9785185"/>
                  </a:lnTo>
                  <a:lnTo>
                    <a:pt x="7786218" y="9794715"/>
                  </a:lnTo>
                  <a:lnTo>
                    <a:pt x="7762392" y="9813775"/>
                  </a:lnTo>
                  <a:lnTo>
                    <a:pt x="7743331" y="9832836"/>
                  </a:lnTo>
                  <a:lnTo>
                    <a:pt x="7743331" y="9837601"/>
                  </a:lnTo>
                  <a:lnTo>
                    <a:pt x="7767157" y="9828071"/>
                  </a:lnTo>
                  <a:lnTo>
                    <a:pt x="7819573" y="9842366"/>
                  </a:lnTo>
                  <a:lnTo>
                    <a:pt x="7843399" y="9847131"/>
                  </a:lnTo>
                  <a:lnTo>
                    <a:pt x="7862460" y="9842366"/>
                  </a:lnTo>
                  <a:lnTo>
                    <a:pt x="7881520" y="9847131"/>
                  </a:lnTo>
                  <a:lnTo>
                    <a:pt x="7895815" y="9861427"/>
                  </a:lnTo>
                  <a:lnTo>
                    <a:pt x="7900580" y="9866192"/>
                  </a:lnTo>
                  <a:lnTo>
                    <a:pt x="7886285" y="9870957"/>
                  </a:lnTo>
                  <a:lnTo>
                    <a:pt x="7871990" y="9870957"/>
                  </a:lnTo>
                  <a:lnTo>
                    <a:pt x="7862460" y="9880487"/>
                  </a:lnTo>
                  <a:lnTo>
                    <a:pt x="7848164" y="9894782"/>
                  </a:lnTo>
                  <a:lnTo>
                    <a:pt x="7843399" y="9918608"/>
                  </a:lnTo>
                  <a:lnTo>
                    <a:pt x="7838634" y="9942434"/>
                  </a:lnTo>
                  <a:lnTo>
                    <a:pt x="7829104" y="9951964"/>
                  </a:lnTo>
                  <a:lnTo>
                    <a:pt x="7810043" y="9947199"/>
                  </a:lnTo>
                  <a:lnTo>
                    <a:pt x="7805278" y="9942434"/>
                  </a:lnTo>
                  <a:lnTo>
                    <a:pt x="7805278" y="9932904"/>
                  </a:lnTo>
                  <a:lnTo>
                    <a:pt x="7800512" y="9928138"/>
                  </a:lnTo>
                  <a:lnTo>
                    <a:pt x="7786218" y="9937669"/>
                  </a:lnTo>
                  <a:lnTo>
                    <a:pt x="7776687" y="9937669"/>
                  </a:lnTo>
                  <a:lnTo>
                    <a:pt x="7771922" y="9942434"/>
                  </a:lnTo>
                  <a:lnTo>
                    <a:pt x="7848164" y="10023441"/>
                  </a:lnTo>
                  <a:lnTo>
                    <a:pt x="7876754" y="10094918"/>
                  </a:lnTo>
                  <a:lnTo>
                    <a:pt x="7891050" y="10118744"/>
                  </a:lnTo>
                  <a:lnTo>
                    <a:pt x="7895815" y="10128274"/>
                  </a:lnTo>
                  <a:lnTo>
                    <a:pt x="7881520" y="10147334"/>
                  </a:lnTo>
                  <a:lnTo>
                    <a:pt x="7881520" y="10161630"/>
                  </a:lnTo>
                  <a:lnTo>
                    <a:pt x="7886285" y="10204516"/>
                  </a:lnTo>
                  <a:lnTo>
                    <a:pt x="7886285" y="10237872"/>
                  </a:lnTo>
                  <a:lnTo>
                    <a:pt x="7876754" y="10295053"/>
                  </a:lnTo>
                  <a:lnTo>
                    <a:pt x="7886285" y="10314114"/>
                  </a:lnTo>
                  <a:lnTo>
                    <a:pt x="7900580" y="10328409"/>
                  </a:lnTo>
                  <a:lnTo>
                    <a:pt x="7910110" y="10352235"/>
                  </a:lnTo>
                  <a:lnTo>
                    <a:pt x="7919641" y="10357000"/>
                  </a:lnTo>
                  <a:lnTo>
                    <a:pt x="7924406" y="10371295"/>
                  </a:lnTo>
                  <a:lnTo>
                    <a:pt x="7929171" y="10385591"/>
                  </a:lnTo>
                  <a:lnTo>
                    <a:pt x="7933936" y="10385591"/>
                  </a:lnTo>
                  <a:lnTo>
                    <a:pt x="7938702" y="10380826"/>
                  </a:lnTo>
                  <a:lnTo>
                    <a:pt x="7943466" y="10366530"/>
                  </a:lnTo>
                  <a:lnTo>
                    <a:pt x="7948232" y="10352235"/>
                  </a:lnTo>
                  <a:lnTo>
                    <a:pt x="7967292" y="10328409"/>
                  </a:lnTo>
                  <a:lnTo>
                    <a:pt x="7981588" y="10290288"/>
                  </a:lnTo>
                  <a:lnTo>
                    <a:pt x="7986352" y="10275993"/>
                  </a:lnTo>
                  <a:lnTo>
                    <a:pt x="7981588" y="10242637"/>
                  </a:lnTo>
                  <a:lnTo>
                    <a:pt x="7986352" y="10233106"/>
                  </a:lnTo>
                  <a:lnTo>
                    <a:pt x="8000648" y="10185455"/>
                  </a:lnTo>
                  <a:lnTo>
                    <a:pt x="8005413" y="10152099"/>
                  </a:lnTo>
                  <a:lnTo>
                    <a:pt x="8010178" y="10099683"/>
                  </a:lnTo>
                  <a:lnTo>
                    <a:pt x="8019708" y="10061562"/>
                  </a:lnTo>
                  <a:lnTo>
                    <a:pt x="8038769" y="10032971"/>
                  </a:lnTo>
                  <a:lnTo>
                    <a:pt x="8067360" y="9971025"/>
                  </a:lnTo>
                  <a:lnTo>
                    <a:pt x="8081655" y="9956729"/>
                  </a:lnTo>
                  <a:lnTo>
                    <a:pt x="8091186" y="9951964"/>
                  </a:lnTo>
                  <a:lnTo>
                    <a:pt x="8115011" y="9951964"/>
                  </a:lnTo>
                  <a:lnTo>
                    <a:pt x="8129306" y="9971025"/>
                  </a:lnTo>
                  <a:lnTo>
                    <a:pt x="8153132" y="10009146"/>
                  </a:lnTo>
                  <a:lnTo>
                    <a:pt x="8181723" y="10042502"/>
                  </a:lnTo>
                  <a:lnTo>
                    <a:pt x="8229374" y="10090153"/>
                  </a:lnTo>
                  <a:lnTo>
                    <a:pt x="8243670" y="10104448"/>
                  </a:lnTo>
                  <a:lnTo>
                    <a:pt x="8272260" y="10152099"/>
                  </a:lnTo>
                  <a:lnTo>
                    <a:pt x="8286556" y="10194986"/>
                  </a:lnTo>
                  <a:lnTo>
                    <a:pt x="8291321" y="10256932"/>
                  </a:lnTo>
                  <a:lnTo>
                    <a:pt x="8300851" y="10295053"/>
                  </a:lnTo>
                  <a:lnTo>
                    <a:pt x="8305616" y="10309348"/>
                  </a:lnTo>
                  <a:lnTo>
                    <a:pt x="8310382" y="10323644"/>
                  </a:lnTo>
                  <a:lnTo>
                    <a:pt x="8310382" y="10352235"/>
                  </a:lnTo>
                  <a:lnTo>
                    <a:pt x="8305616" y="10371295"/>
                  </a:lnTo>
                  <a:lnTo>
                    <a:pt x="8300851" y="10385591"/>
                  </a:lnTo>
                  <a:lnTo>
                    <a:pt x="8296086" y="10390356"/>
                  </a:lnTo>
                  <a:lnTo>
                    <a:pt x="8281790" y="10395121"/>
                  </a:lnTo>
                  <a:lnTo>
                    <a:pt x="8262730" y="10390356"/>
                  </a:lnTo>
                  <a:lnTo>
                    <a:pt x="8257965" y="10385591"/>
                  </a:lnTo>
                  <a:lnTo>
                    <a:pt x="8248434" y="10357000"/>
                  </a:lnTo>
                  <a:lnTo>
                    <a:pt x="8243670" y="10352235"/>
                  </a:lnTo>
                  <a:lnTo>
                    <a:pt x="8224609" y="10376060"/>
                  </a:lnTo>
                  <a:lnTo>
                    <a:pt x="8224609" y="10385591"/>
                  </a:lnTo>
                  <a:lnTo>
                    <a:pt x="8229374" y="10428477"/>
                  </a:lnTo>
                  <a:lnTo>
                    <a:pt x="8229374" y="10499954"/>
                  </a:lnTo>
                  <a:lnTo>
                    <a:pt x="8229374" y="10514249"/>
                  </a:lnTo>
                  <a:lnTo>
                    <a:pt x="8248434" y="10590491"/>
                  </a:lnTo>
                  <a:lnTo>
                    <a:pt x="8281790" y="10652438"/>
                  </a:lnTo>
                  <a:lnTo>
                    <a:pt x="8358032" y="10762036"/>
                  </a:lnTo>
                  <a:lnTo>
                    <a:pt x="8362798" y="10771566"/>
                  </a:lnTo>
                  <a:lnTo>
                    <a:pt x="8372328" y="10819217"/>
                  </a:lnTo>
                  <a:lnTo>
                    <a:pt x="8372328" y="10828747"/>
                  </a:lnTo>
                  <a:lnTo>
                    <a:pt x="8381858" y="10833512"/>
                  </a:lnTo>
                  <a:lnTo>
                    <a:pt x="8386624" y="10833512"/>
                  </a:lnTo>
                  <a:lnTo>
                    <a:pt x="8396154" y="10828747"/>
                  </a:lnTo>
                  <a:lnTo>
                    <a:pt x="8424744" y="10795392"/>
                  </a:lnTo>
                  <a:lnTo>
                    <a:pt x="8448570" y="10762036"/>
                  </a:lnTo>
                  <a:lnTo>
                    <a:pt x="8462865" y="10742975"/>
                  </a:lnTo>
                  <a:lnTo>
                    <a:pt x="8472396" y="10738210"/>
                  </a:lnTo>
                  <a:lnTo>
                    <a:pt x="8486691" y="10733445"/>
                  </a:lnTo>
                  <a:lnTo>
                    <a:pt x="8496221" y="10723915"/>
                  </a:lnTo>
                  <a:lnTo>
                    <a:pt x="8505752" y="10709619"/>
                  </a:lnTo>
                  <a:lnTo>
                    <a:pt x="8505752" y="10695324"/>
                  </a:lnTo>
                  <a:lnTo>
                    <a:pt x="8515282" y="10642907"/>
                  </a:lnTo>
                  <a:lnTo>
                    <a:pt x="8520047" y="10614317"/>
                  </a:lnTo>
                  <a:lnTo>
                    <a:pt x="8529577" y="10580961"/>
                  </a:lnTo>
                  <a:lnTo>
                    <a:pt x="8534342" y="10566665"/>
                  </a:lnTo>
                  <a:lnTo>
                    <a:pt x="8593906" y="10476128"/>
                  </a:lnTo>
                  <a:lnTo>
                    <a:pt x="8598672" y="10466598"/>
                  </a:lnTo>
                  <a:lnTo>
                    <a:pt x="8622497" y="10357000"/>
                  </a:lnTo>
                  <a:lnTo>
                    <a:pt x="8632027" y="10309348"/>
                  </a:lnTo>
                  <a:lnTo>
                    <a:pt x="8632027" y="10275993"/>
                  </a:lnTo>
                  <a:lnTo>
                    <a:pt x="8632027" y="10252167"/>
                  </a:lnTo>
                  <a:lnTo>
                    <a:pt x="8632027" y="10228341"/>
                  </a:lnTo>
                  <a:lnTo>
                    <a:pt x="8636793" y="10214046"/>
                  </a:lnTo>
                  <a:lnTo>
                    <a:pt x="8646323" y="10199751"/>
                  </a:lnTo>
                  <a:lnTo>
                    <a:pt x="8655853" y="10185455"/>
                  </a:lnTo>
                  <a:lnTo>
                    <a:pt x="8665383" y="10171160"/>
                  </a:lnTo>
                  <a:lnTo>
                    <a:pt x="8670148" y="10166395"/>
                  </a:lnTo>
                  <a:lnTo>
                    <a:pt x="8679679" y="10166395"/>
                  </a:lnTo>
                  <a:lnTo>
                    <a:pt x="8693974" y="10180690"/>
                  </a:lnTo>
                  <a:lnTo>
                    <a:pt x="8703504" y="10180690"/>
                  </a:lnTo>
                  <a:lnTo>
                    <a:pt x="8765451" y="10166395"/>
                  </a:lnTo>
                  <a:lnTo>
                    <a:pt x="8765451" y="10161630"/>
                  </a:lnTo>
                  <a:lnTo>
                    <a:pt x="8727330" y="10137804"/>
                  </a:lnTo>
                  <a:lnTo>
                    <a:pt x="8732095" y="10123509"/>
                  </a:lnTo>
                  <a:lnTo>
                    <a:pt x="8732095" y="10109213"/>
                  </a:lnTo>
                  <a:lnTo>
                    <a:pt x="8746390" y="10090153"/>
                  </a:lnTo>
                  <a:lnTo>
                    <a:pt x="8760686" y="10085388"/>
                  </a:lnTo>
                  <a:lnTo>
                    <a:pt x="8760686" y="10075857"/>
                  </a:lnTo>
                  <a:lnTo>
                    <a:pt x="8760686" y="10061562"/>
                  </a:lnTo>
                  <a:lnTo>
                    <a:pt x="8765451" y="10037736"/>
                  </a:lnTo>
                  <a:lnTo>
                    <a:pt x="8760686" y="10028206"/>
                  </a:lnTo>
                  <a:lnTo>
                    <a:pt x="8727330" y="9994850"/>
                  </a:lnTo>
                  <a:lnTo>
                    <a:pt x="8708269" y="9999615"/>
                  </a:lnTo>
                  <a:lnTo>
                    <a:pt x="8703504" y="9994850"/>
                  </a:lnTo>
                  <a:lnTo>
                    <a:pt x="8684444" y="9966259"/>
                  </a:lnTo>
                  <a:lnTo>
                    <a:pt x="8679679" y="9928138"/>
                  </a:lnTo>
                  <a:lnTo>
                    <a:pt x="8679679" y="9913843"/>
                  </a:lnTo>
                  <a:lnTo>
                    <a:pt x="8679679" y="9890017"/>
                  </a:lnTo>
                  <a:lnTo>
                    <a:pt x="8684444" y="9880487"/>
                  </a:lnTo>
                  <a:lnTo>
                    <a:pt x="8679679" y="9870957"/>
                  </a:lnTo>
                  <a:lnTo>
                    <a:pt x="8679679" y="9856662"/>
                  </a:lnTo>
                  <a:lnTo>
                    <a:pt x="8674914" y="9842366"/>
                  </a:lnTo>
                  <a:lnTo>
                    <a:pt x="8679679" y="9828071"/>
                  </a:lnTo>
                  <a:lnTo>
                    <a:pt x="8679679" y="9813775"/>
                  </a:lnTo>
                  <a:lnTo>
                    <a:pt x="8670148" y="9794715"/>
                  </a:lnTo>
                  <a:lnTo>
                    <a:pt x="8665383" y="9780420"/>
                  </a:lnTo>
                  <a:lnTo>
                    <a:pt x="8674914" y="9737533"/>
                  </a:lnTo>
                  <a:lnTo>
                    <a:pt x="8674914" y="9723238"/>
                  </a:lnTo>
                  <a:lnTo>
                    <a:pt x="8670148" y="9704178"/>
                  </a:lnTo>
                  <a:lnTo>
                    <a:pt x="8660618" y="9699412"/>
                  </a:lnTo>
                  <a:lnTo>
                    <a:pt x="8665383" y="9694647"/>
                  </a:lnTo>
                  <a:lnTo>
                    <a:pt x="8679679" y="9689882"/>
                  </a:lnTo>
                  <a:lnTo>
                    <a:pt x="8698739" y="9699412"/>
                  </a:lnTo>
                  <a:lnTo>
                    <a:pt x="8717800" y="9713708"/>
                  </a:lnTo>
                  <a:lnTo>
                    <a:pt x="8741625" y="9713708"/>
                  </a:lnTo>
                  <a:lnTo>
                    <a:pt x="8770216" y="9699412"/>
                  </a:lnTo>
                  <a:lnTo>
                    <a:pt x="8798807" y="9689882"/>
                  </a:lnTo>
                  <a:lnTo>
                    <a:pt x="8851223" y="9694647"/>
                  </a:lnTo>
                  <a:lnTo>
                    <a:pt x="8865519" y="9699412"/>
                  </a:lnTo>
                  <a:lnTo>
                    <a:pt x="8913170" y="9737533"/>
                  </a:lnTo>
                  <a:lnTo>
                    <a:pt x="8956056" y="9761359"/>
                  </a:lnTo>
                  <a:lnTo>
                    <a:pt x="8970351" y="9756594"/>
                  </a:lnTo>
                  <a:lnTo>
                    <a:pt x="9060889" y="9766124"/>
                  </a:lnTo>
                  <a:lnTo>
                    <a:pt x="9099010" y="9761359"/>
                  </a:lnTo>
                  <a:lnTo>
                    <a:pt x="9118070" y="9761359"/>
                  </a:lnTo>
                  <a:lnTo>
                    <a:pt x="9156191" y="9785185"/>
                  </a:lnTo>
                  <a:lnTo>
                    <a:pt x="9151426" y="9804245"/>
                  </a:lnTo>
                  <a:lnTo>
                    <a:pt x="9137131" y="9832836"/>
                  </a:lnTo>
                  <a:lnTo>
                    <a:pt x="9113305" y="9842366"/>
                  </a:lnTo>
                  <a:lnTo>
                    <a:pt x="9094245" y="9851896"/>
                  </a:lnTo>
                  <a:lnTo>
                    <a:pt x="9113305" y="9866192"/>
                  </a:lnTo>
                  <a:lnTo>
                    <a:pt x="9165722" y="9890017"/>
                  </a:lnTo>
                  <a:lnTo>
                    <a:pt x="9180017" y="9923373"/>
                  </a:lnTo>
                  <a:lnTo>
                    <a:pt x="9180017" y="9937669"/>
                  </a:lnTo>
                  <a:lnTo>
                    <a:pt x="9175252" y="9951964"/>
                  </a:lnTo>
                  <a:lnTo>
                    <a:pt x="9180017" y="9961494"/>
                  </a:lnTo>
                  <a:lnTo>
                    <a:pt x="9189547" y="9961494"/>
                  </a:lnTo>
                  <a:lnTo>
                    <a:pt x="9222903" y="9947199"/>
                  </a:lnTo>
                  <a:lnTo>
                    <a:pt x="9256259" y="9956729"/>
                  </a:lnTo>
                  <a:lnTo>
                    <a:pt x="9303910" y="9980555"/>
                  </a:lnTo>
                  <a:lnTo>
                    <a:pt x="9313441" y="9990085"/>
                  </a:lnTo>
                  <a:lnTo>
                    <a:pt x="9318206" y="10009146"/>
                  </a:lnTo>
                  <a:lnTo>
                    <a:pt x="9318206" y="10018676"/>
                  </a:lnTo>
                  <a:lnTo>
                    <a:pt x="9275320" y="10066327"/>
                  </a:lnTo>
                  <a:lnTo>
                    <a:pt x="9251494" y="10090153"/>
                  </a:lnTo>
                  <a:lnTo>
                    <a:pt x="9222903" y="10109213"/>
                  </a:lnTo>
                  <a:lnTo>
                    <a:pt x="9222903" y="10118744"/>
                  </a:lnTo>
                  <a:lnTo>
                    <a:pt x="9261024" y="10123509"/>
                  </a:lnTo>
                  <a:lnTo>
                    <a:pt x="9294380" y="10128274"/>
                  </a:lnTo>
                  <a:lnTo>
                    <a:pt x="9308676" y="10133039"/>
                  </a:lnTo>
                  <a:lnTo>
                    <a:pt x="9318206" y="10142569"/>
                  </a:lnTo>
                  <a:lnTo>
                    <a:pt x="9327736" y="10166395"/>
                  </a:lnTo>
                  <a:lnTo>
                    <a:pt x="9332501" y="10180690"/>
                  </a:lnTo>
                  <a:lnTo>
                    <a:pt x="9327736" y="10204516"/>
                  </a:lnTo>
                  <a:lnTo>
                    <a:pt x="9327736" y="10218811"/>
                  </a:lnTo>
                  <a:lnTo>
                    <a:pt x="9289615" y="10261697"/>
                  </a:lnTo>
                  <a:lnTo>
                    <a:pt x="9270555" y="10275993"/>
                  </a:lnTo>
                  <a:lnTo>
                    <a:pt x="9241964" y="10290288"/>
                  </a:lnTo>
                  <a:lnTo>
                    <a:pt x="9227668" y="10299818"/>
                  </a:lnTo>
                  <a:lnTo>
                    <a:pt x="9213373" y="10299818"/>
                  </a:lnTo>
                  <a:lnTo>
                    <a:pt x="9199078" y="10285523"/>
                  </a:lnTo>
                  <a:lnTo>
                    <a:pt x="9180017" y="10280758"/>
                  </a:lnTo>
                  <a:lnTo>
                    <a:pt x="9151426" y="10295053"/>
                  </a:lnTo>
                  <a:lnTo>
                    <a:pt x="9137131" y="10295053"/>
                  </a:lnTo>
                  <a:lnTo>
                    <a:pt x="9127601" y="10299818"/>
                  </a:lnTo>
                  <a:lnTo>
                    <a:pt x="9127601" y="10309348"/>
                  </a:lnTo>
                  <a:lnTo>
                    <a:pt x="9141896" y="10333174"/>
                  </a:lnTo>
                  <a:lnTo>
                    <a:pt x="9151426" y="10347470"/>
                  </a:lnTo>
                  <a:lnTo>
                    <a:pt x="9151426" y="10352235"/>
                  </a:lnTo>
                  <a:lnTo>
                    <a:pt x="9146661" y="10366530"/>
                  </a:lnTo>
                  <a:lnTo>
                    <a:pt x="9146661" y="10371295"/>
                  </a:lnTo>
                  <a:lnTo>
                    <a:pt x="9151426" y="10376060"/>
                  </a:lnTo>
                  <a:lnTo>
                    <a:pt x="9180017" y="10433242"/>
                  </a:lnTo>
                  <a:lnTo>
                    <a:pt x="9184782" y="10438007"/>
                  </a:lnTo>
                  <a:lnTo>
                    <a:pt x="9189547" y="10438007"/>
                  </a:lnTo>
                  <a:lnTo>
                    <a:pt x="9203843" y="10418946"/>
                  </a:lnTo>
                  <a:lnTo>
                    <a:pt x="9208608" y="10414181"/>
                  </a:lnTo>
                  <a:lnTo>
                    <a:pt x="9213373" y="10414181"/>
                  </a:lnTo>
                  <a:lnTo>
                    <a:pt x="9213373" y="10423712"/>
                  </a:lnTo>
                  <a:lnTo>
                    <a:pt x="9199078" y="10476128"/>
                  </a:lnTo>
                  <a:lnTo>
                    <a:pt x="9199078" y="10485658"/>
                  </a:lnTo>
                  <a:lnTo>
                    <a:pt x="9199078" y="10499954"/>
                  </a:lnTo>
                  <a:lnTo>
                    <a:pt x="9203843" y="10523779"/>
                  </a:lnTo>
                  <a:lnTo>
                    <a:pt x="9218138" y="10552370"/>
                  </a:lnTo>
                  <a:lnTo>
                    <a:pt x="9232433" y="10576196"/>
                  </a:lnTo>
                  <a:lnTo>
                    <a:pt x="9261024" y="10609552"/>
                  </a:lnTo>
                  <a:lnTo>
                    <a:pt x="9294380" y="10647672"/>
                  </a:lnTo>
                  <a:lnTo>
                    <a:pt x="9303910" y="10661968"/>
                  </a:lnTo>
                  <a:lnTo>
                    <a:pt x="9322971" y="10704854"/>
                  </a:lnTo>
                  <a:lnTo>
                    <a:pt x="9327736" y="10719150"/>
                  </a:lnTo>
                  <a:lnTo>
                    <a:pt x="9322971" y="10762036"/>
                  </a:lnTo>
                  <a:lnTo>
                    <a:pt x="9308676" y="10828747"/>
                  </a:lnTo>
                  <a:lnTo>
                    <a:pt x="9299145" y="10866868"/>
                  </a:lnTo>
                  <a:lnTo>
                    <a:pt x="9299145" y="10876398"/>
                  </a:lnTo>
                  <a:lnTo>
                    <a:pt x="9270555" y="10904990"/>
                  </a:lnTo>
                  <a:lnTo>
                    <a:pt x="9256259" y="10909754"/>
                  </a:lnTo>
                  <a:lnTo>
                    <a:pt x="9232433" y="10909754"/>
                  </a:lnTo>
                  <a:lnTo>
                    <a:pt x="9227668" y="10914520"/>
                  </a:lnTo>
                  <a:lnTo>
                    <a:pt x="9213373" y="10933580"/>
                  </a:lnTo>
                  <a:lnTo>
                    <a:pt x="9194312" y="10971701"/>
                  </a:lnTo>
                  <a:lnTo>
                    <a:pt x="9184782" y="10995527"/>
                  </a:lnTo>
                  <a:lnTo>
                    <a:pt x="9175252" y="11009822"/>
                  </a:lnTo>
                  <a:lnTo>
                    <a:pt x="9156191" y="11019352"/>
                  </a:lnTo>
                  <a:lnTo>
                    <a:pt x="9127601" y="11052708"/>
                  </a:lnTo>
                  <a:lnTo>
                    <a:pt x="9113305" y="11067004"/>
                  </a:lnTo>
                  <a:lnTo>
                    <a:pt x="9065654" y="11081299"/>
                  </a:lnTo>
                  <a:lnTo>
                    <a:pt x="9027533" y="11128950"/>
                  </a:lnTo>
                  <a:lnTo>
                    <a:pt x="9013238" y="11143246"/>
                  </a:lnTo>
                  <a:lnTo>
                    <a:pt x="8994177" y="11152776"/>
                  </a:lnTo>
                  <a:lnTo>
                    <a:pt x="8975117" y="11152776"/>
                  </a:lnTo>
                  <a:lnTo>
                    <a:pt x="8965586" y="11148011"/>
                  </a:lnTo>
                  <a:lnTo>
                    <a:pt x="8960821" y="11114655"/>
                  </a:lnTo>
                  <a:lnTo>
                    <a:pt x="8956056" y="11109890"/>
                  </a:lnTo>
                  <a:lnTo>
                    <a:pt x="8941761" y="11090829"/>
                  </a:lnTo>
                  <a:lnTo>
                    <a:pt x="8913170" y="11033648"/>
                  </a:lnTo>
                  <a:lnTo>
                    <a:pt x="8903640" y="11009822"/>
                  </a:lnTo>
                  <a:lnTo>
                    <a:pt x="8894109" y="11009822"/>
                  </a:lnTo>
                  <a:lnTo>
                    <a:pt x="8879814" y="11009822"/>
                  </a:lnTo>
                  <a:lnTo>
                    <a:pt x="8870284" y="11009822"/>
                  </a:lnTo>
                  <a:lnTo>
                    <a:pt x="8851223" y="10990762"/>
                  </a:lnTo>
                  <a:lnTo>
                    <a:pt x="8846458" y="10981232"/>
                  </a:lnTo>
                  <a:lnTo>
                    <a:pt x="8846458" y="10976466"/>
                  </a:lnTo>
                  <a:lnTo>
                    <a:pt x="8860754" y="10966936"/>
                  </a:lnTo>
                  <a:lnTo>
                    <a:pt x="8851223" y="10957406"/>
                  </a:lnTo>
                  <a:lnTo>
                    <a:pt x="8827398" y="10933580"/>
                  </a:lnTo>
                  <a:lnTo>
                    <a:pt x="8817867" y="10919285"/>
                  </a:lnTo>
                  <a:lnTo>
                    <a:pt x="8817867" y="10914520"/>
                  </a:lnTo>
                  <a:lnTo>
                    <a:pt x="8794042" y="10895459"/>
                  </a:lnTo>
                  <a:lnTo>
                    <a:pt x="8770216" y="10890694"/>
                  </a:lnTo>
                  <a:lnTo>
                    <a:pt x="8741625" y="10919285"/>
                  </a:lnTo>
                  <a:lnTo>
                    <a:pt x="8727330" y="10943110"/>
                  </a:lnTo>
                  <a:lnTo>
                    <a:pt x="8727330" y="10947876"/>
                  </a:lnTo>
                  <a:lnTo>
                    <a:pt x="8741625" y="10952641"/>
                  </a:lnTo>
                  <a:lnTo>
                    <a:pt x="8751156" y="10952641"/>
                  </a:lnTo>
                  <a:lnTo>
                    <a:pt x="8760686" y="10933580"/>
                  </a:lnTo>
                  <a:lnTo>
                    <a:pt x="8770216" y="10928815"/>
                  </a:lnTo>
                  <a:lnTo>
                    <a:pt x="8789277" y="10928815"/>
                  </a:lnTo>
                  <a:lnTo>
                    <a:pt x="8803572" y="10943110"/>
                  </a:lnTo>
                  <a:lnTo>
                    <a:pt x="8808337" y="10952641"/>
                  </a:lnTo>
                  <a:lnTo>
                    <a:pt x="8808337" y="10962171"/>
                  </a:lnTo>
                  <a:lnTo>
                    <a:pt x="8851223" y="11019352"/>
                  </a:lnTo>
                  <a:lnTo>
                    <a:pt x="8865519" y="11028883"/>
                  </a:lnTo>
                  <a:lnTo>
                    <a:pt x="8875049" y="11043178"/>
                  </a:lnTo>
                  <a:lnTo>
                    <a:pt x="8879814" y="11067004"/>
                  </a:lnTo>
                  <a:lnTo>
                    <a:pt x="8889344" y="11090829"/>
                  </a:lnTo>
                  <a:lnTo>
                    <a:pt x="8908405" y="11133716"/>
                  </a:lnTo>
                  <a:lnTo>
                    <a:pt x="8927465" y="11186132"/>
                  </a:lnTo>
                  <a:lnTo>
                    <a:pt x="8932230" y="11205192"/>
                  </a:lnTo>
                  <a:lnTo>
                    <a:pt x="8922700" y="11214722"/>
                  </a:lnTo>
                  <a:lnTo>
                    <a:pt x="8917935" y="11214722"/>
                  </a:lnTo>
                  <a:lnTo>
                    <a:pt x="8898875" y="11205192"/>
                  </a:lnTo>
                  <a:lnTo>
                    <a:pt x="8855988" y="11181367"/>
                  </a:lnTo>
                  <a:lnTo>
                    <a:pt x="8851223" y="11181367"/>
                  </a:lnTo>
                  <a:lnTo>
                    <a:pt x="8841693" y="11195662"/>
                  </a:lnTo>
                  <a:lnTo>
                    <a:pt x="8832163" y="11224253"/>
                  </a:lnTo>
                  <a:lnTo>
                    <a:pt x="8827398" y="11229018"/>
                  </a:lnTo>
                  <a:lnTo>
                    <a:pt x="8803572" y="11214722"/>
                  </a:lnTo>
                  <a:lnTo>
                    <a:pt x="8760686" y="11190897"/>
                  </a:lnTo>
                  <a:lnTo>
                    <a:pt x="8732095" y="11171836"/>
                  </a:lnTo>
                  <a:lnTo>
                    <a:pt x="8717800" y="11152776"/>
                  </a:lnTo>
                  <a:lnTo>
                    <a:pt x="8698739" y="11124185"/>
                  </a:lnTo>
                  <a:lnTo>
                    <a:pt x="8674914" y="11086064"/>
                  </a:lnTo>
                  <a:lnTo>
                    <a:pt x="8651088" y="11076534"/>
                  </a:lnTo>
                  <a:lnTo>
                    <a:pt x="8622497" y="11090829"/>
                  </a:lnTo>
                  <a:lnTo>
                    <a:pt x="8579611" y="11095594"/>
                  </a:lnTo>
                  <a:lnTo>
                    <a:pt x="8491456" y="11090829"/>
                  </a:lnTo>
                  <a:lnTo>
                    <a:pt x="8481926" y="11090829"/>
                  </a:lnTo>
                  <a:lnTo>
                    <a:pt x="8477161" y="11095594"/>
                  </a:lnTo>
                  <a:lnTo>
                    <a:pt x="8486691" y="11119420"/>
                  </a:lnTo>
                  <a:lnTo>
                    <a:pt x="8481926" y="11124185"/>
                  </a:lnTo>
                  <a:lnTo>
                    <a:pt x="8477161" y="11128950"/>
                  </a:lnTo>
                  <a:lnTo>
                    <a:pt x="8477161" y="11133716"/>
                  </a:lnTo>
                  <a:lnTo>
                    <a:pt x="8486691" y="11157541"/>
                  </a:lnTo>
                  <a:lnTo>
                    <a:pt x="8500986" y="11171836"/>
                  </a:lnTo>
                  <a:lnTo>
                    <a:pt x="8543873" y="11190897"/>
                  </a:lnTo>
                  <a:lnTo>
                    <a:pt x="8572463" y="11209958"/>
                  </a:lnTo>
                  <a:lnTo>
                    <a:pt x="8589141" y="11224253"/>
                  </a:lnTo>
                  <a:lnTo>
                    <a:pt x="8593906" y="11233783"/>
                  </a:lnTo>
                  <a:lnTo>
                    <a:pt x="8593906" y="11248078"/>
                  </a:lnTo>
                  <a:lnTo>
                    <a:pt x="8589141" y="11276669"/>
                  </a:lnTo>
                  <a:lnTo>
                    <a:pt x="8584376" y="11286200"/>
                  </a:lnTo>
                  <a:lnTo>
                    <a:pt x="8481926" y="11419623"/>
                  </a:lnTo>
                  <a:lnTo>
                    <a:pt x="8443805" y="11476804"/>
                  </a:lnTo>
                  <a:lnTo>
                    <a:pt x="8424744" y="11510160"/>
                  </a:lnTo>
                  <a:lnTo>
                    <a:pt x="8405684" y="11529221"/>
                  </a:lnTo>
                  <a:lnTo>
                    <a:pt x="8391388" y="11538751"/>
                  </a:lnTo>
                  <a:lnTo>
                    <a:pt x="8362798" y="11548282"/>
                  </a:lnTo>
                  <a:lnTo>
                    <a:pt x="8329442" y="11548282"/>
                  </a:lnTo>
                  <a:lnTo>
                    <a:pt x="8286556" y="11543516"/>
                  </a:lnTo>
                  <a:lnTo>
                    <a:pt x="8257965" y="11524456"/>
                  </a:lnTo>
                  <a:lnTo>
                    <a:pt x="8219844" y="11481570"/>
                  </a:lnTo>
                  <a:lnTo>
                    <a:pt x="8186488" y="11452979"/>
                  </a:lnTo>
                  <a:lnTo>
                    <a:pt x="8172192" y="11443449"/>
                  </a:lnTo>
                  <a:lnTo>
                    <a:pt x="8162662" y="11419623"/>
                  </a:lnTo>
                  <a:lnTo>
                    <a:pt x="8153132" y="11414858"/>
                  </a:lnTo>
                  <a:lnTo>
                    <a:pt x="8134072" y="11410093"/>
                  </a:lnTo>
                  <a:lnTo>
                    <a:pt x="8110246" y="11395798"/>
                  </a:lnTo>
                  <a:lnTo>
                    <a:pt x="8057830" y="11348146"/>
                  </a:lnTo>
                  <a:lnTo>
                    <a:pt x="8029239" y="11329086"/>
                  </a:lnTo>
                  <a:lnTo>
                    <a:pt x="8005413" y="11319556"/>
                  </a:lnTo>
                  <a:lnTo>
                    <a:pt x="7986352" y="11319556"/>
                  </a:lnTo>
                  <a:lnTo>
                    <a:pt x="7976822" y="11319556"/>
                  </a:lnTo>
                  <a:lnTo>
                    <a:pt x="7991118" y="11343381"/>
                  </a:lnTo>
                  <a:lnTo>
                    <a:pt x="7986352" y="11348146"/>
                  </a:lnTo>
                  <a:lnTo>
                    <a:pt x="7967292" y="11338616"/>
                  </a:lnTo>
                  <a:lnTo>
                    <a:pt x="7948232" y="11338616"/>
                  </a:lnTo>
                  <a:lnTo>
                    <a:pt x="7919641" y="11324320"/>
                  </a:lnTo>
                  <a:lnTo>
                    <a:pt x="7886285" y="11324320"/>
                  </a:lnTo>
                  <a:lnTo>
                    <a:pt x="7862460" y="11324320"/>
                  </a:lnTo>
                  <a:lnTo>
                    <a:pt x="7838634" y="11314790"/>
                  </a:lnTo>
                  <a:lnTo>
                    <a:pt x="7810043" y="11310025"/>
                  </a:lnTo>
                  <a:lnTo>
                    <a:pt x="7762392" y="11310025"/>
                  </a:lnTo>
                  <a:lnTo>
                    <a:pt x="7748096" y="11310025"/>
                  </a:lnTo>
                  <a:lnTo>
                    <a:pt x="7743331" y="11314790"/>
                  </a:lnTo>
                  <a:lnTo>
                    <a:pt x="7767157" y="11333851"/>
                  </a:lnTo>
                  <a:lnTo>
                    <a:pt x="7805278" y="11362442"/>
                  </a:lnTo>
                  <a:lnTo>
                    <a:pt x="7800512" y="11338616"/>
                  </a:lnTo>
                  <a:lnTo>
                    <a:pt x="7800512" y="11333851"/>
                  </a:lnTo>
                  <a:lnTo>
                    <a:pt x="7814808" y="11324320"/>
                  </a:lnTo>
                  <a:lnTo>
                    <a:pt x="7871990" y="11338616"/>
                  </a:lnTo>
                  <a:lnTo>
                    <a:pt x="7943466" y="11367207"/>
                  </a:lnTo>
                  <a:lnTo>
                    <a:pt x="7957762" y="11371972"/>
                  </a:lnTo>
                  <a:lnTo>
                    <a:pt x="7976822" y="11381502"/>
                  </a:lnTo>
                  <a:lnTo>
                    <a:pt x="8000648" y="11395798"/>
                  </a:lnTo>
                  <a:lnTo>
                    <a:pt x="8029239" y="11429153"/>
                  </a:lnTo>
                  <a:lnTo>
                    <a:pt x="8086420" y="11505395"/>
                  </a:lnTo>
                  <a:lnTo>
                    <a:pt x="8105481" y="11524456"/>
                  </a:lnTo>
                  <a:lnTo>
                    <a:pt x="8129306" y="11543516"/>
                  </a:lnTo>
                  <a:lnTo>
                    <a:pt x="8248434" y="11567342"/>
                  </a:lnTo>
                  <a:lnTo>
                    <a:pt x="8291321" y="11567342"/>
                  </a:lnTo>
                  <a:lnTo>
                    <a:pt x="8372328" y="11576872"/>
                  </a:lnTo>
                  <a:lnTo>
                    <a:pt x="8419979" y="11586402"/>
                  </a:lnTo>
                  <a:lnTo>
                    <a:pt x="8429510" y="11600698"/>
                  </a:lnTo>
                  <a:lnTo>
                    <a:pt x="8434275" y="11634054"/>
                  </a:lnTo>
                  <a:lnTo>
                    <a:pt x="8429510" y="11648349"/>
                  </a:lnTo>
                  <a:lnTo>
                    <a:pt x="8405684" y="11700766"/>
                  </a:lnTo>
                  <a:lnTo>
                    <a:pt x="8391388" y="11734122"/>
                  </a:lnTo>
                  <a:lnTo>
                    <a:pt x="8296086" y="11891370"/>
                  </a:lnTo>
                  <a:lnTo>
                    <a:pt x="8286556" y="11924726"/>
                  </a:lnTo>
                  <a:lnTo>
                    <a:pt x="8281790" y="11948552"/>
                  </a:lnTo>
                  <a:lnTo>
                    <a:pt x="8262730" y="11967612"/>
                  </a:lnTo>
                  <a:lnTo>
                    <a:pt x="8219844" y="12000968"/>
                  </a:lnTo>
                  <a:lnTo>
                    <a:pt x="8176958" y="12029559"/>
                  </a:lnTo>
                  <a:lnTo>
                    <a:pt x="8153132" y="12039090"/>
                  </a:lnTo>
                  <a:lnTo>
                    <a:pt x="8129306" y="12029559"/>
                  </a:lnTo>
                  <a:lnTo>
                    <a:pt x="8115011" y="12024794"/>
                  </a:lnTo>
                  <a:lnTo>
                    <a:pt x="8091186" y="11996203"/>
                  </a:lnTo>
                  <a:lnTo>
                    <a:pt x="8105481" y="12043855"/>
                  </a:lnTo>
                  <a:lnTo>
                    <a:pt x="8100716" y="12048620"/>
                  </a:lnTo>
                  <a:lnTo>
                    <a:pt x="8091186" y="12039090"/>
                  </a:lnTo>
                  <a:lnTo>
                    <a:pt x="8057830" y="12020029"/>
                  </a:lnTo>
                  <a:lnTo>
                    <a:pt x="8053064" y="12024794"/>
                  </a:lnTo>
                  <a:lnTo>
                    <a:pt x="8043534" y="12029559"/>
                  </a:lnTo>
                  <a:lnTo>
                    <a:pt x="8038769" y="12029559"/>
                  </a:lnTo>
                  <a:lnTo>
                    <a:pt x="8029239" y="12024794"/>
                  </a:lnTo>
                  <a:lnTo>
                    <a:pt x="8010178" y="12005734"/>
                  </a:lnTo>
                  <a:lnTo>
                    <a:pt x="8005413" y="12000968"/>
                  </a:lnTo>
                  <a:lnTo>
                    <a:pt x="8000648" y="11977143"/>
                  </a:lnTo>
                  <a:lnTo>
                    <a:pt x="7995883" y="11972378"/>
                  </a:lnTo>
                  <a:lnTo>
                    <a:pt x="7962527" y="11986673"/>
                  </a:lnTo>
                  <a:lnTo>
                    <a:pt x="7952997" y="11991438"/>
                  </a:lnTo>
                  <a:lnTo>
                    <a:pt x="7972058" y="12000968"/>
                  </a:lnTo>
                  <a:lnTo>
                    <a:pt x="7976822" y="12005734"/>
                  </a:lnTo>
                  <a:lnTo>
                    <a:pt x="7991118" y="12043855"/>
                  </a:lnTo>
                  <a:lnTo>
                    <a:pt x="7991118" y="12048620"/>
                  </a:lnTo>
                  <a:lnTo>
                    <a:pt x="7981588" y="12053385"/>
                  </a:lnTo>
                  <a:lnTo>
                    <a:pt x="7943466" y="12039090"/>
                  </a:lnTo>
                  <a:lnTo>
                    <a:pt x="7938702" y="12043855"/>
                  </a:lnTo>
                  <a:lnTo>
                    <a:pt x="7957762" y="12077210"/>
                  </a:lnTo>
                  <a:lnTo>
                    <a:pt x="7962527" y="12096271"/>
                  </a:lnTo>
                  <a:lnTo>
                    <a:pt x="7962527" y="12105801"/>
                  </a:lnTo>
                  <a:lnTo>
                    <a:pt x="7943466" y="12143922"/>
                  </a:lnTo>
                  <a:lnTo>
                    <a:pt x="7929171" y="12162983"/>
                  </a:lnTo>
                  <a:lnTo>
                    <a:pt x="7910110" y="12167748"/>
                  </a:lnTo>
                  <a:lnTo>
                    <a:pt x="7895815" y="12162983"/>
                  </a:lnTo>
                  <a:lnTo>
                    <a:pt x="7881520" y="12153452"/>
                  </a:lnTo>
                  <a:lnTo>
                    <a:pt x="7871990" y="12153452"/>
                  </a:lnTo>
                  <a:lnTo>
                    <a:pt x="7867224" y="12167748"/>
                  </a:lnTo>
                  <a:lnTo>
                    <a:pt x="7857694" y="12177278"/>
                  </a:lnTo>
                  <a:lnTo>
                    <a:pt x="7838634" y="12182043"/>
                  </a:lnTo>
                  <a:lnTo>
                    <a:pt x="7819573" y="12182043"/>
                  </a:lnTo>
                  <a:lnTo>
                    <a:pt x="7795748" y="12172513"/>
                  </a:lnTo>
                  <a:lnTo>
                    <a:pt x="7729036" y="12134392"/>
                  </a:lnTo>
                  <a:lnTo>
                    <a:pt x="7705210" y="12124862"/>
                  </a:lnTo>
                  <a:lnTo>
                    <a:pt x="7667089" y="12120097"/>
                  </a:lnTo>
                  <a:lnTo>
                    <a:pt x="7662324" y="12115332"/>
                  </a:lnTo>
                  <a:lnTo>
                    <a:pt x="7662324" y="12110566"/>
                  </a:lnTo>
                  <a:lnTo>
                    <a:pt x="7667089" y="12105801"/>
                  </a:lnTo>
                  <a:lnTo>
                    <a:pt x="7667089" y="12101036"/>
                  </a:lnTo>
                  <a:lnTo>
                    <a:pt x="7657559" y="12096271"/>
                  </a:lnTo>
                  <a:lnTo>
                    <a:pt x="7648028" y="12101036"/>
                  </a:lnTo>
                  <a:lnTo>
                    <a:pt x="7638498" y="12110566"/>
                  </a:lnTo>
                  <a:lnTo>
                    <a:pt x="7624203" y="12115332"/>
                  </a:lnTo>
                  <a:lnTo>
                    <a:pt x="7600378" y="12110566"/>
                  </a:lnTo>
                  <a:lnTo>
                    <a:pt x="7567022" y="12096271"/>
                  </a:lnTo>
                  <a:lnTo>
                    <a:pt x="7505075" y="12058150"/>
                  </a:lnTo>
                  <a:lnTo>
                    <a:pt x="7433598" y="12024794"/>
                  </a:lnTo>
                  <a:lnTo>
                    <a:pt x="7390712" y="11981908"/>
                  </a:lnTo>
                  <a:lnTo>
                    <a:pt x="7405007" y="12020029"/>
                  </a:lnTo>
                  <a:lnTo>
                    <a:pt x="7405007" y="12034324"/>
                  </a:lnTo>
                  <a:lnTo>
                    <a:pt x="7395477" y="12043855"/>
                  </a:lnTo>
                  <a:lnTo>
                    <a:pt x="7395477" y="12058150"/>
                  </a:lnTo>
                  <a:lnTo>
                    <a:pt x="7409772" y="12081976"/>
                  </a:lnTo>
                  <a:lnTo>
                    <a:pt x="7433598" y="12091506"/>
                  </a:lnTo>
                  <a:lnTo>
                    <a:pt x="7457424" y="12091506"/>
                  </a:lnTo>
                  <a:lnTo>
                    <a:pt x="7457424" y="12086741"/>
                  </a:lnTo>
                  <a:lnTo>
                    <a:pt x="7447894" y="12081976"/>
                  </a:lnTo>
                  <a:lnTo>
                    <a:pt x="7438363" y="12072446"/>
                  </a:lnTo>
                  <a:lnTo>
                    <a:pt x="7433598" y="12058150"/>
                  </a:lnTo>
                  <a:lnTo>
                    <a:pt x="7438363" y="12053385"/>
                  </a:lnTo>
                  <a:lnTo>
                    <a:pt x="7457424" y="12062915"/>
                  </a:lnTo>
                  <a:lnTo>
                    <a:pt x="7471719" y="12072446"/>
                  </a:lnTo>
                  <a:lnTo>
                    <a:pt x="7571786" y="12120097"/>
                  </a:lnTo>
                  <a:lnTo>
                    <a:pt x="7600378" y="12129627"/>
                  </a:lnTo>
                  <a:lnTo>
                    <a:pt x="7624203" y="12139157"/>
                  </a:lnTo>
                  <a:lnTo>
                    <a:pt x="7628968" y="12143922"/>
                  </a:lnTo>
                  <a:lnTo>
                    <a:pt x="7624203" y="12158218"/>
                  </a:lnTo>
                  <a:lnTo>
                    <a:pt x="7581317" y="12186808"/>
                  </a:lnTo>
                  <a:lnTo>
                    <a:pt x="7581317" y="12191574"/>
                  </a:lnTo>
                  <a:lnTo>
                    <a:pt x="7609908" y="12191574"/>
                  </a:lnTo>
                  <a:lnTo>
                    <a:pt x="7643264" y="12162983"/>
                  </a:lnTo>
                  <a:lnTo>
                    <a:pt x="7662324" y="12148688"/>
                  </a:lnTo>
                  <a:lnTo>
                    <a:pt x="7681384" y="12143922"/>
                  </a:lnTo>
                  <a:lnTo>
                    <a:pt x="7705210" y="12153452"/>
                  </a:lnTo>
                  <a:lnTo>
                    <a:pt x="7733801" y="12191574"/>
                  </a:lnTo>
                  <a:lnTo>
                    <a:pt x="7757626" y="12210634"/>
                  </a:lnTo>
                  <a:lnTo>
                    <a:pt x="7795748" y="12220164"/>
                  </a:lnTo>
                  <a:lnTo>
                    <a:pt x="7814808" y="12229694"/>
                  </a:lnTo>
                  <a:lnTo>
                    <a:pt x="7848164" y="12263050"/>
                  </a:lnTo>
                  <a:lnTo>
                    <a:pt x="7857694" y="12277346"/>
                  </a:lnTo>
                  <a:lnTo>
                    <a:pt x="7857694" y="12348823"/>
                  </a:lnTo>
                  <a:lnTo>
                    <a:pt x="7857694" y="12363118"/>
                  </a:lnTo>
                  <a:lnTo>
                    <a:pt x="7852929" y="12377414"/>
                  </a:lnTo>
                  <a:lnTo>
                    <a:pt x="7843399" y="12396474"/>
                  </a:lnTo>
                  <a:lnTo>
                    <a:pt x="7829104" y="12406004"/>
                  </a:lnTo>
                  <a:lnTo>
                    <a:pt x="7810043" y="12406004"/>
                  </a:lnTo>
                  <a:lnTo>
                    <a:pt x="7790982" y="12410770"/>
                  </a:lnTo>
                  <a:lnTo>
                    <a:pt x="7757626" y="12448890"/>
                  </a:lnTo>
                  <a:lnTo>
                    <a:pt x="7738566" y="12453656"/>
                  </a:lnTo>
                  <a:lnTo>
                    <a:pt x="7676620" y="12444125"/>
                  </a:lnTo>
                  <a:lnTo>
                    <a:pt x="7648028" y="12429830"/>
                  </a:lnTo>
                  <a:lnTo>
                    <a:pt x="7638498" y="12434595"/>
                  </a:lnTo>
                  <a:lnTo>
                    <a:pt x="7628968" y="12439360"/>
                  </a:lnTo>
                  <a:lnTo>
                    <a:pt x="7624203" y="12444125"/>
                  </a:lnTo>
                  <a:lnTo>
                    <a:pt x="7600378" y="12448890"/>
                  </a:lnTo>
                  <a:lnTo>
                    <a:pt x="7595612" y="12453656"/>
                  </a:lnTo>
                  <a:lnTo>
                    <a:pt x="7595612" y="12463186"/>
                  </a:lnTo>
                  <a:lnTo>
                    <a:pt x="7600378" y="12477481"/>
                  </a:lnTo>
                  <a:lnTo>
                    <a:pt x="7605142" y="12482246"/>
                  </a:lnTo>
                  <a:lnTo>
                    <a:pt x="7614672" y="12491776"/>
                  </a:lnTo>
                  <a:lnTo>
                    <a:pt x="7628968" y="12501307"/>
                  </a:lnTo>
                  <a:lnTo>
                    <a:pt x="7662324" y="12506072"/>
                  </a:lnTo>
                  <a:lnTo>
                    <a:pt x="7667089" y="12525132"/>
                  </a:lnTo>
                  <a:lnTo>
                    <a:pt x="7662324" y="12529898"/>
                  </a:lnTo>
                  <a:lnTo>
                    <a:pt x="7652794" y="12544193"/>
                  </a:lnTo>
                  <a:lnTo>
                    <a:pt x="7643264" y="12539428"/>
                  </a:lnTo>
                  <a:lnTo>
                    <a:pt x="7624203" y="12525132"/>
                  </a:lnTo>
                  <a:lnTo>
                    <a:pt x="7614672" y="12525132"/>
                  </a:lnTo>
                  <a:lnTo>
                    <a:pt x="7605142" y="12534663"/>
                  </a:lnTo>
                  <a:lnTo>
                    <a:pt x="7590847" y="12534663"/>
                  </a:lnTo>
                  <a:lnTo>
                    <a:pt x="7576552" y="12534663"/>
                  </a:lnTo>
                  <a:lnTo>
                    <a:pt x="7567022" y="12539428"/>
                  </a:lnTo>
                  <a:lnTo>
                    <a:pt x="7567022" y="12553723"/>
                  </a:lnTo>
                  <a:lnTo>
                    <a:pt x="7562256" y="12568018"/>
                  </a:lnTo>
                  <a:lnTo>
                    <a:pt x="7543196" y="12582314"/>
                  </a:lnTo>
                  <a:lnTo>
                    <a:pt x="7533666" y="12596609"/>
                  </a:lnTo>
                  <a:lnTo>
                    <a:pt x="7533666" y="12606140"/>
                  </a:lnTo>
                  <a:lnTo>
                    <a:pt x="7543196" y="12615670"/>
                  </a:lnTo>
                  <a:lnTo>
                    <a:pt x="7557491" y="12629965"/>
                  </a:lnTo>
                  <a:lnTo>
                    <a:pt x="7571786" y="12658556"/>
                  </a:lnTo>
                  <a:lnTo>
                    <a:pt x="7571786" y="12668086"/>
                  </a:lnTo>
                  <a:lnTo>
                    <a:pt x="7562256" y="12663321"/>
                  </a:lnTo>
                  <a:lnTo>
                    <a:pt x="7552726" y="12653791"/>
                  </a:lnTo>
                  <a:lnTo>
                    <a:pt x="7538430" y="12634730"/>
                  </a:lnTo>
                  <a:lnTo>
                    <a:pt x="7519370" y="12620435"/>
                  </a:lnTo>
                  <a:lnTo>
                    <a:pt x="7476484" y="12601374"/>
                  </a:lnTo>
                  <a:lnTo>
                    <a:pt x="7466954" y="12601374"/>
                  </a:lnTo>
                  <a:lnTo>
                    <a:pt x="7471719" y="12606140"/>
                  </a:lnTo>
                  <a:lnTo>
                    <a:pt x="7500310" y="12629965"/>
                  </a:lnTo>
                  <a:lnTo>
                    <a:pt x="7509840" y="12639496"/>
                  </a:lnTo>
                  <a:lnTo>
                    <a:pt x="7514605" y="12653791"/>
                  </a:lnTo>
                  <a:lnTo>
                    <a:pt x="7486014" y="12672851"/>
                  </a:lnTo>
                  <a:lnTo>
                    <a:pt x="7486014" y="12682382"/>
                  </a:lnTo>
                  <a:lnTo>
                    <a:pt x="7495544" y="12687147"/>
                  </a:lnTo>
                  <a:lnTo>
                    <a:pt x="7495544" y="12691912"/>
                  </a:lnTo>
                  <a:lnTo>
                    <a:pt x="7486014" y="12701442"/>
                  </a:lnTo>
                  <a:lnTo>
                    <a:pt x="7471719" y="12710972"/>
                  </a:lnTo>
                  <a:lnTo>
                    <a:pt x="7443128" y="12715738"/>
                  </a:lnTo>
                  <a:lnTo>
                    <a:pt x="7443128" y="12720502"/>
                  </a:lnTo>
                  <a:lnTo>
                    <a:pt x="7452658" y="12730033"/>
                  </a:lnTo>
                  <a:lnTo>
                    <a:pt x="7457424" y="12734798"/>
                  </a:lnTo>
                  <a:lnTo>
                    <a:pt x="7447894" y="12744328"/>
                  </a:lnTo>
                  <a:lnTo>
                    <a:pt x="7443128" y="12749094"/>
                  </a:lnTo>
                  <a:lnTo>
                    <a:pt x="7409772" y="12744328"/>
                  </a:lnTo>
                  <a:lnTo>
                    <a:pt x="7414538" y="12768154"/>
                  </a:lnTo>
                  <a:lnTo>
                    <a:pt x="7419302" y="12772919"/>
                  </a:lnTo>
                  <a:lnTo>
                    <a:pt x="7433598" y="12787214"/>
                  </a:lnTo>
                  <a:lnTo>
                    <a:pt x="7447894" y="12796745"/>
                  </a:lnTo>
                  <a:lnTo>
                    <a:pt x="7447894" y="12801510"/>
                  </a:lnTo>
                  <a:lnTo>
                    <a:pt x="7443128" y="12811040"/>
                  </a:lnTo>
                  <a:lnTo>
                    <a:pt x="7433598" y="12820570"/>
                  </a:lnTo>
                  <a:lnTo>
                    <a:pt x="7385946" y="12853926"/>
                  </a:lnTo>
                  <a:lnTo>
                    <a:pt x="7357356" y="12896812"/>
                  </a:lnTo>
                  <a:lnTo>
                    <a:pt x="7352590" y="12906342"/>
                  </a:lnTo>
                  <a:lnTo>
                    <a:pt x="7362121" y="12934934"/>
                  </a:lnTo>
                  <a:lnTo>
                    <a:pt x="7362121" y="12939698"/>
                  </a:lnTo>
                  <a:lnTo>
                    <a:pt x="7352590" y="12949228"/>
                  </a:lnTo>
                  <a:lnTo>
                    <a:pt x="7333530" y="12949228"/>
                  </a:lnTo>
                  <a:lnTo>
                    <a:pt x="7328765" y="12953994"/>
                  </a:lnTo>
                  <a:lnTo>
                    <a:pt x="7333530" y="12963524"/>
                  </a:lnTo>
                  <a:lnTo>
                    <a:pt x="7333530" y="12982584"/>
                  </a:lnTo>
                  <a:lnTo>
                    <a:pt x="7333530" y="13006410"/>
                  </a:lnTo>
                  <a:lnTo>
                    <a:pt x="7319235" y="13044531"/>
                  </a:lnTo>
                  <a:lnTo>
                    <a:pt x="7295409" y="13092182"/>
                  </a:lnTo>
                  <a:lnTo>
                    <a:pt x="7276348" y="13135068"/>
                  </a:lnTo>
                  <a:lnTo>
                    <a:pt x="7262054" y="13177955"/>
                  </a:lnTo>
                  <a:lnTo>
                    <a:pt x="7252523" y="13197016"/>
                  </a:lnTo>
                  <a:lnTo>
                    <a:pt x="7238228" y="13197016"/>
                  </a:lnTo>
                  <a:lnTo>
                    <a:pt x="7223932" y="13211310"/>
                  </a:lnTo>
                  <a:lnTo>
                    <a:pt x="7233462" y="13216076"/>
                  </a:lnTo>
                  <a:lnTo>
                    <a:pt x="7238228" y="13225606"/>
                  </a:lnTo>
                  <a:lnTo>
                    <a:pt x="7242993" y="13235136"/>
                  </a:lnTo>
                  <a:lnTo>
                    <a:pt x="7238228" y="13273258"/>
                  </a:lnTo>
                  <a:lnTo>
                    <a:pt x="7228698" y="13335204"/>
                  </a:lnTo>
                  <a:lnTo>
                    <a:pt x="7219167" y="13382855"/>
                  </a:lnTo>
                  <a:lnTo>
                    <a:pt x="7219167" y="13530574"/>
                  </a:lnTo>
                  <a:lnTo>
                    <a:pt x="7219167" y="13592521"/>
                  </a:lnTo>
                  <a:lnTo>
                    <a:pt x="7214402" y="13630642"/>
                  </a:lnTo>
                  <a:lnTo>
                    <a:pt x="7204872" y="13649702"/>
                  </a:lnTo>
                  <a:lnTo>
                    <a:pt x="7190576" y="13654468"/>
                  </a:lnTo>
                  <a:lnTo>
                    <a:pt x="7209637" y="13659232"/>
                  </a:lnTo>
                  <a:lnTo>
                    <a:pt x="7219167" y="13668763"/>
                  </a:lnTo>
                  <a:lnTo>
                    <a:pt x="7228698" y="13683058"/>
                  </a:lnTo>
                  <a:lnTo>
                    <a:pt x="7228698" y="13706884"/>
                  </a:lnTo>
                  <a:lnTo>
                    <a:pt x="7238228" y="13716414"/>
                  </a:lnTo>
                  <a:lnTo>
                    <a:pt x="7242993" y="13711649"/>
                  </a:lnTo>
                  <a:lnTo>
                    <a:pt x="7252523" y="13716414"/>
                  </a:lnTo>
                  <a:lnTo>
                    <a:pt x="7257288" y="13721179"/>
                  </a:lnTo>
                  <a:lnTo>
                    <a:pt x="7276348" y="13754535"/>
                  </a:lnTo>
                  <a:lnTo>
                    <a:pt x="7295409" y="13759300"/>
                  </a:lnTo>
                  <a:lnTo>
                    <a:pt x="7300174" y="13778360"/>
                  </a:lnTo>
                  <a:lnTo>
                    <a:pt x="7290644" y="13873664"/>
                  </a:lnTo>
                  <a:lnTo>
                    <a:pt x="7290644" y="13887958"/>
                  </a:lnTo>
                  <a:lnTo>
                    <a:pt x="7300174" y="13864133"/>
                  </a:lnTo>
                  <a:lnTo>
                    <a:pt x="7309704" y="13787891"/>
                  </a:lnTo>
                  <a:lnTo>
                    <a:pt x="7324000" y="13754535"/>
                  </a:lnTo>
                  <a:lnTo>
                    <a:pt x="7333530" y="13749770"/>
                  </a:lnTo>
                  <a:lnTo>
                    <a:pt x="7376416" y="13745005"/>
                  </a:lnTo>
                  <a:lnTo>
                    <a:pt x="7424068" y="13754535"/>
                  </a:lnTo>
                  <a:lnTo>
                    <a:pt x="7438363" y="13754535"/>
                  </a:lnTo>
                  <a:lnTo>
                    <a:pt x="7452658" y="13749770"/>
                  </a:lnTo>
                  <a:lnTo>
                    <a:pt x="7471719" y="13759300"/>
                  </a:lnTo>
                  <a:lnTo>
                    <a:pt x="7476484" y="13768830"/>
                  </a:lnTo>
                  <a:lnTo>
                    <a:pt x="7481249" y="13806952"/>
                  </a:lnTo>
                  <a:lnTo>
                    <a:pt x="7481249" y="13830777"/>
                  </a:lnTo>
                  <a:lnTo>
                    <a:pt x="7509840" y="13907019"/>
                  </a:lnTo>
                  <a:lnTo>
                    <a:pt x="7524136" y="13954670"/>
                  </a:lnTo>
                  <a:lnTo>
                    <a:pt x="7538430" y="14021382"/>
                  </a:lnTo>
                  <a:lnTo>
                    <a:pt x="7543196" y="14040442"/>
                  </a:lnTo>
                  <a:lnTo>
                    <a:pt x="7576552" y="14130980"/>
                  </a:lnTo>
                  <a:lnTo>
                    <a:pt x="7586082" y="14154806"/>
                  </a:lnTo>
                  <a:lnTo>
                    <a:pt x="7586082" y="14173866"/>
                  </a:lnTo>
                  <a:lnTo>
                    <a:pt x="7586082" y="14188162"/>
                  </a:lnTo>
                  <a:lnTo>
                    <a:pt x="7581317" y="14207222"/>
                  </a:lnTo>
                  <a:lnTo>
                    <a:pt x="7567022" y="14235813"/>
                  </a:lnTo>
                  <a:lnTo>
                    <a:pt x="7557491" y="14254874"/>
                  </a:lnTo>
                  <a:lnTo>
                    <a:pt x="7547961" y="14269169"/>
                  </a:lnTo>
                  <a:lnTo>
                    <a:pt x="7538430" y="14278699"/>
                  </a:lnTo>
                  <a:lnTo>
                    <a:pt x="7528900" y="14288230"/>
                  </a:lnTo>
                  <a:lnTo>
                    <a:pt x="7543196" y="14283464"/>
                  </a:lnTo>
                  <a:lnTo>
                    <a:pt x="7552726" y="14278699"/>
                  </a:lnTo>
                  <a:lnTo>
                    <a:pt x="7576552" y="14259638"/>
                  </a:lnTo>
                  <a:lnTo>
                    <a:pt x="7581317" y="14254874"/>
                  </a:lnTo>
                  <a:lnTo>
                    <a:pt x="7605142" y="14250108"/>
                  </a:lnTo>
                  <a:lnTo>
                    <a:pt x="7609908" y="14259638"/>
                  </a:lnTo>
                  <a:lnTo>
                    <a:pt x="7595612" y="14273934"/>
                  </a:lnTo>
                  <a:lnTo>
                    <a:pt x="7600378" y="14273934"/>
                  </a:lnTo>
                  <a:lnTo>
                    <a:pt x="7614672" y="14264404"/>
                  </a:lnTo>
                  <a:lnTo>
                    <a:pt x="7652794" y="14245343"/>
                  </a:lnTo>
                  <a:lnTo>
                    <a:pt x="7795748" y="14197692"/>
                  </a:lnTo>
                  <a:lnTo>
                    <a:pt x="7829104" y="14192926"/>
                  </a:lnTo>
                  <a:lnTo>
                    <a:pt x="7876754" y="14202457"/>
                  </a:lnTo>
                  <a:lnTo>
                    <a:pt x="7914876" y="14221518"/>
                  </a:lnTo>
                  <a:lnTo>
                    <a:pt x="7957762" y="14250108"/>
                  </a:lnTo>
                  <a:lnTo>
                    <a:pt x="8000648" y="14269169"/>
                  </a:lnTo>
                  <a:lnTo>
                    <a:pt x="8072125" y="14288230"/>
                  </a:lnTo>
                  <a:lnTo>
                    <a:pt x="8091186" y="14297760"/>
                  </a:lnTo>
                  <a:lnTo>
                    <a:pt x="8129306" y="14307290"/>
                  </a:lnTo>
                  <a:lnTo>
                    <a:pt x="8148367" y="14316820"/>
                  </a:lnTo>
                  <a:lnTo>
                    <a:pt x="8172192" y="14345411"/>
                  </a:lnTo>
                  <a:lnTo>
                    <a:pt x="8210314" y="14378766"/>
                  </a:lnTo>
                  <a:lnTo>
                    <a:pt x="8238904" y="14397827"/>
                  </a:lnTo>
                  <a:lnTo>
                    <a:pt x="8267495" y="14416888"/>
                  </a:lnTo>
                  <a:lnTo>
                    <a:pt x="8296086" y="14455008"/>
                  </a:lnTo>
                  <a:lnTo>
                    <a:pt x="8348502" y="14531250"/>
                  </a:lnTo>
                  <a:lnTo>
                    <a:pt x="8362798" y="14540781"/>
                  </a:lnTo>
                  <a:lnTo>
                    <a:pt x="8391388" y="14555076"/>
                  </a:lnTo>
                  <a:lnTo>
                    <a:pt x="8448570" y="14574137"/>
                  </a:lnTo>
                  <a:lnTo>
                    <a:pt x="8534342" y="14612258"/>
                  </a:lnTo>
                  <a:lnTo>
                    <a:pt x="8567698" y="14626554"/>
                  </a:lnTo>
                  <a:lnTo>
                    <a:pt x="8593906" y="14631318"/>
                  </a:lnTo>
                  <a:lnTo>
                    <a:pt x="8617732" y="14645614"/>
                  </a:lnTo>
                  <a:lnTo>
                    <a:pt x="8641558" y="14659909"/>
                  </a:lnTo>
                  <a:lnTo>
                    <a:pt x="8660618" y="14674204"/>
                  </a:lnTo>
                  <a:lnTo>
                    <a:pt x="8670148" y="14693265"/>
                  </a:lnTo>
                  <a:lnTo>
                    <a:pt x="8679679" y="14707560"/>
                  </a:lnTo>
                  <a:lnTo>
                    <a:pt x="8703504" y="14717090"/>
                  </a:lnTo>
                  <a:lnTo>
                    <a:pt x="8713035" y="14731386"/>
                  </a:lnTo>
                  <a:lnTo>
                    <a:pt x="8713035" y="14740916"/>
                  </a:lnTo>
                  <a:lnTo>
                    <a:pt x="8689209" y="14798098"/>
                  </a:lnTo>
                  <a:lnTo>
                    <a:pt x="8689209" y="14802863"/>
                  </a:lnTo>
                  <a:lnTo>
                    <a:pt x="8713035" y="14764742"/>
                  </a:lnTo>
                  <a:lnTo>
                    <a:pt x="8727330" y="14750446"/>
                  </a:lnTo>
                  <a:lnTo>
                    <a:pt x="8736860" y="14745682"/>
                  </a:lnTo>
                  <a:lnTo>
                    <a:pt x="8755921" y="14745682"/>
                  </a:lnTo>
                  <a:lnTo>
                    <a:pt x="8794042" y="14755212"/>
                  </a:lnTo>
                  <a:lnTo>
                    <a:pt x="8822633" y="14755212"/>
                  </a:lnTo>
                  <a:lnTo>
                    <a:pt x="8846458" y="14745682"/>
                  </a:lnTo>
                  <a:lnTo>
                    <a:pt x="8870284" y="14745682"/>
                  </a:lnTo>
                  <a:lnTo>
                    <a:pt x="8884579" y="14745682"/>
                  </a:lnTo>
                  <a:lnTo>
                    <a:pt x="8898875" y="14740916"/>
                  </a:lnTo>
                  <a:lnTo>
                    <a:pt x="8908405" y="14736151"/>
                  </a:lnTo>
                  <a:lnTo>
                    <a:pt x="8917935" y="14736151"/>
                  </a:lnTo>
                  <a:lnTo>
                    <a:pt x="8956056" y="14750446"/>
                  </a:lnTo>
                  <a:lnTo>
                    <a:pt x="8970351" y="14755212"/>
                  </a:lnTo>
                  <a:lnTo>
                    <a:pt x="9022768" y="14764742"/>
                  </a:lnTo>
                  <a:lnTo>
                    <a:pt x="9060889" y="14759977"/>
                  </a:lnTo>
                  <a:lnTo>
                    <a:pt x="9065654" y="14764742"/>
                  </a:lnTo>
                  <a:lnTo>
                    <a:pt x="9079949" y="14779038"/>
                  </a:lnTo>
                  <a:lnTo>
                    <a:pt x="9089480" y="14783802"/>
                  </a:lnTo>
                  <a:lnTo>
                    <a:pt x="9108540" y="14779038"/>
                  </a:lnTo>
                  <a:lnTo>
                    <a:pt x="9122836" y="14783802"/>
                  </a:lnTo>
                  <a:lnTo>
                    <a:pt x="9151426" y="14807628"/>
                  </a:lnTo>
                  <a:lnTo>
                    <a:pt x="9165722" y="14826688"/>
                  </a:lnTo>
                  <a:lnTo>
                    <a:pt x="9180017" y="14864810"/>
                  </a:lnTo>
                  <a:lnTo>
                    <a:pt x="9180017" y="14874340"/>
                  </a:lnTo>
                  <a:lnTo>
                    <a:pt x="9156191" y="14964879"/>
                  </a:lnTo>
                  <a:lnTo>
                    <a:pt x="9146661" y="14998235"/>
                  </a:lnTo>
                  <a:lnTo>
                    <a:pt x="9146661" y="15026827"/>
                  </a:lnTo>
                  <a:lnTo>
                    <a:pt x="9151426" y="15045887"/>
                  </a:lnTo>
                  <a:lnTo>
                    <a:pt x="9175252" y="15074475"/>
                  </a:lnTo>
                  <a:lnTo>
                    <a:pt x="9175252" y="15084007"/>
                  </a:lnTo>
                  <a:lnTo>
                    <a:pt x="9189547" y="15122127"/>
                  </a:lnTo>
                  <a:lnTo>
                    <a:pt x="9194312" y="15141187"/>
                  </a:lnTo>
                  <a:lnTo>
                    <a:pt x="9189547" y="15160251"/>
                  </a:lnTo>
                  <a:lnTo>
                    <a:pt x="9184782" y="15198371"/>
                  </a:lnTo>
                  <a:lnTo>
                    <a:pt x="9184782" y="15222195"/>
                  </a:lnTo>
                  <a:lnTo>
                    <a:pt x="9189547" y="15260315"/>
                  </a:lnTo>
                  <a:lnTo>
                    <a:pt x="9189547" y="15288907"/>
                  </a:lnTo>
                  <a:lnTo>
                    <a:pt x="9180017" y="15303203"/>
                  </a:lnTo>
                  <a:lnTo>
                    <a:pt x="9175252" y="15312735"/>
                  </a:lnTo>
                  <a:lnTo>
                    <a:pt x="9170487" y="15336559"/>
                  </a:lnTo>
                  <a:lnTo>
                    <a:pt x="9170487" y="15346091"/>
                  </a:lnTo>
                  <a:lnTo>
                    <a:pt x="9175252" y="15365151"/>
                  </a:lnTo>
                  <a:lnTo>
                    <a:pt x="9184782" y="15374679"/>
                  </a:lnTo>
                  <a:lnTo>
                    <a:pt x="9199078" y="15388975"/>
                  </a:lnTo>
                  <a:lnTo>
                    <a:pt x="9213373" y="15403271"/>
                  </a:lnTo>
                  <a:lnTo>
                    <a:pt x="9237199" y="15446155"/>
                  </a:lnTo>
                  <a:lnTo>
                    <a:pt x="9256259" y="15469983"/>
                  </a:lnTo>
                  <a:lnTo>
                    <a:pt x="9275320" y="15503339"/>
                  </a:lnTo>
                  <a:lnTo>
                    <a:pt x="9280085" y="15517635"/>
                  </a:lnTo>
                  <a:lnTo>
                    <a:pt x="9275320" y="15531931"/>
                  </a:lnTo>
                  <a:lnTo>
                    <a:pt x="9265789" y="15536695"/>
                  </a:lnTo>
                  <a:lnTo>
                    <a:pt x="9251494" y="15546223"/>
                  </a:lnTo>
                  <a:lnTo>
                    <a:pt x="9241964" y="15555755"/>
                  </a:lnTo>
                  <a:lnTo>
                    <a:pt x="9270555" y="15550991"/>
                  </a:lnTo>
                  <a:lnTo>
                    <a:pt x="9284850" y="15550991"/>
                  </a:lnTo>
                  <a:lnTo>
                    <a:pt x="9299145" y="15560519"/>
                  </a:lnTo>
                  <a:lnTo>
                    <a:pt x="9308676" y="15574815"/>
                  </a:lnTo>
                  <a:lnTo>
                    <a:pt x="9327736" y="15589111"/>
                  </a:lnTo>
                  <a:lnTo>
                    <a:pt x="9351562" y="15598639"/>
                  </a:lnTo>
                  <a:lnTo>
                    <a:pt x="9375387" y="15617703"/>
                  </a:lnTo>
                  <a:lnTo>
                    <a:pt x="9418273" y="15665351"/>
                  </a:lnTo>
                  <a:lnTo>
                    <a:pt x="9423039" y="15674883"/>
                  </a:lnTo>
                  <a:lnTo>
                    <a:pt x="9437334" y="15698707"/>
                  </a:lnTo>
                  <a:lnTo>
                    <a:pt x="9446864" y="15732063"/>
                  </a:lnTo>
                  <a:lnTo>
                    <a:pt x="9456394" y="15755891"/>
                  </a:lnTo>
                  <a:lnTo>
                    <a:pt x="9456394" y="15765419"/>
                  </a:lnTo>
                  <a:lnTo>
                    <a:pt x="9446864" y="15779715"/>
                  </a:lnTo>
                  <a:lnTo>
                    <a:pt x="9423039" y="15798775"/>
                  </a:lnTo>
                  <a:lnTo>
                    <a:pt x="9394448" y="15832131"/>
                  </a:lnTo>
                  <a:lnTo>
                    <a:pt x="9403978" y="15832131"/>
                  </a:lnTo>
                  <a:lnTo>
                    <a:pt x="9423039" y="15817835"/>
                  </a:lnTo>
                  <a:lnTo>
                    <a:pt x="9451629" y="15789247"/>
                  </a:lnTo>
                  <a:lnTo>
                    <a:pt x="9470690" y="15779715"/>
                  </a:lnTo>
                  <a:lnTo>
                    <a:pt x="9484985" y="15784479"/>
                  </a:lnTo>
                  <a:lnTo>
                    <a:pt x="9508811" y="15794011"/>
                  </a:lnTo>
                  <a:lnTo>
                    <a:pt x="9532637" y="15803543"/>
                  </a:lnTo>
                  <a:lnTo>
                    <a:pt x="9551697" y="15822603"/>
                  </a:lnTo>
                  <a:lnTo>
                    <a:pt x="9580288" y="15860723"/>
                  </a:lnTo>
                  <a:lnTo>
                    <a:pt x="9613644" y="15894079"/>
                  </a:lnTo>
                  <a:lnTo>
                    <a:pt x="9627939" y="15922671"/>
                  </a:lnTo>
                  <a:lnTo>
                    <a:pt x="9623174" y="15903607"/>
                  </a:lnTo>
                  <a:lnTo>
                    <a:pt x="9613644" y="15884547"/>
                  </a:lnTo>
                  <a:lnTo>
                    <a:pt x="9585053" y="15851191"/>
                  </a:lnTo>
                  <a:lnTo>
                    <a:pt x="9570758" y="15832131"/>
                  </a:lnTo>
                  <a:lnTo>
                    <a:pt x="9570758" y="15827367"/>
                  </a:lnTo>
                  <a:lnTo>
                    <a:pt x="9565992" y="15817835"/>
                  </a:lnTo>
                  <a:lnTo>
                    <a:pt x="9570758" y="15798775"/>
                  </a:lnTo>
                  <a:lnTo>
                    <a:pt x="9575523" y="15774951"/>
                  </a:lnTo>
                  <a:lnTo>
                    <a:pt x="9580288" y="15760655"/>
                  </a:lnTo>
                  <a:lnTo>
                    <a:pt x="9589818" y="15751123"/>
                  </a:lnTo>
                  <a:lnTo>
                    <a:pt x="9599348" y="15741595"/>
                  </a:lnTo>
                  <a:lnTo>
                    <a:pt x="9599348" y="15727299"/>
                  </a:lnTo>
                  <a:lnTo>
                    <a:pt x="9604113" y="15722535"/>
                  </a:lnTo>
                  <a:lnTo>
                    <a:pt x="9627939" y="15708239"/>
                  </a:lnTo>
                  <a:lnTo>
                    <a:pt x="9637469" y="15708239"/>
                  </a:lnTo>
                  <a:lnTo>
                    <a:pt x="9642234" y="15727299"/>
                  </a:lnTo>
                  <a:lnTo>
                    <a:pt x="9647000" y="15727299"/>
                  </a:lnTo>
                  <a:lnTo>
                    <a:pt x="9661295" y="15732063"/>
                  </a:lnTo>
                  <a:lnTo>
                    <a:pt x="9666060" y="15736831"/>
                  </a:lnTo>
                  <a:lnTo>
                    <a:pt x="9675590" y="15746359"/>
                  </a:lnTo>
                  <a:lnTo>
                    <a:pt x="9680355" y="15755891"/>
                  </a:lnTo>
                  <a:lnTo>
                    <a:pt x="9685121" y="15765419"/>
                  </a:lnTo>
                  <a:lnTo>
                    <a:pt x="9694651" y="15798775"/>
                  </a:lnTo>
                  <a:lnTo>
                    <a:pt x="9699416" y="15813071"/>
                  </a:lnTo>
                  <a:lnTo>
                    <a:pt x="9699416" y="15794011"/>
                  </a:lnTo>
                  <a:lnTo>
                    <a:pt x="9704181" y="15770187"/>
                  </a:lnTo>
                  <a:lnTo>
                    <a:pt x="9708946" y="15755891"/>
                  </a:lnTo>
                  <a:lnTo>
                    <a:pt x="9723242" y="15736831"/>
                  </a:lnTo>
                  <a:lnTo>
                    <a:pt x="9723242" y="15732063"/>
                  </a:lnTo>
                  <a:lnTo>
                    <a:pt x="9718476" y="15722535"/>
                  </a:lnTo>
                  <a:lnTo>
                    <a:pt x="9685121" y="15679647"/>
                  </a:lnTo>
                  <a:lnTo>
                    <a:pt x="9685121" y="15670119"/>
                  </a:lnTo>
                  <a:lnTo>
                    <a:pt x="9694651" y="15665351"/>
                  </a:lnTo>
                  <a:lnTo>
                    <a:pt x="9699416" y="15651059"/>
                  </a:lnTo>
                  <a:lnTo>
                    <a:pt x="9704181" y="15636763"/>
                  </a:lnTo>
                  <a:lnTo>
                    <a:pt x="9708946" y="15622467"/>
                  </a:lnTo>
                  <a:lnTo>
                    <a:pt x="9728007" y="15603407"/>
                  </a:lnTo>
                  <a:lnTo>
                    <a:pt x="9747067" y="15574815"/>
                  </a:lnTo>
                  <a:lnTo>
                    <a:pt x="9756598" y="15560519"/>
                  </a:lnTo>
                  <a:lnTo>
                    <a:pt x="9761363" y="15550991"/>
                  </a:lnTo>
                  <a:lnTo>
                    <a:pt x="9770893" y="15546223"/>
                  </a:lnTo>
                  <a:lnTo>
                    <a:pt x="9756598" y="15536695"/>
                  </a:lnTo>
                  <a:lnTo>
                    <a:pt x="9756598" y="15531931"/>
                  </a:lnTo>
                  <a:lnTo>
                    <a:pt x="9756598" y="15512867"/>
                  </a:lnTo>
                  <a:lnTo>
                    <a:pt x="9751832" y="15489043"/>
                  </a:lnTo>
                  <a:lnTo>
                    <a:pt x="9747067" y="15474747"/>
                  </a:lnTo>
                  <a:lnTo>
                    <a:pt x="9728007" y="15450923"/>
                  </a:lnTo>
                  <a:lnTo>
                    <a:pt x="9723242" y="15446155"/>
                  </a:lnTo>
                  <a:lnTo>
                    <a:pt x="9718476" y="15417567"/>
                  </a:lnTo>
                  <a:lnTo>
                    <a:pt x="9723242" y="15403271"/>
                  </a:lnTo>
                  <a:lnTo>
                    <a:pt x="9728007" y="15393739"/>
                  </a:lnTo>
                  <a:lnTo>
                    <a:pt x="9723242" y="15384211"/>
                  </a:lnTo>
                  <a:lnTo>
                    <a:pt x="9704181" y="15360383"/>
                  </a:lnTo>
                  <a:lnTo>
                    <a:pt x="9699416" y="15346091"/>
                  </a:lnTo>
                  <a:lnTo>
                    <a:pt x="9689886" y="15303203"/>
                  </a:lnTo>
                  <a:lnTo>
                    <a:pt x="9685121" y="15250787"/>
                  </a:lnTo>
                  <a:lnTo>
                    <a:pt x="9675590" y="15207899"/>
                  </a:lnTo>
                  <a:lnTo>
                    <a:pt x="9666060" y="15184075"/>
                  </a:lnTo>
                  <a:lnTo>
                    <a:pt x="9666060" y="15169779"/>
                  </a:lnTo>
                  <a:lnTo>
                    <a:pt x="9670825" y="15160251"/>
                  </a:lnTo>
                  <a:lnTo>
                    <a:pt x="9675590" y="15141187"/>
                  </a:lnTo>
                  <a:lnTo>
                    <a:pt x="9680355" y="15136423"/>
                  </a:lnTo>
                  <a:lnTo>
                    <a:pt x="9689886" y="15136423"/>
                  </a:lnTo>
                  <a:lnTo>
                    <a:pt x="9675590" y="15126895"/>
                  </a:lnTo>
                  <a:lnTo>
                    <a:pt x="9670825" y="15112599"/>
                  </a:lnTo>
                  <a:lnTo>
                    <a:pt x="9670825" y="15107831"/>
                  </a:lnTo>
                  <a:lnTo>
                    <a:pt x="9685121" y="15093539"/>
                  </a:lnTo>
                  <a:lnTo>
                    <a:pt x="9680355" y="15088771"/>
                  </a:lnTo>
                  <a:lnTo>
                    <a:pt x="9670825" y="15079243"/>
                  </a:lnTo>
                  <a:lnTo>
                    <a:pt x="9647000" y="15064947"/>
                  </a:lnTo>
                  <a:lnTo>
                    <a:pt x="9656530" y="15060183"/>
                  </a:lnTo>
                  <a:lnTo>
                    <a:pt x="9661295" y="15050651"/>
                  </a:lnTo>
                  <a:lnTo>
                    <a:pt x="9651765" y="15045887"/>
                  </a:lnTo>
                  <a:lnTo>
                    <a:pt x="9637469" y="15036355"/>
                  </a:lnTo>
                  <a:lnTo>
                    <a:pt x="9627939" y="15022059"/>
                  </a:lnTo>
                  <a:lnTo>
                    <a:pt x="9613644" y="15002999"/>
                  </a:lnTo>
                  <a:lnTo>
                    <a:pt x="9608879" y="14988703"/>
                  </a:lnTo>
                  <a:lnTo>
                    <a:pt x="9599348" y="14960115"/>
                  </a:lnTo>
                  <a:lnTo>
                    <a:pt x="9589818" y="14931523"/>
                  </a:lnTo>
                  <a:lnTo>
                    <a:pt x="9585053" y="14926759"/>
                  </a:lnTo>
                  <a:lnTo>
                    <a:pt x="9580288" y="14921991"/>
                  </a:lnTo>
                  <a:lnTo>
                    <a:pt x="9570758" y="14917227"/>
                  </a:lnTo>
                  <a:lnTo>
                    <a:pt x="9570758" y="14912463"/>
                  </a:lnTo>
                  <a:lnTo>
                    <a:pt x="9580288" y="14907699"/>
                  </a:lnTo>
                  <a:lnTo>
                    <a:pt x="9699416" y="14855280"/>
                  </a:lnTo>
                  <a:lnTo>
                    <a:pt x="9708946" y="14850514"/>
                  </a:lnTo>
                  <a:lnTo>
                    <a:pt x="9766128" y="14821924"/>
                  </a:lnTo>
                  <a:lnTo>
                    <a:pt x="9789953" y="14807628"/>
                  </a:lnTo>
                  <a:lnTo>
                    <a:pt x="9818544" y="14783802"/>
                  </a:lnTo>
                  <a:lnTo>
                    <a:pt x="9856665" y="14759977"/>
                  </a:lnTo>
                  <a:lnTo>
                    <a:pt x="9875726" y="14745682"/>
                  </a:lnTo>
                  <a:lnTo>
                    <a:pt x="9885256" y="14731386"/>
                  </a:lnTo>
                  <a:lnTo>
                    <a:pt x="9942437" y="14674204"/>
                  </a:lnTo>
                  <a:lnTo>
                    <a:pt x="9971028" y="14640848"/>
                  </a:lnTo>
                  <a:lnTo>
                    <a:pt x="9985324" y="14617023"/>
                  </a:lnTo>
                  <a:lnTo>
                    <a:pt x="10004384" y="14583667"/>
                  </a:lnTo>
                  <a:lnTo>
                    <a:pt x="10032975" y="14550311"/>
                  </a:lnTo>
                  <a:lnTo>
                    <a:pt x="10052035" y="14516956"/>
                  </a:lnTo>
                  <a:lnTo>
                    <a:pt x="10056801" y="14493130"/>
                  </a:lnTo>
                  <a:lnTo>
                    <a:pt x="10066331" y="14445478"/>
                  </a:lnTo>
                  <a:lnTo>
                    <a:pt x="10071096" y="14407358"/>
                  </a:lnTo>
                  <a:lnTo>
                    <a:pt x="10071096" y="14350176"/>
                  </a:lnTo>
                  <a:lnTo>
                    <a:pt x="10071096" y="14297760"/>
                  </a:lnTo>
                  <a:lnTo>
                    <a:pt x="10061566" y="14211987"/>
                  </a:lnTo>
                  <a:lnTo>
                    <a:pt x="10056801" y="14188162"/>
                  </a:lnTo>
                  <a:lnTo>
                    <a:pt x="10047270" y="14154806"/>
                  </a:lnTo>
                  <a:lnTo>
                    <a:pt x="10028210" y="14092859"/>
                  </a:lnTo>
                  <a:lnTo>
                    <a:pt x="10023445" y="14073798"/>
                  </a:lnTo>
                  <a:lnTo>
                    <a:pt x="10013914" y="14045208"/>
                  </a:lnTo>
                  <a:lnTo>
                    <a:pt x="9971028" y="13968966"/>
                  </a:lnTo>
                  <a:lnTo>
                    <a:pt x="9918612" y="13916550"/>
                  </a:lnTo>
                  <a:lnTo>
                    <a:pt x="9909082" y="13902254"/>
                  </a:lnTo>
                  <a:lnTo>
                    <a:pt x="9890021" y="13887958"/>
                  </a:lnTo>
                  <a:lnTo>
                    <a:pt x="9856665" y="13868898"/>
                  </a:lnTo>
                  <a:lnTo>
                    <a:pt x="9837605" y="13854602"/>
                  </a:lnTo>
                  <a:lnTo>
                    <a:pt x="9785188" y="13802186"/>
                  </a:lnTo>
                  <a:lnTo>
                    <a:pt x="9766128" y="13797421"/>
                  </a:lnTo>
                  <a:lnTo>
                    <a:pt x="9761363" y="13783126"/>
                  </a:lnTo>
                  <a:lnTo>
                    <a:pt x="9756598" y="13773596"/>
                  </a:lnTo>
                  <a:lnTo>
                    <a:pt x="9761363" y="13745005"/>
                  </a:lnTo>
                  <a:lnTo>
                    <a:pt x="9766128" y="13725944"/>
                  </a:lnTo>
                  <a:lnTo>
                    <a:pt x="9766128" y="13716414"/>
                  </a:lnTo>
                  <a:lnTo>
                    <a:pt x="9770893" y="13706884"/>
                  </a:lnTo>
                  <a:lnTo>
                    <a:pt x="9799484" y="13663998"/>
                  </a:lnTo>
                  <a:lnTo>
                    <a:pt x="9818544" y="13635407"/>
                  </a:lnTo>
                  <a:lnTo>
                    <a:pt x="9828074" y="13616346"/>
                  </a:lnTo>
                  <a:lnTo>
                    <a:pt x="9842370" y="13602051"/>
                  </a:lnTo>
                  <a:lnTo>
                    <a:pt x="9861430" y="13582990"/>
                  </a:lnTo>
                  <a:lnTo>
                    <a:pt x="9875726" y="13559165"/>
                  </a:lnTo>
                  <a:lnTo>
                    <a:pt x="9875726" y="13549634"/>
                  </a:lnTo>
                  <a:lnTo>
                    <a:pt x="9861430" y="13540104"/>
                  </a:lnTo>
                  <a:lnTo>
                    <a:pt x="9861430" y="13530574"/>
                  </a:lnTo>
                  <a:lnTo>
                    <a:pt x="9880491" y="13506748"/>
                  </a:lnTo>
                  <a:lnTo>
                    <a:pt x="9880491" y="13497218"/>
                  </a:lnTo>
                  <a:lnTo>
                    <a:pt x="9880491" y="13473392"/>
                  </a:lnTo>
                  <a:lnTo>
                    <a:pt x="9880491" y="13468628"/>
                  </a:lnTo>
                  <a:lnTo>
                    <a:pt x="9904316" y="13468628"/>
                  </a:lnTo>
                  <a:lnTo>
                    <a:pt x="9932907" y="13501984"/>
                  </a:lnTo>
                  <a:lnTo>
                    <a:pt x="9942437" y="13497218"/>
                  </a:lnTo>
                  <a:lnTo>
                    <a:pt x="9932907" y="13487688"/>
                  </a:lnTo>
                  <a:lnTo>
                    <a:pt x="9918612" y="13463862"/>
                  </a:lnTo>
                  <a:lnTo>
                    <a:pt x="9923377" y="13459097"/>
                  </a:lnTo>
                  <a:lnTo>
                    <a:pt x="9942437" y="13430506"/>
                  </a:lnTo>
                  <a:lnTo>
                    <a:pt x="9942437" y="13420976"/>
                  </a:lnTo>
                  <a:lnTo>
                    <a:pt x="9937672" y="13401916"/>
                  </a:lnTo>
                  <a:lnTo>
                    <a:pt x="9937672" y="13392386"/>
                  </a:lnTo>
                  <a:lnTo>
                    <a:pt x="9951968" y="13359030"/>
                  </a:lnTo>
                  <a:lnTo>
                    <a:pt x="9947203" y="13354264"/>
                  </a:lnTo>
                  <a:lnTo>
                    <a:pt x="9909082" y="13349500"/>
                  </a:lnTo>
                  <a:lnTo>
                    <a:pt x="9904316" y="13339969"/>
                  </a:lnTo>
                  <a:lnTo>
                    <a:pt x="9904316" y="13335204"/>
                  </a:lnTo>
                  <a:lnTo>
                    <a:pt x="9923377" y="13325674"/>
                  </a:lnTo>
                  <a:lnTo>
                    <a:pt x="9923377" y="13320908"/>
                  </a:lnTo>
                  <a:lnTo>
                    <a:pt x="9894786" y="13254197"/>
                  </a:lnTo>
                  <a:lnTo>
                    <a:pt x="9890021" y="13235136"/>
                  </a:lnTo>
                  <a:lnTo>
                    <a:pt x="9899551" y="13206546"/>
                  </a:lnTo>
                  <a:lnTo>
                    <a:pt x="9918612" y="13197016"/>
                  </a:lnTo>
                  <a:lnTo>
                    <a:pt x="9913847" y="13192250"/>
                  </a:lnTo>
                  <a:lnTo>
                    <a:pt x="9894786" y="13187485"/>
                  </a:lnTo>
                  <a:lnTo>
                    <a:pt x="9885256" y="13187485"/>
                  </a:lnTo>
                  <a:lnTo>
                    <a:pt x="9870961" y="13168424"/>
                  </a:lnTo>
                  <a:lnTo>
                    <a:pt x="9875726" y="13154129"/>
                  </a:lnTo>
                  <a:lnTo>
                    <a:pt x="9880491" y="13149364"/>
                  </a:lnTo>
                  <a:lnTo>
                    <a:pt x="9890021" y="13116008"/>
                  </a:lnTo>
                  <a:lnTo>
                    <a:pt x="9904316" y="13111243"/>
                  </a:lnTo>
                  <a:lnTo>
                    <a:pt x="9899551" y="13106478"/>
                  </a:lnTo>
                  <a:lnTo>
                    <a:pt x="9856665" y="13120774"/>
                  </a:lnTo>
                  <a:lnTo>
                    <a:pt x="9837605" y="13111243"/>
                  </a:lnTo>
                  <a:lnTo>
                    <a:pt x="9818544" y="13111243"/>
                  </a:lnTo>
                  <a:lnTo>
                    <a:pt x="9809014" y="13111243"/>
                  </a:lnTo>
                  <a:lnTo>
                    <a:pt x="9813779" y="13096948"/>
                  </a:lnTo>
                  <a:lnTo>
                    <a:pt x="9851900" y="13049296"/>
                  </a:lnTo>
                  <a:lnTo>
                    <a:pt x="9866195" y="13025470"/>
                  </a:lnTo>
                  <a:lnTo>
                    <a:pt x="9875726" y="13001645"/>
                  </a:lnTo>
                  <a:lnTo>
                    <a:pt x="9880491" y="12982584"/>
                  </a:lnTo>
                  <a:lnTo>
                    <a:pt x="9880491" y="12977820"/>
                  </a:lnTo>
                  <a:lnTo>
                    <a:pt x="9875726" y="12925403"/>
                  </a:lnTo>
                  <a:lnTo>
                    <a:pt x="9880491" y="12911108"/>
                  </a:lnTo>
                  <a:lnTo>
                    <a:pt x="9894786" y="12896812"/>
                  </a:lnTo>
                  <a:lnTo>
                    <a:pt x="9913847" y="12868222"/>
                  </a:lnTo>
                  <a:lnTo>
                    <a:pt x="9885256" y="12849161"/>
                  </a:lnTo>
                  <a:lnTo>
                    <a:pt x="9866195" y="12825336"/>
                  </a:lnTo>
                  <a:lnTo>
                    <a:pt x="9856665" y="12815805"/>
                  </a:lnTo>
                  <a:lnTo>
                    <a:pt x="9847135" y="12801510"/>
                  </a:lnTo>
                  <a:lnTo>
                    <a:pt x="9837605" y="12777684"/>
                  </a:lnTo>
                  <a:lnTo>
                    <a:pt x="9828074" y="12749094"/>
                  </a:lnTo>
                  <a:lnTo>
                    <a:pt x="9818544" y="12687147"/>
                  </a:lnTo>
                  <a:lnTo>
                    <a:pt x="9813779" y="12653791"/>
                  </a:lnTo>
                  <a:lnTo>
                    <a:pt x="9818544" y="12629965"/>
                  </a:lnTo>
                  <a:lnTo>
                    <a:pt x="9823309" y="12615670"/>
                  </a:lnTo>
                  <a:lnTo>
                    <a:pt x="9828074" y="12606140"/>
                  </a:lnTo>
                  <a:lnTo>
                    <a:pt x="9856665" y="12582314"/>
                  </a:lnTo>
                  <a:lnTo>
                    <a:pt x="9899551" y="12544193"/>
                  </a:lnTo>
                  <a:lnTo>
                    <a:pt x="9937672" y="12529898"/>
                  </a:lnTo>
                  <a:lnTo>
                    <a:pt x="9961498" y="12539428"/>
                  </a:lnTo>
                  <a:lnTo>
                    <a:pt x="10013914" y="12548958"/>
                  </a:lnTo>
                  <a:lnTo>
                    <a:pt x="10056801" y="12568018"/>
                  </a:lnTo>
                  <a:lnTo>
                    <a:pt x="10180693" y="12615670"/>
                  </a:lnTo>
                  <a:lnTo>
                    <a:pt x="10204521" y="12639496"/>
                  </a:lnTo>
                  <a:lnTo>
                    <a:pt x="10180693" y="12658556"/>
                  </a:lnTo>
                  <a:lnTo>
                    <a:pt x="10185461" y="12663321"/>
                  </a:lnTo>
                  <a:lnTo>
                    <a:pt x="10233109" y="12629965"/>
                  </a:lnTo>
                  <a:lnTo>
                    <a:pt x="10242641" y="12620435"/>
                  </a:lnTo>
                  <a:lnTo>
                    <a:pt x="10256937" y="12620435"/>
                  </a:lnTo>
                  <a:lnTo>
                    <a:pt x="10290293" y="12634730"/>
                  </a:lnTo>
                  <a:lnTo>
                    <a:pt x="10304589" y="12634730"/>
                  </a:lnTo>
                  <a:lnTo>
                    <a:pt x="10323649" y="12644260"/>
                  </a:lnTo>
                  <a:lnTo>
                    <a:pt x="10366533" y="12687147"/>
                  </a:lnTo>
                  <a:lnTo>
                    <a:pt x="10366533" y="12682382"/>
                  </a:lnTo>
                  <a:lnTo>
                    <a:pt x="10357005" y="12663321"/>
                  </a:lnTo>
                  <a:lnTo>
                    <a:pt x="10361769" y="12653791"/>
                  </a:lnTo>
                  <a:lnTo>
                    <a:pt x="10395125" y="12634730"/>
                  </a:lnTo>
                  <a:lnTo>
                    <a:pt x="10433245" y="12615670"/>
                  </a:lnTo>
                  <a:lnTo>
                    <a:pt x="10457073" y="12601374"/>
                  </a:lnTo>
                  <a:lnTo>
                    <a:pt x="10480897" y="12577549"/>
                  </a:lnTo>
                  <a:lnTo>
                    <a:pt x="10499957" y="12568018"/>
                  </a:lnTo>
                  <a:lnTo>
                    <a:pt x="10509489" y="12563254"/>
                  </a:lnTo>
                  <a:lnTo>
                    <a:pt x="10523785" y="12572784"/>
                  </a:lnTo>
                  <a:lnTo>
                    <a:pt x="10552373" y="12601374"/>
                  </a:lnTo>
                  <a:lnTo>
                    <a:pt x="10571433" y="12615670"/>
                  </a:lnTo>
                  <a:lnTo>
                    <a:pt x="10590497" y="12629965"/>
                  </a:lnTo>
                  <a:lnTo>
                    <a:pt x="10614321" y="12658556"/>
                  </a:lnTo>
                  <a:lnTo>
                    <a:pt x="10619085" y="12663321"/>
                  </a:lnTo>
                  <a:lnTo>
                    <a:pt x="10638145" y="12682382"/>
                  </a:lnTo>
                  <a:lnTo>
                    <a:pt x="10661973" y="12677616"/>
                  </a:lnTo>
                  <a:lnTo>
                    <a:pt x="10671501" y="12682382"/>
                  </a:lnTo>
                  <a:lnTo>
                    <a:pt x="10671501" y="12687147"/>
                  </a:lnTo>
                  <a:lnTo>
                    <a:pt x="10676269" y="12696677"/>
                  </a:lnTo>
                  <a:lnTo>
                    <a:pt x="10676269" y="12706207"/>
                  </a:lnTo>
                  <a:lnTo>
                    <a:pt x="10676269" y="12715738"/>
                  </a:lnTo>
                  <a:lnTo>
                    <a:pt x="10671501" y="12739563"/>
                  </a:lnTo>
                  <a:lnTo>
                    <a:pt x="10657209" y="12777684"/>
                  </a:lnTo>
                  <a:lnTo>
                    <a:pt x="10661973" y="12777684"/>
                  </a:lnTo>
                  <a:lnTo>
                    <a:pt x="10671501" y="12768154"/>
                  </a:lnTo>
                  <a:lnTo>
                    <a:pt x="10685797" y="12753858"/>
                  </a:lnTo>
                  <a:lnTo>
                    <a:pt x="10695329" y="12749094"/>
                  </a:lnTo>
                  <a:lnTo>
                    <a:pt x="10719153" y="12758624"/>
                  </a:lnTo>
                  <a:lnTo>
                    <a:pt x="10742981" y="12777684"/>
                  </a:lnTo>
                  <a:lnTo>
                    <a:pt x="10747745" y="12787214"/>
                  </a:lnTo>
                  <a:lnTo>
                    <a:pt x="10757273" y="12806275"/>
                  </a:lnTo>
                  <a:lnTo>
                    <a:pt x="10762041" y="12815805"/>
                  </a:lnTo>
                  <a:lnTo>
                    <a:pt x="10771569" y="12830100"/>
                  </a:lnTo>
                  <a:lnTo>
                    <a:pt x="10771569" y="12834866"/>
                  </a:lnTo>
                  <a:lnTo>
                    <a:pt x="10762041" y="12839631"/>
                  </a:lnTo>
                  <a:lnTo>
                    <a:pt x="10738213" y="12853926"/>
                  </a:lnTo>
                  <a:lnTo>
                    <a:pt x="10742981" y="12858691"/>
                  </a:lnTo>
                  <a:lnTo>
                    <a:pt x="10771569" y="12853926"/>
                  </a:lnTo>
                  <a:lnTo>
                    <a:pt x="10781101" y="12844396"/>
                  </a:lnTo>
                  <a:lnTo>
                    <a:pt x="10790629" y="12830100"/>
                  </a:lnTo>
                  <a:lnTo>
                    <a:pt x="10795397" y="12825336"/>
                  </a:lnTo>
                  <a:lnTo>
                    <a:pt x="10833517" y="12849161"/>
                  </a:lnTo>
                  <a:lnTo>
                    <a:pt x="10838281" y="12858691"/>
                  </a:lnTo>
                  <a:lnTo>
                    <a:pt x="10833517" y="12863456"/>
                  </a:lnTo>
                  <a:lnTo>
                    <a:pt x="10828753" y="12872986"/>
                  </a:lnTo>
                  <a:lnTo>
                    <a:pt x="10814457" y="12877752"/>
                  </a:lnTo>
                  <a:lnTo>
                    <a:pt x="10800161" y="12901578"/>
                  </a:lnTo>
                  <a:lnTo>
                    <a:pt x="10800161" y="12906342"/>
                  </a:lnTo>
                  <a:lnTo>
                    <a:pt x="10809693" y="12915873"/>
                  </a:lnTo>
                  <a:lnTo>
                    <a:pt x="10833517" y="12915873"/>
                  </a:lnTo>
                  <a:lnTo>
                    <a:pt x="10833517" y="12920638"/>
                  </a:lnTo>
                  <a:lnTo>
                    <a:pt x="10819221" y="12930168"/>
                  </a:lnTo>
                  <a:lnTo>
                    <a:pt x="10814457" y="12939698"/>
                  </a:lnTo>
                  <a:lnTo>
                    <a:pt x="10847813" y="12982584"/>
                  </a:lnTo>
                  <a:lnTo>
                    <a:pt x="10866873" y="13001645"/>
                  </a:lnTo>
                  <a:lnTo>
                    <a:pt x="10876401" y="13001645"/>
                  </a:lnTo>
                  <a:lnTo>
                    <a:pt x="10904993" y="13001645"/>
                  </a:lnTo>
                  <a:lnTo>
                    <a:pt x="10928821" y="13011176"/>
                  </a:lnTo>
                  <a:lnTo>
                    <a:pt x="10976469" y="13035001"/>
                  </a:lnTo>
                  <a:lnTo>
                    <a:pt x="11005061" y="13035001"/>
                  </a:lnTo>
                  <a:lnTo>
                    <a:pt x="11028889" y="13030236"/>
                  </a:lnTo>
                  <a:lnTo>
                    <a:pt x="11043181" y="13030236"/>
                  </a:lnTo>
                  <a:lnTo>
                    <a:pt x="11057477" y="13039766"/>
                  </a:lnTo>
                  <a:lnTo>
                    <a:pt x="11062241" y="13044531"/>
                  </a:lnTo>
                  <a:lnTo>
                    <a:pt x="11067009" y="13058826"/>
                  </a:lnTo>
                  <a:lnTo>
                    <a:pt x="11067009" y="13077887"/>
                  </a:lnTo>
                  <a:lnTo>
                    <a:pt x="11076537" y="13087418"/>
                  </a:lnTo>
                  <a:lnTo>
                    <a:pt x="11090833" y="13096948"/>
                  </a:lnTo>
                  <a:lnTo>
                    <a:pt x="11105129" y="13096948"/>
                  </a:lnTo>
                  <a:lnTo>
                    <a:pt x="11119425" y="13082652"/>
                  </a:lnTo>
                  <a:lnTo>
                    <a:pt x="11133721" y="13077887"/>
                  </a:lnTo>
                  <a:lnTo>
                    <a:pt x="11138485" y="13068357"/>
                  </a:lnTo>
                  <a:lnTo>
                    <a:pt x="11143249" y="13044531"/>
                  </a:lnTo>
                  <a:lnTo>
                    <a:pt x="11148017" y="13035001"/>
                  </a:lnTo>
                  <a:lnTo>
                    <a:pt x="11157545" y="13030236"/>
                  </a:lnTo>
                  <a:lnTo>
                    <a:pt x="11167077" y="13039766"/>
                  </a:lnTo>
                  <a:lnTo>
                    <a:pt x="11171841" y="13049296"/>
                  </a:lnTo>
                  <a:lnTo>
                    <a:pt x="11181373" y="13077887"/>
                  </a:lnTo>
                  <a:lnTo>
                    <a:pt x="11181373" y="13087418"/>
                  </a:lnTo>
                  <a:lnTo>
                    <a:pt x="11181373" y="13101712"/>
                  </a:lnTo>
                  <a:lnTo>
                    <a:pt x="11176605" y="13111243"/>
                  </a:lnTo>
                  <a:lnTo>
                    <a:pt x="11167077" y="13120774"/>
                  </a:lnTo>
                  <a:lnTo>
                    <a:pt x="11157545" y="13135068"/>
                  </a:lnTo>
                  <a:lnTo>
                    <a:pt x="11143249" y="13149364"/>
                  </a:lnTo>
                  <a:lnTo>
                    <a:pt x="11133721" y="13187485"/>
                  </a:lnTo>
                  <a:lnTo>
                    <a:pt x="11128953" y="13216076"/>
                  </a:lnTo>
                  <a:lnTo>
                    <a:pt x="11124189" y="13230371"/>
                  </a:lnTo>
                  <a:lnTo>
                    <a:pt x="11128953" y="13244666"/>
                  </a:lnTo>
                  <a:lnTo>
                    <a:pt x="11128953" y="13263727"/>
                  </a:lnTo>
                  <a:lnTo>
                    <a:pt x="11133721" y="13278022"/>
                  </a:lnTo>
                  <a:lnTo>
                    <a:pt x="11148017" y="13297083"/>
                  </a:lnTo>
                  <a:lnTo>
                    <a:pt x="11148017" y="13306613"/>
                  </a:lnTo>
                  <a:lnTo>
                    <a:pt x="11148017" y="13320908"/>
                  </a:lnTo>
                  <a:lnTo>
                    <a:pt x="11148017" y="13330439"/>
                  </a:lnTo>
                  <a:lnTo>
                    <a:pt x="11138485" y="13344734"/>
                  </a:lnTo>
                  <a:lnTo>
                    <a:pt x="11119425" y="13359030"/>
                  </a:lnTo>
                  <a:lnTo>
                    <a:pt x="11095597" y="13363794"/>
                  </a:lnTo>
                  <a:lnTo>
                    <a:pt x="11009825" y="13363794"/>
                  </a:lnTo>
                  <a:lnTo>
                    <a:pt x="10986001" y="13359030"/>
                  </a:lnTo>
                  <a:lnTo>
                    <a:pt x="10990765" y="13373325"/>
                  </a:lnTo>
                  <a:lnTo>
                    <a:pt x="11014593" y="13378090"/>
                  </a:lnTo>
                  <a:lnTo>
                    <a:pt x="11038417" y="13378090"/>
                  </a:lnTo>
                  <a:lnTo>
                    <a:pt x="11119425" y="13387620"/>
                  </a:lnTo>
                  <a:lnTo>
                    <a:pt x="11128953" y="13392386"/>
                  </a:lnTo>
                  <a:lnTo>
                    <a:pt x="11138485" y="13406681"/>
                  </a:lnTo>
                  <a:lnTo>
                    <a:pt x="11148017" y="13425742"/>
                  </a:lnTo>
                  <a:lnTo>
                    <a:pt x="11152781" y="13454332"/>
                  </a:lnTo>
                  <a:lnTo>
                    <a:pt x="11152781" y="13468628"/>
                  </a:lnTo>
                  <a:lnTo>
                    <a:pt x="11152781" y="13482923"/>
                  </a:lnTo>
                  <a:lnTo>
                    <a:pt x="11143249" y="13501984"/>
                  </a:lnTo>
                  <a:lnTo>
                    <a:pt x="11138485" y="13525809"/>
                  </a:lnTo>
                  <a:lnTo>
                    <a:pt x="11133721" y="13554400"/>
                  </a:lnTo>
                  <a:lnTo>
                    <a:pt x="11138485" y="13573460"/>
                  </a:lnTo>
                  <a:lnTo>
                    <a:pt x="11181373" y="13573460"/>
                  </a:lnTo>
                  <a:lnTo>
                    <a:pt x="11190901" y="13582990"/>
                  </a:lnTo>
                  <a:lnTo>
                    <a:pt x="11190901" y="13592521"/>
                  </a:lnTo>
                  <a:lnTo>
                    <a:pt x="11171841" y="13621112"/>
                  </a:lnTo>
                  <a:lnTo>
                    <a:pt x="11171841" y="13630642"/>
                  </a:lnTo>
                  <a:lnTo>
                    <a:pt x="11181373" y="13649702"/>
                  </a:lnTo>
                  <a:lnTo>
                    <a:pt x="11181373" y="13654468"/>
                  </a:lnTo>
                  <a:lnTo>
                    <a:pt x="11176605" y="13659232"/>
                  </a:lnTo>
                  <a:lnTo>
                    <a:pt x="11171841" y="13678293"/>
                  </a:lnTo>
                  <a:lnTo>
                    <a:pt x="11167077" y="13702118"/>
                  </a:lnTo>
                  <a:lnTo>
                    <a:pt x="11162309" y="13716414"/>
                  </a:lnTo>
                  <a:lnTo>
                    <a:pt x="11148017" y="13725944"/>
                  </a:lnTo>
                  <a:lnTo>
                    <a:pt x="11143249" y="13730710"/>
                  </a:lnTo>
                  <a:lnTo>
                    <a:pt x="11138485" y="13725944"/>
                  </a:lnTo>
                  <a:lnTo>
                    <a:pt x="11128953" y="13692588"/>
                  </a:lnTo>
                  <a:lnTo>
                    <a:pt x="11124189" y="13687824"/>
                  </a:lnTo>
                  <a:lnTo>
                    <a:pt x="11119425" y="13692588"/>
                  </a:lnTo>
                  <a:lnTo>
                    <a:pt x="11114661" y="13697354"/>
                  </a:lnTo>
                  <a:lnTo>
                    <a:pt x="11114661" y="13702118"/>
                  </a:lnTo>
                  <a:lnTo>
                    <a:pt x="11114661" y="13711649"/>
                  </a:lnTo>
                  <a:lnTo>
                    <a:pt x="11109893" y="13721179"/>
                  </a:lnTo>
                  <a:lnTo>
                    <a:pt x="11090833" y="13730710"/>
                  </a:lnTo>
                  <a:lnTo>
                    <a:pt x="11062241" y="13740240"/>
                  </a:lnTo>
                  <a:lnTo>
                    <a:pt x="11062241" y="13749770"/>
                  </a:lnTo>
                  <a:lnTo>
                    <a:pt x="11081305" y="13754535"/>
                  </a:lnTo>
                  <a:lnTo>
                    <a:pt x="11109893" y="13768830"/>
                  </a:lnTo>
                  <a:lnTo>
                    <a:pt x="11119425" y="13768830"/>
                  </a:lnTo>
                  <a:lnTo>
                    <a:pt x="11143249" y="13759300"/>
                  </a:lnTo>
                  <a:lnTo>
                    <a:pt x="11186137" y="13721179"/>
                  </a:lnTo>
                  <a:lnTo>
                    <a:pt x="11200433" y="13711649"/>
                  </a:lnTo>
                  <a:lnTo>
                    <a:pt x="11219493" y="13706884"/>
                  </a:lnTo>
                  <a:lnTo>
                    <a:pt x="11233789" y="13706884"/>
                  </a:lnTo>
                  <a:lnTo>
                    <a:pt x="11252849" y="13711649"/>
                  </a:lnTo>
                  <a:lnTo>
                    <a:pt x="11290969" y="13706884"/>
                  </a:lnTo>
                  <a:lnTo>
                    <a:pt x="11300501" y="13706884"/>
                  </a:lnTo>
                  <a:lnTo>
                    <a:pt x="11314793" y="13716414"/>
                  </a:lnTo>
                  <a:lnTo>
                    <a:pt x="11324325" y="13730710"/>
                  </a:lnTo>
                  <a:lnTo>
                    <a:pt x="11338621" y="13740240"/>
                  </a:lnTo>
                  <a:lnTo>
                    <a:pt x="11343385" y="13754535"/>
                  </a:lnTo>
                  <a:lnTo>
                    <a:pt x="11348149" y="13797421"/>
                  </a:lnTo>
                  <a:lnTo>
                    <a:pt x="11362445" y="13811716"/>
                  </a:lnTo>
                  <a:lnTo>
                    <a:pt x="11362445" y="13816482"/>
                  </a:lnTo>
                  <a:lnTo>
                    <a:pt x="11367213" y="13830777"/>
                  </a:lnTo>
                  <a:lnTo>
                    <a:pt x="11362445" y="13854602"/>
                  </a:lnTo>
                  <a:lnTo>
                    <a:pt x="11352917" y="13907019"/>
                  </a:lnTo>
                  <a:lnTo>
                    <a:pt x="11343385" y="13926080"/>
                  </a:lnTo>
                  <a:lnTo>
                    <a:pt x="11329089" y="13954670"/>
                  </a:lnTo>
                  <a:lnTo>
                    <a:pt x="11305265" y="13964200"/>
                  </a:lnTo>
                  <a:lnTo>
                    <a:pt x="11271909" y="13973731"/>
                  </a:lnTo>
                  <a:lnTo>
                    <a:pt x="11252849" y="13983261"/>
                  </a:lnTo>
                  <a:lnTo>
                    <a:pt x="11238553" y="13997556"/>
                  </a:lnTo>
                  <a:lnTo>
                    <a:pt x="11238553" y="14002322"/>
                  </a:lnTo>
                  <a:lnTo>
                    <a:pt x="11281437" y="13983261"/>
                  </a:lnTo>
                  <a:lnTo>
                    <a:pt x="11324325" y="13973731"/>
                  </a:lnTo>
                  <a:lnTo>
                    <a:pt x="11338621" y="13959436"/>
                  </a:lnTo>
                  <a:lnTo>
                    <a:pt x="11348149" y="13949906"/>
                  </a:lnTo>
                  <a:lnTo>
                    <a:pt x="11357681" y="13921314"/>
                  </a:lnTo>
                  <a:lnTo>
                    <a:pt x="11371977" y="13854602"/>
                  </a:lnTo>
                  <a:lnTo>
                    <a:pt x="11381505" y="13835542"/>
                  </a:lnTo>
                  <a:lnTo>
                    <a:pt x="11395801" y="13830777"/>
                  </a:lnTo>
                  <a:lnTo>
                    <a:pt x="11405333" y="13840308"/>
                  </a:lnTo>
                  <a:lnTo>
                    <a:pt x="11419629" y="13878428"/>
                  </a:lnTo>
                  <a:lnTo>
                    <a:pt x="11419629" y="13887958"/>
                  </a:lnTo>
                  <a:lnTo>
                    <a:pt x="11414861" y="13897489"/>
                  </a:lnTo>
                  <a:lnTo>
                    <a:pt x="11391037" y="13935610"/>
                  </a:lnTo>
                  <a:lnTo>
                    <a:pt x="11400565" y="13930845"/>
                  </a:lnTo>
                  <a:lnTo>
                    <a:pt x="11424393" y="13892724"/>
                  </a:lnTo>
                  <a:lnTo>
                    <a:pt x="11429157" y="13883194"/>
                  </a:lnTo>
                  <a:lnTo>
                    <a:pt x="11433921" y="13868898"/>
                  </a:lnTo>
                  <a:lnTo>
                    <a:pt x="11438689" y="13854602"/>
                  </a:lnTo>
                  <a:lnTo>
                    <a:pt x="11443453" y="13859368"/>
                  </a:lnTo>
                  <a:lnTo>
                    <a:pt x="11448217" y="13902254"/>
                  </a:lnTo>
                  <a:lnTo>
                    <a:pt x="11448217" y="13935610"/>
                  </a:lnTo>
                  <a:lnTo>
                    <a:pt x="11452985" y="13945140"/>
                  </a:lnTo>
                  <a:lnTo>
                    <a:pt x="11448217" y="13973731"/>
                  </a:lnTo>
                  <a:lnTo>
                    <a:pt x="11452985" y="13978496"/>
                  </a:lnTo>
                  <a:lnTo>
                    <a:pt x="11457749" y="13954670"/>
                  </a:lnTo>
                  <a:lnTo>
                    <a:pt x="11462513" y="13935610"/>
                  </a:lnTo>
                  <a:lnTo>
                    <a:pt x="11462513" y="13921314"/>
                  </a:lnTo>
                  <a:lnTo>
                    <a:pt x="11467277" y="13911784"/>
                  </a:lnTo>
                  <a:lnTo>
                    <a:pt x="11495869" y="13887958"/>
                  </a:lnTo>
                  <a:lnTo>
                    <a:pt x="11533989" y="13864133"/>
                  </a:lnTo>
                  <a:lnTo>
                    <a:pt x="11553053" y="13845072"/>
                  </a:lnTo>
                  <a:lnTo>
                    <a:pt x="11572113" y="13835542"/>
                  </a:lnTo>
                  <a:lnTo>
                    <a:pt x="11600701" y="13830777"/>
                  </a:lnTo>
                  <a:lnTo>
                    <a:pt x="11619761" y="13811716"/>
                  </a:lnTo>
                  <a:lnTo>
                    <a:pt x="11624529" y="13783126"/>
                  </a:lnTo>
                  <a:lnTo>
                    <a:pt x="11634057" y="13768830"/>
                  </a:lnTo>
                  <a:lnTo>
                    <a:pt x="11638825" y="13759300"/>
                  </a:lnTo>
                  <a:lnTo>
                    <a:pt x="11657885" y="13740240"/>
                  </a:lnTo>
                  <a:lnTo>
                    <a:pt x="11667413" y="13740240"/>
                  </a:lnTo>
                  <a:lnTo>
                    <a:pt x="11676945" y="13745005"/>
                  </a:lnTo>
                  <a:lnTo>
                    <a:pt x="11686473" y="13759300"/>
                  </a:lnTo>
                  <a:lnTo>
                    <a:pt x="11700769" y="13778360"/>
                  </a:lnTo>
                  <a:lnTo>
                    <a:pt x="11705537" y="13792656"/>
                  </a:lnTo>
                  <a:lnTo>
                    <a:pt x="11710301" y="13806952"/>
                  </a:lnTo>
                  <a:lnTo>
                    <a:pt x="11710301" y="13845072"/>
                  </a:lnTo>
                  <a:lnTo>
                    <a:pt x="11715065" y="13845072"/>
                  </a:lnTo>
                  <a:lnTo>
                    <a:pt x="11724597" y="13816482"/>
                  </a:lnTo>
                  <a:lnTo>
                    <a:pt x="11724597" y="13806952"/>
                  </a:lnTo>
                  <a:lnTo>
                    <a:pt x="11724597" y="13792656"/>
                  </a:lnTo>
                  <a:lnTo>
                    <a:pt x="11719829" y="13783126"/>
                  </a:lnTo>
                  <a:lnTo>
                    <a:pt x="11710301" y="13754535"/>
                  </a:lnTo>
                  <a:lnTo>
                    <a:pt x="11705537" y="13740240"/>
                  </a:lnTo>
                  <a:lnTo>
                    <a:pt x="11705537" y="13730710"/>
                  </a:lnTo>
                  <a:lnTo>
                    <a:pt x="11719829" y="13725944"/>
                  </a:lnTo>
                  <a:lnTo>
                    <a:pt x="11734125" y="13721179"/>
                  </a:lnTo>
                  <a:lnTo>
                    <a:pt x="11738893" y="13716414"/>
                  </a:lnTo>
                  <a:lnTo>
                    <a:pt x="11724597" y="13706884"/>
                  </a:lnTo>
                  <a:lnTo>
                    <a:pt x="11724597" y="13702118"/>
                  </a:lnTo>
                  <a:lnTo>
                    <a:pt x="11738893" y="13683058"/>
                  </a:lnTo>
                  <a:lnTo>
                    <a:pt x="11743657" y="13683058"/>
                  </a:lnTo>
                  <a:lnTo>
                    <a:pt x="11757953" y="13683058"/>
                  </a:lnTo>
                  <a:lnTo>
                    <a:pt x="11757953" y="13673528"/>
                  </a:lnTo>
                  <a:lnTo>
                    <a:pt x="11757953" y="13668763"/>
                  </a:lnTo>
                  <a:lnTo>
                    <a:pt x="11762717" y="13663998"/>
                  </a:lnTo>
                  <a:lnTo>
                    <a:pt x="11786541" y="13673528"/>
                  </a:lnTo>
                  <a:lnTo>
                    <a:pt x="11786541" y="13663998"/>
                  </a:lnTo>
                  <a:lnTo>
                    <a:pt x="11805601" y="13663998"/>
                  </a:lnTo>
                  <a:lnTo>
                    <a:pt x="11810369" y="13659232"/>
                  </a:lnTo>
                  <a:lnTo>
                    <a:pt x="11791309" y="13649702"/>
                  </a:lnTo>
                  <a:lnTo>
                    <a:pt x="11777013" y="13640172"/>
                  </a:lnTo>
                  <a:lnTo>
                    <a:pt x="11767481" y="13635407"/>
                  </a:lnTo>
                  <a:lnTo>
                    <a:pt x="11767481" y="13630642"/>
                  </a:lnTo>
                  <a:lnTo>
                    <a:pt x="11757953" y="13611582"/>
                  </a:lnTo>
                  <a:lnTo>
                    <a:pt x="11762717" y="13606816"/>
                  </a:lnTo>
                  <a:lnTo>
                    <a:pt x="11767481" y="13606816"/>
                  </a:lnTo>
                  <a:lnTo>
                    <a:pt x="11777013" y="13611582"/>
                  </a:lnTo>
                  <a:lnTo>
                    <a:pt x="11781777" y="13602051"/>
                  </a:lnTo>
                  <a:lnTo>
                    <a:pt x="11786541" y="13578226"/>
                  </a:lnTo>
                  <a:lnTo>
                    <a:pt x="11791309" y="13568695"/>
                  </a:lnTo>
                  <a:lnTo>
                    <a:pt x="11805601" y="13578226"/>
                  </a:lnTo>
                  <a:lnTo>
                    <a:pt x="11805601" y="13573460"/>
                  </a:lnTo>
                  <a:lnTo>
                    <a:pt x="11791309" y="13540104"/>
                  </a:lnTo>
                  <a:lnTo>
                    <a:pt x="11796073" y="13530574"/>
                  </a:lnTo>
                  <a:lnTo>
                    <a:pt x="11815133" y="13530574"/>
                  </a:lnTo>
                  <a:lnTo>
                    <a:pt x="11824665" y="13535340"/>
                  </a:lnTo>
                  <a:lnTo>
                    <a:pt x="11858021" y="13559165"/>
                  </a:lnTo>
                  <a:lnTo>
                    <a:pt x="11862785" y="13559165"/>
                  </a:lnTo>
                  <a:lnTo>
                    <a:pt x="11858021" y="13549634"/>
                  </a:lnTo>
                  <a:lnTo>
                    <a:pt x="11843725" y="13535340"/>
                  </a:lnTo>
                  <a:lnTo>
                    <a:pt x="11829429" y="13525809"/>
                  </a:lnTo>
                  <a:lnTo>
                    <a:pt x="11815133" y="13521044"/>
                  </a:lnTo>
                  <a:lnTo>
                    <a:pt x="11805601" y="13511514"/>
                  </a:lnTo>
                  <a:lnTo>
                    <a:pt x="11796073" y="13487688"/>
                  </a:lnTo>
                  <a:lnTo>
                    <a:pt x="11791309" y="13478158"/>
                  </a:lnTo>
                  <a:lnTo>
                    <a:pt x="11796073" y="13463862"/>
                  </a:lnTo>
                  <a:lnTo>
                    <a:pt x="11800837" y="13440036"/>
                  </a:lnTo>
                  <a:lnTo>
                    <a:pt x="11805601" y="13430506"/>
                  </a:lnTo>
                  <a:lnTo>
                    <a:pt x="11815133" y="13425742"/>
                  </a:lnTo>
                  <a:lnTo>
                    <a:pt x="11824665" y="13425742"/>
                  </a:lnTo>
                  <a:lnTo>
                    <a:pt x="11834193" y="13425742"/>
                  </a:lnTo>
                  <a:lnTo>
                    <a:pt x="11862785" y="13444802"/>
                  </a:lnTo>
                  <a:lnTo>
                    <a:pt x="11867549" y="13440036"/>
                  </a:lnTo>
                  <a:lnTo>
                    <a:pt x="11853253" y="13430506"/>
                  </a:lnTo>
                  <a:lnTo>
                    <a:pt x="11843725" y="13420976"/>
                  </a:lnTo>
                  <a:lnTo>
                    <a:pt x="11843725" y="13411446"/>
                  </a:lnTo>
                  <a:lnTo>
                    <a:pt x="11843725" y="13397150"/>
                  </a:lnTo>
                  <a:lnTo>
                    <a:pt x="11853253" y="13368560"/>
                  </a:lnTo>
                  <a:lnTo>
                    <a:pt x="11858021" y="13349500"/>
                  </a:lnTo>
                  <a:lnTo>
                    <a:pt x="11881845" y="13287552"/>
                  </a:lnTo>
                  <a:lnTo>
                    <a:pt x="11886609" y="13278022"/>
                  </a:lnTo>
                  <a:lnTo>
                    <a:pt x="11891377" y="13273258"/>
                  </a:lnTo>
                  <a:lnTo>
                    <a:pt x="11896141" y="13263727"/>
                  </a:lnTo>
                  <a:lnTo>
                    <a:pt x="11915201" y="13263727"/>
                  </a:lnTo>
                  <a:lnTo>
                    <a:pt x="11948557" y="13282788"/>
                  </a:lnTo>
                  <a:lnTo>
                    <a:pt x="11958085" y="13297083"/>
                  </a:lnTo>
                  <a:lnTo>
                    <a:pt x="11962853" y="13316144"/>
                  </a:lnTo>
                  <a:lnTo>
                    <a:pt x="11943793" y="13339969"/>
                  </a:lnTo>
                  <a:lnTo>
                    <a:pt x="11915201" y="13359030"/>
                  </a:lnTo>
                  <a:lnTo>
                    <a:pt x="11905669" y="13363794"/>
                  </a:lnTo>
                  <a:lnTo>
                    <a:pt x="11910437" y="13368560"/>
                  </a:lnTo>
                  <a:lnTo>
                    <a:pt x="11939025" y="13354264"/>
                  </a:lnTo>
                  <a:lnTo>
                    <a:pt x="11962853" y="13349500"/>
                  </a:lnTo>
                  <a:lnTo>
                    <a:pt x="11981913" y="13349500"/>
                  </a:lnTo>
                  <a:lnTo>
                    <a:pt x="11996209" y="13378090"/>
                  </a:lnTo>
                  <a:lnTo>
                    <a:pt x="12000973" y="13416211"/>
                  </a:lnTo>
                  <a:lnTo>
                    <a:pt x="11991441" y="13449567"/>
                  </a:lnTo>
                  <a:lnTo>
                    <a:pt x="12000973" y="13430506"/>
                  </a:lnTo>
                  <a:lnTo>
                    <a:pt x="12015269" y="13425742"/>
                  </a:lnTo>
                  <a:lnTo>
                    <a:pt x="12029565" y="13444802"/>
                  </a:lnTo>
                  <a:lnTo>
                    <a:pt x="12029565" y="13463862"/>
                  </a:lnTo>
                  <a:lnTo>
                    <a:pt x="12039093" y="13478158"/>
                  </a:lnTo>
                  <a:lnTo>
                    <a:pt x="12048625" y="13501984"/>
                  </a:lnTo>
                  <a:lnTo>
                    <a:pt x="12062921" y="13521044"/>
                  </a:lnTo>
                  <a:lnTo>
                    <a:pt x="12048625" y="13540104"/>
                  </a:lnTo>
                  <a:lnTo>
                    <a:pt x="12029565" y="13549634"/>
                  </a:lnTo>
                  <a:lnTo>
                    <a:pt x="12034329" y="13559165"/>
                  </a:lnTo>
                  <a:lnTo>
                    <a:pt x="12058153" y="13568695"/>
                  </a:lnTo>
                  <a:lnTo>
                    <a:pt x="12062921" y="13578226"/>
                  </a:lnTo>
                  <a:lnTo>
                    <a:pt x="12062921" y="13592521"/>
                  </a:lnTo>
                  <a:lnTo>
                    <a:pt x="12081981" y="13573460"/>
                  </a:lnTo>
                  <a:lnTo>
                    <a:pt x="12096277" y="13573460"/>
                  </a:lnTo>
                  <a:lnTo>
                    <a:pt x="12115337" y="13616346"/>
                  </a:lnTo>
                  <a:lnTo>
                    <a:pt x="12101041" y="13640172"/>
                  </a:lnTo>
                  <a:lnTo>
                    <a:pt x="12081981" y="13654468"/>
                  </a:lnTo>
                  <a:lnTo>
                    <a:pt x="12062921" y="13654468"/>
                  </a:lnTo>
                  <a:lnTo>
                    <a:pt x="12039093" y="13654468"/>
                  </a:lnTo>
                  <a:lnTo>
                    <a:pt x="12029565" y="13659232"/>
                  </a:lnTo>
                  <a:lnTo>
                    <a:pt x="12034329" y="13668763"/>
                  </a:lnTo>
                  <a:lnTo>
                    <a:pt x="12058153" y="13668763"/>
                  </a:lnTo>
                  <a:lnTo>
                    <a:pt x="12091509" y="13659232"/>
                  </a:lnTo>
                  <a:lnTo>
                    <a:pt x="12120101" y="13649702"/>
                  </a:lnTo>
                  <a:lnTo>
                    <a:pt x="12129633" y="13649702"/>
                  </a:lnTo>
                  <a:lnTo>
                    <a:pt x="12143925" y="13654468"/>
                  </a:lnTo>
                  <a:lnTo>
                    <a:pt x="12148693" y="13659232"/>
                  </a:lnTo>
                  <a:lnTo>
                    <a:pt x="12134397" y="13663998"/>
                  </a:lnTo>
                  <a:lnTo>
                    <a:pt x="12134397" y="13668763"/>
                  </a:lnTo>
                  <a:lnTo>
                    <a:pt x="12139161" y="13673528"/>
                  </a:lnTo>
                  <a:lnTo>
                    <a:pt x="12148693" y="13697354"/>
                  </a:lnTo>
                  <a:lnTo>
                    <a:pt x="12148693" y="13702118"/>
                  </a:lnTo>
                  <a:lnTo>
                    <a:pt x="12139161" y="13716414"/>
                  </a:lnTo>
                  <a:lnTo>
                    <a:pt x="12153457" y="13721179"/>
                  </a:lnTo>
                  <a:lnTo>
                    <a:pt x="12172517" y="13711649"/>
                  </a:lnTo>
                  <a:lnTo>
                    <a:pt x="12182049" y="13721179"/>
                  </a:lnTo>
                  <a:lnTo>
                    <a:pt x="12191577" y="13745005"/>
                  </a:lnTo>
                  <a:lnTo>
                    <a:pt x="12201109" y="13773596"/>
                  </a:lnTo>
                  <a:lnTo>
                    <a:pt x="12167753" y="13811716"/>
                  </a:lnTo>
                  <a:lnTo>
                    <a:pt x="12148693" y="13821247"/>
                  </a:lnTo>
                  <a:lnTo>
                    <a:pt x="12120101" y="13840308"/>
                  </a:lnTo>
                  <a:lnTo>
                    <a:pt x="12115337" y="13854602"/>
                  </a:lnTo>
                  <a:lnTo>
                    <a:pt x="12096277" y="13878428"/>
                  </a:lnTo>
                  <a:lnTo>
                    <a:pt x="12105805" y="13878428"/>
                  </a:lnTo>
                  <a:lnTo>
                    <a:pt x="12134397" y="13845072"/>
                  </a:lnTo>
                  <a:lnTo>
                    <a:pt x="12148693" y="13835542"/>
                  </a:lnTo>
                  <a:lnTo>
                    <a:pt x="12158221" y="13840308"/>
                  </a:lnTo>
                  <a:lnTo>
                    <a:pt x="12162989" y="13845072"/>
                  </a:lnTo>
                  <a:lnTo>
                    <a:pt x="12162989" y="13854602"/>
                  </a:lnTo>
                  <a:lnTo>
                    <a:pt x="12167753" y="13849838"/>
                  </a:lnTo>
                  <a:lnTo>
                    <a:pt x="12205873" y="13830777"/>
                  </a:lnTo>
                  <a:lnTo>
                    <a:pt x="12224933" y="13830777"/>
                  </a:lnTo>
                  <a:lnTo>
                    <a:pt x="12243993" y="13826012"/>
                  </a:lnTo>
                  <a:lnTo>
                    <a:pt x="12243993" y="13835542"/>
                  </a:lnTo>
                  <a:lnTo>
                    <a:pt x="12234465" y="13878428"/>
                  </a:lnTo>
                  <a:lnTo>
                    <a:pt x="12210637" y="13916550"/>
                  </a:lnTo>
                  <a:lnTo>
                    <a:pt x="12172517" y="13935610"/>
                  </a:lnTo>
                  <a:lnTo>
                    <a:pt x="12158221" y="13949906"/>
                  </a:lnTo>
                  <a:lnTo>
                    <a:pt x="12139161" y="13968966"/>
                  </a:lnTo>
                  <a:lnTo>
                    <a:pt x="12148693" y="13973731"/>
                  </a:lnTo>
                  <a:lnTo>
                    <a:pt x="12186813" y="13945140"/>
                  </a:lnTo>
                  <a:lnTo>
                    <a:pt x="12210637" y="13935610"/>
                  </a:lnTo>
                  <a:lnTo>
                    <a:pt x="12243993" y="13926080"/>
                  </a:lnTo>
                  <a:lnTo>
                    <a:pt x="12263057" y="13930845"/>
                  </a:lnTo>
                  <a:lnTo>
                    <a:pt x="12291645" y="13983261"/>
                  </a:lnTo>
                  <a:lnTo>
                    <a:pt x="12305941" y="13988026"/>
                  </a:lnTo>
                  <a:lnTo>
                    <a:pt x="12320237" y="13988026"/>
                  </a:lnTo>
                  <a:lnTo>
                    <a:pt x="12344061" y="14002322"/>
                  </a:lnTo>
                  <a:lnTo>
                    <a:pt x="12353593" y="14016617"/>
                  </a:lnTo>
                  <a:lnTo>
                    <a:pt x="12353593" y="14026148"/>
                  </a:lnTo>
                  <a:lnTo>
                    <a:pt x="12344061" y="14030912"/>
                  </a:lnTo>
                  <a:lnTo>
                    <a:pt x="12339297" y="14045208"/>
                  </a:lnTo>
                  <a:lnTo>
                    <a:pt x="12348829" y="14073798"/>
                  </a:lnTo>
                  <a:lnTo>
                    <a:pt x="12344061" y="14088094"/>
                  </a:lnTo>
                  <a:lnTo>
                    <a:pt x="12325001" y="14102390"/>
                  </a:lnTo>
                  <a:lnTo>
                    <a:pt x="12310705" y="14111920"/>
                  </a:lnTo>
                  <a:lnTo>
                    <a:pt x="12296409" y="14111920"/>
                  </a:lnTo>
                  <a:lnTo>
                    <a:pt x="12286881" y="14126215"/>
                  </a:lnTo>
                  <a:lnTo>
                    <a:pt x="12277349" y="14126215"/>
                  </a:lnTo>
                  <a:lnTo>
                    <a:pt x="12263057" y="14126215"/>
                  </a:lnTo>
                  <a:lnTo>
                    <a:pt x="12267821" y="14130980"/>
                  </a:lnTo>
                  <a:lnTo>
                    <a:pt x="12277349" y="14135745"/>
                  </a:lnTo>
                  <a:lnTo>
                    <a:pt x="12291645" y="14135745"/>
                  </a:lnTo>
                  <a:lnTo>
                    <a:pt x="12305941" y="14135745"/>
                  </a:lnTo>
                  <a:lnTo>
                    <a:pt x="12325001" y="14135745"/>
                  </a:lnTo>
                  <a:lnTo>
                    <a:pt x="12348829" y="14145276"/>
                  </a:lnTo>
                  <a:lnTo>
                    <a:pt x="12363121" y="14154806"/>
                  </a:lnTo>
                  <a:lnTo>
                    <a:pt x="12363121" y="14159571"/>
                  </a:lnTo>
                  <a:lnTo>
                    <a:pt x="12358357" y="14164336"/>
                  </a:lnTo>
                  <a:lnTo>
                    <a:pt x="12348829" y="14188162"/>
                  </a:lnTo>
                  <a:lnTo>
                    <a:pt x="12339297" y="14192926"/>
                  </a:lnTo>
                  <a:lnTo>
                    <a:pt x="12348829" y="14202457"/>
                  </a:lnTo>
                  <a:lnTo>
                    <a:pt x="12358357" y="14207222"/>
                  </a:lnTo>
                  <a:lnTo>
                    <a:pt x="12367889" y="14211987"/>
                  </a:lnTo>
                  <a:lnTo>
                    <a:pt x="12382185" y="14207222"/>
                  </a:lnTo>
                  <a:lnTo>
                    <a:pt x="12396477" y="14211987"/>
                  </a:lnTo>
                  <a:lnTo>
                    <a:pt x="12444129" y="14264404"/>
                  </a:lnTo>
                  <a:lnTo>
                    <a:pt x="12439365" y="14288230"/>
                  </a:lnTo>
                  <a:lnTo>
                    <a:pt x="12434601" y="14307290"/>
                  </a:lnTo>
                  <a:lnTo>
                    <a:pt x="12434601" y="14331116"/>
                  </a:lnTo>
                  <a:lnTo>
                    <a:pt x="12434601" y="14354941"/>
                  </a:lnTo>
                  <a:lnTo>
                    <a:pt x="12410773" y="14364472"/>
                  </a:lnTo>
                  <a:lnTo>
                    <a:pt x="12329765" y="14350176"/>
                  </a:lnTo>
                  <a:lnTo>
                    <a:pt x="12282117" y="14331116"/>
                  </a:lnTo>
                  <a:lnTo>
                    <a:pt x="12277349" y="14326350"/>
                  </a:lnTo>
                  <a:lnTo>
                    <a:pt x="12291645" y="14312055"/>
                  </a:lnTo>
                  <a:lnTo>
                    <a:pt x="12282117" y="14312055"/>
                  </a:lnTo>
                  <a:lnTo>
                    <a:pt x="12267821" y="14316820"/>
                  </a:lnTo>
                  <a:lnTo>
                    <a:pt x="12258289" y="14321585"/>
                  </a:lnTo>
                  <a:lnTo>
                    <a:pt x="12277349" y="14340646"/>
                  </a:lnTo>
                  <a:lnTo>
                    <a:pt x="12320237" y="14359706"/>
                  </a:lnTo>
                  <a:lnTo>
                    <a:pt x="12339297" y="14383532"/>
                  </a:lnTo>
                  <a:lnTo>
                    <a:pt x="12363121" y="14383532"/>
                  </a:lnTo>
                  <a:lnTo>
                    <a:pt x="12367889" y="14388297"/>
                  </a:lnTo>
                  <a:lnTo>
                    <a:pt x="12377417" y="14402592"/>
                  </a:lnTo>
                  <a:lnTo>
                    <a:pt x="12353593" y="14407358"/>
                  </a:lnTo>
                  <a:lnTo>
                    <a:pt x="12334533" y="14421653"/>
                  </a:lnTo>
                  <a:lnTo>
                    <a:pt x="12348829" y="14431183"/>
                  </a:lnTo>
                  <a:lnTo>
                    <a:pt x="12386949" y="14435948"/>
                  </a:lnTo>
                  <a:lnTo>
                    <a:pt x="12415541" y="14440714"/>
                  </a:lnTo>
                  <a:lnTo>
                    <a:pt x="12429833" y="14445478"/>
                  </a:lnTo>
                  <a:lnTo>
                    <a:pt x="12415541" y="14455008"/>
                  </a:lnTo>
                  <a:lnTo>
                    <a:pt x="12382185" y="14469304"/>
                  </a:lnTo>
                  <a:lnTo>
                    <a:pt x="12382185" y="14483600"/>
                  </a:lnTo>
                  <a:lnTo>
                    <a:pt x="12406009" y="14488364"/>
                  </a:lnTo>
                  <a:lnTo>
                    <a:pt x="12429833" y="14488364"/>
                  </a:lnTo>
                  <a:lnTo>
                    <a:pt x="12439365" y="14488364"/>
                  </a:lnTo>
                  <a:lnTo>
                    <a:pt x="12444129" y="14526486"/>
                  </a:lnTo>
                  <a:lnTo>
                    <a:pt x="12448897" y="14536016"/>
                  </a:lnTo>
                  <a:lnTo>
                    <a:pt x="12425069" y="14540781"/>
                  </a:lnTo>
                  <a:lnTo>
                    <a:pt x="12425069" y="14550311"/>
                  </a:lnTo>
                  <a:lnTo>
                    <a:pt x="12439365" y="14555076"/>
                  </a:lnTo>
                  <a:lnTo>
                    <a:pt x="12463189" y="14559842"/>
                  </a:lnTo>
                  <a:lnTo>
                    <a:pt x="12472721" y="14569372"/>
                  </a:lnTo>
                  <a:lnTo>
                    <a:pt x="12477485" y="14578902"/>
                  </a:lnTo>
                  <a:lnTo>
                    <a:pt x="12482249" y="14583667"/>
                  </a:lnTo>
                  <a:lnTo>
                    <a:pt x="12496545" y="14588432"/>
                  </a:lnTo>
                  <a:lnTo>
                    <a:pt x="12510841" y="14574137"/>
                  </a:lnTo>
                  <a:lnTo>
                    <a:pt x="12520373" y="14559842"/>
                  </a:lnTo>
                  <a:lnTo>
                    <a:pt x="12534669" y="14564606"/>
                  </a:lnTo>
                  <a:lnTo>
                    <a:pt x="12534669" y="14578902"/>
                  </a:lnTo>
                  <a:lnTo>
                    <a:pt x="12553729" y="14597962"/>
                  </a:lnTo>
                  <a:lnTo>
                    <a:pt x="12558493" y="14597962"/>
                  </a:lnTo>
                  <a:lnTo>
                    <a:pt x="12563257" y="14626554"/>
                  </a:lnTo>
                  <a:lnTo>
                    <a:pt x="12577553" y="14602728"/>
                  </a:lnTo>
                  <a:lnTo>
                    <a:pt x="12587085" y="14607493"/>
                  </a:lnTo>
                  <a:lnTo>
                    <a:pt x="12596613" y="14607493"/>
                  </a:lnTo>
                  <a:lnTo>
                    <a:pt x="12591849" y="14631318"/>
                  </a:lnTo>
                  <a:lnTo>
                    <a:pt x="12587085" y="14645614"/>
                  </a:lnTo>
                  <a:lnTo>
                    <a:pt x="12596613" y="14655144"/>
                  </a:lnTo>
                  <a:lnTo>
                    <a:pt x="12601381" y="14669440"/>
                  </a:lnTo>
                  <a:lnTo>
                    <a:pt x="12620441" y="14693265"/>
                  </a:lnTo>
                  <a:lnTo>
                    <a:pt x="12615673" y="14702796"/>
                  </a:lnTo>
                  <a:lnTo>
                    <a:pt x="12591849" y="14726621"/>
                  </a:lnTo>
                  <a:lnTo>
                    <a:pt x="12582317" y="14759977"/>
                  </a:lnTo>
                  <a:lnTo>
                    <a:pt x="12582317" y="14769507"/>
                  </a:lnTo>
                  <a:lnTo>
                    <a:pt x="12568025" y="14788568"/>
                  </a:lnTo>
                  <a:lnTo>
                    <a:pt x="12553729" y="14807628"/>
                  </a:lnTo>
                  <a:lnTo>
                    <a:pt x="12563257" y="14807628"/>
                  </a:lnTo>
                  <a:lnTo>
                    <a:pt x="12596613" y="14769507"/>
                  </a:lnTo>
                  <a:lnTo>
                    <a:pt x="12615673" y="14759977"/>
                  </a:lnTo>
                  <a:lnTo>
                    <a:pt x="12663325" y="14755212"/>
                  </a:lnTo>
                  <a:lnTo>
                    <a:pt x="12672857" y="14745682"/>
                  </a:lnTo>
                  <a:lnTo>
                    <a:pt x="12687153" y="14740916"/>
                  </a:lnTo>
                  <a:lnTo>
                    <a:pt x="12696681" y="14750446"/>
                  </a:lnTo>
                  <a:lnTo>
                    <a:pt x="12701445" y="14769507"/>
                  </a:lnTo>
                  <a:lnTo>
                    <a:pt x="12710977" y="14779038"/>
                  </a:lnTo>
                  <a:lnTo>
                    <a:pt x="12725273" y="14769507"/>
                  </a:lnTo>
                  <a:lnTo>
                    <a:pt x="12739569" y="14774272"/>
                  </a:lnTo>
                  <a:lnTo>
                    <a:pt x="12730037" y="14788568"/>
                  </a:lnTo>
                  <a:lnTo>
                    <a:pt x="12691917" y="14840984"/>
                  </a:lnTo>
                  <a:lnTo>
                    <a:pt x="12677621" y="14860044"/>
                  </a:lnTo>
                  <a:lnTo>
                    <a:pt x="12677621" y="14874340"/>
                  </a:lnTo>
                  <a:lnTo>
                    <a:pt x="12691917" y="14855280"/>
                  </a:lnTo>
                  <a:lnTo>
                    <a:pt x="12739569" y="14807628"/>
                  </a:lnTo>
                  <a:lnTo>
                    <a:pt x="12744333" y="14802863"/>
                  </a:lnTo>
                  <a:lnTo>
                    <a:pt x="12753865" y="14783802"/>
                  </a:lnTo>
                  <a:lnTo>
                    <a:pt x="12768157" y="14769507"/>
                  </a:lnTo>
                  <a:lnTo>
                    <a:pt x="12791985" y="14774272"/>
                  </a:lnTo>
                  <a:lnTo>
                    <a:pt x="12806281" y="14783802"/>
                  </a:lnTo>
                  <a:lnTo>
                    <a:pt x="12815809" y="14807628"/>
                  </a:lnTo>
                  <a:lnTo>
                    <a:pt x="12825341" y="14836219"/>
                  </a:lnTo>
                  <a:lnTo>
                    <a:pt x="12839637" y="14869574"/>
                  </a:lnTo>
                  <a:lnTo>
                    <a:pt x="12887285" y="14883870"/>
                  </a:lnTo>
                  <a:lnTo>
                    <a:pt x="12901581" y="14883870"/>
                  </a:lnTo>
                  <a:lnTo>
                    <a:pt x="12930173" y="14874340"/>
                  </a:lnTo>
                  <a:lnTo>
                    <a:pt x="12934937" y="14860044"/>
                  </a:lnTo>
                  <a:lnTo>
                    <a:pt x="12953997" y="14855280"/>
                  </a:lnTo>
                  <a:lnTo>
                    <a:pt x="12968293" y="14860044"/>
                  </a:lnTo>
                  <a:lnTo>
                    <a:pt x="12973061" y="14883870"/>
                  </a:lnTo>
                  <a:lnTo>
                    <a:pt x="12992121" y="14902931"/>
                  </a:lnTo>
                  <a:lnTo>
                    <a:pt x="13006413" y="14912463"/>
                  </a:lnTo>
                  <a:lnTo>
                    <a:pt x="13020709" y="14917227"/>
                  </a:lnTo>
                  <a:lnTo>
                    <a:pt x="13044537" y="14921991"/>
                  </a:lnTo>
                  <a:lnTo>
                    <a:pt x="13054065" y="14936287"/>
                  </a:lnTo>
                  <a:lnTo>
                    <a:pt x="13054065" y="14941055"/>
                  </a:lnTo>
                  <a:lnTo>
                    <a:pt x="13044537" y="14955347"/>
                  </a:lnTo>
                  <a:lnTo>
                    <a:pt x="13030241" y="14974411"/>
                  </a:lnTo>
                  <a:lnTo>
                    <a:pt x="13011181" y="14988703"/>
                  </a:lnTo>
                  <a:lnTo>
                    <a:pt x="12982589" y="14988703"/>
                  </a:lnTo>
                  <a:lnTo>
                    <a:pt x="12939705" y="14998235"/>
                  </a:lnTo>
                  <a:lnTo>
                    <a:pt x="12939705" y="15007767"/>
                  </a:lnTo>
                  <a:lnTo>
                    <a:pt x="12930173" y="15017295"/>
                  </a:lnTo>
                  <a:lnTo>
                    <a:pt x="12906349" y="15026827"/>
                  </a:lnTo>
                  <a:lnTo>
                    <a:pt x="12896817" y="15031591"/>
                  </a:lnTo>
                  <a:lnTo>
                    <a:pt x="12877757" y="15064947"/>
                  </a:lnTo>
                  <a:lnTo>
                    <a:pt x="12863461" y="15079243"/>
                  </a:lnTo>
                  <a:lnTo>
                    <a:pt x="12849165" y="15084007"/>
                  </a:lnTo>
                  <a:lnTo>
                    <a:pt x="12830105" y="15084007"/>
                  </a:lnTo>
                  <a:lnTo>
                    <a:pt x="12820573" y="15084007"/>
                  </a:lnTo>
                  <a:lnTo>
                    <a:pt x="12811045" y="15088771"/>
                  </a:lnTo>
                  <a:lnTo>
                    <a:pt x="12806281" y="15098303"/>
                  </a:lnTo>
                  <a:lnTo>
                    <a:pt x="12801513" y="15103067"/>
                  </a:lnTo>
                  <a:lnTo>
                    <a:pt x="12772925" y="15112599"/>
                  </a:lnTo>
                  <a:lnTo>
                    <a:pt x="12730037" y="15136423"/>
                  </a:lnTo>
                  <a:lnTo>
                    <a:pt x="12706213" y="15136423"/>
                  </a:lnTo>
                  <a:lnTo>
                    <a:pt x="12691917" y="15136423"/>
                  </a:lnTo>
                  <a:lnTo>
                    <a:pt x="12677621" y="15136423"/>
                  </a:lnTo>
                  <a:lnTo>
                    <a:pt x="12668089" y="15145955"/>
                  </a:lnTo>
                  <a:lnTo>
                    <a:pt x="12649029" y="15155483"/>
                  </a:lnTo>
                  <a:lnTo>
                    <a:pt x="12644265" y="15165015"/>
                  </a:lnTo>
                  <a:lnTo>
                    <a:pt x="12639501" y="15174543"/>
                  </a:lnTo>
                  <a:lnTo>
                    <a:pt x="12634737" y="15188839"/>
                  </a:lnTo>
                  <a:lnTo>
                    <a:pt x="12629969" y="15198371"/>
                  </a:lnTo>
                  <a:lnTo>
                    <a:pt x="12610909" y="15198371"/>
                  </a:lnTo>
                  <a:lnTo>
                    <a:pt x="12587085" y="15184075"/>
                  </a:lnTo>
                  <a:lnTo>
                    <a:pt x="12591849" y="15198371"/>
                  </a:lnTo>
                  <a:lnTo>
                    <a:pt x="12625205" y="15217431"/>
                  </a:lnTo>
                  <a:lnTo>
                    <a:pt x="12634737" y="15226959"/>
                  </a:lnTo>
                  <a:lnTo>
                    <a:pt x="12625205" y="15236491"/>
                  </a:lnTo>
                  <a:lnTo>
                    <a:pt x="12606145" y="15255551"/>
                  </a:lnTo>
                  <a:lnTo>
                    <a:pt x="12601381" y="15260315"/>
                  </a:lnTo>
                  <a:lnTo>
                    <a:pt x="12610909" y="15265083"/>
                  </a:lnTo>
                  <a:lnTo>
                    <a:pt x="12606145" y="15274611"/>
                  </a:lnTo>
                  <a:lnTo>
                    <a:pt x="12596613" y="15279379"/>
                  </a:lnTo>
                  <a:lnTo>
                    <a:pt x="12596613" y="15284143"/>
                  </a:lnTo>
                  <a:lnTo>
                    <a:pt x="12596613" y="15288907"/>
                  </a:lnTo>
                  <a:lnTo>
                    <a:pt x="12625205" y="15274611"/>
                  </a:lnTo>
                  <a:lnTo>
                    <a:pt x="12653797" y="15255551"/>
                  </a:lnTo>
                  <a:lnTo>
                    <a:pt x="12668089" y="15231727"/>
                  </a:lnTo>
                  <a:lnTo>
                    <a:pt x="12677621" y="15222195"/>
                  </a:lnTo>
                  <a:lnTo>
                    <a:pt x="12710977" y="15217431"/>
                  </a:lnTo>
                  <a:lnTo>
                    <a:pt x="12730037" y="15207899"/>
                  </a:lnTo>
                  <a:lnTo>
                    <a:pt x="12753865" y="15188839"/>
                  </a:lnTo>
                  <a:lnTo>
                    <a:pt x="12787221" y="15160251"/>
                  </a:lnTo>
                  <a:lnTo>
                    <a:pt x="12820573" y="15126895"/>
                  </a:lnTo>
                  <a:lnTo>
                    <a:pt x="12863461" y="15098303"/>
                  </a:lnTo>
                  <a:lnTo>
                    <a:pt x="12911113" y="15079243"/>
                  </a:lnTo>
                  <a:lnTo>
                    <a:pt x="12949233" y="15069711"/>
                  </a:lnTo>
                  <a:lnTo>
                    <a:pt x="12973061" y="15069711"/>
                  </a:lnTo>
                  <a:lnTo>
                    <a:pt x="12973061" y="15064947"/>
                  </a:lnTo>
                  <a:lnTo>
                    <a:pt x="12953997" y="15060183"/>
                  </a:lnTo>
                  <a:lnTo>
                    <a:pt x="12934937" y="15060183"/>
                  </a:lnTo>
                  <a:lnTo>
                    <a:pt x="12911113" y="15064947"/>
                  </a:lnTo>
                  <a:lnTo>
                    <a:pt x="12906349" y="15050651"/>
                  </a:lnTo>
                  <a:lnTo>
                    <a:pt x="12906349" y="15045887"/>
                  </a:lnTo>
                  <a:lnTo>
                    <a:pt x="12915877" y="15041123"/>
                  </a:lnTo>
                  <a:lnTo>
                    <a:pt x="12934937" y="15031591"/>
                  </a:lnTo>
                  <a:lnTo>
                    <a:pt x="13025477" y="15041123"/>
                  </a:lnTo>
                  <a:lnTo>
                    <a:pt x="13054065" y="15050651"/>
                  </a:lnTo>
                  <a:lnTo>
                    <a:pt x="13087421" y="15112599"/>
                  </a:lnTo>
                  <a:lnTo>
                    <a:pt x="13096953" y="15131659"/>
                  </a:lnTo>
                  <a:lnTo>
                    <a:pt x="13096953" y="15150719"/>
                  </a:lnTo>
                  <a:lnTo>
                    <a:pt x="13096953" y="15160251"/>
                  </a:lnTo>
                  <a:lnTo>
                    <a:pt x="13082657" y="15169779"/>
                  </a:lnTo>
                  <a:lnTo>
                    <a:pt x="13044537" y="15188839"/>
                  </a:lnTo>
                  <a:lnTo>
                    <a:pt x="13039769" y="15198371"/>
                  </a:lnTo>
                  <a:lnTo>
                    <a:pt x="13035005" y="15198371"/>
                  </a:lnTo>
                  <a:lnTo>
                    <a:pt x="13054065" y="15203135"/>
                  </a:lnTo>
                  <a:lnTo>
                    <a:pt x="13058833" y="15207899"/>
                  </a:lnTo>
                  <a:lnTo>
                    <a:pt x="13068361" y="15231727"/>
                  </a:lnTo>
                  <a:lnTo>
                    <a:pt x="13082657" y="15217431"/>
                  </a:lnTo>
                  <a:lnTo>
                    <a:pt x="13116013" y="15179311"/>
                  </a:lnTo>
                  <a:lnTo>
                    <a:pt x="13144605" y="15160251"/>
                  </a:lnTo>
                  <a:lnTo>
                    <a:pt x="13168429" y="15155483"/>
                  </a:lnTo>
                  <a:lnTo>
                    <a:pt x="13192253" y="15155483"/>
                  </a:lnTo>
                  <a:lnTo>
                    <a:pt x="13201785" y="15155483"/>
                  </a:lnTo>
                  <a:lnTo>
                    <a:pt x="13206549" y="15169779"/>
                  </a:lnTo>
                  <a:lnTo>
                    <a:pt x="13220845" y="15193607"/>
                  </a:lnTo>
                  <a:lnTo>
                    <a:pt x="13235141" y="15198371"/>
                  </a:lnTo>
                  <a:lnTo>
                    <a:pt x="13258965" y="15203135"/>
                  </a:lnTo>
                  <a:lnTo>
                    <a:pt x="13282793" y="15231727"/>
                  </a:lnTo>
                  <a:lnTo>
                    <a:pt x="13287557" y="15255551"/>
                  </a:lnTo>
                  <a:lnTo>
                    <a:pt x="13297089" y="15265083"/>
                  </a:lnTo>
                  <a:lnTo>
                    <a:pt x="13297089" y="15274611"/>
                  </a:lnTo>
                  <a:lnTo>
                    <a:pt x="13297089" y="15279379"/>
                  </a:lnTo>
                  <a:lnTo>
                    <a:pt x="13301853" y="15293671"/>
                  </a:lnTo>
                  <a:lnTo>
                    <a:pt x="13306617" y="15303203"/>
                  </a:lnTo>
                  <a:lnTo>
                    <a:pt x="13306617" y="15322263"/>
                  </a:lnTo>
                  <a:lnTo>
                    <a:pt x="13292321" y="15355619"/>
                  </a:lnTo>
                  <a:lnTo>
                    <a:pt x="13301853" y="15388975"/>
                  </a:lnTo>
                  <a:lnTo>
                    <a:pt x="13297089" y="15403271"/>
                  </a:lnTo>
                  <a:lnTo>
                    <a:pt x="13297089" y="15422331"/>
                  </a:lnTo>
                  <a:lnTo>
                    <a:pt x="13301853" y="15441391"/>
                  </a:lnTo>
                  <a:lnTo>
                    <a:pt x="13306617" y="15446155"/>
                  </a:lnTo>
                  <a:lnTo>
                    <a:pt x="13297089" y="15455687"/>
                  </a:lnTo>
                  <a:lnTo>
                    <a:pt x="13249437" y="15465219"/>
                  </a:lnTo>
                  <a:lnTo>
                    <a:pt x="13230377" y="15465219"/>
                  </a:lnTo>
                  <a:lnTo>
                    <a:pt x="13225609" y="15474747"/>
                  </a:lnTo>
                  <a:lnTo>
                    <a:pt x="13239905" y="15474747"/>
                  </a:lnTo>
                  <a:lnTo>
                    <a:pt x="13268497" y="15474747"/>
                  </a:lnTo>
                  <a:lnTo>
                    <a:pt x="13301853" y="15484279"/>
                  </a:lnTo>
                  <a:lnTo>
                    <a:pt x="13316149" y="15493807"/>
                  </a:lnTo>
                  <a:lnTo>
                    <a:pt x="13320913" y="15503339"/>
                  </a:lnTo>
                  <a:lnTo>
                    <a:pt x="13320913" y="15512867"/>
                  </a:lnTo>
                  <a:lnTo>
                    <a:pt x="13311385" y="15517635"/>
                  </a:lnTo>
                  <a:lnTo>
                    <a:pt x="13292321" y="15517635"/>
                  </a:lnTo>
                  <a:lnTo>
                    <a:pt x="13273261" y="15512867"/>
                  </a:lnTo>
                  <a:lnTo>
                    <a:pt x="13273261" y="15517635"/>
                  </a:lnTo>
                  <a:lnTo>
                    <a:pt x="13301853" y="15531931"/>
                  </a:lnTo>
                  <a:lnTo>
                    <a:pt x="13311385" y="15541459"/>
                  </a:lnTo>
                  <a:lnTo>
                    <a:pt x="13325677" y="15550991"/>
                  </a:lnTo>
                  <a:lnTo>
                    <a:pt x="13325677" y="15565283"/>
                  </a:lnTo>
                  <a:lnTo>
                    <a:pt x="13320913" y="15579579"/>
                  </a:lnTo>
                  <a:lnTo>
                    <a:pt x="13273261" y="15631995"/>
                  </a:lnTo>
                  <a:lnTo>
                    <a:pt x="13230377" y="15665351"/>
                  </a:lnTo>
                  <a:lnTo>
                    <a:pt x="13187489" y="15693943"/>
                  </a:lnTo>
                  <a:lnTo>
                    <a:pt x="13120777" y="15751123"/>
                  </a:lnTo>
                  <a:lnTo>
                    <a:pt x="13116013" y="15751123"/>
                  </a:lnTo>
                  <a:lnTo>
                    <a:pt x="13106481" y="15751123"/>
                  </a:lnTo>
                  <a:lnTo>
                    <a:pt x="13073125" y="15746359"/>
                  </a:lnTo>
                  <a:lnTo>
                    <a:pt x="13044537" y="15746359"/>
                  </a:lnTo>
                  <a:lnTo>
                    <a:pt x="12996885" y="15755891"/>
                  </a:lnTo>
                  <a:lnTo>
                    <a:pt x="12987353" y="15765419"/>
                  </a:lnTo>
                  <a:lnTo>
                    <a:pt x="12958765" y="15784479"/>
                  </a:lnTo>
                  <a:lnTo>
                    <a:pt x="12949233" y="15784479"/>
                  </a:lnTo>
                  <a:lnTo>
                    <a:pt x="12920641" y="15789247"/>
                  </a:lnTo>
                  <a:lnTo>
                    <a:pt x="12892053" y="15789247"/>
                  </a:lnTo>
                  <a:lnTo>
                    <a:pt x="12882521" y="15789247"/>
                  </a:lnTo>
                  <a:lnTo>
                    <a:pt x="12868225" y="15798775"/>
                  </a:lnTo>
                  <a:lnTo>
                    <a:pt x="12868225" y="15803543"/>
                  </a:lnTo>
                  <a:lnTo>
                    <a:pt x="12863461" y="15822603"/>
                  </a:lnTo>
                  <a:lnTo>
                    <a:pt x="12796749" y="15894079"/>
                  </a:lnTo>
                  <a:lnTo>
                    <a:pt x="12782453" y="15917903"/>
                  </a:lnTo>
                  <a:lnTo>
                    <a:pt x="12749097" y="15941731"/>
                  </a:lnTo>
                  <a:lnTo>
                    <a:pt x="12710977" y="15989383"/>
                  </a:lnTo>
                  <a:lnTo>
                    <a:pt x="12677621" y="16008443"/>
                  </a:lnTo>
                  <a:lnTo>
                    <a:pt x="12668089" y="16032267"/>
                  </a:lnTo>
                  <a:lnTo>
                    <a:pt x="12639501" y="16046563"/>
                  </a:lnTo>
                  <a:lnTo>
                    <a:pt x="12582317" y="16051327"/>
                  </a:lnTo>
                  <a:lnTo>
                    <a:pt x="12553729" y="16056091"/>
                  </a:lnTo>
                  <a:lnTo>
                    <a:pt x="12525137" y="16046563"/>
                  </a:lnTo>
                  <a:lnTo>
                    <a:pt x="12501313" y="16060859"/>
                  </a:lnTo>
                  <a:lnTo>
                    <a:pt x="12467957" y="16060859"/>
                  </a:lnTo>
                  <a:lnTo>
                    <a:pt x="12448897" y="16060859"/>
                  </a:lnTo>
                  <a:lnTo>
                    <a:pt x="12382185" y="16084683"/>
                  </a:lnTo>
                  <a:lnTo>
                    <a:pt x="12363121" y="16060859"/>
                  </a:lnTo>
                  <a:lnTo>
                    <a:pt x="12348829" y="16051327"/>
                  </a:lnTo>
                  <a:lnTo>
                    <a:pt x="12310705" y="16051327"/>
                  </a:lnTo>
                  <a:lnTo>
                    <a:pt x="12282117" y="16041799"/>
                  </a:lnTo>
                  <a:lnTo>
                    <a:pt x="12253525" y="16041799"/>
                  </a:lnTo>
                  <a:lnTo>
                    <a:pt x="12224933" y="16037031"/>
                  </a:lnTo>
                  <a:lnTo>
                    <a:pt x="12210637" y="16037031"/>
                  </a:lnTo>
                  <a:lnTo>
                    <a:pt x="12191577" y="16037031"/>
                  </a:lnTo>
                  <a:lnTo>
                    <a:pt x="12162989" y="16037031"/>
                  </a:lnTo>
                  <a:lnTo>
                    <a:pt x="12143925" y="16051327"/>
                  </a:lnTo>
                  <a:lnTo>
                    <a:pt x="12091509" y="16046563"/>
                  </a:lnTo>
                  <a:lnTo>
                    <a:pt x="12067685" y="16032267"/>
                  </a:lnTo>
                  <a:lnTo>
                    <a:pt x="12048625" y="16032267"/>
                  </a:lnTo>
                  <a:lnTo>
                    <a:pt x="12024797" y="16037031"/>
                  </a:lnTo>
                  <a:lnTo>
                    <a:pt x="12000973" y="16041799"/>
                  </a:lnTo>
                  <a:lnTo>
                    <a:pt x="11948557" y="16032267"/>
                  </a:lnTo>
                  <a:lnTo>
                    <a:pt x="11891377" y="16041799"/>
                  </a:lnTo>
                  <a:lnTo>
                    <a:pt x="11843725" y="16037031"/>
                  </a:lnTo>
                  <a:lnTo>
                    <a:pt x="11829429" y="16032267"/>
                  </a:lnTo>
                  <a:lnTo>
                    <a:pt x="11748421" y="16046563"/>
                  </a:lnTo>
                  <a:lnTo>
                    <a:pt x="11719829" y="16037031"/>
                  </a:lnTo>
                  <a:lnTo>
                    <a:pt x="11696005" y="16060859"/>
                  </a:lnTo>
                  <a:lnTo>
                    <a:pt x="11676945" y="16056091"/>
                  </a:lnTo>
                  <a:lnTo>
                    <a:pt x="11657885" y="16060859"/>
                  </a:lnTo>
                  <a:lnTo>
                    <a:pt x="11648353" y="16056091"/>
                  </a:lnTo>
                  <a:lnTo>
                    <a:pt x="11634057" y="16056091"/>
                  </a:lnTo>
                  <a:lnTo>
                    <a:pt x="11629293" y="16070387"/>
                  </a:lnTo>
                  <a:lnTo>
                    <a:pt x="11614997" y="16070387"/>
                  </a:lnTo>
                  <a:lnTo>
                    <a:pt x="11595937" y="16094215"/>
                  </a:lnTo>
                  <a:lnTo>
                    <a:pt x="11567345" y="16108511"/>
                  </a:lnTo>
                  <a:lnTo>
                    <a:pt x="11519697" y="16203811"/>
                  </a:lnTo>
                  <a:lnTo>
                    <a:pt x="11514929" y="16241931"/>
                  </a:lnTo>
                  <a:lnTo>
                    <a:pt x="11500633" y="16265759"/>
                  </a:lnTo>
                  <a:lnTo>
                    <a:pt x="11481573" y="16270523"/>
                  </a:lnTo>
                  <a:lnTo>
                    <a:pt x="11472045" y="16270523"/>
                  </a:lnTo>
                  <a:lnTo>
                    <a:pt x="11391037" y="16289583"/>
                  </a:lnTo>
                  <a:lnTo>
                    <a:pt x="11357681" y="16303879"/>
                  </a:lnTo>
                  <a:lnTo>
                    <a:pt x="11367213" y="16313411"/>
                  </a:lnTo>
                  <a:lnTo>
                    <a:pt x="11352917" y="16322939"/>
                  </a:lnTo>
                  <a:lnTo>
                    <a:pt x="11338621" y="16327707"/>
                  </a:lnTo>
                  <a:lnTo>
                    <a:pt x="11314793" y="16337235"/>
                  </a:lnTo>
                  <a:lnTo>
                    <a:pt x="11305265" y="16346767"/>
                  </a:lnTo>
                  <a:lnTo>
                    <a:pt x="11295733" y="16365827"/>
                  </a:lnTo>
                  <a:lnTo>
                    <a:pt x="11257613" y="16389651"/>
                  </a:lnTo>
                  <a:lnTo>
                    <a:pt x="11209961" y="16451599"/>
                  </a:lnTo>
                  <a:lnTo>
                    <a:pt x="11186137" y="16494483"/>
                  </a:lnTo>
                  <a:lnTo>
                    <a:pt x="11157545" y="16527839"/>
                  </a:lnTo>
                  <a:lnTo>
                    <a:pt x="11138485" y="16537371"/>
                  </a:lnTo>
                  <a:lnTo>
                    <a:pt x="11124189" y="16542135"/>
                  </a:lnTo>
                  <a:lnTo>
                    <a:pt x="11109893" y="16537371"/>
                  </a:lnTo>
                  <a:lnTo>
                    <a:pt x="11086069" y="16523075"/>
                  </a:lnTo>
                  <a:lnTo>
                    <a:pt x="11071773" y="16518311"/>
                  </a:lnTo>
                  <a:lnTo>
                    <a:pt x="11028889" y="16499251"/>
                  </a:lnTo>
                  <a:lnTo>
                    <a:pt x="10928821" y="16480191"/>
                  </a:lnTo>
                  <a:lnTo>
                    <a:pt x="10943113" y="16484955"/>
                  </a:lnTo>
                  <a:lnTo>
                    <a:pt x="10957409" y="16499251"/>
                  </a:lnTo>
                  <a:lnTo>
                    <a:pt x="10986001" y="16504015"/>
                  </a:lnTo>
                  <a:lnTo>
                    <a:pt x="11009825" y="16504015"/>
                  </a:lnTo>
                  <a:lnTo>
                    <a:pt x="11067009" y="16527839"/>
                  </a:lnTo>
                  <a:lnTo>
                    <a:pt x="11090833" y="16537371"/>
                  </a:lnTo>
                  <a:lnTo>
                    <a:pt x="11109893" y="16546903"/>
                  </a:lnTo>
                  <a:lnTo>
                    <a:pt x="11124189" y="16561195"/>
                  </a:lnTo>
                  <a:lnTo>
                    <a:pt x="11114661" y="16594551"/>
                  </a:lnTo>
                  <a:lnTo>
                    <a:pt x="11105129" y="16623143"/>
                  </a:lnTo>
                  <a:lnTo>
                    <a:pt x="11090833" y="16646967"/>
                  </a:lnTo>
                  <a:lnTo>
                    <a:pt x="11043181" y="16699387"/>
                  </a:lnTo>
                  <a:lnTo>
                    <a:pt x="11019357" y="16718447"/>
                  </a:lnTo>
                  <a:lnTo>
                    <a:pt x="10976469" y="16785159"/>
                  </a:lnTo>
                  <a:lnTo>
                    <a:pt x="10938349" y="16813747"/>
                  </a:lnTo>
                  <a:lnTo>
                    <a:pt x="10914525" y="16832807"/>
                  </a:lnTo>
                  <a:lnTo>
                    <a:pt x="10890697" y="16861399"/>
                  </a:lnTo>
                  <a:lnTo>
                    <a:pt x="10833517" y="16885227"/>
                  </a:lnTo>
                  <a:lnTo>
                    <a:pt x="10814457" y="16889991"/>
                  </a:lnTo>
                  <a:lnTo>
                    <a:pt x="10795397" y="16889991"/>
                  </a:lnTo>
                  <a:lnTo>
                    <a:pt x="10771569" y="16904287"/>
                  </a:lnTo>
                  <a:lnTo>
                    <a:pt x="10742981" y="16918579"/>
                  </a:lnTo>
                  <a:lnTo>
                    <a:pt x="10738213" y="16932875"/>
                  </a:lnTo>
                  <a:lnTo>
                    <a:pt x="10671501" y="16980527"/>
                  </a:lnTo>
                  <a:lnTo>
                    <a:pt x="10642913" y="16985291"/>
                  </a:lnTo>
                  <a:lnTo>
                    <a:pt x="10623853" y="16994823"/>
                  </a:lnTo>
                  <a:lnTo>
                    <a:pt x="10614321" y="17018647"/>
                  </a:lnTo>
                  <a:lnTo>
                    <a:pt x="10595261" y="17028179"/>
                  </a:lnTo>
                  <a:lnTo>
                    <a:pt x="10590497" y="17037711"/>
                  </a:lnTo>
                  <a:lnTo>
                    <a:pt x="10576201" y="17066299"/>
                  </a:lnTo>
                  <a:lnTo>
                    <a:pt x="10547609" y="17104419"/>
                  </a:lnTo>
                  <a:lnTo>
                    <a:pt x="10509489" y="17109187"/>
                  </a:lnTo>
                  <a:lnTo>
                    <a:pt x="10495193" y="17118715"/>
                  </a:lnTo>
                  <a:lnTo>
                    <a:pt x="10480897" y="17142543"/>
                  </a:lnTo>
                  <a:lnTo>
                    <a:pt x="10457073" y="17156835"/>
                  </a:lnTo>
                  <a:lnTo>
                    <a:pt x="10414185" y="17147307"/>
                  </a:lnTo>
                  <a:lnTo>
                    <a:pt x="10423717" y="17156835"/>
                  </a:lnTo>
                  <a:lnTo>
                    <a:pt x="10461837" y="17171131"/>
                  </a:lnTo>
                  <a:lnTo>
                    <a:pt x="10466601" y="17190191"/>
                  </a:lnTo>
                  <a:lnTo>
                    <a:pt x="10447541" y="17194959"/>
                  </a:lnTo>
                  <a:lnTo>
                    <a:pt x="10409421" y="17218783"/>
                  </a:lnTo>
                  <a:lnTo>
                    <a:pt x="10352237" y="17266435"/>
                  </a:lnTo>
                  <a:lnTo>
                    <a:pt x="10342709" y="17266435"/>
                  </a:lnTo>
                  <a:lnTo>
                    <a:pt x="10328413" y="17266435"/>
                  </a:lnTo>
                  <a:lnTo>
                    <a:pt x="10309353" y="17271199"/>
                  </a:lnTo>
                  <a:lnTo>
                    <a:pt x="10280761" y="17290259"/>
                  </a:lnTo>
                  <a:lnTo>
                    <a:pt x="10242641" y="17318851"/>
                  </a:lnTo>
                  <a:lnTo>
                    <a:pt x="10185461" y="17376031"/>
                  </a:lnTo>
                  <a:lnTo>
                    <a:pt x="10180693" y="17376031"/>
                  </a:lnTo>
                  <a:lnTo>
                    <a:pt x="10175929" y="17376031"/>
                  </a:lnTo>
                  <a:lnTo>
                    <a:pt x="10161633" y="17395095"/>
                  </a:lnTo>
                  <a:lnTo>
                    <a:pt x="10142573" y="17404623"/>
                  </a:lnTo>
                  <a:lnTo>
                    <a:pt x="10099687" y="17418919"/>
                  </a:lnTo>
                  <a:lnTo>
                    <a:pt x="10090156" y="17428451"/>
                  </a:lnTo>
                  <a:lnTo>
                    <a:pt x="10075861" y="17433215"/>
                  </a:lnTo>
                  <a:lnTo>
                    <a:pt x="10061566" y="17433215"/>
                  </a:lnTo>
                  <a:lnTo>
                    <a:pt x="10042505" y="17437979"/>
                  </a:lnTo>
                  <a:lnTo>
                    <a:pt x="10028210" y="17447511"/>
                  </a:lnTo>
                  <a:lnTo>
                    <a:pt x="9994854" y="17471335"/>
                  </a:lnTo>
                  <a:lnTo>
                    <a:pt x="9990089" y="17471335"/>
                  </a:lnTo>
                  <a:lnTo>
                    <a:pt x="9985324" y="17466571"/>
                  </a:lnTo>
                  <a:lnTo>
                    <a:pt x="9985324" y="17461807"/>
                  </a:lnTo>
                  <a:lnTo>
                    <a:pt x="9990089" y="17457039"/>
                  </a:lnTo>
                  <a:lnTo>
                    <a:pt x="10009149" y="17442743"/>
                  </a:lnTo>
                  <a:lnTo>
                    <a:pt x="10004384" y="17442743"/>
                  </a:lnTo>
                  <a:lnTo>
                    <a:pt x="9994854" y="17452275"/>
                  </a:lnTo>
                  <a:lnTo>
                    <a:pt x="9990089" y="17452275"/>
                  </a:lnTo>
                  <a:lnTo>
                    <a:pt x="9990089" y="17442743"/>
                  </a:lnTo>
                  <a:lnTo>
                    <a:pt x="9985324" y="17442743"/>
                  </a:lnTo>
                  <a:lnTo>
                    <a:pt x="9971028" y="17447511"/>
                  </a:lnTo>
                  <a:lnTo>
                    <a:pt x="9961498" y="17447511"/>
                  </a:lnTo>
                  <a:lnTo>
                    <a:pt x="9961498" y="17442743"/>
                  </a:lnTo>
                  <a:lnTo>
                    <a:pt x="9956733" y="17442743"/>
                  </a:lnTo>
                  <a:lnTo>
                    <a:pt x="9951968" y="17447511"/>
                  </a:lnTo>
                  <a:lnTo>
                    <a:pt x="9942437" y="17447511"/>
                  </a:lnTo>
                  <a:lnTo>
                    <a:pt x="9932907" y="17452275"/>
                  </a:lnTo>
                  <a:lnTo>
                    <a:pt x="9909082" y="17457039"/>
                  </a:lnTo>
                  <a:lnTo>
                    <a:pt x="9904316" y="17466571"/>
                  </a:lnTo>
                  <a:lnTo>
                    <a:pt x="9928142" y="17457039"/>
                  </a:lnTo>
                  <a:lnTo>
                    <a:pt x="9937672" y="17452275"/>
                  </a:lnTo>
                  <a:lnTo>
                    <a:pt x="9942437" y="17452275"/>
                  </a:lnTo>
                  <a:lnTo>
                    <a:pt x="9947203" y="17452275"/>
                  </a:lnTo>
                  <a:lnTo>
                    <a:pt x="9942437" y="17457039"/>
                  </a:lnTo>
                  <a:lnTo>
                    <a:pt x="9942437" y="17461807"/>
                  </a:lnTo>
                  <a:lnTo>
                    <a:pt x="9947203" y="17461807"/>
                  </a:lnTo>
                  <a:lnTo>
                    <a:pt x="9951968" y="17461807"/>
                  </a:lnTo>
                  <a:lnTo>
                    <a:pt x="9951968" y="17457039"/>
                  </a:lnTo>
                  <a:lnTo>
                    <a:pt x="9975793" y="17447511"/>
                  </a:lnTo>
                  <a:lnTo>
                    <a:pt x="9980559" y="17452275"/>
                  </a:lnTo>
                  <a:lnTo>
                    <a:pt x="9975793" y="17466571"/>
                  </a:lnTo>
                  <a:lnTo>
                    <a:pt x="9980559" y="17476099"/>
                  </a:lnTo>
                  <a:lnTo>
                    <a:pt x="9990089" y="17476099"/>
                  </a:lnTo>
                  <a:lnTo>
                    <a:pt x="9999619" y="17471335"/>
                  </a:lnTo>
                  <a:lnTo>
                    <a:pt x="10013914" y="17461807"/>
                  </a:lnTo>
                  <a:lnTo>
                    <a:pt x="10018680" y="17461807"/>
                  </a:lnTo>
                  <a:lnTo>
                    <a:pt x="10013914" y="17471335"/>
                  </a:lnTo>
                  <a:lnTo>
                    <a:pt x="10004384" y="17476099"/>
                  </a:lnTo>
                  <a:lnTo>
                    <a:pt x="9990089" y="17490395"/>
                  </a:lnTo>
                  <a:lnTo>
                    <a:pt x="9990089" y="17495159"/>
                  </a:lnTo>
                  <a:lnTo>
                    <a:pt x="9990089" y="17499927"/>
                  </a:lnTo>
                  <a:lnTo>
                    <a:pt x="9994854" y="17495159"/>
                  </a:lnTo>
                  <a:lnTo>
                    <a:pt x="10009149" y="17495159"/>
                  </a:lnTo>
                  <a:lnTo>
                    <a:pt x="10013914" y="17495159"/>
                  </a:lnTo>
                  <a:lnTo>
                    <a:pt x="10004384" y="17499927"/>
                  </a:lnTo>
                  <a:lnTo>
                    <a:pt x="9985324" y="17509455"/>
                  </a:lnTo>
                  <a:lnTo>
                    <a:pt x="9971028" y="17514223"/>
                  </a:lnTo>
                  <a:lnTo>
                    <a:pt x="9961498" y="17514223"/>
                  </a:lnTo>
                  <a:lnTo>
                    <a:pt x="9961498" y="17509455"/>
                  </a:lnTo>
                  <a:lnTo>
                    <a:pt x="9966263" y="17499927"/>
                  </a:lnTo>
                  <a:lnTo>
                    <a:pt x="9966263" y="17495159"/>
                  </a:lnTo>
                  <a:lnTo>
                    <a:pt x="9951968" y="17499927"/>
                  </a:lnTo>
                  <a:lnTo>
                    <a:pt x="9947203" y="17495159"/>
                  </a:lnTo>
                  <a:lnTo>
                    <a:pt x="9951968" y="17495159"/>
                  </a:lnTo>
                  <a:lnTo>
                    <a:pt x="9956733" y="17495159"/>
                  </a:lnTo>
                  <a:lnTo>
                    <a:pt x="9947203" y="17490395"/>
                  </a:lnTo>
                  <a:lnTo>
                    <a:pt x="9928142" y="17495159"/>
                  </a:lnTo>
                  <a:lnTo>
                    <a:pt x="9918612" y="17495159"/>
                  </a:lnTo>
                  <a:lnTo>
                    <a:pt x="9909082" y="17485631"/>
                  </a:lnTo>
                  <a:lnTo>
                    <a:pt x="9909082" y="17480867"/>
                  </a:lnTo>
                  <a:lnTo>
                    <a:pt x="9904316" y="17476099"/>
                  </a:lnTo>
                  <a:lnTo>
                    <a:pt x="9890021" y="17476099"/>
                  </a:lnTo>
                  <a:lnTo>
                    <a:pt x="9885256" y="17476099"/>
                  </a:lnTo>
                  <a:lnTo>
                    <a:pt x="9880491" y="17485631"/>
                  </a:lnTo>
                  <a:lnTo>
                    <a:pt x="9866195" y="17485631"/>
                  </a:lnTo>
                  <a:lnTo>
                    <a:pt x="9856665" y="17485631"/>
                  </a:lnTo>
                  <a:lnTo>
                    <a:pt x="9837605" y="17490395"/>
                  </a:lnTo>
                  <a:lnTo>
                    <a:pt x="9809014" y="17495159"/>
                  </a:lnTo>
                  <a:lnTo>
                    <a:pt x="9785188" y="17495159"/>
                  </a:lnTo>
                  <a:lnTo>
                    <a:pt x="9770893" y="17504691"/>
                  </a:lnTo>
                  <a:lnTo>
                    <a:pt x="9756598" y="17504691"/>
                  </a:lnTo>
                  <a:lnTo>
                    <a:pt x="9747067" y="17504691"/>
                  </a:lnTo>
                  <a:lnTo>
                    <a:pt x="9732772" y="17504691"/>
                  </a:lnTo>
                  <a:lnTo>
                    <a:pt x="9713711" y="17514223"/>
                  </a:lnTo>
                  <a:lnTo>
                    <a:pt x="9685121" y="17514223"/>
                  </a:lnTo>
                  <a:lnTo>
                    <a:pt x="9675590" y="17523751"/>
                  </a:lnTo>
                  <a:lnTo>
                    <a:pt x="9656530" y="17533283"/>
                  </a:lnTo>
                  <a:lnTo>
                    <a:pt x="9637469" y="17552343"/>
                  </a:lnTo>
                  <a:lnTo>
                    <a:pt x="9623174" y="17561871"/>
                  </a:lnTo>
                  <a:lnTo>
                    <a:pt x="9613644" y="17561871"/>
                  </a:lnTo>
                  <a:lnTo>
                    <a:pt x="9608879" y="17566639"/>
                  </a:lnTo>
                  <a:lnTo>
                    <a:pt x="9604113" y="17571403"/>
                  </a:lnTo>
                  <a:lnTo>
                    <a:pt x="9594583" y="17576167"/>
                  </a:lnTo>
                  <a:lnTo>
                    <a:pt x="9589818" y="17580935"/>
                  </a:lnTo>
                  <a:lnTo>
                    <a:pt x="9585053" y="17590463"/>
                  </a:lnTo>
                  <a:lnTo>
                    <a:pt x="9580288" y="17604759"/>
                  </a:lnTo>
                  <a:lnTo>
                    <a:pt x="9561227" y="17633351"/>
                  </a:lnTo>
                  <a:lnTo>
                    <a:pt x="9561227" y="17638115"/>
                  </a:lnTo>
                  <a:lnTo>
                    <a:pt x="9570758" y="17647647"/>
                  </a:lnTo>
                  <a:lnTo>
                    <a:pt x="9585053" y="17652411"/>
                  </a:lnTo>
                  <a:lnTo>
                    <a:pt x="9599348" y="17657175"/>
                  </a:lnTo>
                  <a:lnTo>
                    <a:pt x="9618409" y="17657175"/>
                  </a:lnTo>
                  <a:lnTo>
                    <a:pt x="9627939" y="17657175"/>
                  </a:lnTo>
                  <a:lnTo>
                    <a:pt x="9637469" y="17657175"/>
                  </a:lnTo>
                  <a:lnTo>
                    <a:pt x="9651765" y="17647647"/>
                  </a:lnTo>
                  <a:lnTo>
                    <a:pt x="9675590" y="17638115"/>
                  </a:lnTo>
                  <a:lnTo>
                    <a:pt x="9675590" y="17642879"/>
                  </a:lnTo>
                  <a:lnTo>
                    <a:pt x="9670825" y="17676235"/>
                  </a:lnTo>
                  <a:lnTo>
                    <a:pt x="9670825" y="17680999"/>
                  </a:lnTo>
                  <a:lnTo>
                    <a:pt x="9675590" y="17685767"/>
                  </a:lnTo>
                  <a:lnTo>
                    <a:pt x="9675590" y="17690531"/>
                  </a:lnTo>
                  <a:lnTo>
                    <a:pt x="9675590" y="17695295"/>
                  </a:lnTo>
                  <a:lnTo>
                    <a:pt x="9680355" y="17704827"/>
                  </a:lnTo>
                  <a:lnTo>
                    <a:pt x="9689886" y="17709591"/>
                  </a:lnTo>
                  <a:lnTo>
                    <a:pt x="9694651" y="17719123"/>
                  </a:lnTo>
                  <a:lnTo>
                    <a:pt x="9675590" y="17728651"/>
                  </a:lnTo>
                  <a:lnTo>
                    <a:pt x="9661295" y="17728651"/>
                  </a:lnTo>
                  <a:lnTo>
                    <a:pt x="9656530" y="17728651"/>
                  </a:lnTo>
                  <a:lnTo>
                    <a:pt x="9642234" y="17723887"/>
                  </a:lnTo>
                  <a:lnTo>
                    <a:pt x="9623174" y="17723887"/>
                  </a:lnTo>
                  <a:lnTo>
                    <a:pt x="9589818" y="17733419"/>
                  </a:lnTo>
                  <a:lnTo>
                    <a:pt x="9580288" y="17733419"/>
                  </a:lnTo>
                  <a:lnTo>
                    <a:pt x="9575523" y="17728651"/>
                  </a:lnTo>
                  <a:lnTo>
                    <a:pt x="9565992" y="17728651"/>
                  </a:lnTo>
                  <a:lnTo>
                    <a:pt x="9537402" y="17738183"/>
                  </a:lnTo>
                  <a:lnTo>
                    <a:pt x="9508811" y="17742947"/>
                  </a:lnTo>
                  <a:lnTo>
                    <a:pt x="9494516" y="17747711"/>
                  </a:lnTo>
                  <a:lnTo>
                    <a:pt x="9480220" y="17757243"/>
                  </a:lnTo>
                  <a:lnTo>
                    <a:pt x="9475455" y="17762007"/>
                  </a:lnTo>
                  <a:lnTo>
                    <a:pt x="9470690" y="17766775"/>
                  </a:lnTo>
                  <a:lnTo>
                    <a:pt x="9465925" y="17771539"/>
                  </a:lnTo>
                  <a:lnTo>
                    <a:pt x="9456394" y="17781067"/>
                  </a:lnTo>
                  <a:lnTo>
                    <a:pt x="9456394" y="17785835"/>
                  </a:lnTo>
                  <a:lnTo>
                    <a:pt x="9470690" y="17785835"/>
                  </a:lnTo>
                  <a:lnTo>
                    <a:pt x="9480220" y="17785835"/>
                  </a:lnTo>
                  <a:lnTo>
                    <a:pt x="9508811" y="17790599"/>
                  </a:lnTo>
                  <a:lnTo>
                    <a:pt x="9518341" y="17795363"/>
                  </a:lnTo>
                  <a:lnTo>
                    <a:pt x="9513576" y="17795363"/>
                  </a:lnTo>
                  <a:lnTo>
                    <a:pt x="9465925" y="17790599"/>
                  </a:lnTo>
                  <a:lnTo>
                    <a:pt x="9451629" y="17790599"/>
                  </a:lnTo>
                  <a:lnTo>
                    <a:pt x="9427804" y="17785835"/>
                  </a:lnTo>
                  <a:lnTo>
                    <a:pt x="9399213" y="17776303"/>
                  </a:lnTo>
                  <a:lnTo>
                    <a:pt x="9365857" y="17771539"/>
                  </a:lnTo>
                  <a:lnTo>
                    <a:pt x="9332501" y="17776303"/>
                  </a:lnTo>
                  <a:lnTo>
                    <a:pt x="9308676" y="17781067"/>
                  </a:lnTo>
                  <a:lnTo>
                    <a:pt x="9294380" y="17785835"/>
                  </a:lnTo>
                  <a:lnTo>
                    <a:pt x="9256259" y="17819191"/>
                  </a:lnTo>
                  <a:lnTo>
                    <a:pt x="9241964" y="17833483"/>
                  </a:lnTo>
                  <a:lnTo>
                    <a:pt x="9237199" y="17847779"/>
                  </a:lnTo>
                  <a:lnTo>
                    <a:pt x="9232433" y="17847779"/>
                  </a:lnTo>
                  <a:lnTo>
                    <a:pt x="9227668" y="17852547"/>
                  </a:lnTo>
                  <a:lnTo>
                    <a:pt x="9222903" y="17857311"/>
                  </a:lnTo>
                  <a:lnTo>
                    <a:pt x="9208608" y="17857311"/>
                  </a:lnTo>
                  <a:lnTo>
                    <a:pt x="9189547" y="17866839"/>
                  </a:lnTo>
                  <a:lnTo>
                    <a:pt x="9165722" y="17881135"/>
                  </a:lnTo>
                  <a:lnTo>
                    <a:pt x="9151426" y="17890667"/>
                  </a:lnTo>
                  <a:lnTo>
                    <a:pt x="9141896" y="17900195"/>
                  </a:lnTo>
                  <a:lnTo>
                    <a:pt x="9137131" y="17909727"/>
                  </a:lnTo>
                  <a:lnTo>
                    <a:pt x="9137131" y="17924023"/>
                  </a:lnTo>
                  <a:lnTo>
                    <a:pt x="9132366" y="17928787"/>
                  </a:lnTo>
                  <a:lnTo>
                    <a:pt x="9127601" y="17914491"/>
                  </a:lnTo>
                  <a:lnTo>
                    <a:pt x="9118070" y="17904963"/>
                  </a:lnTo>
                  <a:lnTo>
                    <a:pt x="9113305" y="17904963"/>
                  </a:lnTo>
                  <a:lnTo>
                    <a:pt x="9108540" y="17904963"/>
                  </a:lnTo>
                  <a:lnTo>
                    <a:pt x="9084715" y="17914491"/>
                  </a:lnTo>
                  <a:lnTo>
                    <a:pt x="9070419" y="17909727"/>
                  </a:lnTo>
                  <a:lnTo>
                    <a:pt x="9046594" y="17900195"/>
                  </a:lnTo>
                  <a:lnTo>
                    <a:pt x="9041828" y="17895431"/>
                  </a:lnTo>
                  <a:lnTo>
                    <a:pt x="9041828" y="17885903"/>
                  </a:lnTo>
                  <a:lnTo>
                    <a:pt x="9041828" y="17866839"/>
                  </a:lnTo>
                  <a:lnTo>
                    <a:pt x="9046594" y="17852547"/>
                  </a:lnTo>
                  <a:lnTo>
                    <a:pt x="9051359" y="17847779"/>
                  </a:lnTo>
                  <a:lnTo>
                    <a:pt x="9056124" y="17847779"/>
                  </a:lnTo>
                  <a:lnTo>
                    <a:pt x="9060889" y="17843015"/>
                  </a:lnTo>
                  <a:lnTo>
                    <a:pt x="9079949" y="17843015"/>
                  </a:lnTo>
                  <a:lnTo>
                    <a:pt x="9122836" y="17847779"/>
                  </a:lnTo>
                  <a:lnTo>
                    <a:pt x="9132366" y="17843015"/>
                  </a:lnTo>
                  <a:lnTo>
                    <a:pt x="9141896" y="17843015"/>
                  </a:lnTo>
                  <a:lnTo>
                    <a:pt x="9146661" y="17833483"/>
                  </a:lnTo>
                  <a:lnTo>
                    <a:pt x="9151426" y="17823955"/>
                  </a:lnTo>
                  <a:lnTo>
                    <a:pt x="9146661" y="17814423"/>
                  </a:lnTo>
                  <a:lnTo>
                    <a:pt x="9146661" y="17809659"/>
                  </a:lnTo>
                  <a:lnTo>
                    <a:pt x="9141896" y="17809659"/>
                  </a:lnTo>
                  <a:lnTo>
                    <a:pt x="9141896" y="17804895"/>
                  </a:lnTo>
                  <a:lnTo>
                    <a:pt x="9118070" y="17800131"/>
                  </a:lnTo>
                  <a:lnTo>
                    <a:pt x="9113305" y="17800131"/>
                  </a:lnTo>
                  <a:lnTo>
                    <a:pt x="9113305" y="17795363"/>
                  </a:lnTo>
                  <a:lnTo>
                    <a:pt x="9127601" y="17781067"/>
                  </a:lnTo>
                  <a:lnTo>
                    <a:pt x="9137131" y="17757243"/>
                  </a:lnTo>
                  <a:lnTo>
                    <a:pt x="9151426" y="17695295"/>
                  </a:lnTo>
                  <a:lnTo>
                    <a:pt x="9165722" y="17690531"/>
                  </a:lnTo>
                  <a:lnTo>
                    <a:pt x="9184782" y="17680999"/>
                  </a:lnTo>
                  <a:lnTo>
                    <a:pt x="9199078" y="17671471"/>
                  </a:lnTo>
                  <a:lnTo>
                    <a:pt x="9208608" y="17661939"/>
                  </a:lnTo>
                  <a:lnTo>
                    <a:pt x="9218138" y="17652411"/>
                  </a:lnTo>
                  <a:lnTo>
                    <a:pt x="9227668" y="17647647"/>
                  </a:lnTo>
                  <a:lnTo>
                    <a:pt x="9237199" y="17642879"/>
                  </a:lnTo>
                  <a:lnTo>
                    <a:pt x="9246729" y="17628583"/>
                  </a:lnTo>
                  <a:lnTo>
                    <a:pt x="9256259" y="17614291"/>
                  </a:lnTo>
                  <a:lnTo>
                    <a:pt x="9261024" y="17599995"/>
                  </a:lnTo>
                  <a:lnTo>
                    <a:pt x="9261024" y="17580935"/>
                  </a:lnTo>
                  <a:lnTo>
                    <a:pt x="9261024" y="17561871"/>
                  </a:lnTo>
                  <a:lnTo>
                    <a:pt x="9256259" y="17490395"/>
                  </a:lnTo>
                  <a:lnTo>
                    <a:pt x="9256259" y="17471335"/>
                  </a:lnTo>
                  <a:lnTo>
                    <a:pt x="9261024" y="17457039"/>
                  </a:lnTo>
                  <a:lnTo>
                    <a:pt x="9270555" y="17442743"/>
                  </a:lnTo>
                  <a:lnTo>
                    <a:pt x="9275320" y="17428451"/>
                  </a:lnTo>
                  <a:lnTo>
                    <a:pt x="9280085" y="17418919"/>
                  </a:lnTo>
                  <a:lnTo>
                    <a:pt x="9280085" y="17409387"/>
                  </a:lnTo>
                  <a:lnTo>
                    <a:pt x="9289615" y="17399859"/>
                  </a:lnTo>
                  <a:lnTo>
                    <a:pt x="9294380" y="17395095"/>
                  </a:lnTo>
                  <a:lnTo>
                    <a:pt x="9303910" y="17390327"/>
                  </a:lnTo>
                  <a:lnTo>
                    <a:pt x="9308676" y="17385563"/>
                  </a:lnTo>
                  <a:lnTo>
                    <a:pt x="9308676" y="17376031"/>
                  </a:lnTo>
                  <a:lnTo>
                    <a:pt x="9313441" y="17366503"/>
                  </a:lnTo>
                  <a:lnTo>
                    <a:pt x="9322971" y="17356971"/>
                  </a:lnTo>
                  <a:lnTo>
                    <a:pt x="9327736" y="17342675"/>
                  </a:lnTo>
                  <a:lnTo>
                    <a:pt x="9327736" y="17328383"/>
                  </a:lnTo>
                  <a:lnTo>
                    <a:pt x="9327736" y="17314087"/>
                  </a:lnTo>
                  <a:lnTo>
                    <a:pt x="9322971" y="17304555"/>
                  </a:lnTo>
                  <a:lnTo>
                    <a:pt x="9318206" y="17295027"/>
                  </a:lnTo>
                  <a:lnTo>
                    <a:pt x="9313441" y="17285495"/>
                  </a:lnTo>
                  <a:lnTo>
                    <a:pt x="9313441" y="17271199"/>
                  </a:lnTo>
                  <a:lnTo>
                    <a:pt x="9303910" y="17271199"/>
                  </a:lnTo>
                  <a:lnTo>
                    <a:pt x="9299145" y="17261671"/>
                  </a:lnTo>
                  <a:lnTo>
                    <a:pt x="9294380" y="17247375"/>
                  </a:lnTo>
                  <a:lnTo>
                    <a:pt x="9284850" y="17237843"/>
                  </a:lnTo>
                  <a:lnTo>
                    <a:pt x="9280085" y="17233079"/>
                  </a:lnTo>
                  <a:lnTo>
                    <a:pt x="9280085" y="17228315"/>
                  </a:lnTo>
                  <a:lnTo>
                    <a:pt x="9270555" y="17223547"/>
                  </a:lnTo>
                  <a:lnTo>
                    <a:pt x="9265789" y="17223547"/>
                  </a:lnTo>
                  <a:lnTo>
                    <a:pt x="9261024" y="17218783"/>
                  </a:lnTo>
                  <a:lnTo>
                    <a:pt x="9261024" y="17209255"/>
                  </a:lnTo>
                  <a:lnTo>
                    <a:pt x="9280085" y="17209255"/>
                  </a:lnTo>
                  <a:lnTo>
                    <a:pt x="9308676" y="17209255"/>
                  </a:lnTo>
                  <a:lnTo>
                    <a:pt x="9322971" y="17209255"/>
                  </a:lnTo>
                  <a:lnTo>
                    <a:pt x="9327736" y="17214019"/>
                  </a:lnTo>
                  <a:lnTo>
                    <a:pt x="9322971" y="17223547"/>
                  </a:lnTo>
                  <a:lnTo>
                    <a:pt x="9322971" y="17233079"/>
                  </a:lnTo>
                  <a:lnTo>
                    <a:pt x="9327736" y="17237843"/>
                  </a:lnTo>
                  <a:lnTo>
                    <a:pt x="9327736" y="17247375"/>
                  </a:lnTo>
                  <a:lnTo>
                    <a:pt x="9327736" y="17261671"/>
                  </a:lnTo>
                  <a:lnTo>
                    <a:pt x="9337266" y="17266435"/>
                  </a:lnTo>
                  <a:lnTo>
                    <a:pt x="9342031" y="17266435"/>
                  </a:lnTo>
                  <a:lnTo>
                    <a:pt x="9342031" y="17271199"/>
                  </a:lnTo>
                  <a:lnTo>
                    <a:pt x="9346797" y="17271199"/>
                  </a:lnTo>
                  <a:lnTo>
                    <a:pt x="9351562" y="17275967"/>
                  </a:lnTo>
                  <a:lnTo>
                    <a:pt x="9346797" y="17280731"/>
                  </a:lnTo>
                  <a:lnTo>
                    <a:pt x="9351562" y="17285495"/>
                  </a:lnTo>
                  <a:lnTo>
                    <a:pt x="9361092" y="17285495"/>
                  </a:lnTo>
                  <a:lnTo>
                    <a:pt x="9365857" y="17275967"/>
                  </a:lnTo>
                  <a:lnTo>
                    <a:pt x="9370622" y="17275967"/>
                  </a:lnTo>
                  <a:lnTo>
                    <a:pt x="9375387" y="17271199"/>
                  </a:lnTo>
                  <a:lnTo>
                    <a:pt x="9375387" y="17275967"/>
                  </a:lnTo>
                  <a:lnTo>
                    <a:pt x="9370622" y="17280731"/>
                  </a:lnTo>
                  <a:lnTo>
                    <a:pt x="9370622" y="17285495"/>
                  </a:lnTo>
                  <a:lnTo>
                    <a:pt x="9370622" y="17295027"/>
                  </a:lnTo>
                  <a:lnTo>
                    <a:pt x="9365857" y="17299791"/>
                  </a:lnTo>
                  <a:lnTo>
                    <a:pt x="9351562" y="17314087"/>
                  </a:lnTo>
                  <a:lnTo>
                    <a:pt x="9351562" y="17318851"/>
                  </a:lnTo>
                  <a:lnTo>
                    <a:pt x="9365857" y="17309323"/>
                  </a:lnTo>
                  <a:lnTo>
                    <a:pt x="9375387" y="17309323"/>
                  </a:lnTo>
                  <a:lnTo>
                    <a:pt x="9384918" y="17309323"/>
                  </a:lnTo>
                  <a:lnTo>
                    <a:pt x="9384918" y="17314087"/>
                  </a:lnTo>
                  <a:lnTo>
                    <a:pt x="9389683" y="17318851"/>
                  </a:lnTo>
                  <a:lnTo>
                    <a:pt x="9380152" y="17347443"/>
                  </a:lnTo>
                  <a:lnTo>
                    <a:pt x="9384918" y="17352207"/>
                  </a:lnTo>
                  <a:lnTo>
                    <a:pt x="9394448" y="17337911"/>
                  </a:lnTo>
                  <a:lnTo>
                    <a:pt x="9403978" y="17333147"/>
                  </a:lnTo>
                  <a:lnTo>
                    <a:pt x="9423039" y="17328383"/>
                  </a:lnTo>
                  <a:lnTo>
                    <a:pt x="9432569" y="17347443"/>
                  </a:lnTo>
                  <a:lnTo>
                    <a:pt x="9456394" y="17356971"/>
                  </a:lnTo>
                  <a:lnTo>
                    <a:pt x="9489750" y="17376031"/>
                  </a:lnTo>
                  <a:lnTo>
                    <a:pt x="9513576" y="17380799"/>
                  </a:lnTo>
                  <a:lnTo>
                    <a:pt x="9523106" y="17371267"/>
                  </a:lnTo>
                  <a:lnTo>
                    <a:pt x="9523106" y="17361739"/>
                  </a:lnTo>
                  <a:lnTo>
                    <a:pt x="9527871" y="17342675"/>
                  </a:lnTo>
                  <a:lnTo>
                    <a:pt x="9523106" y="17328383"/>
                  </a:lnTo>
                  <a:lnTo>
                    <a:pt x="9513576" y="17323615"/>
                  </a:lnTo>
                  <a:lnTo>
                    <a:pt x="9508811" y="17314087"/>
                  </a:lnTo>
                  <a:lnTo>
                    <a:pt x="9508811" y="17309323"/>
                  </a:lnTo>
                  <a:lnTo>
                    <a:pt x="9518341" y="17304555"/>
                  </a:lnTo>
                  <a:lnTo>
                    <a:pt x="9527871" y="17299791"/>
                  </a:lnTo>
                  <a:lnTo>
                    <a:pt x="9537402" y="17295027"/>
                  </a:lnTo>
                  <a:lnTo>
                    <a:pt x="9537402" y="17299791"/>
                  </a:lnTo>
                  <a:lnTo>
                    <a:pt x="9537402" y="17304555"/>
                  </a:lnTo>
                  <a:lnTo>
                    <a:pt x="9537402" y="17309323"/>
                  </a:lnTo>
                  <a:lnTo>
                    <a:pt x="9542167" y="17309323"/>
                  </a:lnTo>
                  <a:lnTo>
                    <a:pt x="9546932" y="17309323"/>
                  </a:lnTo>
                  <a:lnTo>
                    <a:pt x="9551697" y="17318851"/>
                  </a:lnTo>
                  <a:lnTo>
                    <a:pt x="9570758" y="17318851"/>
                  </a:lnTo>
                  <a:lnTo>
                    <a:pt x="9575523" y="17318851"/>
                  </a:lnTo>
                  <a:lnTo>
                    <a:pt x="9570758" y="17314087"/>
                  </a:lnTo>
                  <a:lnTo>
                    <a:pt x="9570758" y="17304555"/>
                  </a:lnTo>
                  <a:lnTo>
                    <a:pt x="9575523" y="17299791"/>
                  </a:lnTo>
                  <a:lnTo>
                    <a:pt x="9575523" y="17295027"/>
                  </a:lnTo>
                  <a:lnTo>
                    <a:pt x="9570758" y="17295027"/>
                  </a:lnTo>
                  <a:lnTo>
                    <a:pt x="9570758" y="17304555"/>
                  </a:lnTo>
                  <a:lnTo>
                    <a:pt x="9565992" y="17304555"/>
                  </a:lnTo>
                  <a:lnTo>
                    <a:pt x="9561227" y="17304555"/>
                  </a:lnTo>
                  <a:lnTo>
                    <a:pt x="9561227" y="17299791"/>
                  </a:lnTo>
                  <a:lnTo>
                    <a:pt x="9556462" y="17290259"/>
                  </a:lnTo>
                  <a:lnTo>
                    <a:pt x="9551697" y="17280731"/>
                  </a:lnTo>
                  <a:lnTo>
                    <a:pt x="9542167" y="17275967"/>
                  </a:lnTo>
                  <a:lnTo>
                    <a:pt x="9537402" y="17271199"/>
                  </a:lnTo>
                  <a:lnTo>
                    <a:pt x="9537402" y="17266435"/>
                  </a:lnTo>
                  <a:lnTo>
                    <a:pt x="9537402" y="17261671"/>
                  </a:lnTo>
                  <a:lnTo>
                    <a:pt x="9532637" y="17261671"/>
                  </a:lnTo>
                  <a:lnTo>
                    <a:pt x="9523106" y="17252139"/>
                  </a:lnTo>
                  <a:lnTo>
                    <a:pt x="9513576" y="17242611"/>
                  </a:lnTo>
                  <a:lnTo>
                    <a:pt x="9513576" y="17237843"/>
                  </a:lnTo>
                  <a:lnTo>
                    <a:pt x="9523106" y="17237843"/>
                  </a:lnTo>
                  <a:lnTo>
                    <a:pt x="9527871" y="17233079"/>
                  </a:lnTo>
                  <a:lnTo>
                    <a:pt x="9523106" y="17228315"/>
                  </a:lnTo>
                  <a:lnTo>
                    <a:pt x="9518341" y="17218783"/>
                  </a:lnTo>
                  <a:lnTo>
                    <a:pt x="9513576" y="17218783"/>
                  </a:lnTo>
                  <a:lnTo>
                    <a:pt x="9513576" y="17223547"/>
                  </a:lnTo>
                  <a:lnTo>
                    <a:pt x="9508811" y="17223547"/>
                  </a:lnTo>
                  <a:lnTo>
                    <a:pt x="9508811" y="17218783"/>
                  </a:lnTo>
                  <a:lnTo>
                    <a:pt x="9508811" y="17209255"/>
                  </a:lnTo>
                  <a:lnTo>
                    <a:pt x="9518341" y="17199723"/>
                  </a:lnTo>
                  <a:lnTo>
                    <a:pt x="9518341" y="17190191"/>
                  </a:lnTo>
                  <a:lnTo>
                    <a:pt x="9518341" y="17185427"/>
                  </a:lnTo>
                  <a:lnTo>
                    <a:pt x="9513576" y="17180663"/>
                  </a:lnTo>
                  <a:lnTo>
                    <a:pt x="9504046" y="17175899"/>
                  </a:lnTo>
                  <a:lnTo>
                    <a:pt x="9499281" y="17180663"/>
                  </a:lnTo>
                  <a:lnTo>
                    <a:pt x="9499281" y="17190191"/>
                  </a:lnTo>
                  <a:lnTo>
                    <a:pt x="9484985" y="17185427"/>
                  </a:lnTo>
                  <a:lnTo>
                    <a:pt x="9480220" y="17180663"/>
                  </a:lnTo>
                  <a:lnTo>
                    <a:pt x="9470690" y="17175899"/>
                  </a:lnTo>
                  <a:lnTo>
                    <a:pt x="9465925" y="17166367"/>
                  </a:lnTo>
                  <a:lnTo>
                    <a:pt x="9465925" y="17156835"/>
                  </a:lnTo>
                  <a:lnTo>
                    <a:pt x="9465925" y="17137775"/>
                  </a:lnTo>
                  <a:lnTo>
                    <a:pt x="9461160" y="17128247"/>
                  </a:lnTo>
                  <a:lnTo>
                    <a:pt x="9461160" y="17133011"/>
                  </a:lnTo>
                  <a:lnTo>
                    <a:pt x="9456394" y="17137775"/>
                  </a:lnTo>
                  <a:lnTo>
                    <a:pt x="9451629" y="17137775"/>
                  </a:lnTo>
                  <a:lnTo>
                    <a:pt x="9446864" y="17137775"/>
                  </a:lnTo>
                  <a:lnTo>
                    <a:pt x="9446864" y="17128247"/>
                  </a:lnTo>
                  <a:lnTo>
                    <a:pt x="9442099" y="17123483"/>
                  </a:lnTo>
                  <a:lnTo>
                    <a:pt x="9432569" y="17113951"/>
                  </a:lnTo>
                  <a:lnTo>
                    <a:pt x="9427804" y="17104419"/>
                  </a:lnTo>
                  <a:lnTo>
                    <a:pt x="9427804" y="17099655"/>
                  </a:lnTo>
                  <a:lnTo>
                    <a:pt x="9427804" y="17094891"/>
                  </a:lnTo>
                  <a:lnTo>
                    <a:pt x="9423039" y="17090127"/>
                  </a:lnTo>
                  <a:lnTo>
                    <a:pt x="9418273" y="17085359"/>
                  </a:lnTo>
                  <a:lnTo>
                    <a:pt x="9413508" y="17075831"/>
                  </a:lnTo>
                  <a:lnTo>
                    <a:pt x="9413508" y="17071063"/>
                  </a:lnTo>
                  <a:lnTo>
                    <a:pt x="9403978" y="17061535"/>
                  </a:lnTo>
                  <a:lnTo>
                    <a:pt x="9399213" y="17056771"/>
                  </a:lnTo>
                  <a:lnTo>
                    <a:pt x="9375387" y="17056771"/>
                  </a:lnTo>
                  <a:lnTo>
                    <a:pt x="9356327" y="17056771"/>
                  </a:lnTo>
                  <a:lnTo>
                    <a:pt x="9346797" y="17052003"/>
                  </a:lnTo>
                  <a:lnTo>
                    <a:pt x="9346797" y="17047239"/>
                  </a:lnTo>
                  <a:lnTo>
                    <a:pt x="9346797" y="17042475"/>
                  </a:lnTo>
                  <a:lnTo>
                    <a:pt x="9342031" y="17037711"/>
                  </a:lnTo>
                  <a:lnTo>
                    <a:pt x="9342031" y="17042475"/>
                  </a:lnTo>
                  <a:lnTo>
                    <a:pt x="9342031" y="17047239"/>
                  </a:lnTo>
                  <a:lnTo>
                    <a:pt x="9332501" y="17047239"/>
                  </a:lnTo>
                  <a:lnTo>
                    <a:pt x="9322971" y="17047239"/>
                  </a:lnTo>
                  <a:lnTo>
                    <a:pt x="9299145" y="17042475"/>
                  </a:lnTo>
                  <a:lnTo>
                    <a:pt x="9289615" y="17047239"/>
                  </a:lnTo>
                  <a:lnTo>
                    <a:pt x="9275320" y="17052003"/>
                  </a:lnTo>
                  <a:lnTo>
                    <a:pt x="9270555" y="17047239"/>
                  </a:lnTo>
                  <a:lnTo>
                    <a:pt x="9280085" y="17042475"/>
                  </a:lnTo>
                  <a:lnTo>
                    <a:pt x="9275320" y="17042475"/>
                  </a:lnTo>
                  <a:lnTo>
                    <a:pt x="9270555" y="17037711"/>
                  </a:lnTo>
                  <a:lnTo>
                    <a:pt x="9270555" y="17032943"/>
                  </a:lnTo>
                  <a:lnTo>
                    <a:pt x="9284850" y="17028179"/>
                  </a:lnTo>
                  <a:lnTo>
                    <a:pt x="9284850" y="17023415"/>
                  </a:lnTo>
                  <a:lnTo>
                    <a:pt x="9275320" y="17018647"/>
                  </a:lnTo>
                  <a:lnTo>
                    <a:pt x="9270555" y="17018647"/>
                  </a:lnTo>
                  <a:lnTo>
                    <a:pt x="9265789" y="17023415"/>
                  </a:lnTo>
                  <a:lnTo>
                    <a:pt x="9261024" y="17023415"/>
                  </a:lnTo>
                  <a:lnTo>
                    <a:pt x="9256259" y="17028179"/>
                  </a:lnTo>
                  <a:lnTo>
                    <a:pt x="9251494" y="17028179"/>
                  </a:lnTo>
                  <a:lnTo>
                    <a:pt x="9251494" y="17018647"/>
                  </a:lnTo>
                  <a:lnTo>
                    <a:pt x="9241964" y="17018647"/>
                  </a:lnTo>
                  <a:lnTo>
                    <a:pt x="9213373" y="17013883"/>
                  </a:lnTo>
                  <a:lnTo>
                    <a:pt x="9194312" y="17013883"/>
                  </a:lnTo>
                  <a:lnTo>
                    <a:pt x="9184782" y="17013883"/>
                  </a:lnTo>
                  <a:lnTo>
                    <a:pt x="9165722" y="17004355"/>
                  </a:lnTo>
                  <a:lnTo>
                    <a:pt x="9160957" y="16999587"/>
                  </a:lnTo>
                  <a:lnTo>
                    <a:pt x="9122836" y="17004355"/>
                  </a:lnTo>
                  <a:lnTo>
                    <a:pt x="9113305" y="17004355"/>
                  </a:lnTo>
                  <a:lnTo>
                    <a:pt x="9108540" y="17004355"/>
                  </a:lnTo>
                  <a:lnTo>
                    <a:pt x="9103775" y="16994823"/>
                  </a:lnTo>
                  <a:lnTo>
                    <a:pt x="9075184" y="16999587"/>
                  </a:lnTo>
                  <a:lnTo>
                    <a:pt x="9056124" y="17004355"/>
                  </a:lnTo>
                  <a:lnTo>
                    <a:pt x="8984647" y="16990059"/>
                  </a:lnTo>
                  <a:lnTo>
                    <a:pt x="8970351" y="16985291"/>
                  </a:lnTo>
                  <a:lnTo>
                    <a:pt x="8965586" y="16980527"/>
                  </a:lnTo>
                  <a:lnTo>
                    <a:pt x="8956056" y="16980527"/>
                  </a:lnTo>
                  <a:lnTo>
                    <a:pt x="8927465" y="16975763"/>
                  </a:lnTo>
                  <a:lnTo>
                    <a:pt x="8922700" y="16975763"/>
                  </a:lnTo>
                  <a:lnTo>
                    <a:pt x="8917935" y="16966231"/>
                  </a:lnTo>
                  <a:lnTo>
                    <a:pt x="8913170" y="16966231"/>
                  </a:lnTo>
                  <a:lnTo>
                    <a:pt x="8898875" y="16966231"/>
                  </a:lnTo>
                  <a:lnTo>
                    <a:pt x="8889344" y="16961467"/>
                  </a:lnTo>
                  <a:lnTo>
                    <a:pt x="8884579" y="16956703"/>
                  </a:lnTo>
                  <a:lnTo>
                    <a:pt x="8884579" y="16947171"/>
                  </a:lnTo>
                  <a:lnTo>
                    <a:pt x="8889344" y="16937643"/>
                  </a:lnTo>
                  <a:lnTo>
                    <a:pt x="8889344" y="16928111"/>
                  </a:lnTo>
                  <a:lnTo>
                    <a:pt x="8884579" y="16923347"/>
                  </a:lnTo>
                  <a:lnTo>
                    <a:pt x="8875049" y="16918579"/>
                  </a:lnTo>
                  <a:lnTo>
                    <a:pt x="8865519" y="16918579"/>
                  </a:lnTo>
                  <a:lnTo>
                    <a:pt x="8846458" y="16923347"/>
                  </a:lnTo>
                  <a:lnTo>
                    <a:pt x="8832163" y="16923347"/>
                  </a:lnTo>
                  <a:lnTo>
                    <a:pt x="8832163" y="16928111"/>
                  </a:lnTo>
                  <a:lnTo>
                    <a:pt x="8827398" y="16932875"/>
                  </a:lnTo>
                  <a:lnTo>
                    <a:pt x="8822633" y="16932875"/>
                  </a:lnTo>
                  <a:lnTo>
                    <a:pt x="8813102" y="16918579"/>
                  </a:lnTo>
                  <a:lnTo>
                    <a:pt x="8813102" y="16913815"/>
                  </a:lnTo>
                  <a:lnTo>
                    <a:pt x="8817867" y="16909051"/>
                  </a:lnTo>
                  <a:lnTo>
                    <a:pt x="8827398" y="16889991"/>
                  </a:lnTo>
                  <a:lnTo>
                    <a:pt x="8832163" y="16880459"/>
                  </a:lnTo>
                  <a:lnTo>
                    <a:pt x="8827398" y="16875695"/>
                  </a:lnTo>
                  <a:lnTo>
                    <a:pt x="8822633" y="16880459"/>
                  </a:lnTo>
                  <a:lnTo>
                    <a:pt x="8817867" y="16885227"/>
                  </a:lnTo>
                  <a:lnTo>
                    <a:pt x="8813102" y="16880459"/>
                  </a:lnTo>
                  <a:lnTo>
                    <a:pt x="8817867" y="16861399"/>
                  </a:lnTo>
                  <a:lnTo>
                    <a:pt x="8817867" y="16851871"/>
                  </a:lnTo>
                  <a:lnTo>
                    <a:pt x="8827398" y="16851871"/>
                  </a:lnTo>
                  <a:lnTo>
                    <a:pt x="8836928" y="16851871"/>
                  </a:lnTo>
                  <a:lnTo>
                    <a:pt x="8841693" y="16851871"/>
                  </a:lnTo>
                  <a:lnTo>
                    <a:pt x="8846458" y="16842339"/>
                  </a:lnTo>
                  <a:lnTo>
                    <a:pt x="8841693" y="16837575"/>
                  </a:lnTo>
                  <a:lnTo>
                    <a:pt x="8832163" y="16832807"/>
                  </a:lnTo>
                  <a:lnTo>
                    <a:pt x="8827398" y="16828043"/>
                  </a:lnTo>
                  <a:lnTo>
                    <a:pt x="8817867" y="16828043"/>
                  </a:lnTo>
                  <a:lnTo>
                    <a:pt x="8813102" y="16832807"/>
                  </a:lnTo>
                  <a:lnTo>
                    <a:pt x="8808337" y="16832807"/>
                  </a:lnTo>
                  <a:lnTo>
                    <a:pt x="8803572" y="16832807"/>
                  </a:lnTo>
                  <a:lnTo>
                    <a:pt x="8798807" y="16828043"/>
                  </a:lnTo>
                  <a:lnTo>
                    <a:pt x="8784512" y="16823279"/>
                  </a:lnTo>
                  <a:lnTo>
                    <a:pt x="8779746" y="16813747"/>
                  </a:lnTo>
                  <a:lnTo>
                    <a:pt x="8779746" y="16808983"/>
                  </a:lnTo>
                  <a:lnTo>
                    <a:pt x="8789277" y="16789923"/>
                  </a:lnTo>
                  <a:lnTo>
                    <a:pt x="8789277" y="16785159"/>
                  </a:lnTo>
                  <a:lnTo>
                    <a:pt x="8794042" y="16770863"/>
                  </a:lnTo>
                  <a:lnTo>
                    <a:pt x="8803572" y="16756567"/>
                  </a:lnTo>
                  <a:lnTo>
                    <a:pt x="8808337" y="16742271"/>
                  </a:lnTo>
                  <a:lnTo>
                    <a:pt x="8803572" y="16737507"/>
                  </a:lnTo>
                  <a:lnTo>
                    <a:pt x="8803572" y="16732739"/>
                  </a:lnTo>
                  <a:lnTo>
                    <a:pt x="8798807" y="16732739"/>
                  </a:lnTo>
                  <a:lnTo>
                    <a:pt x="8794042" y="16727975"/>
                  </a:lnTo>
                  <a:lnTo>
                    <a:pt x="8789277" y="16718447"/>
                  </a:lnTo>
                  <a:lnTo>
                    <a:pt x="8779746" y="16708915"/>
                  </a:lnTo>
                  <a:lnTo>
                    <a:pt x="8770216" y="16704151"/>
                  </a:lnTo>
                  <a:lnTo>
                    <a:pt x="8755921" y="16689855"/>
                  </a:lnTo>
                  <a:lnTo>
                    <a:pt x="8746390" y="16680323"/>
                  </a:lnTo>
                  <a:lnTo>
                    <a:pt x="8741625" y="16670795"/>
                  </a:lnTo>
                  <a:lnTo>
                    <a:pt x="8746390" y="16661263"/>
                  </a:lnTo>
                  <a:lnTo>
                    <a:pt x="8751156" y="16656499"/>
                  </a:lnTo>
                  <a:lnTo>
                    <a:pt x="8751156" y="16651735"/>
                  </a:lnTo>
                  <a:lnTo>
                    <a:pt x="8751156" y="16646967"/>
                  </a:lnTo>
                  <a:lnTo>
                    <a:pt x="8755921" y="16632675"/>
                  </a:lnTo>
                  <a:lnTo>
                    <a:pt x="8755921" y="16627907"/>
                  </a:lnTo>
                  <a:lnTo>
                    <a:pt x="8760686" y="16618379"/>
                  </a:lnTo>
                  <a:lnTo>
                    <a:pt x="8765451" y="16608847"/>
                  </a:lnTo>
                  <a:lnTo>
                    <a:pt x="8770216" y="16604083"/>
                  </a:lnTo>
                  <a:lnTo>
                    <a:pt x="8770216" y="16594551"/>
                  </a:lnTo>
                  <a:lnTo>
                    <a:pt x="8751156" y="16594551"/>
                  </a:lnTo>
                  <a:lnTo>
                    <a:pt x="8717800" y="16594551"/>
                  </a:lnTo>
                  <a:lnTo>
                    <a:pt x="8693974" y="16594551"/>
                  </a:lnTo>
                  <a:lnTo>
                    <a:pt x="8674914" y="16599319"/>
                  </a:lnTo>
                  <a:lnTo>
                    <a:pt x="8651088" y="16599319"/>
                  </a:lnTo>
                  <a:lnTo>
                    <a:pt x="8622497" y="16594551"/>
                  </a:lnTo>
                  <a:lnTo>
                    <a:pt x="8603437" y="16580255"/>
                  </a:lnTo>
                  <a:lnTo>
                    <a:pt x="8584376" y="16556431"/>
                  </a:lnTo>
                  <a:lnTo>
                    <a:pt x="8574846" y="16537371"/>
                  </a:lnTo>
                  <a:lnTo>
                    <a:pt x="8567698" y="16513547"/>
                  </a:lnTo>
                  <a:lnTo>
                    <a:pt x="8562933" y="16494483"/>
                  </a:lnTo>
                  <a:lnTo>
                    <a:pt x="8562933" y="16489719"/>
                  </a:lnTo>
                  <a:lnTo>
                    <a:pt x="8558168" y="16484955"/>
                  </a:lnTo>
                  <a:lnTo>
                    <a:pt x="8553403" y="16475423"/>
                  </a:lnTo>
                  <a:lnTo>
                    <a:pt x="8553403" y="16456363"/>
                  </a:lnTo>
                  <a:lnTo>
                    <a:pt x="8548638" y="16446835"/>
                  </a:lnTo>
                  <a:lnTo>
                    <a:pt x="8543873" y="16442067"/>
                  </a:lnTo>
                  <a:lnTo>
                    <a:pt x="8539107" y="16437303"/>
                  </a:lnTo>
                  <a:lnTo>
                    <a:pt x="8534342" y="16423007"/>
                  </a:lnTo>
                  <a:lnTo>
                    <a:pt x="8529577" y="16418243"/>
                  </a:lnTo>
                  <a:lnTo>
                    <a:pt x="8529577" y="16413479"/>
                  </a:lnTo>
                  <a:lnTo>
                    <a:pt x="8524812" y="16408711"/>
                  </a:lnTo>
                  <a:lnTo>
                    <a:pt x="8520047" y="16403947"/>
                  </a:lnTo>
                  <a:lnTo>
                    <a:pt x="8500986" y="16408711"/>
                  </a:lnTo>
                  <a:lnTo>
                    <a:pt x="8496221" y="16403947"/>
                  </a:lnTo>
                  <a:lnTo>
                    <a:pt x="8491456" y="16399183"/>
                  </a:lnTo>
                  <a:lnTo>
                    <a:pt x="8481926" y="16394415"/>
                  </a:lnTo>
                  <a:lnTo>
                    <a:pt x="8472396" y="16399183"/>
                  </a:lnTo>
                  <a:lnTo>
                    <a:pt x="8462865" y="16403947"/>
                  </a:lnTo>
                  <a:lnTo>
                    <a:pt x="8453335" y="16403947"/>
                  </a:lnTo>
                  <a:lnTo>
                    <a:pt x="8434275" y="16399183"/>
                  </a:lnTo>
                  <a:lnTo>
                    <a:pt x="8424744" y="16403947"/>
                  </a:lnTo>
                  <a:lnTo>
                    <a:pt x="8400919" y="16403947"/>
                  </a:lnTo>
                  <a:lnTo>
                    <a:pt x="8386624" y="16399183"/>
                  </a:lnTo>
                  <a:lnTo>
                    <a:pt x="8372328" y="16389651"/>
                  </a:lnTo>
                  <a:lnTo>
                    <a:pt x="8362798" y="16384887"/>
                  </a:lnTo>
                  <a:lnTo>
                    <a:pt x="8353268" y="16389651"/>
                  </a:lnTo>
                  <a:lnTo>
                    <a:pt x="8348502" y="16384887"/>
                  </a:lnTo>
                  <a:lnTo>
                    <a:pt x="8348502" y="16380123"/>
                  </a:lnTo>
                  <a:lnTo>
                    <a:pt x="8343737" y="16380123"/>
                  </a:lnTo>
                  <a:lnTo>
                    <a:pt x="8329442" y="16375355"/>
                  </a:lnTo>
                  <a:lnTo>
                    <a:pt x="8315146" y="16370591"/>
                  </a:lnTo>
                  <a:lnTo>
                    <a:pt x="8286556" y="16361063"/>
                  </a:lnTo>
                  <a:lnTo>
                    <a:pt x="8277026" y="16351531"/>
                  </a:lnTo>
                  <a:lnTo>
                    <a:pt x="8267495" y="16351531"/>
                  </a:lnTo>
                  <a:lnTo>
                    <a:pt x="8257965" y="16351531"/>
                  </a:lnTo>
                  <a:lnTo>
                    <a:pt x="8253200" y="16356295"/>
                  </a:lnTo>
                  <a:lnTo>
                    <a:pt x="8248434" y="16356295"/>
                  </a:lnTo>
                  <a:lnTo>
                    <a:pt x="8238904" y="16351531"/>
                  </a:lnTo>
                  <a:lnTo>
                    <a:pt x="8238904" y="16356295"/>
                  </a:lnTo>
                  <a:lnTo>
                    <a:pt x="8238904" y="16361063"/>
                  </a:lnTo>
                  <a:lnTo>
                    <a:pt x="8238904" y="16370591"/>
                  </a:lnTo>
                  <a:lnTo>
                    <a:pt x="8243670" y="16380123"/>
                  </a:lnTo>
                  <a:lnTo>
                    <a:pt x="8257965" y="16394415"/>
                  </a:lnTo>
                  <a:lnTo>
                    <a:pt x="8262730" y="16403947"/>
                  </a:lnTo>
                  <a:lnTo>
                    <a:pt x="8262730" y="16413479"/>
                  </a:lnTo>
                  <a:lnTo>
                    <a:pt x="8257965" y="16423007"/>
                  </a:lnTo>
                  <a:lnTo>
                    <a:pt x="8243670" y="16446835"/>
                  </a:lnTo>
                  <a:lnTo>
                    <a:pt x="8238904" y="16446835"/>
                  </a:lnTo>
                  <a:lnTo>
                    <a:pt x="8229374" y="16446835"/>
                  </a:lnTo>
                  <a:lnTo>
                    <a:pt x="8224609" y="16451599"/>
                  </a:lnTo>
                  <a:lnTo>
                    <a:pt x="8215079" y="16456363"/>
                  </a:lnTo>
                  <a:lnTo>
                    <a:pt x="8215079" y="16451599"/>
                  </a:lnTo>
                  <a:lnTo>
                    <a:pt x="8210314" y="16451599"/>
                  </a:lnTo>
                  <a:lnTo>
                    <a:pt x="8205548" y="16461127"/>
                  </a:lnTo>
                  <a:lnTo>
                    <a:pt x="8205548" y="16465895"/>
                  </a:lnTo>
                  <a:lnTo>
                    <a:pt x="8205548" y="16470659"/>
                  </a:lnTo>
                  <a:lnTo>
                    <a:pt x="8200784" y="16475423"/>
                  </a:lnTo>
                  <a:lnTo>
                    <a:pt x="8196018" y="16480191"/>
                  </a:lnTo>
                  <a:lnTo>
                    <a:pt x="8191253" y="16480191"/>
                  </a:lnTo>
                  <a:lnTo>
                    <a:pt x="8191253" y="16475423"/>
                  </a:lnTo>
                  <a:lnTo>
                    <a:pt x="8186488" y="16470659"/>
                  </a:lnTo>
                  <a:lnTo>
                    <a:pt x="8191253" y="16461127"/>
                  </a:lnTo>
                  <a:lnTo>
                    <a:pt x="8219844" y="16432539"/>
                  </a:lnTo>
                  <a:lnTo>
                    <a:pt x="8229374" y="16418243"/>
                  </a:lnTo>
                  <a:lnTo>
                    <a:pt x="8229374" y="16413479"/>
                  </a:lnTo>
                  <a:lnTo>
                    <a:pt x="8229374" y="16403947"/>
                  </a:lnTo>
                  <a:lnTo>
                    <a:pt x="8224609" y="16394415"/>
                  </a:lnTo>
                  <a:lnTo>
                    <a:pt x="8219844" y="16384887"/>
                  </a:lnTo>
                  <a:lnTo>
                    <a:pt x="8210314" y="16384887"/>
                  </a:lnTo>
                  <a:lnTo>
                    <a:pt x="8200784" y="16389651"/>
                  </a:lnTo>
                  <a:lnTo>
                    <a:pt x="8196018" y="16399183"/>
                  </a:lnTo>
                  <a:lnTo>
                    <a:pt x="8196018" y="16408711"/>
                  </a:lnTo>
                  <a:lnTo>
                    <a:pt x="8191253" y="16423007"/>
                  </a:lnTo>
                  <a:lnTo>
                    <a:pt x="8196018" y="16432539"/>
                  </a:lnTo>
                  <a:lnTo>
                    <a:pt x="8191253" y="16437303"/>
                  </a:lnTo>
                  <a:lnTo>
                    <a:pt x="8186488" y="16437303"/>
                  </a:lnTo>
                  <a:lnTo>
                    <a:pt x="8181723" y="16446835"/>
                  </a:lnTo>
                  <a:lnTo>
                    <a:pt x="8181723" y="16456363"/>
                  </a:lnTo>
                  <a:lnTo>
                    <a:pt x="8176958" y="16465895"/>
                  </a:lnTo>
                  <a:lnTo>
                    <a:pt x="8172192" y="16465895"/>
                  </a:lnTo>
                  <a:lnTo>
                    <a:pt x="8167428" y="16475423"/>
                  </a:lnTo>
                  <a:lnTo>
                    <a:pt x="8167428" y="16494483"/>
                  </a:lnTo>
                  <a:lnTo>
                    <a:pt x="8157897" y="16499251"/>
                  </a:lnTo>
                  <a:lnTo>
                    <a:pt x="8138836" y="16508779"/>
                  </a:lnTo>
                  <a:lnTo>
                    <a:pt x="8134072" y="16508779"/>
                  </a:lnTo>
                  <a:lnTo>
                    <a:pt x="8134072" y="16499251"/>
                  </a:lnTo>
                  <a:lnTo>
                    <a:pt x="8138836" y="16494483"/>
                  </a:lnTo>
                  <a:lnTo>
                    <a:pt x="8143602" y="16494483"/>
                  </a:lnTo>
                  <a:lnTo>
                    <a:pt x="8153132" y="16465895"/>
                  </a:lnTo>
                  <a:lnTo>
                    <a:pt x="8157897" y="16451599"/>
                  </a:lnTo>
                  <a:lnTo>
                    <a:pt x="8157897" y="16446835"/>
                  </a:lnTo>
                  <a:lnTo>
                    <a:pt x="8110246" y="16470659"/>
                  </a:lnTo>
                  <a:lnTo>
                    <a:pt x="8091186" y="16480191"/>
                  </a:lnTo>
                  <a:lnTo>
                    <a:pt x="8086420" y="16489719"/>
                  </a:lnTo>
                  <a:lnTo>
                    <a:pt x="8086420" y="16494483"/>
                  </a:lnTo>
                  <a:lnTo>
                    <a:pt x="8091186" y="16504015"/>
                  </a:lnTo>
                  <a:lnTo>
                    <a:pt x="8091186" y="16513547"/>
                  </a:lnTo>
                  <a:lnTo>
                    <a:pt x="8081655" y="16518311"/>
                  </a:lnTo>
                  <a:lnTo>
                    <a:pt x="8076890" y="16537371"/>
                  </a:lnTo>
                  <a:lnTo>
                    <a:pt x="8072125" y="16546903"/>
                  </a:lnTo>
                  <a:lnTo>
                    <a:pt x="8067360" y="16556431"/>
                  </a:lnTo>
                  <a:lnTo>
                    <a:pt x="8053064" y="16561195"/>
                  </a:lnTo>
                  <a:lnTo>
                    <a:pt x="8053064" y="16565963"/>
                  </a:lnTo>
                  <a:lnTo>
                    <a:pt x="8038769" y="16585023"/>
                  </a:lnTo>
                  <a:lnTo>
                    <a:pt x="8034004" y="16585023"/>
                  </a:lnTo>
                  <a:lnTo>
                    <a:pt x="8000648" y="16580255"/>
                  </a:lnTo>
                  <a:lnTo>
                    <a:pt x="7981588" y="16585023"/>
                  </a:lnTo>
                  <a:lnTo>
                    <a:pt x="7967292" y="16580255"/>
                  </a:lnTo>
                  <a:lnTo>
                    <a:pt x="7962527" y="16565963"/>
                  </a:lnTo>
                  <a:lnTo>
                    <a:pt x="7952997" y="16556431"/>
                  </a:lnTo>
                  <a:lnTo>
                    <a:pt x="7914876" y="16561195"/>
                  </a:lnTo>
                  <a:lnTo>
                    <a:pt x="7871990" y="16561195"/>
                  </a:lnTo>
                  <a:lnTo>
                    <a:pt x="7848164" y="16561195"/>
                  </a:lnTo>
                  <a:lnTo>
                    <a:pt x="7843399" y="16556431"/>
                  </a:lnTo>
                  <a:lnTo>
                    <a:pt x="7833868" y="16537371"/>
                  </a:lnTo>
                  <a:lnTo>
                    <a:pt x="7824338" y="16537371"/>
                  </a:lnTo>
                  <a:lnTo>
                    <a:pt x="7805278" y="16542135"/>
                  </a:lnTo>
                  <a:lnTo>
                    <a:pt x="7776687" y="16561195"/>
                  </a:lnTo>
                  <a:lnTo>
                    <a:pt x="7748096" y="16570727"/>
                  </a:lnTo>
                  <a:lnTo>
                    <a:pt x="7729036" y="16570727"/>
                  </a:lnTo>
                  <a:lnTo>
                    <a:pt x="7709976" y="16561195"/>
                  </a:lnTo>
                  <a:lnTo>
                    <a:pt x="7676620" y="16537371"/>
                  </a:lnTo>
                  <a:lnTo>
                    <a:pt x="7652794" y="16513547"/>
                  </a:lnTo>
                  <a:lnTo>
                    <a:pt x="7628968" y="16504015"/>
                  </a:lnTo>
                  <a:lnTo>
                    <a:pt x="7609908" y="16508779"/>
                  </a:lnTo>
                  <a:lnTo>
                    <a:pt x="7600378" y="16518311"/>
                  </a:lnTo>
                  <a:lnTo>
                    <a:pt x="7590847" y="16518311"/>
                  </a:lnTo>
                  <a:lnTo>
                    <a:pt x="7581317" y="16499251"/>
                  </a:lnTo>
                  <a:lnTo>
                    <a:pt x="7576552" y="16484955"/>
                  </a:lnTo>
                  <a:lnTo>
                    <a:pt x="7562256" y="16475423"/>
                  </a:lnTo>
                  <a:lnTo>
                    <a:pt x="7538430" y="16461127"/>
                  </a:lnTo>
                  <a:lnTo>
                    <a:pt x="7524136" y="16451599"/>
                  </a:lnTo>
                  <a:lnTo>
                    <a:pt x="7500310" y="16442067"/>
                  </a:lnTo>
                  <a:lnTo>
                    <a:pt x="7490780" y="16437303"/>
                  </a:lnTo>
                  <a:lnTo>
                    <a:pt x="7476484" y="16437303"/>
                  </a:lnTo>
                  <a:lnTo>
                    <a:pt x="7457424" y="16437303"/>
                  </a:lnTo>
                  <a:lnTo>
                    <a:pt x="7438363" y="16442067"/>
                  </a:lnTo>
                  <a:lnTo>
                    <a:pt x="7424068" y="16451599"/>
                  </a:lnTo>
                  <a:lnTo>
                    <a:pt x="7409772" y="16461127"/>
                  </a:lnTo>
                  <a:lnTo>
                    <a:pt x="7385946" y="16461127"/>
                  </a:lnTo>
                  <a:lnTo>
                    <a:pt x="7371651" y="16456363"/>
                  </a:lnTo>
                  <a:lnTo>
                    <a:pt x="7366886" y="16442067"/>
                  </a:lnTo>
                  <a:lnTo>
                    <a:pt x="7333530" y="16432539"/>
                  </a:lnTo>
                  <a:lnTo>
                    <a:pt x="7276348" y="16418243"/>
                  </a:lnTo>
                  <a:lnTo>
                    <a:pt x="7247758" y="16408711"/>
                  </a:lnTo>
                  <a:lnTo>
                    <a:pt x="7238228" y="16403947"/>
                  </a:lnTo>
                  <a:lnTo>
                    <a:pt x="7233462" y="16394415"/>
                  </a:lnTo>
                  <a:lnTo>
                    <a:pt x="7233462" y="16380123"/>
                  </a:lnTo>
                  <a:lnTo>
                    <a:pt x="7219167" y="16351531"/>
                  </a:lnTo>
                  <a:lnTo>
                    <a:pt x="7209637" y="16322939"/>
                  </a:lnTo>
                  <a:lnTo>
                    <a:pt x="7209637" y="16289583"/>
                  </a:lnTo>
                  <a:lnTo>
                    <a:pt x="7209637" y="16275287"/>
                  </a:lnTo>
                  <a:lnTo>
                    <a:pt x="7204872" y="16275287"/>
                  </a:lnTo>
                  <a:lnTo>
                    <a:pt x="7195342" y="16265759"/>
                  </a:lnTo>
                  <a:lnTo>
                    <a:pt x="7161986" y="16260995"/>
                  </a:lnTo>
                  <a:lnTo>
                    <a:pt x="7161986" y="16299115"/>
                  </a:lnTo>
                  <a:lnTo>
                    <a:pt x="7161986" y="16351531"/>
                  </a:lnTo>
                  <a:lnTo>
                    <a:pt x="2844780" y="16351531"/>
                  </a:lnTo>
                  <a:lnTo>
                    <a:pt x="2840015" y="16341999"/>
                  </a:lnTo>
                  <a:lnTo>
                    <a:pt x="2825720" y="16332471"/>
                  </a:lnTo>
                  <a:lnTo>
                    <a:pt x="2816189" y="16332471"/>
                  </a:lnTo>
                  <a:lnTo>
                    <a:pt x="2811424" y="16337235"/>
                  </a:lnTo>
                  <a:lnTo>
                    <a:pt x="2806659" y="16341999"/>
                  </a:lnTo>
                  <a:lnTo>
                    <a:pt x="2806659" y="16351531"/>
                  </a:lnTo>
                  <a:lnTo>
                    <a:pt x="2801894" y="16356295"/>
                  </a:lnTo>
                  <a:lnTo>
                    <a:pt x="2797129" y="16351531"/>
                  </a:lnTo>
                  <a:lnTo>
                    <a:pt x="2792364" y="16337235"/>
                  </a:lnTo>
                  <a:lnTo>
                    <a:pt x="2797129" y="16327707"/>
                  </a:lnTo>
                  <a:lnTo>
                    <a:pt x="2801894" y="16322939"/>
                  </a:lnTo>
                  <a:lnTo>
                    <a:pt x="2801894" y="16318175"/>
                  </a:lnTo>
                  <a:lnTo>
                    <a:pt x="2787598" y="16322939"/>
                  </a:lnTo>
                  <a:lnTo>
                    <a:pt x="2782834" y="16318175"/>
                  </a:lnTo>
                  <a:lnTo>
                    <a:pt x="2782834" y="16313411"/>
                  </a:lnTo>
                  <a:lnTo>
                    <a:pt x="2782834" y="16299115"/>
                  </a:lnTo>
                  <a:lnTo>
                    <a:pt x="2778068" y="16284819"/>
                  </a:lnTo>
                  <a:lnTo>
                    <a:pt x="2782834" y="16284819"/>
                  </a:lnTo>
                  <a:lnTo>
                    <a:pt x="2801894" y="16280055"/>
                  </a:lnTo>
                  <a:lnTo>
                    <a:pt x="2820954" y="16280055"/>
                  </a:lnTo>
                  <a:lnTo>
                    <a:pt x="2825720" y="16270523"/>
                  </a:lnTo>
                  <a:lnTo>
                    <a:pt x="2830485" y="16256227"/>
                  </a:lnTo>
                  <a:lnTo>
                    <a:pt x="2816189" y="16270523"/>
                  </a:lnTo>
                  <a:lnTo>
                    <a:pt x="2811424" y="16270523"/>
                  </a:lnTo>
                  <a:lnTo>
                    <a:pt x="2787598" y="16265759"/>
                  </a:lnTo>
                  <a:lnTo>
                    <a:pt x="2768538" y="16265759"/>
                  </a:lnTo>
                  <a:lnTo>
                    <a:pt x="2768538" y="16260995"/>
                  </a:lnTo>
                  <a:lnTo>
                    <a:pt x="2773303" y="16256227"/>
                  </a:lnTo>
                  <a:lnTo>
                    <a:pt x="2773303" y="16241931"/>
                  </a:lnTo>
                  <a:lnTo>
                    <a:pt x="2778068" y="16208579"/>
                  </a:lnTo>
                  <a:lnTo>
                    <a:pt x="2782834" y="16194283"/>
                  </a:lnTo>
                  <a:lnTo>
                    <a:pt x="2782834" y="16189515"/>
                  </a:lnTo>
                  <a:lnTo>
                    <a:pt x="2782834" y="16184751"/>
                  </a:lnTo>
                  <a:lnTo>
                    <a:pt x="2763773" y="16213343"/>
                  </a:lnTo>
                  <a:lnTo>
                    <a:pt x="2759008" y="16218107"/>
                  </a:lnTo>
                  <a:lnTo>
                    <a:pt x="2763773" y="16227639"/>
                  </a:lnTo>
                  <a:lnTo>
                    <a:pt x="2759008" y="16241931"/>
                  </a:lnTo>
                  <a:lnTo>
                    <a:pt x="2749478" y="16241931"/>
                  </a:lnTo>
                  <a:lnTo>
                    <a:pt x="2744712" y="16241931"/>
                  </a:lnTo>
                  <a:lnTo>
                    <a:pt x="2735182" y="16251463"/>
                  </a:lnTo>
                  <a:lnTo>
                    <a:pt x="2730417" y="16256227"/>
                  </a:lnTo>
                  <a:lnTo>
                    <a:pt x="2678001" y="16232403"/>
                  </a:lnTo>
                  <a:lnTo>
                    <a:pt x="2673236" y="16232403"/>
                  </a:lnTo>
                  <a:lnTo>
                    <a:pt x="2663705" y="16222871"/>
                  </a:lnTo>
                  <a:lnTo>
                    <a:pt x="2654175" y="16203811"/>
                  </a:lnTo>
                  <a:lnTo>
                    <a:pt x="2649410" y="16189515"/>
                  </a:lnTo>
                  <a:lnTo>
                    <a:pt x="2654175" y="16179987"/>
                  </a:lnTo>
                  <a:lnTo>
                    <a:pt x="2658940" y="16175223"/>
                  </a:lnTo>
                  <a:lnTo>
                    <a:pt x="2663705" y="16175223"/>
                  </a:lnTo>
                  <a:lnTo>
                    <a:pt x="2668470" y="16179987"/>
                  </a:lnTo>
                  <a:lnTo>
                    <a:pt x="2678001" y="16199047"/>
                  </a:lnTo>
                  <a:lnTo>
                    <a:pt x="2687531" y="16208579"/>
                  </a:lnTo>
                  <a:lnTo>
                    <a:pt x="2697061" y="16208579"/>
                  </a:lnTo>
                  <a:lnTo>
                    <a:pt x="2716122" y="16189515"/>
                  </a:lnTo>
                  <a:lnTo>
                    <a:pt x="2720887" y="16184751"/>
                  </a:lnTo>
                  <a:lnTo>
                    <a:pt x="2701826" y="16189515"/>
                  </a:lnTo>
                  <a:lnTo>
                    <a:pt x="2692296" y="16189515"/>
                  </a:lnTo>
                  <a:lnTo>
                    <a:pt x="2687531" y="16184751"/>
                  </a:lnTo>
                  <a:lnTo>
                    <a:pt x="2678001" y="16175223"/>
                  </a:lnTo>
                  <a:lnTo>
                    <a:pt x="2673236" y="16160927"/>
                  </a:lnTo>
                  <a:lnTo>
                    <a:pt x="2673236" y="16113275"/>
                  </a:lnTo>
                  <a:lnTo>
                    <a:pt x="2673236" y="16103743"/>
                  </a:lnTo>
                  <a:lnTo>
                    <a:pt x="2682766" y="16098979"/>
                  </a:lnTo>
                  <a:lnTo>
                    <a:pt x="2692296" y="16089447"/>
                  </a:lnTo>
                  <a:lnTo>
                    <a:pt x="2692296" y="16084683"/>
                  </a:lnTo>
                  <a:lnTo>
                    <a:pt x="2682766" y="16075155"/>
                  </a:lnTo>
                  <a:lnTo>
                    <a:pt x="2673236" y="16065623"/>
                  </a:lnTo>
                  <a:lnTo>
                    <a:pt x="2668470" y="16065623"/>
                  </a:lnTo>
                  <a:lnTo>
                    <a:pt x="2663705" y="16065623"/>
                  </a:lnTo>
                  <a:lnTo>
                    <a:pt x="2678001" y="16084683"/>
                  </a:lnTo>
                  <a:lnTo>
                    <a:pt x="2678001" y="16089447"/>
                  </a:lnTo>
                  <a:lnTo>
                    <a:pt x="2663705" y="16108511"/>
                  </a:lnTo>
                  <a:lnTo>
                    <a:pt x="2658940" y="16118039"/>
                  </a:lnTo>
                  <a:lnTo>
                    <a:pt x="2658940" y="16137099"/>
                  </a:lnTo>
                  <a:lnTo>
                    <a:pt x="2649410" y="16146631"/>
                  </a:lnTo>
                  <a:lnTo>
                    <a:pt x="2635114" y="16160927"/>
                  </a:lnTo>
                  <a:lnTo>
                    <a:pt x="2611289" y="16165691"/>
                  </a:lnTo>
                  <a:lnTo>
                    <a:pt x="2592228" y="16160927"/>
                  </a:lnTo>
                  <a:lnTo>
                    <a:pt x="2582698" y="16156159"/>
                  </a:lnTo>
                  <a:lnTo>
                    <a:pt x="2544577" y="16118039"/>
                  </a:lnTo>
                  <a:lnTo>
                    <a:pt x="2535047" y="16103743"/>
                  </a:lnTo>
                  <a:lnTo>
                    <a:pt x="2535047" y="16089447"/>
                  </a:lnTo>
                  <a:lnTo>
                    <a:pt x="2511221" y="16046563"/>
                  </a:lnTo>
                  <a:lnTo>
                    <a:pt x="2511221" y="16037031"/>
                  </a:lnTo>
                  <a:lnTo>
                    <a:pt x="2501691" y="16022739"/>
                  </a:lnTo>
                  <a:lnTo>
                    <a:pt x="2492161" y="16022739"/>
                  </a:lnTo>
                  <a:lnTo>
                    <a:pt x="2492161" y="16008443"/>
                  </a:lnTo>
                  <a:lnTo>
                    <a:pt x="2511221" y="15979851"/>
                  </a:lnTo>
                  <a:lnTo>
                    <a:pt x="2520752" y="15951259"/>
                  </a:lnTo>
                  <a:lnTo>
                    <a:pt x="2520752" y="15946495"/>
                  </a:lnTo>
                  <a:lnTo>
                    <a:pt x="2520752" y="15932199"/>
                  </a:lnTo>
                  <a:lnTo>
                    <a:pt x="2520752" y="15908375"/>
                  </a:lnTo>
                  <a:lnTo>
                    <a:pt x="2520752" y="15894079"/>
                  </a:lnTo>
                  <a:lnTo>
                    <a:pt x="2511221" y="15908375"/>
                  </a:lnTo>
                  <a:lnTo>
                    <a:pt x="2506456" y="15922671"/>
                  </a:lnTo>
                  <a:lnTo>
                    <a:pt x="2511221" y="15932199"/>
                  </a:lnTo>
                  <a:lnTo>
                    <a:pt x="2511221" y="15946495"/>
                  </a:lnTo>
                  <a:lnTo>
                    <a:pt x="2501691" y="15965555"/>
                  </a:lnTo>
                  <a:lnTo>
                    <a:pt x="2492161" y="15984615"/>
                  </a:lnTo>
                  <a:lnTo>
                    <a:pt x="2468335" y="15994147"/>
                  </a:lnTo>
                  <a:lnTo>
                    <a:pt x="2425449" y="15989383"/>
                  </a:lnTo>
                  <a:lnTo>
                    <a:pt x="2420684" y="15984615"/>
                  </a:lnTo>
                  <a:lnTo>
                    <a:pt x="2420684" y="15979851"/>
                  </a:lnTo>
                  <a:lnTo>
                    <a:pt x="2415919" y="15951259"/>
                  </a:lnTo>
                  <a:lnTo>
                    <a:pt x="2406388" y="15970319"/>
                  </a:lnTo>
                  <a:lnTo>
                    <a:pt x="2406388" y="15989383"/>
                  </a:lnTo>
                  <a:lnTo>
                    <a:pt x="2401623" y="15994147"/>
                  </a:lnTo>
                  <a:lnTo>
                    <a:pt x="2392093" y="15994147"/>
                  </a:lnTo>
                  <a:lnTo>
                    <a:pt x="2382563" y="15994147"/>
                  </a:lnTo>
                  <a:lnTo>
                    <a:pt x="2377798" y="15984615"/>
                  </a:lnTo>
                  <a:lnTo>
                    <a:pt x="2368267" y="15984615"/>
                  </a:lnTo>
                  <a:lnTo>
                    <a:pt x="2349207" y="15989383"/>
                  </a:lnTo>
                  <a:lnTo>
                    <a:pt x="2339676" y="15989383"/>
                  </a:lnTo>
                  <a:lnTo>
                    <a:pt x="2330146" y="15989383"/>
                  </a:lnTo>
                  <a:lnTo>
                    <a:pt x="2306321" y="15979851"/>
                  </a:lnTo>
                  <a:lnTo>
                    <a:pt x="2282495" y="15979851"/>
                  </a:lnTo>
                  <a:lnTo>
                    <a:pt x="2272965" y="15975087"/>
                  </a:lnTo>
                  <a:lnTo>
                    <a:pt x="2272965" y="15965555"/>
                  </a:lnTo>
                  <a:lnTo>
                    <a:pt x="2277730" y="15960791"/>
                  </a:lnTo>
                  <a:lnTo>
                    <a:pt x="2306321" y="15956027"/>
                  </a:lnTo>
                  <a:lnTo>
                    <a:pt x="2334912" y="15946495"/>
                  </a:lnTo>
                  <a:lnTo>
                    <a:pt x="2358737" y="15941731"/>
                  </a:lnTo>
                  <a:lnTo>
                    <a:pt x="2358737" y="15936963"/>
                  </a:lnTo>
                  <a:lnTo>
                    <a:pt x="2349207" y="15936963"/>
                  </a:lnTo>
                  <a:lnTo>
                    <a:pt x="2287260" y="15946495"/>
                  </a:lnTo>
                  <a:lnTo>
                    <a:pt x="2268200" y="15946495"/>
                  </a:lnTo>
                  <a:lnTo>
                    <a:pt x="2263434" y="15941731"/>
                  </a:lnTo>
                  <a:lnTo>
                    <a:pt x="2263434" y="15932199"/>
                  </a:lnTo>
                  <a:lnTo>
                    <a:pt x="2268200" y="15922671"/>
                  </a:lnTo>
                  <a:lnTo>
                    <a:pt x="2282495" y="15913139"/>
                  </a:lnTo>
                  <a:lnTo>
                    <a:pt x="2287260" y="15903607"/>
                  </a:lnTo>
                  <a:lnTo>
                    <a:pt x="2277730" y="15898843"/>
                  </a:lnTo>
                  <a:lnTo>
                    <a:pt x="2268200" y="15903607"/>
                  </a:lnTo>
                  <a:lnTo>
                    <a:pt x="2263434" y="15898843"/>
                  </a:lnTo>
                  <a:lnTo>
                    <a:pt x="2268200" y="15875019"/>
                  </a:lnTo>
                  <a:lnTo>
                    <a:pt x="2263434" y="15851191"/>
                  </a:lnTo>
                  <a:lnTo>
                    <a:pt x="2258670" y="15870255"/>
                  </a:lnTo>
                  <a:lnTo>
                    <a:pt x="2244374" y="15884547"/>
                  </a:lnTo>
                  <a:lnTo>
                    <a:pt x="2191958" y="15889315"/>
                  </a:lnTo>
                  <a:lnTo>
                    <a:pt x="2187192" y="15898843"/>
                  </a:lnTo>
                  <a:lnTo>
                    <a:pt x="2177662" y="15898843"/>
                  </a:lnTo>
                  <a:lnTo>
                    <a:pt x="2144306" y="15884547"/>
                  </a:lnTo>
                  <a:lnTo>
                    <a:pt x="2130011" y="15875019"/>
                  </a:lnTo>
                  <a:lnTo>
                    <a:pt x="2120481" y="15865487"/>
                  </a:lnTo>
                  <a:lnTo>
                    <a:pt x="2096655" y="15841663"/>
                  </a:lnTo>
                  <a:lnTo>
                    <a:pt x="2077595" y="15827367"/>
                  </a:lnTo>
                  <a:lnTo>
                    <a:pt x="2077595" y="15798775"/>
                  </a:lnTo>
                  <a:lnTo>
                    <a:pt x="2077595" y="15779715"/>
                  </a:lnTo>
                  <a:lnTo>
                    <a:pt x="2087125" y="15755891"/>
                  </a:lnTo>
                  <a:lnTo>
                    <a:pt x="2120481" y="15713003"/>
                  </a:lnTo>
                  <a:lnTo>
                    <a:pt x="2134776" y="15703475"/>
                  </a:lnTo>
                  <a:lnTo>
                    <a:pt x="2144306" y="15698707"/>
                  </a:lnTo>
                  <a:lnTo>
                    <a:pt x="2191958" y="15693943"/>
                  </a:lnTo>
                  <a:lnTo>
                    <a:pt x="2230079" y="15689179"/>
                  </a:lnTo>
                  <a:lnTo>
                    <a:pt x="2234844" y="15689179"/>
                  </a:lnTo>
                  <a:lnTo>
                    <a:pt x="2182428" y="15684415"/>
                  </a:lnTo>
                  <a:lnTo>
                    <a:pt x="2134776" y="15689179"/>
                  </a:lnTo>
                  <a:lnTo>
                    <a:pt x="2120481" y="15693943"/>
                  </a:lnTo>
                  <a:lnTo>
                    <a:pt x="2096655" y="15722535"/>
                  </a:lnTo>
                  <a:lnTo>
                    <a:pt x="2091890" y="15736831"/>
                  </a:lnTo>
                  <a:lnTo>
                    <a:pt x="2087125" y="15746359"/>
                  </a:lnTo>
                  <a:lnTo>
                    <a:pt x="2082360" y="15746359"/>
                  </a:lnTo>
                  <a:lnTo>
                    <a:pt x="2077595" y="15741595"/>
                  </a:lnTo>
                  <a:lnTo>
                    <a:pt x="2072830" y="15736831"/>
                  </a:lnTo>
                  <a:lnTo>
                    <a:pt x="2072830" y="15727299"/>
                  </a:lnTo>
                  <a:lnTo>
                    <a:pt x="2058534" y="15713003"/>
                  </a:lnTo>
                  <a:lnTo>
                    <a:pt x="2053769" y="15693943"/>
                  </a:lnTo>
                  <a:lnTo>
                    <a:pt x="2053769" y="15670119"/>
                  </a:lnTo>
                  <a:lnTo>
                    <a:pt x="2053769" y="15655823"/>
                  </a:lnTo>
                  <a:lnTo>
                    <a:pt x="2058534" y="15641527"/>
                  </a:lnTo>
                  <a:lnTo>
                    <a:pt x="2072830" y="15612935"/>
                  </a:lnTo>
                  <a:lnTo>
                    <a:pt x="2053769" y="15612935"/>
                  </a:lnTo>
                  <a:lnTo>
                    <a:pt x="2053769" y="15589111"/>
                  </a:lnTo>
                  <a:lnTo>
                    <a:pt x="2063299" y="15565283"/>
                  </a:lnTo>
                  <a:lnTo>
                    <a:pt x="2082360" y="15546223"/>
                  </a:lnTo>
                  <a:lnTo>
                    <a:pt x="2101420" y="15536695"/>
                  </a:lnTo>
                  <a:lnTo>
                    <a:pt x="2120481" y="15522399"/>
                  </a:lnTo>
                  <a:lnTo>
                    <a:pt x="2149072" y="15512867"/>
                  </a:lnTo>
                  <a:lnTo>
                    <a:pt x="2158602" y="15531931"/>
                  </a:lnTo>
                  <a:lnTo>
                    <a:pt x="2187192" y="15536695"/>
                  </a:lnTo>
                  <a:lnTo>
                    <a:pt x="2191958" y="15546223"/>
                  </a:lnTo>
                  <a:lnTo>
                    <a:pt x="2201488" y="15565283"/>
                  </a:lnTo>
                  <a:lnTo>
                    <a:pt x="2215783" y="15579579"/>
                  </a:lnTo>
                  <a:lnTo>
                    <a:pt x="2227697" y="15591495"/>
                  </a:lnTo>
                  <a:lnTo>
                    <a:pt x="2230079" y="15598639"/>
                  </a:lnTo>
                  <a:lnTo>
                    <a:pt x="2230079" y="15593875"/>
                  </a:lnTo>
                  <a:lnTo>
                    <a:pt x="2227697" y="15591495"/>
                  </a:lnTo>
                  <a:lnTo>
                    <a:pt x="2225314" y="15584347"/>
                  </a:lnTo>
                  <a:lnTo>
                    <a:pt x="2206253" y="15555755"/>
                  </a:lnTo>
                  <a:lnTo>
                    <a:pt x="2201488" y="15546223"/>
                  </a:lnTo>
                  <a:lnTo>
                    <a:pt x="2196723" y="15531931"/>
                  </a:lnTo>
                  <a:lnTo>
                    <a:pt x="2168132" y="15517635"/>
                  </a:lnTo>
                  <a:lnTo>
                    <a:pt x="2163367" y="15512867"/>
                  </a:lnTo>
                  <a:lnTo>
                    <a:pt x="2158602" y="15493807"/>
                  </a:lnTo>
                  <a:lnTo>
                    <a:pt x="2153836" y="15484279"/>
                  </a:lnTo>
                  <a:lnTo>
                    <a:pt x="2158602" y="15474747"/>
                  </a:lnTo>
                  <a:lnTo>
                    <a:pt x="2187192" y="15446155"/>
                  </a:lnTo>
                  <a:lnTo>
                    <a:pt x="2196723" y="15427095"/>
                  </a:lnTo>
                  <a:lnTo>
                    <a:pt x="2196723" y="15422331"/>
                  </a:lnTo>
                  <a:lnTo>
                    <a:pt x="2191958" y="15412799"/>
                  </a:lnTo>
                  <a:lnTo>
                    <a:pt x="2187192" y="15398507"/>
                  </a:lnTo>
                  <a:lnTo>
                    <a:pt x="2187192" y="15417567"/>
                  </a:lnTo>
                  <a:lnTo>
                    <a:pt x="2187192" y="15427095"/>
                  </a:lnTo>
                  <a:lnTo>
                    <a:pt x="2182428" y="15436627"/>
                  </a:lnTo>
                  <a:lnTo>
                    <a:pt x="2177662" y="15446155"/>
                  </a:lnTo>
                  <a:lnTo>
                    <a:pt x="2172897" y="15450923"/>
                  </a:lnTo>
                  <a:lnTo>
                    <a:pt x="2106185" y="15522399"/>
                  </a:lnTo>
                  <a:lnTo>
                    <a:pt x="2101420" y="15527163"/>
                  </a:lnTo>
                  <a:lnTo>
                    <a:pt x="2077595" y="15531931"/>
                  </a:lnTo>
                  <a:lnTo>
                    <a:pt x="2063299" y="15536695"/>
                  </a:lnTo>
                  <a:lnTo>
                    <a:pt x="2058534" y="15550991"/>
                  </a:lnTo>
                  <a:lnTo>
                    <a:pt x="2049004" y="15574815"/>
                  </a:lnTo>
                  <a:lnTo>
                    <a:pt x="2034708" y="15627231"/>
                  </a:lnTo>
                  <a:lnTo>
                    <a:pt x="2015648" y="15665351"/>
                  </a:lnTo>
                  <a:lnTo>
                    <a:pt x="2001352" y="15612935"/>
                  </a:lnTo>
                  <a:lnTo>
                    <a:pt x="1977527" y="15570051"/>
                  </a:lnTo>
                  <a:lnTo>
                    <a:pt x="2025178" y="15531931"/>
                  </a:lnTo>
                  <a:lnTo>
                    <a:pt x="2025178" y="15527163"/>
                  </a:lnTo>
                  <a:lnTo>
                    <a:pt x="2020413" y="15503339"/>
                  </a:lnTo>
                  <a:lnTo>
                    <a:pt x="2025178" y="15498575"/>
                  </a:lnTo>
                  <a:lnTo>
                    <a:pt x="2029943" y="15489043"/>
                  </a:lnTo>
                  <a:lnTo>
                    <a:pt x="2039474" y="15474747"/>
                  </a:lnTo>
                  <a:lnTo>
                    <a:pt x="2039474" y="15469983"/>
                  </a:lnTo>
                  <a:lnTo>
                    <a:pt x="2025178" y="15474747"/>
                  </a:lnTo>
                  <a:lnTo>
                    <a:pt x="2001352" y="15508103"/>
                  </a:lnTo>
                  <a:lnTo>
                    <a:pt x="1991822" y="15517635"/>
                  </a:lnTo>
                  <a:lnTo>
                    <a:pt x="1987057" y="15517635"/>
                  </a:lnTo>
                  <a:lnTo>
                    <a:pt x="1987057" y="15503339"/>
                  </a:lnTo>
                  <a:lnTo>
                    <a:pt x="2001352" y="15455687"/>
                  </a:lnTo>
                  <a:lnTo>
                    <a:pt x="2010883" y="15408035"/>
                  </a:lnTo>
                  <a:lnTo>
                    <a:pt x="2015648" y="15393739"/>
                  </a:lnTo>
                  <a:lnTo>
                    <a:pt x="2025178" y="15379447"/>
                  </a:lnTo>
                  <a:lnTo>
                    <a:pt x="2015648" y="15379447"/>
                  </a:lnTo>
                  <a:lnTo>
                    <a:pt x="1972762" y="15403271"/>
                  </a:lnTo>
                  <a:lnTo>
                    <a:pt x="1963232" y="15388975"/>
                  </a:lnTo>
                  <a:lnTo>
                    <a:pt x="1948936" y="15317499"/>
                  </a:lnTo>
                  <a:lnTo>
                    <a:pt x="1929876" y="15293671"/>
                  </a:lnTo>
                  <a:lnTo>
                    <a:pt x="1896520" y="15269847"/>
                  </a:lnTo>
                  <a:lnTo>
                    <a:pt x="1863164" y="15260315"/>
                  </a:lnTo>
                  <a:lnTo>
                    <a:pt x="1853634" y="15241255"/>
                  </a:lnTo>
                  <a:lnTo>
                    <a:pt x="1848868" y="15217431"/>
                  </a:lnTo>
                  <a:lnTo>
                    <a:pt x="1858399" y="15188839"/>
                  </a:lnTo>
                  <a:lnTo>
                    <a:pt x="1872694" y="15174543"/>
                  </a:lnTo>
                  <a:lnTo>
                    <a:pt x="1886990" y="15169779"/>
                  </a:lnTo>
                  <a:lnTo>
                    <a:pt x="1896520" y="15169779"/>
                  </a:lnTo>
                  <a:lnTo>
                    <a:pt x="1896520" y="15184075"/>
                  </a:lnTo>
                  <a:lnTo>
                    <a:pt x="1891755" y="15207899"/>
                  </a:lnTo>
                  <a:lnTo>
                    <a:pt x="1901285" y="15212667"/>
                  </a:lnTo>
                  <a:lnTo>
                    <a:pt x="1948936" y="15246023"/>
                  </a:lnTo>
                  <a:lnTo>
                    <a:pt x="1958466" y="15250787"/>
                  </a:lnTo>
                  <a:lnTo>
                    <a:pt x="1977527" y="15236491"/>
                  </a:lnTo>
                  <a:lnTo>
                    <a:pt x="1987057" y="15236491"/>
                  </a:lnTo>
                  <a:lnTo>
                    <a:pt x="2010883" y="15246023"/>
                  </a:lnTo>
                  <a:lnTo>
                    <a:pt x="2020413" y="15260315"/>
                  </a:lnTo>
                  <a:lnTo>
                    <a:pt x="2044239" y="15284143"/>
                  </a:lnTo>
                  <a:lnTo>
                    <a:pt x="2039474" y="15269847"/>
                  </a:lnTo>
                  <a:lnTo>
                    <a:pt x="2015648" y="15241255"/>
                  </a:lnTo>
                  <a:lnTo>
                    <a:pt x="2001352" y="15231727"/>
                  </a:lnTo>
                  <a:lnTo>
                    <a:pt x="1972762" y="15226959"/>
                  </a:lnTo>
                  <a:lnTo>
                    <a:pt x="1958466" y="15231727"/>
                  </a:lnTo>
                  <a:lnTo>
                    <a:pt x="1953701" y="15231727"/>
                  </a:lnTo>
                  <a:lnTo>
                    <a:pt x="1939406" y="15222195"/>
                  </a:lnTo>
                  <a:lnTo>
                    <a:pt x="1925110" y="15212667"/>
                  </a:lnTo>
                  <a:lnTo>
                    <a:pt x="1915580" y="15184075"/>
                  </a:lnTo>
                  <a:lnTo>
                    <a:pt x="1910815" y="15169779"/>
                  </a:lnTo>
                  <a:lnTo>
                    <a:pt x="1910815" y="15160251"/>
                  </a:lnTo>
                  <a:lnTo>
                    <a:pt x="1915580" y="15150719"/>
                  </a:lnTo>
                  <a:lnTo>
                    <a:pt x="1920345" y="15145955"/>
                  </a:lnTo>
                  <a:lnTo>
                    <a:pt x="1929876" y="15136423"/>
                  </a:lnTo>
                  <a:lnTo>
                    <a:pt x="1944171" y="15136423"/>
                  </a:lnTo>
                  <a:lnTo>
                    <a:pt x="1948936" y="15131659"/>
                  </a:lnTo>
                  <a:lnTo>
                    <a:pt x="1929876" y="15117363"/>
                  </a:lnTo>
                  <a:lnTo>
                    <a:pt x="1920345" y="15117363"/>
                  </a:lnTo>
                  <a:lnTo>
                    <a:pt x="1891755" y="15136423"/>
                  </a:lnTo>
                  <a:lnTo>
                    <a:pt x="1886990" y="15141187"/>
                  </a:lnTo>
                  <a:lnTo>
                    <a:pt x="1882224" y="15136423"/>
                  </a:lnTo>
                  <a:lnTo>
                    <a:pt x="1872694" y="15145955"/>
                  </a:lnTo>
                  <a:lnTo>
                    <a:pt x="1867929" y="15150719"/>
                  </a:lnTo>
                  <a:lnTo>
                    <a:pt x="1844103" y="15188839"/>
                  </a:lnTo>
                  <a:lnTo>
                    <a:pt x="1839338" y="15203135"/>
                  </a:lnTo>
                  <a:lnTo>
                    <a:pt x="1839338" y="15231727"/>
                  </a:lnTo>
                  <a:lnTo>
                    <a:pt x="1834573" y="15246023"/>
                  </a:lnTo>
                  <a:lnTo>
                    <a:pt x="1829808" y="15255551"/>
                  </a:lnTo>
                  <a:lnTo>
                    <a:pt x="1801217" y="15265083"/>
                  </a:lnTo>
                  <a:lnTo>
                    <a:pt x="1786922" y="15288907"/>
                  </a:lnTo>
                  <a:lnTo>
                    <a:pt x="1767862" y="15269847"/>
                  </a:lnTo>
                  <a:lnTo>
                    <a:pt x="1748801" y="15246023"/>
                  </a:lnTo>
                  <a:lnTo>
                    <a:pt x="1734506" y="15212667"/>
                  </a:lnTo>
                  <a:lnTo>
                    <a:pt x="1705916" y="15207899"/>
                  </a:lnTo>
                  <a:lnTo>
                    <a:pt x="1677325" y="15184075"/>
                  </a:lnTo>
                  <a:lnTo>
                    <a:pt x="1667795" y="15165015"/>
                  </a:lnTo>
                  <a:lnTo>
                    <a:pt x="1682090" y="15126895"/>
                  </a:lnTo>
                  <a:lnTo>
                    <a:pt x="1705916" y="15098303"/>
                  </a:lnTo>
                  <a:lnTo>
                    <a:pt x="1710680" y="15064947"/>
                  </a:lnTo>
                  <a:lnTo>
                    <a:pt x="1710680" y="15060183"/>
                  </a:lnTo>
                  <a:lnTo>
                    <a:pt x="1753567" y="15050651"/>
                  </a:lnTo>
                  <a:lnTo>
                    <a:pt x="1777395" y="15031591"/>
                  </a:lnTo>
                  <a:lnTo>
                    <a:pt x="1753567" y="15031591"/>
                  </a:lnTo>
                  <a:lnTo>
                    <a:pt x="1734506" y="15031591"/>
                  </a:lnTo>
                  <a:lnTo>
                    <a:pt x="1705916" y="15045887"/>
                  </a:lnTo>
                  <a:lnTo>
                    <a:pt x="1672562" y="15022059"/>
                  </a:lnTo>
                  <a:lnTo>
                    <a:pt x="1658263" y="14998235"/>
                  </a:lnTo>
                  <a:lnTo>
                    <a:pt x="1653500" y="14979175"/>
                  </a:lnTo>
                  <a:lnTo>
                    <a:pt x="1658263" y="14964879"/>
                  </a:lnTo>
                  <a:lnTo>
                    <a:pt x="1658263" y="14950583"/>
                  </a:lnTo>
                  <a:lnTo>
                    <a:pt x="1663030" y="14926759"/>
                  </a:lnTo>
                  <a:lnTo>
                    <a:pt x="1663030" y="14917227"/>
                  </a:lnTo>
                  <a:lnTo>
                    <a:pt x="1672562" y="14907699"/>
                  </a:lnTo>
                  <a:lnTo>
                    <a:pt x="1686857" y="14898167"/>
                  </a:lnTo>
                  <a:lnTo>
                    <a:pt x="1696385" y="14874340"/>
                  </a:lnTo>
                  <a:lnTo>
                    <a:pt x="1701152" y="14855280"/>
                  </a:lnTo>
                  <a:lnTo>
                    <a:pt x="1724975" y="14802863"/>
                  </a:lnTo>
                  <a:lnTo>
                    <a:pt x="1734506" y="14779038"/>
                  </a:lnTo>
                  <a:lnTo>
                    <a:pt x="1753567" y="14745682"/>
                  </a:lnTo>
                  <a:lnTo>
                    <a:pt x="1786922" y="14698030"/>
                  </a:lnTo>
                  <a:lnTo>
                    <a:pt x="1777395" y="14698030"/>
                  </a:lnTo>
                  <a:lnTo>
                    <a:pt x="1772627" y="14707560"/>
                  </a:lnTo>
                  <a:lnTo>
                    <a:pt x="1767862" y="14702796"/>
                  </a:lnTo>
                  <a:lnTo>
                    <a:pt x="1763096" y="14698030"/>
                  </a:lnTo>
                  <a:lnTo>
                    <a:pt x="1758332" y="14688500"/>
                  </a:lnTo>
                  <a:lnTo>
                    <a:pt x="1753567" y="14669440"/>
                  </a:lnTo>
                  <a:lnTo>
                    <a:pt x="1748801" y="14678970"/>
                  </a:lnTo>
                  <a:lnTo>
                    <a:pt x="1748801" y="14712326"/>
                  </a:lnTo>
                  <a:lnTo>
                    <a:pt x="1744037" y="14736151"/>
                  </a:lnTo>
                  <a:lnTo>
                    <a:pt x="1739272" y="14755212"/>
                  </a:lnTo>
                  <a:lnTo>
                    <a:pt x="1720211" y="14793332"/>
                  </a:lnTo>
                  <a:lnTo>
                    <a:pt x="1710680" y="14807628"/>
                  </a:lnTo>
                  <a:lnTo>
                    <a:pt x="1705916" y="14793332"/>
                  </a:lnTo>
                  <a:lnTo>
                    <a:pt x="1710680" y="14769507"/>
                  </a:lnTo>
                  <a:lnTo>
                    <a:pt x="1720211" y="14750446"/>
                  </a:lnTo>
                  <a:lnTo>
                    <a:pt x="1720211" y="14726621"/>
                  </a:lnTo>
                  <a:lnTo>
                    <a:pt x="1710680" y="14693265"/>
                  </a:lnTo>
                  <a:lnTo>
                    <a:pt x="1705916" y="14669440"/>
                  </a:lnTo>
                  <a:lnTo>
                    <a:pt x="1705916" y="14650379"/>
                  </a:lnTo>
                  <a:lnTo>
                    <a:pt x="1705916" y="14631318"/>
                  </a:lnTo>
                  <a:lnTo>
                    <a:pt x="1705916" y="14617023"/>
                  </a:lnTo>
                  <a:lnTo>
                    <a:pt x="1710680" y="14602728"/>
                  </a:lnTo>
                  <a:lnTo>
                    <a:pt x="1715447" y="14583667"/>
                  </a:lnTo>
                  <a:lnTo>
                    <a:pt x="1715447" y="14578902"/>
                  </a:lnTo>
                  <a:lnTo>
                    <a:pt x="1715447" y="14564606"/>
                  </a:lnTo>
                  <a:lnTo>
                    <a:pt x="1715447" y="14545546"/>
                  </a:lnTo>
                  <a:lnTo>
                    <a:pt x="1710680" y="14531250"/>
                  </a:lnTo>
                  <a:lnTo>
                    <a:pt x="1705916" y="14516956"/>
                  </a:lnTo>
                  <a:lnTo>
                    <a:pt x="1686857" y="14526486"/>
                  </a:lnTo>
                  <a:lnTo>
                    <a:pt x="1653500" y="14512190"/>
                  </a:lnTo>
                  <a:lnTo>
                    <a:pt x="1643968" y="14483600"/>
                  </a:lnTo>
                  <a:lnTo>
                    <a:pt x="1620143" y="14474069"/>
                  </a:lnTo>
                  <a:lnTo>
                    <a:pt x="1601083" y="14455008"/>
                  </a:lnTo>
                  <a:lnTo>
                    <a:pt x="1572492" y="14440714"/>
                  </a:lnTo>
                  <a:lnTo>
                    <a:pt x="1548667" y="14435948"/>
                  </a:lnTo>
                  <a:lnTo>
                    <a:pt x="1529607" y="14421653"/>
                  </a:lnTo>
                  <a:lnTo>
                    <a:pt x="1510545" y="14407358"/>
                  </a:lnTo>
                  <a:lnTo>
                    <a:pt x="1491484" y="14393062"/>
                  </a:lnTo>
                  <a:lnTo>
                    <a:pt x="1472424" y="14378766"/>
                  </a:lnTo>
                  <a:lnTo>
                    <a:pt x="1462894" y="14378766"/>
                  </a:lnTo>
                  <a:lnTo>
                    <a:pt x="1434304" y="14383532"/>
                  </a:lnTo>
                  <a:lnTo>
                    <a:pt x="1434304" y="14354941"/>
                  </a:lnTo>
                  <a:lnTo>
                    <a:pt x="1424773" y="14340646"/>
                  </a:lnTo>
                  <a:lnTo>
                    <a:pt x="1429539" y="14326350"/>
                  </a:lnTo>
                  <a:lnTo>
                    <a:pt x="1410478" y="14316820"/>
                  </a:lnTo>
                  <a:lnTo>
                    <a:pt x="1391416" y="14307290"/>
                  </a:lnTo>
                  <a:lnTo>
                    <a:pt x="1396182" y="14278699"/>
                  </a:lnTo>
                  <a:lnTo>
                    <a:pt x="1400949" y="14259638"/>
                  </a:lnTo>
                  <a:lnTo>
                    <a:pt x="1381888" y="14250108"/>
                  </a:lnTo>
                  <a:lnTo>
                    <a:pt x="1353297" y="14240578"/>
                  </a:lnTo>
                  <a:lnTo>
                    <a:pt x="1362826" y="14226282"/>
                  </a:lnTo>
                  <a:lnTo>
                    <a:pt x="1372356" y="14207222"/>
                  </a:lnTo>
                  <a:lnTo>
                    <a:pt x="1358061" y="14188162"/>
                  </a:lnTo>
                  <a:lnTo>
                    <a:pt x="1339002" y="14150040"/>
                  </a:lnTo>
                  <a:lnTo>
                    <a:pt x="1319941" y="14121450"/>
                  </a:lnTo>
                  <a:lnTo>
                    <a:pt x="1300879" y="14078564"/>
                  </a:lnTo>
                  <a:lnTo>
                    <a:pt x="1281820" y="14040442"/>
                  </a:lnTo>
                  <a:lnTo>
                    <a:pt x="1262760" y="14011852"/>
                  </a:lnTo>
                  <a:lnTo>
                    <a:pt x="1248463" y="13988026"/>
                  </a:lnTo>
                  <a:lnTo>
                    <a:pt x="1234170" y="13949906"/>
                  </a:lnTo>
                  <a:lnTo>
                    <a:pt x="1205578" y="13907019"/>
                  </a:lnTo>
                  <a:lnTo>
                    <a:pt x="1186517" y="13873664"/>
                  </a:lnTo>
                  <a:lnTo>
                    <a:pt x="1186517" y="13854602"/>
                  </a:lnTo>
                  <a:lnTo>
                    <a:pt x="1167456" y="13826012"/>
                  </a:lnTo>
                  <a:lnTo>
                    <a:pt x="1143632" y="13797421"/>
                  </a:lnTo>
                  <a:lnTo>
                    <a:pt x="1124570" y="13764066"/>
                  </a:lnTo>
                  <a:lnTo>
                    <a:pt x="1100747" y="13749770"/>
                  </a:lnTo>
                  <a:lnTo>
                    <a:pt x="1086450" y="13735474"/>
                  </a:lnTo>
                  <a:lnTo>
                    <a:pt x="1057857" y="13721179"/>
                  </a:lnTo>
                  <a:lnTo>
                    <a:pt x="1048327" y="13706884"/>
                  </a:lnTo>
                  <a:lnTo>
                    <a:pt x="1043562" y="13692588"/>
                  </a:lnTo>
                  <a:lnTo>
                    <a:pt x="1038798" y="13687824"/>
                  </a:lnTo>
                  <a:lnTo>
                    <a:pt x="1034032" y="13673528"/>
                  </a:lnTo>
                  <a:lnTo>
                    <a:pt x="1029267" y="13659232"/>
                  </a:lnTo>
                  <a:lnTo>
                    <a:pt x="1024503" y="13649702"/>
                  </a:lnTo>
                  <a:lnTo>
                    <a:pt x="995913" y="13630642"/>
                  </a:lnTo>
                  <a:lnTo>
                    <a:pt x="991148" y="13616346"/>
                  </a:lnTo>
                  <a:lnTo>
                    <a:pt x="967322" y="13602051"/>
                  </a:lnTo>
                  <a:lnTo>
                    <a:pt x="953027" y="13592521"/>
                  </a:lnTo>
                  <a:lnTo>
                    <a:pt x="948263" y="13587756"/>
                  </a:lnTo>
                  <a:lnTo>
                    <a:pt x="929200" y="13540104"/>
                  </a:lnTo>
                  <a:lnTo>
                    <a:pt x="929200" y="13525809"/>
                  </a:lnTo>
                  <a:lnTo>
                    <a:pt x="933968" y="13506748"/>
                  </a:lnTo>
                  <a:lnTo>
                    <a:pt x="929200" y="13497218"/>
                  </a:lnTo>
                  <a:lnTo>
                    <a:pt x="895844" y="13463862"/>
                  </a:lnTo>
                  <a:lnTo>
                    <a:pt x="881548" y="13449567"/>
                  </a:lnTo>
                  <a:lnTo>
                    <a:pt x="862488" y="13430506"/>
                  </a:lnTo>
                  <a:lnTo>
                    <a:pt x="829133" y="13454332"/>
                  </a:lnTo>
                  <a:lnTo>
                    <a:pt x="791010" y="13473392"/>
                  </a:lnTo>
                  <a:lnTo>
                    <a:pt x="767188" y="13482923"/>
                  </a:lnTo>
                  <a:lnTo>
                    <a:pt x="733830" y="13492453"/>
                  </a:lnTo>
                  <a:lnTo>
                    <a:pt x="743360" y="13511514"/>
                  </a:lnTo>
                  <a:lnTo>
                    <a:pt x="738596" y="13530574"/>
                  </a:lnTo>
                  <a:lnTo>
                    <a:pt x="729063" y="13535340"/>
                  </a:lnTo>
                  <a:lnTo>
                    <a:pt x="710005" y="13535340"/>
                  </a:lnTo>
                  <a:lnTo>
                    <a:pt x="710005" y="13592521"/>
                  </a:lnTo>
                  <a:lnTo>
                    <a:pt x="690945" y="13630642"/>
                  </a:lnTo>
                  <a:lnTo>
                    <a:pt x="657588" y="13630642"/>
                  </a:lnTo>
                  <a:lnTo>
                    <a:pt x="633763" y="13644937"/>
                  </a:lnTo>
                  <a:lnTo>
                    <a:pt x="605172" y="13663998"/>
                  </a:lnTo>
                  <a:lnTo>
                    <a:pt x="581346" y="13678293"/>
                  </a:lnTo>
                  <a:lnTo>
                    <a:pt x="557521" y="13706884"/>
                  </a:lnTo>
                  <a:lnTo>
                    <a:pt x="543225" y="13702118"/>
                  </a:lnTo>
                  <a:lnTo>
                    <a:pt x="547988" y="13678293"/>
                  </a:lnTo>
                  <a:lnTo>
                    <a:pt x="543225" y="13640172"/>
                  </a:lnTo>
                  <a:lnTo>
                    <a:pt x="533693" y="13606816"/>
                  </a:lnTo>
                  <a:lnTo>
                    <a:pt x="519398" y="13587756"/>
                  </a:lnTo>
                  <a:lnTo>
                    <a:pt x="490808" y="13563930"/>
                  </a:lnTo>
                  <a:lnTo>
                    <a:pt x="471749" y="13540104"/>
                  </a:lnTo>
                  <a:lnTo>
                    <a:pt x="438392" y="13511514"/>
                  </a:lnTo>
                  <a:lnTo>
                    <a:pt x="419333" y="13487688"/>
                  </a:lnTo>
                  <a:lnTo>
                    <a:pt x="400271" y="13468628"/>
                  </a:lnTo>
                  <a:lnTo>
                    <a:pt x="371681" y="13435272"/>
                  </a:lnTo>
                  <a:lnTo>
                    <a:pt x="362150" y="13397150"/>
                  </a:lnTo>
                  <a:lnTo>
                    <a:pt x="333560" y="13382855"/>
                  </a:lnTo>
                  <a:lnTo>
                    <a:pt x="304967" y="13368560"/>
                  </a:lnTo>
                  <a:lnTo>
                    <a:pt x="285908" y="13339969"/>
                  </a:lnTo>
                  <a:lnTo>
                    <a:pt x="290672" y="13316144"/>
                  </a:lnTo>
                  <a:lnTo>
                    <a:pt x="300203" y="13282788"/>
                  </a:lnTo>
                  <a:lnTo>
                    <a:pt x="300203" y="13258962"/>
                  </a:lnTo>
                  <a:lnTo>
                    <a:pt x="276376" y="13263727"/>
                  </a:lnTo>
                  <a:lnTo>
                    <a:pt x="243022" y="13263727"/>
                  </a:lnTo>
                  <a:lnTo>
                    <a:pt x="209665" y="13263727"/>
                  </a:lnTo>
                  <a:lnTo>
                    <a:pt x="185839" y="13287552"/>
                  </a:lnTo>
                  <a:lnTo>
                    <a:pt x="162016" y="13311378"/>
                  </a:lnTo>
                  <a:lnTo>
                    <a:pt x="128659" y="13292318"/>
                  </a:lnTo>
                  <a:lnTo>
                    <a:pt x="85774" y="13273258"/>
                  </a:lnTo>
                  <a:lnTo>
                    <a:pt x="76241" y="13301848"/>
                  </a:lnTo>
                  <a:lnTo>
                    <a:pt x="0" y="13273258"/>
                  </a:lnTo>
                  <a:lnTo>
                    <a:pt x="0" y="9780420"/>
                  </a:lnTo>
                  <a:lnTo>
                    <a:pt x="23826" y="9789950"/>
                  </a:lnTo>
                  <a:lnTo>
                    <a:pt x="95302" y="9804245"/>
                  </a:lnTo>
                  <a:lnTo>
                    <a:pt x="162016" y="9794715"/>
                  </a:lnTo>
                  <a:lnTo>
                    <a:pt x="285908" y="9842366"/>
                  </a:lnTo>
                  <a:lnTo>
                    <a:pt x="362150" y="9932904"/>
                  </a:lnTo>
                  <a:lnTo>
                    <a:pt x="424097" y="9975790"/>
                  </a:lnTo>
                  <a:lnTo>
                    <a:pt x="447923" y="10004380"/>
                  </a:lnTo>
                  <a:lnTo>
                    <a:pt x="490808" y="10028206"/>
                  </a:lnTo>
                  <a:lnTo>
                    <a:pt x="586111" y="10085388"/>
                  </a:lnTo>
                  <a:lnTo>
                    <a:pt x="614703" y="10090153"/>
                  </a:lnTo>
                  <a:lnTo>
                    <a:pt x="671883" y="10118744"/>
                  </a:lnTo>
                  <a:lnTo>
                    <a:pt x="705240" y="10113978"/>
                  </a:lnTo>
                  <a:lnTo>
                    <a:pt x="762420" y="10118744"/>
                  </a:lnTo>
                  <a:lnTo>
                    <a:pt x="800542" y="10142569"/>
                  </a:lnTo>
                  <a:lnTo>
                    <a:pt x="881548" y="10199751"/>
                  </a:lnTo>
                  <a:lnTo>
                    <a:pt x="895844" y="10204516"/>
                  </a:lnTo>
                  <a:lnTo>
                    <a:pt x="900610" y="10199751"/>
                  </a:lnTo>
                  <a:lnTo>
                    <a:pt x="876783" y="10142569"/>
                  </a:lnTo>
                  <a:lnTo>
                    <a:pt x="872020" y="10137804"/>
                  </a:lnTo>
                  <a:lnTo>
                    <a:pt x="838663" y="10113978"/>
                  </a:lnTo>
                  <a:lnTo>
                    <a:pt x="800542" y="10104448"/>
                  </a:lnTo>
                  <a:lnTo>
                    <a:pt x="800542" y="10099683"/>
                  </a:lnTo>
                  <a:lnTo>
                    <a:pt x="791010" y="10080622"/>
                  </a:lnTo>
                  <a:lnTo>
                    <a:pt x="795778" y="10071092"/>
                  </a:lnTo>
                  <a:lnTo>
                    <a:pt x="800542" y="10066327"/>
                  </a:lnTo>
                  <a:lnTo>
                    <a:pt x="829133" y="10071092"/>
                  </a:lnTo>
                  <a:lnTo>
                    <a:pt x="848193" y="10066327"/>
                  </a:lnTo>
                  <a:lnTo>
                    <a:pt x="848193" y="10056797"/>
                  </a:lnTo>
                  <a:lnTo>
                    <a:pt x="838663" y="10056797"/>
                  </a:lnTo>
                  <a:lnTo>
                    <a:pt x="824368" y="10047267"/>
                  </a:lnTo>
                  <a:lnTo>
                    <a:pt x="805307" y="10032971"/>
                  </a:lnTo>
                  <a:lnTo>
                    <a:pt x="795778" y="10018676"/>
                  </a:lnTo>
                  <a:lnTo>
                    <a:pt x="829133" y="9932904"/>
                  </a:lnTo>
                  <a:lnTo>
                    <a:pt x="843428" y="9942434"/>
                  </a:lnTo>
                  <a:lnTo>
                    <a:pt x="862488" y="9923373"/>
                  </a:lnTo>
                  <a:lnTo>
                    <a:pt x="891080" y="9932904"/>
                  </a:lnTo>
                  <a:lnTo>
                    <a:pt x="900610" y="9928138"/>
                  </a:lnTo>
                  <a:lnTo>
                    <a:pt x="900610" y="9880487"/>
                  </a:lnTo>
                  <a:lnTo>
                    <a:pt x="905375" y="9870957"/>
                  </a:lnTo>
                  <a:lnTo>
                    <a:pt x="914905" y="9861427"/>
                  </a:lnTo>
                  <a:lnTo>
                    <a:pt x="962558" y="9856662"/>
                  </a:lnTo>
                  <a:lnTo>
                    <a:pt x="1014972" y="9861427"/>
                  </a:lnTo>
                  <a:lnTo>
                    <a:pt x="1024503" y="9856662"/>
                  </a:lnTo>
                  <a:lnTo>
                    <a:pt x="1019737" y="9828071"/>
                  </a:lnTo>
                  <a:lnTo>
                    <a:pt x="1014972" y="9818540"/>
                  </a:lnTo>
                  <a:lnTo>
                    <a:pt x="1019737" y="9789950"/>
                  </a:lnTo>
                  <a:lnTo>
                    <a:pt x="1024503" y="9775654"/>
                  </a:lnTo>
                  <a:lnTo>
                    <a:pt x="1029267" y="9766124"/>
                  </a:lnTo>
                  <a:lnTo>
                    <a:pt x="1057857" y="9775654"/>
                  </a:lnTo>
                  <a:lnTo>
                    <a:pt x="1067388" y="9785185"/>
                  </a:lnTo>
                  <a:lnTo>
                    <a:pt x="1072152" y="9809010"/>
                  </a:lnTo>
                  <a:lnTo>
                    <a:pt x="1081685" y="9823306"/>
                  </a:lnTo>
                  <a:lnTo>
                    <a:pt x="1110275" y="9837601"/>
                  </a:lnTo>
                  <a:lnTo>
                    <a:pt x="1115042" y="9847131"/>
                  </a:lnTo>
                  <a:lnTo>
                    <a:pt x="1100747" y="9880487"/>
                  </a:lnTo>
                  <a:lnTo>
                    <a:pt x="1091214" y="9899548"/>
                  </a:lnTo>
                  <a:lnTo>
                    <a:pt x="1067388" y="9947199"/>
                  </a:lnTo>
                  <a:lnTo>
                    <a:pt x="1067388" y="9956729"/>
                  </a:lnTo>
                  <a:lnTo>
                    <a:pt x="1100747" y="9937669"/>
                  </a:lnTo>
                  <a:lnTo>
                    <a:pt x="1143632" y="9909078"/>
                  </a:lnTo>
                  <a:lnTo>
                    <a:pt x="1176986" y="9890017"/>
                  </a:lnTo>
                  <a:lnTo>
                    <a:pt x="1205578" y="9890017"/>
                  </a:lnTo>
                  <a:lnTo>
                    <a:pt x="1224638" y="9880487"/>
                  </a:lnTo>
                  <a:lnTo>
                    <a:pt x="1238933" y="9861427"/>
                  </a:lnTo>
                  <a:lnTo>
                    <a:pt x="1248463" y="9847131"/>
                  </a:lnTo>
                  <a:lnTo>
                    <a:pt x="1262760" y="9789950"/>
                  </a:lnTo>
                  <a:lnTo>
                    <a:pt x="1277055" y="9780420"/>
                  </a:lnTo>
                  <a:lnTo>
                    <a:pt x="1324705" y="9785185"/>
                  </a:lnTo>
                  <a:lnTo>
                    <a:pt x="1339002" y="9785185"/>
                  </a:lnTo>
                  <a:lnTo>
                    <a:pt x="1343766" y="9780420"/>
                  </a:lnTo>
                  <a:lnTo>
                    <a:pt x="1343766" y="9770889"/>
                  </a:lnTo>
                  <a:lnTo>
                    <a:pt x="1334236" y="9761359"/>
                  </a:lnTo>
                  <a:lnTo>
                    <a:pt x="1319941" y="9761359"/>
                  </a:lnTo>
                  <a:lnTo>
                    <a:pt x="1319941" y="9756594"/>
                  </a:lnTo>
                  <a:lnTo>
                    <a:pt x="1324705" y="9747064"/>
                  </a:lnTo>
                  <a:lnTo>
                    <a:pt x="1329471" y="9742298"/>
                  </a:lnTo>
                  <a:lnTo>
                    <a:pt x="1353297" y="9737533"/>
                  </a:lnTo>
                  <a:lnTo>
                    <a:pt x="1372356" y="9756594"/>
                  </a:lnTo>
                  <a:lnTo>
                    <a:pt x="1381888" y="9756594"/>
                  </a:lnTo>
                  <a:lnTo>
                    <a:pt x="1415244" y="9737533"/>
                  </a:lnTo>
                  <a:lnTo>
                    <a:pt x="1472424" y="9675587"/>
                  </a:lnTo>
                  <a:lnTo>
                    <a:pt x="1496250" y="9661291"/>
                  </a:lnTo>
                  <a:lnTo>
                    <a:pt x="1515310" y="9656526"/>
                  </a:lnTo>
                  <a:lnTo>
                    <a:pt x="1529607" y="9666056"/>
                  </a:lnTo>
                  <a:lnTo>
                    <a:pt x="1543900" y="9666056"/>
                  </a:lnTo>
                  <a:lnTo>
                    <a:pt x="1558197" y="9632701"/>
                  </a:lnTo>
                  <a:lnTo>
                    <a:pt x="1562962" y="9613640"/>
                  </a:lnTo>
                  <a:lnTo>
                    <a:pt x="1577257" y="9599345"/>
                  </a:lnTo>
                  <a:lnTo>
                    <a:pt x="1615378" y="9565989"/>
                  </a:lnTo>
                  <a:lnTo>
                    <a:pt x="1639204" y="9556459"/>
                  </a:lnTo>
                  <a:lnTo>
                    <a:pt x="1658263" y="9565989"/>
                  </a:lnTo>
                  <a:lnTo>
                    <a:pt x="1677325" y="9580284"/>
                  </a:lnTo>
                  <a:lnTo>
                    <a:pt x="1691620" y="9585049"/>
                  </a:lnTo>
                  <a:lnTo>
                    <a:pt x="1710680" y="9580284"/>
                  </a:lnTo>
                  <a:lnTo>
                    <a:pt x="1729742" y="9580284"/>
                  </a:lnTo>
                  <a:lnTo>
                    <a:pt x="1734506" y="9575519"/>
                  </a:lnTo>
                  <a:lnTo>
                    <a:pt x="1763096" y="9532633"/>
                  </a:lnTo>
                  <a:lnTo>
                    <a:pt x="1772627" y="9532633"/>
                  </a:lnTo>
                  <a:lnTo>
                    <a:pt x="1777395" y="9546928"/>
                  </a:lnTo>
                  <a:lnTo>
                    <a:pt x="1791687" y="9575519"/>
                  </a:lnTo>
                  <a:lnTo>
                    <a:pt x="1791687" y="9589814"/>
                  </a:lnTo>
                  <a:lnTo>
                    <a:pt x="1772627" y="9623170"/>
                  </a:lnTo>
                  <a:lnTo>
                    <a:pt x="1648733" y="9723238"/>
                  </a:lnTo>
                  <a:lnTo>
                    <a:pt x="1610614" y="9766124"/>
                  </a:lnTo>
                  <a:lnTo>
                    <a:pt x="1591553" y="9780420"/>
                  </a:lnTo>
                  <a:lnTo>
                    <a:pt x="1567729" y="9789950"/>
                  </a:lnTo>
                  <a:lnTo>
                    <a:pt x="1529607" y="9799480"/>
                  </a:lnTo>
                  <a:lnTo>
                    <a:pt x="1515310" y="9804245"/>
                  </a:lnTo>
                  <a:lnTo>
                    <a:pt x="1486720" y="9813775"/>
                  </a:lnTo>
                  <a:lnTo>
                    <a:pt x="1429539" y="9828071"/>
                  </a:lnTo>
                  <a:lnTo>
                    <a:pt x="1415244" y="9832836"/>
                  </a:lnTo>
                  <a:lnTo>
                    <a:pt x="1410478" y="9842366"/>
                  </a:lnTo>
                  <a:lnTo>
                    <a:pt x="1386651" y="9894782"/>
                  </a:lnTo>
                  <a:lnTo>
                    <a:pt x="1377121" y="9909078"/>
                  </a:lnTo>
                  <a:lnTo>
                    <a:pt x="1358061" y="9932904"/>
                  </a:lnTo>
                  <a:lnTo>
                    <a:pt x="1329471" y="9947199"/>
                  </a:lnTo>
                  <a:lnTo>
                    <a:pt x="1300879" y="9956729"/>
                  </a:lnTo>
                  <a:lnTo>
                    <a:pt x="1281820" y="9980555"/>
                  </a:lnTo>
                  <a:lnTo>
                    <a:pt x="1253228" y="10023441"/>
                  </a:lnTo>
                  <a:lnTo>
                    <a:pt x="1238933" y="10056797"/>
                  </a:lnTo>
                  <a:lnTo>
                    <a:pt x="1215107" y="10085388"/>
                  </a:lnTo>
                  <a:lnTo>
                    <a:pt x="1191283" y="10118744"/>
                  </a:lnTo>
                  <a:lnTo>
                    <a:pt x="1186517" y="10137804"/>
                  </a:lnTo>
                  <a:lnTo>
                    <a:pt x="1191283" y="10161630"/>
                  </a:lnTo>
                  <a:lnTo>
                    <a:pt x="1196047" y="10171160"/>
                  </a:lnTo>
                  <a:lnTo>
                    <a:pt x="1219873" y="10180690"/>
                  </a:lnTo>
                  <a:lnTo>
                    <a:pt x="1229403" y="10180690"/>
                  </a:lnTo>
                  <a:lnTo>
                    <a:pt x="1219873" y="10166395"/>
                  </a:lnTo>
                  <a:lnTo>
                    <a:pt x="1200812" y="10147334"/>
                  </a:lnTo>
                  <a:lnTo>
                    <a:pt x="1200812" y="10142569"/>
                  </a:lnTo>
                  <a:lnTo>
                    <a:pt x="1205578" y="10137804"/>
                  </a:lnTo>
                  <a:lnTo>
                    <a:pt x="1296115" y="10152099"/>
                  </a:lnTo>
                  <a:lnTo>
                    <a:pt x="1315174" y="10137804"/>
                  </a:lnTo>
                  <a:lnTo>
                    <a:pt x="1324705" y="10123509"/>
                  </a:lnTo>
                  <a:lnTo>
                    <a:pt x="1324705" y="10118744"/>
                  </a:lnTo>
                  <a:lnTo>
                    <a:pt x="1296115" y="10113978"/>
                  </a:lnTo>
                  <a:lnTo>
                    <a:pt x="1291350" y="10104448"/>
                  </a:lnTo>
                  <a:lnTo>
                    <a:pt x="1286584" y="10080622"/>
                  </a:lnTo>
                  <a:lnTo>
                    <a:pt x="1286584" y="10061562"/>
                  </a:lnTo>
                  <a:lnTo>
                    <a:pt x="1286584" y="10052032"/>
                  </a:lnTo>
                  <a:lnTo>
                    <a:pt x="1296115" y="10032971"/>
                  </a:lnTo>
                  <a:lnTo>
                    <a:pt x="1319941" y="10009146"/>
                  </a:lnTo>
                  <a:lnTo>
                    <a:pt x="1348531" y="9994850"/>
                  </a:lnTo>
                  <a:lnTo>
                    <a:pt x="1372356" y="9980555"/>
                  </a:lnTo>
                  <a:lnTo>
                    <a:pt x="1386651" y="9966259"/>
                  </a:lnTo>
                  <a:lnTo>
                    <a:pt x="1420008" y="9942434"/>
                  </a:lnTo>
                  <a:lnTo>
                    <a:pt x="1434304" y="9923373"/>
                  </a:lnTo>
                  <a:lnTo>
                    <a:pt x="1439068" y="9904313"/>
                  </a:lnTo>
                  <a:lnTo>
                    <a:pt x="1439068" y="9899548"/>
                  </a:lnTo>
                  <a:lnTo>
                    <a:pt x="1434304" y="9894782"/>
                  </a:lnTo>
                  <a:lnTo>
                    <a:pt x="1439068" y="9880487"/>
                  </a:lnTo>
                  <a:lnTo>
                    <a:pt x="1462894" y="9866192"/>
                  </a:lnTo>
                  <a:lnTo>
                    <a:pt x="1477189" y="9866192"/>
                  </a:lnTo>
                  <a:lnTo>
                    <a:pt x="1510545" y="9875722"/>
                  </a:lnTo>
                  <a:lnTo>
                    <a:pt x="1515310" y="9885252"/>
                  </a:lnTo>
                  <a:lnTo>
                    <a:pt x="1510545" y="9909078"/>
                  </a:lnTo>
                  <a:lnTo>
                    <a:pt x="1515310" y="9909078"/>
                  </a:lnTo>
                  <a:lnTo>
                    <a:pt x="1529607" y="9880487"/>
                  </a:lnTo>
                  <a:lnTo>
                    <a:pt x="1539136" y="9870957"/>
                  </a:lnTo>
                  <a:lnTo>
                    <a:pt x="1543900" y="9866192"/>
                  </a:lnTo>
                  <a:lnTo>
                    <a:pt x="1553431" y="9870957"/>
                  </a:lnTo>
                  <a:lnTo>
                    <a:pt x="1562962" y="9880487"/>
                  </a:lnTo>
                  <a:lnTo>
                    <a:pt x="1562962" y="9909078"/>
                  </a:lnTo>
                  <a:lnTo>
                    <a:pt x="1567729" y="9956729"/>
                  </a:lnTo>
                  <a:lnTo>
                    <a:pt x="1567729" y="9975790"/>
                  </a:lnTo>
                  <a:lnTo>
                    <a:pt x="1577257" y="9942434"/>
                  </a:lnTo>
                  <a:lnTo>
                    <a:pt x="1582024" y="9928138"/>
                  </a:lnTo>
                  <a:lnTo>
                    <a:pt x="1615378" y="9856662"/>
                  </a:lnTo>
                  <a:lnTo>
                    <a:pt x="1639204" y="9818540"/>
                  </a:lnTo>
                  <a:lnTo>
                    <a:pt x="1663030" y="9780420"/>
                  </a:lnTo>
                  <a:lnTo>
                    <a:pt x="1701152" y="9751829"/>
                  </a:lnTo>
                  <a:lnTo>
                    <a:pt x="1786922" y="9704178"/>
                  </a:lnTo>
                  <a:lnTo>
                    <a:pt x="1834573" y="9689882"/>
                  </a:lnTo>
                  <a:lnTo>
                    <a:pt x="1858399" y="9675587"/>
                  </a:lnTo>
                  <a:lnTo>
                    <a:pt x="1872694" y="9666056"/>
                  </a:lnTo>
                  <a:lnTo>
                    <a:pt x="1877459" y="9651761"/>
                  </a:lnTo>
                  <a:lnTo>
                    <a:pt x="1891755" y="9637466"/>
                  </a:lnTo>
                  <a:lnTo>
                    <a:pt x="1891755" y="9642231"/>
                  </a:lnTo>
                  <a:lnTo>
                    <a:pt x="1886990" y="9670822"/>
                  </a:lnTo>
                  <a:lnTo>
                    <a:pt x="1886990" y="9680352"/>
                  </a:lnTo>
                  <a:lnTo>
                    <a:pt x="1853634" y="9699412"/>
                  </a:lnTo>
                  <a:lnTo>
                    <a:pt x="1848868" y="9713708"/>
                  </a:lnTo>
                  <a:lnTo>
                    <a:pt x="1853634" y="9737533"/>
                  </a:lnTo>
                  <a:lnTo>
                    <a:pt x="1858399" y="9751829"/>
                  </a:lnTo>
                  <a:lnTo>
                    <a:pt x="1867929" y="9761359"/>
                  </a:lnTo>
                  <a:lnTo>
                    <a:pt x="1877459" y="9751829"/>
                  </a:lnTo>
                  <a:lnTo>
                    <a:pt x="1896520" y="9737533"/>
                  </a:lnTo>
                  <a:lnTo>
                    <a:pt x="1920345" y="9708943"/>
                  </a:lnTo>
                  <a:lnTo>
                    <a:pt x="1972762" y="9642231"/>
                  </a:lnTo>
                  <a:lnTo>
                    <a:pt x="1977527" y="9627935"/>
                  </a:lnTo>
                  <a:lnTo>
                    <a:pt x="1987057" y="9575519"/>
                  </a:lnTo>
                  <a:lnTo>
                    <a:pt x="2015648" y="9551693"/>
                  </a:lnTo>
                  <a:lnTo>
                    <a:pt x="2068064" y="9523103"/>
                  </a:lnTo>
                  <a:lnTo>
                    <a:pt x="2082360" y="9504042"/>
                  </a:lnTo>
                  <a:lnTo>
                    <a:pt x="2034708" y="9489747"/>
                  </a:lnTo>
                  <a:lnTo>
                    <a:pt x="2025178" y="9480216"/>
                  </a:lnTo>
                  <a:lnTo>
                    <a:pt x="2025178" y="9470686"/>
                  </a:lnTo>
                  <a:lnTo>
                    <a:pt x="2034708" y="9456391"/>
                  </a:lnTo>
                  <a:lnTo>
                    <a:pt x="2010883" y="9442096"/>
                  </a:lnTo>
                  <a:lnTo>
                    <a:pt x="2006118" y="9432565"/>
                  </a:lnTo>
                  <a:lnTo>
                    <a:pt x="2006118" y="9399209"/>
                  </a:lnTo>
                  <a:lnTo>
                    <a:pt x="2010883" y="9380149"/>
                  </a:lnTo>
                  <a:lnTo>
                    <a:pt x="2025178" y="9361088"/>
                  </a:lnTo>
                  <a:lnTo>
                    <a:pt x="2034708" y="9356323"/>
                  </a:lnTo>
                  <a:lnTo>
                    <a:pt x="2053769" y="9370619"/>
                  </a:lnTo>
                  <a:lnTo>
                    <a:pt x="2068064" y="9384914"/>
                  </a:lnTo>
                  <a:lnTo>
                    <a:pt x="2130011" y="9451626"/>
                  </a:lnTo>
                  <a:lnTo>
                    <a:pt x="2153836" y="9484982"/>
                  </a:lnTo>
                  <a:lnTo>
                    <a:pt x="2168132" y="9513572"/>
                  </a:lnTo>
                  <a:lnTo>
                    <a:pt x="2201488" y="9594580"/>
                  </a:lnTo>
                  <a:lnTo>
                    <a:pt x="2215783" y="9642231"/>
                  </a:lnTo>
                  <a:lnTo>
                    <a:pt x="2225314" y="9689882"/>
                  </a:lnTo>
                  <a:lnTo>
                    <a:pt x="2239609" y="9723238"/>
                  </a:lnTo>
                  <a:lnTo>
                    <a:pt x="2249139" y="9747064"/>
                  </a:lnTo>
                  <a:lnTo>
                    <a:pt x="2306321" y="9828071"/>
                  </a:lnTo>
                  <a:lnTo>
                    <a:pt x="2334912" y="9861427"/>
                  </a:lnTo>
                  <a:lnTo>
                    <a:pt x="2358737" y="9885252"/>
                  </a:lnTo>
                  <a:lnTo>
                    <a:pt x="2387328" y="9904313"/>
                  </a:lnTo>
                  <a:lnTo>
                    <a:pt x="2420684" y="9913843"/>
                  </a:lnTo>
                  <a:lnTo>
                    <a:pt x="2439744" y="9913843"/>
                  </a:lnTo>
                  <a:lnTo>
                    <a:pt x="2473100" y="9880487"/>
                  </a:lnTo>
                  <a:lnTo>
                    <a:pt x="2473100" y="9856662"/>
                  </a:lnTo>
                  <a:lnTo>
                    <a:pt x="2458805" y="9818540"/>
                  </a:lnTo>
                  <a:lnTo>
                    <a:pt x="2444510" y="9789950"/>
                  </a:lnTo>
                  <a:lnTo>
                    <a:pt x="2444510" y="9775654"/>
                  </a:lnTo>
                  <a:lnTo>
                    <a:pt x="2463570" y="9747064"/>
                  </a:lnTo>
                  <a:lnTo>
                    <a:pt x="2463570" y="9732768"/>
                  </a:lnTo>
                  <a:lnTo>
                    <a:pt x="2468335" y="9699412"/>
                  </a:lnTo>
                  <a:lnTo>
                    <a:pt x="2482630" y="9708943"/>
                  </a:lnTo>
                  <a:lnTo>
                    <a:pt x="2487396" y="9704178"/>
                  </a:lnTo>
                  <a:lnTo>
                    <a:pt x="2496926" y="9694647"/>
                  </a:lnTo>
                  <a:lnTo>
                    <a:pt x="2506456" y="9670822"/>
                  </a:lnTo>
                  <a:lnTo>
                    <a:pt x="2515986" y="9651761"/>
                  </a:lnTo>
                  <a:lnTo>
                    <a:pt x="2535047" y="9637466"/>
                  </a:lnTo>
                  <a:lnTo>
                    <a:pt x="2535047" y="9627935"/>
                  </a:lnTo>
                  <a:lnTo>
                    <a:pt x="2520752" y="9623170"/>
                  </a:lnTo>
                  <a:lnTo>
                    <a:pt x="2511221" y="9623170"/>
                  </a:lnTo>
                  <a:lnTo>
                    <a:pt x="2506456" y="9618405"/>
                  </a:lnTo>
                  <a:lnTo>
                    <a:pt x="2501691" y="9608875"/>
                  </a:lnTo>
                  <a:lnTo>
                    <a:pt x="2506456" y="9604110"/>
                  </a:lnTo>
                  <a:lnTo>
                    <a:pt x="2539812" y="9585049"/>
                  </a:lnTo>
                  <a:lnTo>
                    <a:pt x="2544577" y="9570754"/>
                  </a:lnTo>
                  <a:lnTo>
                    <a:pt x="2558872" y="9556459"/>
                  </a:lnTo>
                  <a:lnTo>
                    <a:pt x="2568403" y="9551693"/>
                  </a:lnTo>
                  <a:lnTo>
                    <a:pt x="2577933" y="9556459"/>
                  </a:lnTo>
                  <a:lnTo>
                    <a:pt x="2587463" y="9570754"/>
                  </a:lnTo>
                  <a:lnTo>
                    <a:pt x="2587463" y="9594580"/>
                  </a:lnTo>
                  <a:lnTo>
                    <a:pt x="2582698" y="9632701"/>
                  </a:lnTo>
                  <a:lnTo>
                    <a:pt x="2582698" y="9661291"/>
                  </a:lnTo>
                  <a:lnTo>
                    <a:pt x="2592228" y="9728003"/>
                  </a:lnTo>
                  <a:lnTo>
                    <a:pt x="2601758" y="9742298"/>
                  </a:lnTo>
                  <a:lnTo>
                    <a:pt x="2635114" y="9766124"/>
                  </a:lnTo>
                  <a:lnTo>
                    <a:pt x="2635114" y="9780420"/>
                  </a:lnTo>
                  <a:lnTo>
                    <a:pt x="2592228" y="9851896"/>
                  </a:lnTo>
                  <a:lnTo>
                    <a:pt x="2587463" y="9870957"/>
                  </a:lnTo>
                  <a:lnTo>
                    <a:pt x="2582698" y="9880487"/>
                  </a:lnTo>
                  <a:lnTo>
                    <a:pt x="2582698" y="9894782"/>
                  </a:lnTo>
                  <a:lnTo>
                    <a:pt x="2592228" y="9904313"/>
                  </a:lnTo>
                  <a:lnTo>
                    <a:pt x="2601758" y="9909078"/>
                  </a:lnTo>
                  <a:lnTo>
                    <a:pt x="2639880" y="9909078"/>
                  </a:lnTo>
                  <a:lnTo>
                    <a:pt x="2649410" y="9904313"/>
                  </a:lnTo>
                  <a:lnTo>
                    <a:pt x="2716122" y="9904313"/>
                  </a:lnTo>
                  <a:lnTo>
                    <a:pt x="2730417" y="9899548"/>
                  </a:lnTo>
                  <a:lnTo>
                    <a:pt x="2739947" y="9885252"/>
                  </a:lnTo>
                  <a:lnTo>
                    <a:pt x="2754243" y="9851896"/>
                  </a:lnTo>
                  <a:lnTo>
                    <a:pt x="2773303" y="9842366"/>
                  </a:lnTo>
                  <a:lnTo>
                    <a:pt x="2778068" y="9828071"/>
                  </a:lnTo>
                  <a:lnTo>
                    <a:pt x="2792364" y="9789950"/>
                  </a:lnTo>
                  <a:lnTo>
                    <a:pt x="2797129" y="9742298"/>
                  </a:lnTo>
                  <a:lnTo>
                    <a:pt x="2801894" y="9723238"/>
                  </a:lnTo>
                  <a:lnTo>
                    <a:pt x="2806659" y="9708943"/>
                  </a:lnTo>
                  <a:lnTo>
                    <a:pt x="2820954" y="9704178"/>
                  </a:lnTo>
                  <a:lnTo>
                    <a:pt x="2844780" y="9708943"/>
                  </a:lnTo>
                  <a:lnTo>
                    <a:pt x="2859076" y="9704178"/>
                  </a:lnTo>
                  <a:lnTo>
                    <a:pt x="2906727" y="9708943"/>
                  </a:lnTo>
                  <a:lnTo>
                    <a:pt x="2959143" y="9708943"/>
                  </a:lnTo>
                  <a:lnTo>
                    <a:pt x="3011560" y="9713708"/>
                  </a:lnTo>
                  <a:lnTo>
                    <a:pt x="3040150" y="9723238"/>
                  </a:lnTo>
                  <a:lnTo>
                    <a:pt x="3073506" y="9742298"/>
                  </a:lnTo>
                  <a:lnTo>
                    <a:pt x="3130688" y="9775654"/>
                  </a:lnTo>
                  <a:lnTo>
                    <a:pt x="3154514" y="9794715"/>
                  </a:lnTo>
                  <a:lnTo>
                    <a:pt x="3235520" y="9885252"/>
                  </a:lnTo>
                  <a:lnTo>
                    <a:pt x="3259346" y="9904313"/>
                  </a:lnTo>
                  <a:lnTo>
                    <a:pt x="3302232" y="9918608"/>
                  </a:lnTo>
                  <a:lnTo>
                    <a:pt x="3459482" y="9956729"/>
                  </a:lnTo>
                  <a:lnTo>
                    <a:pt x="3478542" y="9966259"/>
                  </a:lnTo>
                  <a:lnTo>
                    <a:pt x="3516663" y="10004380"/>
                  </a:lnTo>
                  <a:lnTo>
                    <a:pt x="3545254" y="10028206"/>
                  </a:lnTo>
                  <a:lnTo>
                    <a:pt x="3578610" y="10052032"/>
                  </a:lnTo>
                  <a:lnTo>
                    <a:pt x="3621496" y="10071092"/>
                  </a:lnTo>
                  <a:lnTo>
                    <a:pt x="3702503" y="10099683"/>
                  </a:lnTo>
                  <a:lnTo>
                    <a:pt x="3712033" y="10104448"/>
                  </a:lnTo>
                  <a:lnTo>
                    <a:pt x="3731094" y="10109213"/>
                  </a:lnTo>
                  <a:lnTo>
                    <a:pt x="3745389" y="10104448"/>
                  </a:lnTo>
                  <a:lnTo>
                    <a:pt x="3821631" y="10123509"/>
                  </a:lnTo>
                  <a:lnTo>
                    <a:pt x="3840692" y="10118744"/>
                  </a:lnTo>
                  <a:lnTo>
                    <a:pt x="3854987" y="10123509"/>
                  </a:lnTo>
                  <a:lnTo>
                    <a:pt x="3869282" y="10137804"/>
                  </a:lnTo>
                  <a:lnTo>
                    <a:pt x="3897873" y="10137804"/>
                  </a:lnTo>
                  <a:lnTo>
                    <a:pt x="3897873" y="10133039"/>
                  </a:lnTo>
                  <a:lnTo>
                    <a:pt x="3864518" y="10090153"/>
                  </a:lnTo>
                  <a:lnTo>
                    <a:pt x="3869282" y="10080622"/>
                  </a:lnTo>
                  <a:lnTo>
                    <a:pt x="3878813" y="10080622"/>
                  </a:lnTo>
                  <a:lnTo>
                    <a:pt x="3916934" y="10090153"/>
                  </a:lnTo>
                  <a:lnTo>
                    <a:pt x="3926464" y="10075857"/>
                  </a:lnTo>
                  <a:lnTo>
                    <a:pt x="3935994" y="10075857"/>
                  </a:lnTo>
                  <a:lnTo>
                    <a:pt x="3964585" y="10080622"/>
                  </a:lnTo>
                  <a:lnTo>
                    <a:pt x="3993176" y="10094918"/>
                  </a:lnTo>
                  <a:lnTo>
                    <a:pt x="4026532" y="10118744"/>
                  </a:lnTo>
                  <a:lnTo>
                    <a:pt x="4064653" y="10133039"/>
                  </a:lnTo>
                  <a:lnTo>
                    <a:pt x="4121834" y="10180690"/>
                  </a:lnTo>
                  <a:lnTo>
                    <a:pt x="4155190" y="10218811"/>
                  </a:lnTo>
                  <a:lnTo>
                    <a:pt x="4183781" y="10261697"/>
                  </a:lnTo>
                  <a:lnTo>
                    <a:pt x="4202842" y="10295053"/>
                  </a:lnTo>
                  <a:lnTo>
                    <a:pt x="4202842" y="10314114"/>
                  </a:lnTo>
                  <a:lnTo>
                    <a:pt x="4212372" y="10323644"/>
                  </a:lnTo>
                  <a:lnTo>
                    <a:pt x="4221902" y="10323644"/>
                  </a:lnTo>
                  <a:lnTo>
                    <a:pt x="4221902" y="10328409"/>
                  </a:lnTo>
                  <a:lnTo>
                    <a:pt x="4217137" y="10366530"/>
                  </a:lnTo>
                  <a:lnTo>
                    <a:pt x="4207606" y="10376060"/>
                  </a:lnTo>
                  <a:lnTo>
                    <a:pt x="4202842" y="10385591"/>
                  </a:lnTo>
                  <a:lnTo>
                    <a:pt x="4174251" y="10390356"/>
                  </a:lnTo>
                  <a:lnTo>
                    <a:pt x="4098009" y="10380826"/>
                  </a:lnTo>
                  <a:lnTo>
                    <a:pt x="4083713" y="10414181"/>
                  </a:lnTo>
                  <a:lnTo>
                    <a:pt x="4040827" y="10442772"/>
                  </a:lnTo>
                  <a:lnTo>
                    <a:pt x="4036062" y="10452302"/>
                  </a:lnTo>
                  <a:lnTo>
                    <a:pt x="4031297" y="10461833"/>
                  </a:lnTo>
                  <a:lnTo>
                    <a:pt x="4036062" y="10485658"/>
                  </a:lnTo>
                  <a:lnTo>
                    <a:pt x="4031297" y="10495188"/>
                  </a:lnTo>
                  <a:lnTo>
                    <a:pt x="3997941" y="10528544"/>
                  </a:lnTo>
                  <a:lnTo>
                    <a:pt x="3993176" y="10538075"/>
                  </a:lnTo>
                  <a:lnTo>
                    <a:pt x="4017002" y="10547605"/>
                  </a:lnTo>
                  <a:lnTo>
                    <a:pt x="4040827" y="10571430"/>
                  </a:lnTo>
                  <a:lnTo>
                    <a:pt x="4059888" y="10576196"/>
                  </a:lnTo>
                  <a:lnTo>
                    <a:pt x="4083713" y="10571430"/>
                  </a:lnTo>
                  <a:lnTo>
                    <a:pt x="4117069" y="10580961"/>
                  </a:lnTo>
                  <a:lnTo>
                    <a:pt x="4150425" y="10600021"/>
                  </a:lnTo>
                  <a:lnTo>
                    <a:pt x="4179016" y="10604786"/>
                  </a:lnTo>
                  <a:lnTo>
                    <a:pt x="4193311" y="10604786"/>
                  </a:lnTo>
                  <a:lnTo>
                    <a:pt x="4212372" y="10609552"/>
                  </a:lnTo>
                  <a:lnTo>
                    <a:pt x="4236198" y="10619082"/>
                  </a:lnTo>
                  <a:lnTo>
                    <a:pt x="4269553" y="10619082"/>
                  </a:lnTo>
                  <a:lnTo>
                    <a:pt x="4341030" y="10619082"/>
                  </a:lnTo>
                  <a:lnTo>
                    <a:pt x="4364856" y="10623847"/>
                  </a:lnTo>
                  <a:lnTo>
                    <a:pt x="4393446" y="10628612"/>
                  </a:lnTo>
                  <a:lnTo>
                    <a:pt x="4450628" y="10628612"/>
                  </a:lnTo>
                  <a:lnTo>
                    <a:pt x="4464924" y="10623847"/>
                  </a:lnTo>
                  <a:lnTo>
                    <a:pt x="4479219" y="10609552"/>
                  </a:lnTo>
                  <a:lnTo>
                    <a:pt x="4493514" y="10604786"/>
                  </a:lnTo>
                  <a:lnTo>
                    <a:pt x="4517340" y="10604786"/>
                  </a:lnTo>
                  <a:lnTo>
                    <a:pt x="4574522" y="10595256"/>
                  </a:lnTo>
                  <a:lnTo>
                    <a:pt x="4598347" y="10595256"/>
                  </a:lnTo>
                  <a:lnTo>
                    <a:pt x="4617408" y="10590491"/>
                  </a:lnTo>
                  <a:lnTo>
                    <a:pt x="4641233" y="10571430"/>
                  </a:lnTo>
                  <a:lnTo>
                    <a:pt x="4655528" y="10571430"/>
                  </a:lnTo>
                  <a:lnTo>
                    <a:pt x="4665059" y="10580961"/>
                  </a:lnTo>
                  <a:lnTo>
                    <a:pt x="4674589" y="10585726"/>
                  </a:lnTo>
                  <a:lnTo>
                    <a:pt x="4688884" y="10580961"/>
                  </a:lnTo>
                  <a:lnTo>
                    <a:pt x="4717475" y="10566665"/>
                  </a:lnTo>
                  <a:lnTo>
                    <a:pt x="4784187" y="10514249"/>
                  </a:lnTo>
                  <a:lnTo>
                    <a:pt x="4808012" y="10514249"/>
                  </a:lnTo>
                  <a:lnTo>
                    <a:pt x="4827073" y="10499954"/>
                  </a:lnTo>
                  <a:lnTo>
                    <a:pt x="4831838" y="10499954"/>
                  </a:lnTo>
                  <a:lnTo>
                    <a:pt x="4836604" y="10504719"/>
                  </a:lnTo>
                  <a:lnTo>
                    <a:pt x="4850899" y="10542840"/>
                  </a:lnTo>
                  <a:lnTo>
                    <a:pt x="4860429" y="10547605"/>
                  </a:lnTo>
                  <a:lnTo>
                    <a:pt x="4869960" y="10552370"/>
                  </a:lnTo>
                  <a:lnTo>
                    <a:pt x="4879490" y="10571430"/>
                  </a:lnTo>
                  <a:lnTo>
                    <a:pt x="4893785" y="10600021"/>
                  </a:lnTo>
                  <a:lnTo>
                    <a:pt x="4903315" y="10604786"/>
                  </a:lnTo>
                  <a:lnTo>
                    <a:pt x="4965262" y="10609552"/>
                  </a:lnTo>
                  <a:lnTo>
                    <a:pt x="4984322" y="10614317"/>
                  </a:lnTo>
                  <a:lnTo>
                    <a:pt x="4993852" y="10623847"/>
                  </a:lnTo>
                  <a:lnTo>
                    <a:pt x="4998618" y="10647672"/>
                  </a:lnTo>
                  <a:lnTo>
                    <a:pt x="5003383" y="10690559"/>
                  </a:lnTo>
                  <a:lnTo>
                    <a:pt x="5008148" y="10704854"/>
                  </a:lnTo>
                  <a:lnTo>
                    <a:pt x="5017678" y="10728680"/>
                  </a:lnTo>
                  <a:lnTo>
                    <a:pt x="5022444" y="10733445"/>
                  </a:lnTo>
                  <a:lnTo>
                    <a:pt x="5027208" y="10728680"/>
                  </a:lnTo>
                  <a:lnTo>
                    <a:pt x="5046269" y="10666733"/>
                  </a:lnTo>
                  <a:lnTo>
                    <a:pt x="5051034" y="10657203"/>
                  </a:lnTo>
                  <a:lnTo>
                    <a:pt x="5060564" y="10661968"/>
                  </a:lnTo>
                  <a:lnTo>
                    <a:pt x="5065330" y="10666733"/>
                  </a:lnTo>
                  <a:lnTo>
                    <a:pt x="5079625" y="10709619"/>
                  </a:lnTo>
                  <a:lnTo>
                    <a:pt x="5103450" y="10742975"/>
                  </a:lnTo>
                  <a:lnTo>
                    <a:pt x="5155867" y="10800156"/>
                  </a:lnTo>
                  <a:lnTo>
                    <a:pt x="5165397" y="10823982"/>
                  </a:lnTo>
                  <a:lnTo>
                    <a:pt x="5170162" y="10838278"/>
                  </a:lnTo>
                  <a:lnTo>
                    <a:pt x="5165397" y="10852573"/>
                  </a:lnTo>
                  <a:lnTo>
                    <a:pt x="5155867" y="10866868"/>
                  </a:lnTo>
                  <a:lnTo>
                    <a:pt x="5141572" y="10876398"/>
                  </a:lnTo>
                  <a:lnTo>
                    <a:pt x="5122511" y="10881164"/>
                  </a:lnTo>
                  <a:lnTo>
                    <a:pt x="5103450" y="10881164"/>
                  </a:lnTo>
                  <a:lnTo>
                    <a:pt x="5084390" y="10866868"/>
                  </a:lnTo>
                  <a:lnTo>
                    <a:pt x="5079625" y="10866868"/>
                  </a:lnTo>
                  <a:lnTo>
                    <a:pt x="5084390" y="10876398"/>
                  </a:lnTo>
                  <a:lnTo>
                    <a:pt x="5122511" y="10928815"/>
                  </a:lnTo>
                  <a:lnTo>
                    <a:pt x="5132042" y="10947876"/>
                  </a:lnTo>
                  <a:lnTo>
                    <a:pt x="5141572" y="10957406"/>
                  </a:lnTo>
                  <a:lnTo>
                    <a:pt x="5146336" y="10966936"/>
                  </a:lnTo>
                  <a:lnTo>
                    <a:pt x="5155867" y="10976466"/>
                  </a:lnTo>
                  <a:lnTo>
                    <a:pt x="5160632" y="10990762"/>
                  </a:lnTo>
                  <a:lnTo>
                    <a:pt x="5193988" y="11028883"/>
                  </a:lnTo>
                  <a:lnTo>
                    <a:pt x="5203518" y="11047943"/>
                  </a:lnTo>
                  <a:lnTo>
                    <a:pt x="5236874" y="11105125"/>
                  </a:lnTo>
                  <a:lnTo>
                    <a:pt x="5255934" y="11128950"/>
                  </a:lnTo>
                  <a:lnTo>
                    <a:pt x="5265465" y="11138480"/>
                  </a:lnTo>
                  <a:lnTo>
                    <a:pt x="5270230" y="11143246"/>
                  </a:lnTo>
                  <a:lnTo>
                    <a:pt x="5270230" y="11128950"/>
                  </a:lnTo>
                  <a:lnTo>
                    <a:pt x="5222578" y="11057474"/>
                  </a:lnTo>
                  <a:lnTo>
                    <a:pt x="5198753" y="11009822"/>
                  </a:lnTo>
                  <a:lnTo>
                    <a:pt x="5198753" y="10995527"/>
                  </a:lnTo>
                  <a:lnTo>
                    <a:pt x="5193988" y="10976466"/>
                  </a:lnTo>
                  <a:lnTo>
                    <a:pt x="5193988" y="10919285"/>
                  </a:lnTo>
                  <a:lnTo>
                    <a:pt x="5198753" y="10909754"/>
                  </a:lnTo>
                  <a:lnTo>
                    <a:pt x="5213048" y="10900224"/>
                  </a:lnTo>
                  <a:lnTo>
                    <a:pt x="5232109" y="10928815"/>
                  </a:lnTo>
                  <a:lnTo>
                    <a:pt x="5241639" y="10933580"/>
                  </a:lnTo>
                  <a:lnTo>
                    <a:pt x="5246404" y="10933580"/>
                  </a:lnTo>
                  <a:lnTo>
                    <a:pt x="5246404" y="10924050"/>
                  </a:lnTo>
                  <a:lnTo>
                    <a:pt x="5260700" y="10933580"/>
                  </a:lnTo>
                  <a:lnTo>
                    <a:pt x="5279760" y="10952641"/>
                  </a:lnTo>
                  <a:lnTo>
                    <a:pt x="5289290" y="10952641"/>
                  </a:lnTo>
                  <a:lnTo>
                    <a:pt x="5270230" y="10914520"/>
                  </a:lnTo>
                  <a:lnTo>
                    <a:pt x="5260700" y="10895459"/>
                  </a:lnTo>
                  <a:lnTo>
                    <a:pt x="5255934" y="10881164"/>
                  </a:lnTo>
                  <a:lnTo>
                    <a:pt x="5270230" y="10862103"/>
                  </a:lnTo>
                  <a:lnTo>
                    <a:pt x="5260700" y="10852573"/>
                  </a:lnTo>
                  <a:lnTo>
                    <a:pt x="5236874" y="10823982"/>
                  </a:lnTo>
                  <a:lnTo>
                    <a:pt x="5222578" y="10795392"/>
                  </a:lnTo>
                  <a:lnTo>
                    <a:pt x="5213048" y="10747740"/>
                  </a:lnTo>
                  <a:lnTo>
                    <a:pt x="5208284" y="10728680"/>
                  </a:lnTo>
                  <a:lnTo>
                    <a:pt x="5213048" y="10714384"/>
                  </a:lnTo>
                  <a:lnTo>
                    <a:pt x="5208284" y="10695324"/>
                  </a:lnTo>
                  <a:lnTo>
                    <a:pt x="5193988" y="10666733"/>
                  </a:lnTo>
                  <a:lnTo>
                    <a:pt x="5174928" y="10642907"/>
                  </a:lnTo>
                  <a:lnTo>
                    <a:pt x="5160632" y="10619082"/>
                  </a:lnTo>
                  <a:lnTo>
                    <a:pt x="5160632" y="10604786"/>
                  </a:lnTo>
                  <a:lnTo>
                    <a:pt x="5160632" y="10571430"/>
                  </a:lnTo>
                  <a:lnTo>
                    <a:pt x="5174928" y="10557135"/>
                  </a:lnTo>
                  <a:lnTo>
                    <a:pt x="5193988" y="10533310"/>
                  </a:lnTo>
                  <a:lnTo>
                    <a:pt x="5198753" y="10514249"/>
                  </a:lnTo>
                  <a:lnTo>
                    <a:pt x="5189223" y="10490423"/>
                  </a:lnTo>
                  <a:lnTo>
                    <a:pt x="5189223" y="10480893"/>
                  </a:lnTo>
                  <a:lnTo>
                    <a:pt x="5193988" y="10480893"/>
                  </a:lnTo>
                  <a:lnTo>
                    <a:pt x="5232109" y="10471363"/>
                  </a:lnTo>
                  <a:lnTo>
                    <a:pt x="5241639" y="10476128"/>
                  </a:lnTo>
                  <a:lnTo>
                    <a:pt x="5255934" y="10471363"/>
                  </a:lnTo>
                  <a:lnTo>
                    <a:pt x="5274995" y="10457068"/>
                  </a:lnTo>
                  <a:lnTo>
                    <a:pt x="5294056" y="10452302"/>
                  </a:lnTo>
                  <a:lnTo>
                    <a:pt x="5313116" y="10452302"/>
                  </a:lnTo>
                  <a:lnTo>
                    <a:pt x="5322646" y="10447537"/>
                  </a:lnTo>
                  <a:lnTo>
                    <a:pt x="5336942" y="10442772"/>
                  </a:lnTo>
                  <a:lnTo>
                    <a:pt x="5346472" y="10433242"/>
                  </a:lnTo>
                  <a:lnTo>
                    <a:pt x="5356002" y="10409416"/>
                  </a:lnTo>
                  <a:lnTo>
                    <a:pt x="5365532" y="10404651"/>
                  </a:lnTo>
                  <a:lnTo>
                    <a:pt x="5384593" y="10409416"/>
                  </a:lnTo>
                  <a:lnTo>
                    <a:pt x="5394124" y="10414181"/>
                  </a:lnTo>
                  <a:lnTo>
                    <a:pt x="5403654" y="10409416"/>
                  </a:lnTo>
                  <a:lnTo>
                    <a:pt x="5398888" y="10376060"/>
                  </a:lnTo>
                  <a:lnTo>
                    <a:pt x="5403654" y="10361765"/>
                  </a:lnTo>
                  <a:lnTo>
                    <a:pt x="5427479" y="10333174"/>
                  </a:lnTo>
                  <a:lnTo>
                    <a:pt x="5446540" y="10333174"/>
                  </a:lnTo>
                  <a:lnTo>
                    <a:pt x="5460835" y="10323644"/>
                  </a:lnTo>
                  <a:lnTo>
                    <a:pt x="5479896" y="10309348"/>
                  </a:lnTo>
                  <a:lnTo>
                    <a:pt x="5489426" y="10295053"/>
                  </a:lnTo>
                  <a:lnTo>
                    <a:pt x="5503721" y="10271228"/>
                  </a:lnTo>
                  <a:lnTo>
                    <a:pt x="5508486" y="10247402"/>
                  </a:lnTo>
                  <a:lnTo>
                    <a:pt x="5503721" y="10237872"/>
                  </a:lnTo>
                  <a:lnTo>
                    <a:pt x="5479896" y="10228341"/>
                  </a:lnTo>
                  <a:lnTo>
                    <a:pt x="5465600" y="10233106"/>
                  </a:lnTo>
                  <a:lnTo>
                    <a:pt x="5432244" y="10252167"/>
                  </a:lnTo>
                  <a:lnTo>
                    <a:pt x="5394124" y="10275993"/>
                  </a:lnTo>
                  <a:lnTo>
                    <a:pt x="5384593" y="10299818"/>
                  </a:lnTo>
                  <a:lnTo>
                    <a:pt x="5379828" y="10333174"/>
                  </a:lnTo>
                  <a:lnTo>
                    <a:pt x="5375063" y="10347470"/>
                  </a:lnTo>
                  <a:lnTo>
                    <a:pt x="5346472" y="10333174"/>
                  </a:lnTo>
                  <a:lnTo>
                    <a:pt x="5336942" y="10333174"/>
                  </a:lnTo>
                  <a:lnTo>
                    <a:pt x="5317882" y="10337939"/>
                  </a:lnTo>
                  <a:lnTo>
                    <a:pt x="5303586" y="10352235"/>
                  </a:lnTo>
                  <a:lnTo>
                    <a:pt x="5289290" y="10366530"/>
                  </a:lnTo>
                  <a:lnTo>
                    <a:pt x="5265465" y="10371295"/>
                  </a:lnTo>
                  <a:lnTo>
                    <a:pt x="5232109" y="10361765"/>
                  </a:lnTo>
                  <a:lnTo>
                    <a:pt x="5213048" y="10357000"/>
                  </a:lnTo>
                  <a:lnTo>
                    <a:pt x="5193988" y="10376060"/>
                  </a:lnTo>
                  <a:lnTo>
                    <a:pt x="5198753" y="10390356"/>
                  </a:lnTo>
                  <a:lnTo>
                    <a:pt x="5203518" y="10409416"/>
                  </a:lnTo>
                  <a:lnTo>
                    <a:pt x="5198753" y="10423712"/>
                  </a:lnTo>
                  <a:lnTo>
                    <a:pt x="5151102" y="10428477"/>
                  </a:lnTo>
                  <a:lnTo>
                    <a:pt x="5141572" y="10423712"/>
                  </a:lnTo>
                  <a:lnTo>
                    <a:pt x="5112981" y="10433242"/>
                  </a:lnTo>
                  <a:lnTo>
                    <a:pt x="5103450" y="10433242"/>
                  </a:lnTo>
                  <a:lnTo>
                    <a:pt x="5098686" y="10423712"/>
                  </a:lnTo>
                  <a:lnTo>
                    <a:pt x="5046269" y="10380826"/>
                  </a:lnTo>
                  <a:lnTo>
                    <a:pt x="5041504" y="10371295"/>
                  </a:lnTo>
                  <a:lnTo>
                    <a:pt x="5055800" y="10337939"/>
                  </a:lnTo>
                  <a:lnTo>
                    <a:pt x="5103450" y="10242637"/>
                  </a:lnTo>
                  <a:lnTo>
                    <a:pt x="5108216" y="10237872"/>
                  </a:lnTo>
                  <a:lnTo>
                    <a:pt x="5193988" y="10218811"/>
                  </a:lnTo>
                  <a:lnTo>
                    <a:pt x="5241639" y="10204516"/>
                  </a:lnTo>
                  <a:lnTo>
                    <a:pt x="5336942" y="10152099"/>
                  </a:lnTo>
                  <a:lnTo>
                    <a:pt x="5356002" y="10147334"/>
                  </a:lnTo>
                  <a:lnTo>
                    <a:pt x="5417949" y="10113978"/>
                  </a:lnTo>
                  <a:lnTo>
                    <a:pt x="5441774" y="10104448"/>
                  </a:lnTo>
                  <a:lnTo>
                    <a:pt x="5465600" y="10109213"/>
                  </a:lnTo>
                  <a:lnTo>
                    <a:pt x="5498956" y="10128274"/>
                  </a:lnTo>
                  <a:lnTo>
                    <a:pt x="5518016" y="10142569"/>
                  </a:lnTo>
                  <a:lnTo>
                    <a:pt x="5527547" y="10161630"/>
                  </a:lnTo>
                  <a:lnTo>
                    <a:pt x="5541842" y="10190220"/>
                  </a:lnTo>
                  <a:lnTo>
                    <a:pt x="5551372" y="10252167"/>
                  </a:lnTo>
                  <a:lnTo>
                    <a:pt x="5556138" y="10304583"/>
                  </a:lnTo>
                  <a:lnTo>
                    <a:pt x="5565668" y="10323644"/>
                  </a:lnTo>
                  <a:lnTo>
                    <a:pt x="5594258" y="10357000"/>
                  </a:lnTo>
                  <a:lnTo>
                    <a:pt x="5608554" y="10371295"/>
                  </a:lnTo>
                  <a:lnTo>
                    <a:pt x="5618084" y="10376060"/>
                  </a:lnTo>
                  <a:lnTo>
                    <a:pt x="5627614" y="10366530"/>
                  </a:lnTo>
                  <a:lnTo>
                    <a:pt x="5632380" y="10366530"/>
                  </a:lnTo>
                  <a:lnTo>
                    <a:pt x="5637145" y="10390356"/>
                  </a:lnTo>
                  <a:lnTo>
                    <a:pt x="5641910" y="10395121"/>
                  </a:lnTo>
                  <a:lnTo>
                    <a:pt x="5660970" y="10390356"/>
                  </a:lnTo>
                  <a:lnTo>
                    <a:pt x="5680031" y="10399886"/>
                  </a:lnTo>
                  <a:lnTo>
                    <a:pt x="5680031" y="10404651"/>
                  </a:lnTo>
                  <a:lnTo>
                    <a:pt x="5675266" y="10433242"/>
                  </a:lnTo>
                  <a:lnTo>
                    <a:pt x="5684796" y="10442772"/>
                  </a:lnTo>
                  <a:lnTo>
                    <a:pt x="5703856" y="10471363"/>
                  </a:lnTo>
                  <a:lnTo>
                    <a:pt x="5727682" y="10480893"/>
                  </a:lnTo>
                  <a:lnTo>
                    <a:pt x="5751508" y="10480893"/>
                  </a:lnTo>
                  <a:lnTo>
                    <a:pt x="5794394" y="10480893"/>
                  </a:lnTo>
                  <a:lnTo>
                    <a:pt x="5832515" y="10466598"/>
                  </a:lnTo>
                  <a:lnTo>
                    <a:pt x="5861106" y="10447537"/>
                  </a:lnTo>
                  <a:lnTo>
                    <a:pt x="5884932" y="10471363"/>
                  </a:lnTo>
                  <a:lnTo>
                    <a:pt x="5932582" y="10519014"/>
                  </a:lnTo>
                  <a:lnTo>
                    <a:pt x="5961174" y="10557135"/>
                  </a:lnTo>
                  <a:lnTo>
                    <a:pt x="5984999" y="10571430"/>
                  </a:lnTo>
                  <a:lnTo>
                    <a:pt x="6032650" y="10595256"/>
                  </a:lnTo>
                  <a:lnTo>
                    <a:pt x="6042180" y="10604786"/>
                  </a:lnTo>
                  <a:lnTo>
                    <a:pt x="6061241" y="10604786"/>
                  </a:lnTo>
                  <a:lnTo>
                    <a:pt x="6085067" y="10600021"/>
                  </a:lnTo>
                  <a:lnTo>
                    <a:pt x="6113658" y="10600021"/>
                  </a:lnTo>
                  <a:lnTo>
                    <a:pt x="6142248" y="10614317"/>
                  </a:lnTo>
                  <a:lnTo>
                    <a:pt x="6161309" y="10623847"/>
                  </a:lnTo>
                  <a:lnTo>
                    <a:pt x="6232786" y="10595256"/>
                  </a:lnTo>
                  <a:lnTo>
                    <a:pt x="6242316" y="10590491"/>
                  </a:lnTo>
                  <a:lnTo>
                    <a:pt x="6270907" y="10580961"/>
                  </a:lnTo>
                  <a:lnTo>
                    <a:pt x="6289968" y="10576196"/>
                  </a:lnTo>
                  <a:lnTo>
                    <a:pt x="6309028" y="10576196"/>
                  </a:lnTo>
                  <a:lnTo>
                    <a:pt x="6323323" y="10571430"/>
                  </a:lnTo>
                  <a:lnTo>
                    <a:pt x="6332854" y="10561900"/>
                  </a:lnTo>
                  <a:lnTo>
                    <a:pt x="6370974" y="10561900"/>
                  </a:lnTo>
                  <a:lnTo>
                    <a:pt x="6442452" y="10571430"/>
                  </a:lnTo>
                  <a:lnTo>
                    <a:pt x="6490102" y="10585726"/>
                  </a:lnTo>
                  <a:lnTo>
                    <a:pt x="6513928" y="10600021"/>
                  </a:lnTo>
                  <a:lnTo>
                    <a:pt x="6537754" y="10609552"/>
                  </a:lnTo>
                  <a:lnTo>
                    <a:pt x="6556814" y="10609552"/>
                  </a:lnTo>
                  <a:lnTo>
                    <a:pt x="6575875" y="10609552"/>
                  </a:lnTo>
                  <a:lnTo>
                    <a:pt x="6590170" y="10600021"/>
                  </a:lnTo>
                  <a:lnTo>
                    <a:pt x="6609231" y="10585726"/>
                  </a:lnTo>
                  <a:lnTo>
                    <a:pt x="6647352" y="10580961"/>
                  </a:lnTo>
                  <a:lnTo>
                    <a:pt x="6652117" y="10576196"/>
                  </a:lnTo>
                  <a:lnTo>
                    <a:pt x="6652117" y="10566665"/>
                  </a:lnTo>
                  <a:lnTo>
                    <a:pt x="6642586" y="10557135"/>
                  </a:lnTo>
                  <a:lnTo>
                    <a:pt x="6623526" y="10533310"/>
                  </a:lnTo>
                  <a:lnTo>
                    <a:pt x="6609231" y="10509484"/>
                  </a:lnTo>
                  <a:lnTo>
                    <a:pt x="6604466" y="10495188"/>
                  </a:lnTo>
                  <a:lnTo>
                    <a:pt x="6604466" y="10476128"/>
                  </a:lnTo>
                  <a:lnTo>
                    <a:pt x="6609231" y="10466598"/>
                  </a:lnTo>
                  <a:lnTo>
                    <a:pt x="6618761" y="10466598"/>
                  </a:lnTo>
                  <a:lnTo>
                    <a:pt x="6633056" y="10476128"/>
                  </a:lnTo>
                  <a:lnTo>
                    <a:pt x="6652117" y="10499954"/>
                  </a:lnTo>
                  <a:lnTo>
                    <a:pt x="6709298" y="10590491"/>
                  </a:lnTo>
                  <a:lnTo>
                    <a:pt x="6723594" y="10604786"/>
                  </a:lnTo>
                  <a:lnTo>
                    <a:pt x="6728359" y="10614317"/>
                  </a:lnTo>
                  <a:lnTo>
                    <a:pt x="6780776" y="10647672"/>
                  </a:lnTo>
                  <a:lnTo>
                    <a:pt x="6804601" y="10652438"/>
                  </a:lnTo>
                  <a:lnTo>
                    <a:pt x="6828426" y="10633377"/>
                  </a:lnTo>
                  <a:lnTo>
                    <a:pt x="6842722" y="10619082"/>
                  </a:lnTo>
                  <a:lnTo>
                    <a:pt x="6847487" y="10609552"/>
                  </a:lnTo>
                  <a:lnTo>
                    <a:pt x="6847487" y="10595256"/>
                  </a:lnTo>
                  <a:lnTo>
                    <a:pt x="6852252" y="10580961"/>
                  </a:lnTo>
                  <a:lnTo>
                    <a:pt x="6847487" y="10571430"/>
                  </a:lnTo>
                  <a:lnTo>
                    <a:pt x="6842722" y="10557135"/>
                  </a:lnTo>
                  <a:lnTo>
                    <a:pt x="6823662" y="10538075"/>
                  </a:lnTo>
                  <a:lnTo>
                    <a:pt x="6790306" y="10509484"/>
                  </a:lnTo>
                  <a:lnTo>
                    <a:pt x="6756950" y="10504719"/>
                  </a:lnTo>
                  <a:lnTo>
                    <a:pt x="6733124" y="10514249"/>
                  </a:lnTo>
                  <a:lnTo>
                    <a:pt x="6699768" y="10533310"/>
                  </a:lnTo>
                  <a:lnTo>
                    <a:pt x="6685473" y="10528544"/>
                  </a:lnTo>
                  <a:lnTo>
                    <a:pt x="6647352" y="10466598"/>
                  </a:lnTo>
                  <a:lnTo>
                    <a:pt x="6637822" y="10447537"/>
                  </a:lnTo>
                  <a:lnTo>
                    <a:pt x="6637822" y="10442772"/>
                  </a:lnTo>
                  <a:lnTo>
                    <a:pt x="6656882" y="10447537"/>
                  </a:lnTo>
                  <a:lnTo>
                    <a:pt x="6656882" y="10442772"/>
                  </a:lnTo>
                  <a:lnTo>
                    <a:pt x="6647352" y="10409416"/>
                  </a:lnTo>
                  <a:lnTo>
                    <a:pt x="6642586" y="10399886"/>
                  </a:lnTo>
                  <a:lnTo>
                    <a:pt x="6618761" y="10357000"/>
                  </a:lnTo>
                  <a:lnTo>
                    <a:pt x="6613996" y="10342704"/>
                  </a:lnTo>
                  <a:lnTo>
                    <a:pt x="6628292" y="10337939"/>
                  </a:lnTo>
                  <a:lnTo>
                    <a:pt x="6637822" y="10333174"/>
                  </a:lnTo>
                  <a:lnTo>
                    <a:pt x="6642586" y="10333174"/>
                  </a:lnTo>
                  <a:lnTo>
                    <a:pt x="6685473" y="10361765"/>
                  </a:lnTo>
                  <a:lnTo>
                    <a:pt x="6704534" y="10352235"/>
                  </a:lnTo>
                  <a:lnTo>
                    <a:pt x="6747420" y="10333174"/>
                  </a:lnTo>
                  <a:lnTo>
                    <a:pt x="6733124" y="10304583"/>
                  </a:lnTo>
                  <a:lnTo>
                    <a:pt x="6728359" y="10280758"/>
                  </a:lnTo>
                  <a:lnTo>
                    <a:pt x="6728359" y="10275993"/>
                  </a:lnTo>
                  <a:lnTo>
                    <a:pt x="6742654" y="10271228"/>
                  </a:lnTo>
                  <a:lnTo>
                    <a:pt x="6776010" y="10290288"/>
                  </a:lnTo>
                  <a:lnTo>
                    <a:pt x="6790306" y="10295053"/>
                  </a:lnTo>
                  <a:lnTo>
                    <a:pt x="6799836" y="10285523"/>
                  </a:lnTo>
                  <a:lnTo>
                    <a:pt x="6809366" y="10285523"/>
                  </a:lnTo>
                  <a:lnTo>
                    <a:pt x="6823662" y="10295053"/>
                  </a:lnTo>
                  <a:lnTo>
                    <a:pt x="6833192" y="10304583"/>
                  </a:lnTo>
                  <a:lnTo>
                    <a:pt x="6852252" y="10337939"/>
                  </a:lnTo>
                  <a:lnTo>
                    <a:pt x="6861782" y="10357000"/>
                  </a:lnTo>
                  <a:lnTo>
                    <a:pt x="6876078" y="10385591"/>
                  </a:lnTo>
                  <a:lnTo>
                    <a:pt x="6876078" y="10390356"/>
                  </a:lnTo>
                  <a:lnTo>
                    <a:pt x="6933260" y="10390356"/>
                  </a:lnTo>
                  <a:lnTo>
                    <a:pt x="6961850" y="10366530"/>
                  </a:lnTo>
                  <a:lnTo>
                    <a:pt x="6961850" y="10376060"/>
                  </a:lnTo>
                  <a:lnTo>
                    <a:pt x="6957085" y="10395121"/>
                  </a:lnTo>
                  <a:lnTo>
                    <a:pt x="6918964" y="10471363"/>
                  </a:lnTo>
                  <a:lnTo>
                    <a:pt x="6918964" y="10480893"/>
                  </a:lnTo>
                  <a:lnTo>
                    <a:pt x="6938024" y="10476128"/>
                  </a:lnTo>
                  <a:lnTo>
                    <a:pt x="6947555" y="10471363"/>
                  </a:lnTo>
                  <a:lnTo>
                    <a:pt x="6952320" y="10461833"/>
                  </a:lnTo>
                  <a:lnTo>
                    <a:pt x="6957085" y="10438007"/>
                  </a:lnTo>
                  <a:lnTo>
                    <a:pt x="6961850" y="10433242"/>
                  </a:lnTo>
                  <a:lnTo>
                    <a:pt x="7019032" y="10395121"/>
                  </a:lnTo>
                  <a:lnTo>
                    <a:pt x="7033327" y="10390356"/>
                  </a:lnTo>
                  <a:lnTo>
                    <a:pt x="7023797" y="10428477"/>
                  </a:lnTo>
                  <a:lnTo>
                    <a:pt x="7004736" y="10566665"/>
                  </a:lnTo>
                  <a:lnTo>
                    <a:pt x="6999972" y="10614317"/>
                  </a:lnTo>
                  <a:lnTo>
                    <a:pt x="6995206" y="10628612"/>
                  </a:lnTo>
                  <a:lnTo>
                    <a:pt x="6971380" y="10681028"/>
                  </a:lnTo>
                  <a:lnTo>
                    <a:pt x="6971380" y="10700089"/>
                  </a:lnTo>
                  <a:lnTo>
                    <a:pt x="6995206" y="10742975"/>
                  </a:lnTo>
                  <a:lnTo>
                    <a:pt x="6999972" y="10752505"/>
                  </a:lnTo>
                  <a:lnTo>
                    <a:pt x="7004736" y="10785861"/>
                  </a:lnTo>
                  <a:lnTo>
                    <a:pt x="7009502" y="10795392"/>
                  </a:lnTo>
                  <a:lnTo>
                    <a:pt x="7028562" y="10795392"/>
                  </a:lnTo>
                  <a:lnTo>
                    <a:pt x="7047622" y="10785861"/>
                  </a:lnTo>
                  <a:lnTo>
                    <a:pt x="7076214" y="10776331"/>
                  </a:lnTo>
                  <a:lnTo>
                    <a:pt x="7076214" y="10785861"/>
                  </a:lnTo>
                  <a:lnTo>
                    <a:pt x="7061918" y="10823982"/>
                  </a:lnTo>
                  <a:lnTo>
                    <a:pt x="7066683" y="10828747"/>
                  </a:lnTo>
                  <a:lnTo>
                    <a:pt x="7090508" y="10819217"/>
                  </a:lnTo>
                  <a:lnTo>
                    <a:pt x="7100039" y="10819217"/>
                  </a:lnTo>
                  <a:lnTo>
                    <a:pt x="7104804" y="10819217"/>
                  </a:lnTo>
                  <a:lnTo>
                    <a:pt x="7119100" y="10843043"/>
                  </a:lnTo>
                  <a:lnTo>
                    <a:pt x="7123864" y="10857338"/>
                  </a:lnTo>
                  <a:lnTo>
                    <a:pt x="7123864" y="10881164"/>
                  </a:lnTo>
                  <a:lnTo>
                    <a:pt x="7119100" y="10900224"/>
                  </a:lnTo>
                  <a:lnTo>
                    <a:pt x="7114334" y="10909754"/>
                  </a:lnTo>
                  <a:lnTo>
                    <a:pt x="7109569" y="10909754"/>
                  </a:lnTo>
                  <a:lnTo>
                    <a:pt x="7100039" y="10914520"/>
                  </a:lnTo>
                  <a:lnTo>
                    <a:pt x="7090508" y="10914520"/>
                  </a:lnTo>
                  <a:lnTo>
                    <a:pt x="7066683" y="10919285"/>
                  </a:lnTo>
                  <a:lnTo>
                    <a:pt x="7052388" y="10914520"/>
                  </a:lnTo>
                  <a:lnTo>
                    <a:pt x="7038092" y="10900224"/>
                  </a:lnTo>
                  <a:lnTo>
                    <a:pt x="7028562" y="10895459"/>
                  </a:lnTo>
                  <a:lnTo>
                    <a:pt x="7014266" y="10904990"/>
                  </a:lnTo>
                  <a:lnTo>
                    <a:pt x="6995206" y="10904990"/>
                  </a:lnTo>
                  <a:lnTo>
                    <a:pt x="6976146" y="10876398"/>
                  </a:lnTo>
                  <a:lnTo>
                    <a:pt x="6966616" y="10876398"/>
                  </a:lnTo>
                  <a:lnTo>
                    <a:pt x="6961850" y="10881164"/>
                  </a:lnTo>
                  <a:lnTo>
                    <a:pt x="6961850" y="10890694"/>
                  </a:lnTo>
                  <a:lnTo>
                    <a:pt x="6976146" y="10909754"/>
                  </a:lnTo>
                  <a:lnTo>
                    <a:pt x="7047622" y="11005057"/>
                  </a:lnTo>
                  <a:lnTo>
                    <a:pt x="7057153" y="11028883"/>
                  </a:lnTo>
                  <a:lnTo>
                    <a:pt x="7061918" y="11057474"/>
                  </a:lnTo>
                  <a:lnTo>
                    <a:pt x="7071448" y="11024118"/>
                  </a:lnTo>
                  <a:lnTo>
                    <a:pt x="7066683" y="11014587"/>
                  </a:lnTo>
                  <a:lnTo>
                    <a:pt x="7028562" y="10957406"/>
                  </a:lnTo>
                  <a:lnTo>
                    <a:pt x="7023797" y="10933580"/>
                  </a:lnTo>
                  <a:lnTo>
                    <a:pt x="7023797" y="10928815"/>
                  </a:lnTo>
                  <a:lnTo>
                    <a:pt x="7033327" y="10924050"/>
                  </a:lnTo>
                  <a:lnTo>
                    <a:pt x="7090508" y="10938345"/>
                  </a:lnTo>
                  <a:lnTo>
                    <a:pt x="7109569" y="10933580"/>
                  </a:lnTo>
                  <a:lnTo>
                    <a:pt x="7123864" y="10924050"/>
                  </a:lnTo>
                  <a:lnTo>
                    <a:pt x="7133395" y="10909754"/>
                  </a:lnTo>
                  <a:lnTo>
                    <a:pt x="7138160" y="10843043"/>
                  </a:lnTo>
                  <a:lnTo>
                    <a:pt x="7147690" y="10800156"/>
                  </a:lnTo>
                  <a:lnTo>
                    <a:pt x="7138160" y="10757270"/>
                  </a:lnTo>
                  <a:lnTo>
                    <a:pt x="7123864" y="10695324"/>
                  </a:lnTo>
                  <a:lnTo>
                    <a:pt x="7114334" y="10657203"/>
                  </a:lnTo>
                  <a:lnTo>
                    <a:pt x="7085744" y="10619082"/>
                  </a:lnTo>
                  <a:lnTo>
                    <a:pt x="7085744" y="10604786"/>
                  </a:lnTo>
                  <a:lnTo>
                    <a:pt x="7114334" y="10485658"/>
                  </a:lnTo>
                  <a:lnTo>
                    <a:pt x="7119100" y="10476128"/>
                  </a:lnTo>
                  <a:lnTo>
                    <a:pt x="7128630" y="10471363"/>
                  </a:lnTo>
                  <a:lnTo>
                    <a:pt x="7147690" y="10471363"/>
                  </a:lnTo>
                  <a:lnTo>
                    <a:pt x="7166750" y="10461833"/>
                  </a:lnTo>
                  <a:lnTo>
                    <a:pt x="7195342" y="10476128"/>
                  </a:lnTo>
                  <a:lnTo>
                    <a:pt x="7209637" y="10480893"/>
                  </a:lnTo>
                  <a:lnTo>
                    <a:pt x="7228698" y="10466598"/>
                  </a:lnTo>
                  <a:lnTo>
                    <a:pt x="7266818" y="10414181"/>
                  </a:lnTo>
                  <a:lnTo>
                    <a:pt x="7281114" y="10399886"/>
                  </a:lnTo>
                  <a:lnTo>
                    <a:pt x="7300174" y="10371295"/>
                  </a:lnTo>
                  <a:lnTo>
                    <a:pt x="7328765" y="10328409"/>
                  </a:lnTo>
                  <a:lnTo>
                    <a:pt x="7352590" y="10295053"/>
                  </a:lnTo>
                  <a:lnTo>
                    <a:pt x="7395477" y="10266462"/>
                  </a:lnTo>
                  <a:lnTo>
                    <a:pt x="7424068" y="10242637"/>
                  </a:lnTo>
                  <a:lnTo>
                    <a:pt x="7428832" y="10233106"/>
                  </a:lnTo>
                  <a:lnTo>
                    <a:pt x="7405007" y="10233106"/>
                  </a:lnTo>
                  <a:lnTo>
                    <a:pt x="7395477" y="10228341"/>
                  </a:lnTo>
                  <a:lnTo>
                    <a:pt x="7390712" y="10204516"/>
                  </a:lnTo>
                  <a:lnTo>
                    <a:pt x="7395477" y="10161630"/>
                  </a:lnTo>
                  <a:lnTo>
                    <a:pt x="7395477" y="10137804"/>
                  </a:lnTo>
                  <a:lnTo>
                    <a:pt x="7390712" y="10118744"/>
                  </a:lnTo>
                  <a:lnTo>
                    <a:pt x="7385946" y="10099683"/>
                  </a:lnTo>
                  <a:lnTo>
                    <a:pt x="7376416" y="10080622"/>
                  </a:lnTo>
                  <a:lnTo>
                    <a:pt x="7371651" y="10071092"/>
                  </a:lnTo>
                  <a:lnTo>
                    <a:pt x="7366886" y="10071092"/>
                  </a:lnTo>
                  <a:lnTo>
                    <a:pt x="7362121" y="10071092"/>
                  </a:lnTo>
                  <a:lnTo>
                    <a:pt x="7357356" y="10075857"/>
                  </a:lnTo>
                  <a:lnTo>
                    <a:pt x="7352590" y="10118744"/>
                  </a:lnTo>
                  <a:lnTo>
                    <a:pt x="7343060" y="10147334"/>
                  </a:lnTo>
                  <a:lnTo>
                    <a:pt x="7333530" y="10161630"/>
                  </a:lnTo>
                  <a:lnTo>
                    <a:pt x="7309704" y="10171160"/>
                  </a:lnTo>
                  <a:lnTo>
                    <a:pt x="7266818" y="10180690"/>
                  </a:lnTo>
                  <a:lnTo>
                    <a:pt x="7252523" y="10166395"/>
                  </a:lnTo>
                  <a:lnTo>
                    <a:pt x="7247758" y="10156864"/>
                  </a:lnTo>
                  <a:lnTo>
                    <a:pt x="7252523" y="10109213"/>
                  </a:lnTo>
                  <a:lnTo>
                    <a:pt x="7266818" y="10090153"/>
                  </a:lnTo>
                  <a:lnTo>
                    <a:pt x="7304940" y="10047267"/>
                  </a:lnTo>
                  <a:lnTo>
                    <a:pt x="7328765" y="10013911"/>
                  </a:lnTo>
                  <a:lnTo>
                    <a:pt x="7328765" y="10009146"/>
                  </a:lnTo>
                  <a:lnTo>
                    <a:pt x="7309704" y="10009146"/>
                  </a:lnTo>
                  <a:lnTo>
                    <a:pt x="7300174" y="10004380"/>
                  </a:lnTo>
                  <a:lnTo>
                    <a:pt x="7295409" y="9961494"/>
                  </a:lnTo>
                  <a:lnTo>
                    <a:pt x="7300174" y="9947199"/>
                  </a:lnTo>
                  <a:lnTo>
                    <a:pt x="7300174" y="9932904"/>
                  </a:lnTo>
                  <a:lnTo>
                    <a:pt x="7319235" y="9918608"/>
                  </a:lnTo>
                  <a:lnTo>
                    <a:pt x="7366886" y="9904313"/>
                  </a:lnTo>
                  <a:lnTo>
                    <a:pt x="7400242" y="9885252"/>
                  </a:lnTo>
                  <a:lnTo>
                    <a:pt x="7405007" y="9894782"/>
                  </a:lnTo>
                  <a:lnTo>
                    <a:pt x="7371651" y="9947199"/>
                  </a:lnTo>
                  <a:lnTo>
                    <a:pt x="7371651" y="9956729"/>
                  </a:lnTo>
                  <a:lnTo>
                    <a:pt x="7381182" y="9971025"/>
                  </a:lnTo>
                  <a:lnTo>
                    <a:pt x="7409772" y="9937669"/>
                  </a:lnTo>
                  <a:lnTo>
                    <a:pt x="7428832" y="9913843"/>
                  </a:lnTo>
                  <a:lnTo>
                    <a:pt x="7433598" y="9904313"/>
                  </a:lnTo>
                  <a:lnTo>
                    <a:pt x="7414538" y="9899548"/>
                  </a:lnTo>
                  <a:lnTo>
                    <a:pt x="7414538" y="9890017"/>
                  </a:lnTo>
                  <a:lnTo>
                    <a:pt x="7414538" y="9870957"/>
                  </a:lnTo>
                  <a:lnTo>
                    <a:pt x="7414538" y="9856662"/>
                  </a:lnTo>
                  <a:lnTo>
                    <a:pt x="7395477" y="9842366"/>
                  </a:lnTo>
                  <a:lnTo>
                    <a:pt x="7376416" y="9851896"/>
                  </a:lnTo>
                  <a:lnTo>
                    <a:pt x="7357356" y="9866192"/>
                  </a:lnTo>
                  <a:lnTo>
                    <a:pt x="7338296" y="9870957"/>
                  </a:lnTo>
                  <a:lnTo>
                    <a:pt x="7314470" y="9870957"/>
                  </a:lnTo>
                  <a:lnTo>
                    <a:pt x="7300174" y="9870957"/>
                  </a:lnTo>
                  <a:lnTo>
                    <a:pt x="7290644" y="9861427"/>
                  </a:lnTo>
                  <a:lnTo>
                    <a:pt x="7276348" y="9842366"/>
                  </a:lnTo>
                  <a:lnTo>
                    <a:pt x="7262054" y="9813775"/>
                  </a:lnTo>
                  <a:lnTo>
                    <a:pt x="7242993" y="9780420"/>
                  </a:lnTo>
                  <a:lnTo>
                    <a:pt x="7238228" y="9780420"/>
                  </a:lnTo>
                  <a:lnTo>
                    <a:pt x="7233462" y="9780420"/>
                  </a:lnTo>
                  <a:lnTo>
                    <a:pt x="7219167" y="9809010"/>
                  </a:lnTo>
                  <a:lnTo>
                    <a:pt x="7214402" y="9813775"/>
                  </a:lnTo>
                  <a:lnTo>
                    <a:pt x="7138160" y="9775654"/>
                  </a:lnTo>
                  <a:lnTo>
                    <a:pt x="7109569" y="9751829"/>
                  </a:lnTo>
                  <a:lnTo>
                    <a:pt x="7095274" y="9732768"/>
                  </a:lnTo>
                  <a:lnTo>
                    <a:pt x="7076214" y="9723238"/>
                  </a:lnTo>
                  <a:lnTo>
                    <a:pt x="7052388" y="9723238"/>
                  </a:lnTo>
                  <a:lnTo>
                    <a:pt x="7033327" y="9713708"/>
                  </a:lnTo>
                  <a:lnTo>
                    <a:pt x="7023797" y="9699412"/>
                  </a:lnTo>
                  <a:lnTo>
                    <a:pt x="7009502" y="9680352"/>
                  </a:lnTo>
                  <a:lnTo>
                    <a:pt x="7004736" y="9656526"/>
                  </a:lnTo>
                  <a:lnTo>
                    <a:pt x="6985676" y="9627935"/>
                  </a:lnTo>
                  <a:lnTo>
                    <a:pt x="6952320" y="9565989"/>
                  </a:lnTo>
                  <a:lnTo>
                    <a:pt x="6942790" y="9527868"/>
                  </a:lnTo>
                  <a:lnTo>
                    <a:pt x="6942790" y="9513572"/>
                  </a:lnTo>
                  <a:lnTo>
                    <a:pt x="6942790" y="9470686"/>
                  </a:lnTo>
                  <a:lnTo>
                    <a:pt x="6976146" y="9403974"/>
                  </a:lnTo>
                  <a:lnTo>
                    <a:pt x="6985676" y="9384914"/>
                  </a:lnTo>
                  <a:lnTo>
                    <a:pt x="6995206" y="9370619"/>
                  </a:lnTo>
                  <a:lnTo>
                    <a:pt x="7009502" y="9361088"/>
                  </a:lnTo>
                  <a:lnTo>
                    <a:pt x="7023797" y="9361088"/>
                  </a:lnTo>
                  <a:lnTo>
                    <a:pt x="7047622" y="9370619"/>
                  </a:lnTo>
                  <a:lnTo>
                    <a:pt x="7033327" y="9346793"/>
                  </a:lnTo>
                  <a:lnTo>
                    <a:pt x="7033327" y="9337263"/>
                  </a:lnTo>
                  <a:lnTo>
                    <a:pt x="7047622" y="9299142"/>
                  </a:lnTo>
                  <a:lnTo>
                    <a:pt x="7042858" y="9299142"/>
                  </a:lnTo>
                  <a:lnTo>
                    <a:pt x="6999972" y="9327732"/>
                  </a:lnTo>
                  <a:lnTo>
                    <a:pt x="6990441" y="9327732"/>
                  </a:lnTo>
                  <a:lnTo>
                    <a:pt x="6976146" y="9308672"/>
                  </a:lnTo>
                  <a:lnTo>
                    <a:pt x="6942790" y="9246725"/>
                  </a:lnTo>
                  <a:lnTo>
                    <a:pt x="6942790" y="9208604"/>
                  </a:lnTo>
                  <a:lnTo>
                    <a:pt x="6952320" y="9156188"/>
                  </a:lnTo>
                  <a:lnTo>
                    <a:pt x="6957085" y="9122832"/>
                  </a:lnTo>
                  <a:lnTo>
                    <a:pt x="6947555" y="9094241"/>
                  </a:lnTo>
                  <a:lnTo>
                    <a:pt x="6952320" y="9084711"/>
                  </a:lnTo>
                  <a:lnTo>
                    <a:pt x="6961850" y="9079946"/>
                  </a:lnTo>
                  <a:lnTo>
                    <a:pt x="6961850" y="9070416"/>
                  </a:lnTo>
                  <a:lnTo>
                    <a:pt x="6961850" y="9041825"/>
                  </a:lnTo>
                  <a:lnTo>
                    <a:pt x="6966616" y="9022764"/>
                  </a:lnTo>
                  <a:lnTo>
                    <a:pt x="6985676" y="8989408"/>
                  </a:lnTo>
                  <a:lnTo>
                    <a:pt x="7009502" y="8960818"/>
                  </a:lnTo>
                  <a:lnTo>
                    <a:pt x="7019032" y="8956053"/>
                  </a:lnTo>
                  <a:lnTo>
                    <a:pt x="7033327" y="8956053"/>
                  </a:lnTo>
                  <a:lnTo>
                    <a:pt x="7042858" y="8965583"/>
                  </a:lnTo>
                  <a:lnTo>
                    <a:pt x="7052388" y="8979878"/>
                  </a:lnTo>
                  <a:lnTo>
                    <a:pt x="7071448" y="8998939"/>
                  </a:lnTo>
                  <a:lnTo>
                    <a:pt x="7085744" y="8998939"/>
                  </a:lnTo>
                  <a:lnTo>
                    <a:pt x="7100039" y="8994174"/>
                  </a:lnTo>
                  <a:lnTo>
                    <a:pt x="7114334" y="8932227"/>
                  </a:lnTo>
                  <a:lnTo>
                    <a:pt x="7123864" y="8917932"/>
                  </a:lnTo>
                  <a:lnTo>
                    <a:pt x="7114334" y="8908401"/>
                  </a:lnTo>
                  <a:lnTo>
                    <a:pt x="7080978" y="8908401"/>
                  </a:lnTo>
                  <a:lnTo>
                    <a:pt x="7066683" y="8903636"/>
                  </a:lnTo>
                  <a:lnTo>
                    <a:pt x="7057153" y="8898871"/>
                  </a:lnTo>
                  <a:lnTo>
                    <a:pt x="7052388" y="8875045"/>
                  </a:lnTo>
                  <a:lnTo>
                    <a:pt x="7057153" y="8865515"/>
                  </a:lnTo>
                  <a:lnTo>
                    <a:pt x="7090508" y="8822629"/>
                  </a:lnTo>
                  <a:lnTo>
                    <a:pt x="7104804" y="8774978"/>
                  </a:lnTo>
                  <a:lnTo>
                    <a:pt x="7152456" y="8713031"/>
                  </a:lnTo>
                  <a:lnTo>
                    <a:pt x="7204872" y="8679675"/>
                  </a:lnTo>
                  <a:close/>
                  <a:moveTo>
                    <a:pt x="6895138" y="8043531"/>
                  </a:moveTo>
                  <a:lnTo>
                    <a:pt x="6904668" y="8057826"/>
                  </a:lnTo>
                  <a:lnTo>
                    <a:pt x="6909433" y="8072122"/>
                  </a:lnTo>
                  <a:lnTo>
                    <a:pt x="6914198" y="8076887"/>
                  </a:lnTo>
                  <a:lnTo>
                    <a:pt x="6928494" y="8091182"/>
                  </a:lnTo>
                  <a:lnTo>
                    <a:pt x="6938024" y="8105478"/>
                  </a:lnTo>
                  <a:lnTo>
                    <a:pt x="6938024" y="8124538"/>
                  </a:lnTo>
                  <a:lnTo>
                    <a:pt x="6933259" y="8148364"/>
                  </a:lnTo>
                  <a:lnTo>
                    <a:pt x="6923729" y="8167424"/>
                  </a:lnTo>
                  <a:lnTo>
                    <a:pt x="6918964" y="8172190"/>
                  </a:lnTo>
                  <a:lnTo>
                    <a:pt x="6909433" y="8181720"/>
                  </a:lnTo>
                  <a:lnTo>
                    <a:pt x="6880843" y="8186485"/>
                  </a:lnTo>
                  <a:lnTo>
                    <a:pt x="6861782" y="8148364"/>
                  </a:lnTo>
                  <a:lnTo>
                    <a:pt x="6857017" y="8115008"/>
                  </a:lnTo>
                  <a:lnTo>
                    <a:pt x="6861782" y="8091182"/>
                  </a:lnTo>
                  <a:lnTo>
                    <a:pt x="6861782" y="8076887"/>
                  </a:lnTo>
                  <a:lnTo>
                    <a:pt x="6871312" y="8062592"/>
                  </a:lnTo>
                  <a:close/>
                  <a:moveTo>
                    <a:pt x="4117069" y="7943463"/>
                  </a:moveTo>
                  <a:lnTo>
                    <a:pt x="4169485" y="7967289"/>
                  </a:lnTo>
                  <a:lnTo>
                    <a:pt x="4183781" y="7986349"/>
                  </a:lnTo>
                  <a:lnTo>
                    <a:pt x="4193311" y="8000645"/>
                  </a:lnTo>
                  <a:lnTo>
                    <a:pt x="4198076" y="8019705"/>
                  </a:lnTo>
                  <a:lnTo>
                    <a:pt x="4202841" y="8048296"/>
                  </a:lnTo>
                  <a:lnTo>
                    <a:pt x="4212372" y="8105477"/>
                  </a:lnTo>
                  <a:lnTo>
                    <a:pt x="4212372" y="8138833"/>
                  </a:lnTo>
                  <a:lnTo>
                    <a:pt x="4207606" y="8167424"/>
                  </a:lnTo>
                  <a:lnTo>
                    <a:pt x="4207606" y="8196015"/>
                  </a:lnTo>
                  <a:lnTo>
                    <a:pt x="4202841" y="8219840"/>
                  </a:lnTo>
                  <a:lnTo>
                    <a:pt x="4193311" y="8248431"/>
                  </a:lnTo>
                  <a:lnTo>
                    <a:pt x="4174250" y="8281787"/>
                  </a:lnTo>
                  <a:lnTo>
                    <a:pt x="4140895" y="8343734"/>
                  </a:lnTo>
                  <a:lnTo>
                    <a:pt x="4136130" y="8362794"/>
                  </a:lnTo>
                  <a:lnTo>
                    <a:pt x="4145660" y="8367559"/>
                  </a:lnTo>
                  <a:lnTo>
                    <a:pt x="4164720" y="8362794"/>
                  </a:lnTo>
                  <a:lnTo>
                    <a:pt x="4193311" y="8343734"/>
                  </a:lnTo>
                  <a:lnTo>
                    <a:pt x="4226667" y="8329438"/>
                  </a:lnTo>
                  <a:lnTo>
                    <a:pt x="4264788" y="8319908"/>
                  </a:lnTo>
                  <a:lnTo>
                    <a:pt x="4279083" y="8334204"/>
                  </a:lnTo>
                  <a:lnTo>
                    <a:pt x="4283848" y="8329438"/>
                  </a:lnTo>
                  <a:lnTo>
                    <a:pt x="4298144" y="8305613"/>
                  </a:lnTo>
                  <a:lnTo>
                    <a:pt x="4298144" y="8291317"/>
                  </a:lnTo>
                  <a:lnTo>
                    <a:pt x="4298144" y="8277022"/>
                  </a:lnTo>
                  <a:lnTo>
                    <a:pt x="4298144" y="8238901"/>
                  </a:lnTo>
                  <a:lnTo>
                    <a:pt x="4302909" y="8219840"/>
                  </a:lnTo>
                  <a:lnTo>
                    <a:pt x="4331500" y="8172189"/>
                  </a:lnTo>
                  <a:lnTo>
                    <a:pt x="4341030" y="8157894"/>
                  </a:lnTo>
                  <a:lnTo>
                    <a:pt x="4364856" y="8148364"/>
                  </a:lnTo>
                  <a:lnTo>
                    <a:pt x="4412507" y="8153129"/>
                  </a:lnTo>
                  <a:lnTo>
                    <a:pt x="4460158" y="8181719"/>
                  </a:lnTo>
                  <a:lnTo>
                    <a:pt x="4522105" y="8205545"/>
                  </a:lnTo>
                  <a:lnTo>
                    <a:pt x="4617407" y="8272257"/>
                  </a:lnTo>
                  <a:lnTo>
                    <a:pt x="4645998" y="8296083"/>
                  </a:lnTo>
                  <a:lnTo>
                    <a:pt x="4645998" y="8319908"/>
                  </a:lnTo>
                  <a:lnTo>
                    <a:pt x="4631703" y="8372325"/>
                  </a:lnTo>
                  <a:lnTo>
                    <a:pt x="4593582" y="8443802"/>
                  </a:lnTo>
                  <a:lnTo>
                    <a:pt x="4560226" y="8467627"/>
                  </a:lnTo>
                  <a:lnTo>
                    <a:pt x="4545930" y="8481923"/>
                  </a:lnTo>
                  <a:lnTo>
                    <a:pt x="4569756" y="8496218"/>
                  </a:lnTo>
                  <a:lnTo>
                    <a:pt x="4579286" y="8510513"/>
                  </a:lnTo>
                  <a:lnTo>
                    <a:pt x="4603112" y="8486688"/>
                  </a:lnTo>
                  <a:lnTo>
                    <a:pt x="4617407" y="8458097"/>
                  </a:lnTo>
                  <a:lnTo>
                    <a:pt x="4636468" y="8434271"/>
                  </a:lnTo>
                  <a:lnTo>
                    <a:pt x="4645998" y="8429506"/>
                  </a:lnTo>
                  <a:lnTo>
                    <a:pt x="4645998" y="8434271"/>
                  </a:lnTo>
                  <a:lnTo>
                    <a:pt x="4645998" y="8448567"/>
                  </a:lnTo>
                  <a:lnTo>
                    <a:pt x="4641233" y="8458097"/>
                  </a:lnTo>
                  <a:lnTo>
                    <a:pt x="4641233" y="8472392"/>
                  </a:lnTo>
                  <a:lnTo>
                    <a:pt x="4645998" y="8477157"/>
                  </a:lnTo>
                  <a:lnTo>
                    <a:pt x="4660293" y="8481923"/>
                  </a:lnTo>
                  <a:lnTo>
                    <a:pt x="4665058" y="8477157"/>
                  </a:lnTo>
                  <a:lnTo>
                    <a:pt x="4693649" y="8443802"/>
                  </a:lnTo>
                  <a:lnTo>
                    <a:pt x="4722240" y="8391385"/>
                  </a:lnTo>
                  <a:lnTo>
                    <a:pt x="4765126" y="8358029"/>
                  </a:lnTo>
                  <a:lnTo>
                    <a:pt x="4774656" y="8338969"/>
                  </a:lnTo>
                  <a:lnTo>
                    <a:pt x="4812778" y="8324673"/>
                  </a:lnTo>
                  <a:lnTo>
                    <a:pt x="4812778" y="8315143"/>
                  </a:lnTo>
                  <a:lnTo>
                    <a:pt x="4812778" y="8272257"/>
                  </a:lnTo>
                  <a:lnTo>
                    <a:pt x="4798482" y="8257962"/>
                  </a:lnTo>
                  <a:lnTo>
                    <a:pt x="4755596" y="8219840"/>
                  </a:lnTo>
                  <a:lnTo>
                    <a:pt x="4736536" y="8176954"/>
                  </a:lnTo>
                  <a:lnTo>
                    <a:pt x="4741301" y="8143598"/>
                  </a:lnTo>
                  <a:lnTo>
                    <a:pt x="4765126" y="8148364"/>
                  </a:lnTo>
                  <a:lnTo>
                    <a:pt x="4827073" y="8148364"/>
                  </a:lnTo>
                  <a:lnTo>
                    <a:pt x="4841368" y="8153129"/>
                  </a:lnTo>
                  <a:lnTo>
                    <a:pt x="4903315" y="8210310"/>
                  </a:lnTo>
                  <a:lnTo>
                    <a:pt x="4927140" y="8248431"/>
                  </a:lnTo>
                  <a:lnTo>
                    <a:pt x="4941436" y="8262727"/>
                  </a:lnTo>
                  <a:lnTo>
                    <a:pt x="4979557" y="8291317"/>
                  </a:lnTo>
                  <a:lnTo>
                    <a:pt x="4993852" y="8310378"/>
                  </a:lnTo>
                  <a:lnTo>
                    <a:pt x="5003382" y="8319908"/>
                  </a:lnTo>
                  <a:lnTo>
                    <a:pt x="5003382" y="8329438"/>
                  </a:lnTo>
                  <a:lnTo>
                    <a:pt x="5003382" y="8338969"/>
                  </a:lnTo>
                  <a:lnTo>
                    <a:pt x="4998617" y="8358029"/>
                  </a:lnTo>
                  <a:lnTo>
                    <a:pt x="5008148" y="8367559"/>
                  </a:lnTo>
                  <a:lnTo>
                    <a:pt x="5031973" y="8372325"/>
                  </a:lnTo>
                  <a:lnTo>
                    <a:pt x="5036738" y="8381855"/>
                  </a:lnTo>
                  <a:lnTo>
                    <a:pt x="5046269" y="8410446"/>
                  </a:lnTo>
                  <a:lnTo>
                    <a:pt x="5055799" y="8453332"/>
                  </a:lnTo>
                  <a:lnTo>
                    <a:pt x="5065329" y="8500983"/>
                  </a:lnTo>
                  <a:lnTo>
                    <a:pt x="5084390" y="8596286"/>
                  </a:lnTo>
                  <a:lnTo>
                    <a:pt x="5112980" y="8713031"/>
                  </a:lnTo>
                  <a:lnTo>
                    <a:pt x="5122511" y="8789273"/>
                  </a:lnTo>
                  <a:lnTo>
                    <a:pt x="5127276" y="8803569"/>
                  </a:lnTo>
                  <a:lnTo>
                    <a:pt x="5132041" y="8808334"/>
                  </a:lnTo>
                  <a:lnTo>
                    <a:pt x="5151102" y="8822629"/>
                  </a:lnTo>
                  <a:lnTo>
                    <a:pt x="5165397" y="8841690"/>
                  </a:lnTo>
                  <a:lnTo>
                    <a:pt x="5184457" y="8851220"/>
                  </a:lnTo>
                  <a:lnTo>
                    <a:pt x="5189222" y="8846455"/>
                  </a:lnTo>
                  <a:lnTo>
                    <a:pt x="5193988" y="8832160"/>
                  </a:lnTo>
                  <a:lnTo>
                    <a:pt x="5203518" y="8803569"/>
                  </a:lnTo>
                  <a:lnTo>
                    <a:pt x="5255934" y="8755917"/>
                  </a:lnTo>
                  <a:lnTo>
                    <a:pt x="5260699" y="8746387"/>
                  </a:lnTo>
                  <a:lnTo>
                    <a:pt x="5255934" y="8732092"/>
                  </a:lnTo>
                  <a:lnTo>
                    <a:pt x="5251169" y="8727327"/>
                  </a:lnTo>
                  <a:lnTo>
                    <a:pt x="5251169" y="8722562"/>
                  </a:lnTo>
                  <a:lnTo>
                    <a:pt x="5265464" y="8717796"/>
                  </a:lnTo>
                  <a:lnTo>
                    <a:pt x="5227344" y="8651085"/>
                  </a:lnTo>
                  <a:lnTo>
                    <a:pt x="5203518" y="8591520"/>
                  </a:lnTo>
                  <a:lnTo>
                    <a:pt x="5189222" y="8510513"/>
                  </a:lnTo>
                  <a:lnTo>
                    <a:pt x="5184457" y="8486688"/>
                  </a:lnTo>
                  <a:lnTo>
                    <a:pt x="5184457" y="8439036"/>
                  </a:lnTo>
                  <a:lnTo>
                    <a:pt x="5179692" y="8424741"/>
                  </a:lnTo>
                  <a:lnTo>
                    <a:pt x="5170162" y="8415211"/>
                  </a:lnTo>
                  <a:lnTo>
                    <a:pt x="5165397" y="8396150"/>
                  </a:lnTo>
                  <a:lnTo>
                    <a:pt x="5165397" y="8381855"/>
                  </a:lnTo>
                  <a:lnTo>
                    <a:pt x="5165397" y="8362794"/>
                  </a:lnTo>
                  <a:lnTo>
                    <a:pt x="5155867" y="8329438"/>
                  </a:lnTo>
                  <a:lnTo>
                    <a:pt x="5117746" y="8091182"/>
                  </a:lnTo>
                  <a:lnTo>
                    <a:pt x="5117746" y="8067356"/>
                  </a:lnTo>
                  <a:lnTo>
                    <a:pt x="5122511" y="8048296"/>
                  </a:lnTo>
                  <a:lnTo>
                    <a:pt x="5136806" y="8038766"/>
                  </a:lnTo>
                  <a:lnTo>
                    <a:pt x="5160632" y="8034000"/>
                  </a:lnTo>
                  <a:lnTo>
                    <a:pt x="5165397" y="8029235"/>
                  </a:lnTo>
                  <a:lnTo>
                    <a:pt x="5155867" y="8019705"/>
                  </a:lnTo>
                  <a:lnTo>
                    <a:pt x="5141571" y="7995879"/>
                  </a:lnTo>
                  <a:lnTo>
                    <a:pt x="5141571" y="7981584"/>
                  </a:lnTo>
                  <a:lnTo>
                    <a:pt x="5151102" y="7957758"/>
                  </a:lnTo>
                  <a:lnTo>
                    <a:pt x="5198753" y="7967289"/>
                  </a:lnTo>
                  <a:lnTo>
                    <a:pt x="5236874" y="7991114"/>
                  </a:lnTo>
                  <a:lnTo>
                    <a:pt x="5294055" y="8043531"/>
                  </a:lnTo>
                  <a:lnTo>
                    <a:pt x="5298820" y="8038766"/>
                  </a:lnTo>
                  <a:lnTo>
                    <a:pt x="5308351" y="8014940"/>
                  </a:lnTo>
                  <a:lnTo>
                    <a:pt x="5317881" y="7995879"/>
                  </a:lnTo>
                  <a:lnTo>
                    <a:pt x="5336941" y="8000645"/>
                  </a:lnTo>
                  <a:lnTo>
                    <a:pt x="5394123" y="8038766"/>
                  </a:lnTo>
                  <a:lnTo>
                    <a:pt x="5456070" y="8105477"/>
                  </a:lnTo>
                  <a:lnTo>
                    <a:pt x="5498956" y="8138833"/>
                  </a:lnTo>
                  <a:lnTo>
                    <a:pt x="5527546" y="8186485"/>
                  </a:lnTo>
                  <a:lnTo>
                    <a:pt x="5546607" y="8224606"/>
                  </a:lnTo>
                  <a:lnTo>
                    <a:pt x="5560902" y="8257962"/>
                  </a:lnTo>
                  <a:lnTo>
                    <a:pt x="5560902" y="8272257"/>
                  </a:lnTo>
                  <a:lnTo>
                    <a:pt x="5556137" y="8281787"/>
                  </a:lnTo>
                  <a:lnTo>
                    <a:pt x="5560902" y="8300848"/>
                  </a:lnTo>
                  <a:lnTo>
                    <a:pt x="5570433" y="8319908"/>
                  </a:lnTo>
                  <a:lnTo>
                    <a:pt x="5575198" y="8338969"/>
                  </a:lnTo>
                  <a:lnTo>
                    <a:pt x="5575198" y="8377090"/>
                  </a:lnTo>
                  <a:lnTo>
                    <a:pt x="5584728" y="8429506"/>
                  </a:lnTo>
                  <a:lnTo>
                    <a:pt x="5589493" y="8453332"/>
                  </a:lnTo>
                  <a:lnTo>
                    <a:pt x="5641910" y="8674910"/>
                  </a:lnTo>
                  <a:lnTo>
                    <a:pt x="5651440" y="8713031"/>
                  </a:lnTo>
                  <a:lnTo>
                    <a:pt x="5660970" y="8727327"/>
                  </a:lnTo>
                  <a:lnTo>
                    <a:pt x="5699091" y="8813099"/>
                  </a:lnTo>
                  <a:lnTo>
                    <a:pt x="5718152" y="8875046"/>
                  </a:lnTo>
                  <a:lnTo>
                    <a:pt x="5722917" y="8913167"/>
                  </a:lnTo>
                  <a:lnTo>
                    <a:pt x="5722917" y="8927462"/>
                  </a:lnTo>
                  <a:lnTo>
                    <a:pt x="5727682" y="8946523"/>
                  </a:lnTo>
                  <a:lnTo>
                    <a:pt x="5722917" y="8970348"/>
                  </a:lnTo>
                  <a:lnTo>
                    <a:pt x="5722917" y="8994174"/>
                  </a:lnTo>
                  <a:lnTo>
                    <a:pt x="5713386" y="9008469"/>
                  </a:lnTo>
                  <a:lnTo>
                    <a:pt x="5703856" y="9037060"/>
                  </a:lnTo>
                  <a:lnTo>
                    <a:pt x="5694326" y="9089476"/>
                  </a:lnTo>
                  <a:lnTo>
                    <a:pt x="5689561" y="9103772"/>
                  </a:lnTo>
                  <a:lnTo>
                    <a:pt x="5699091" y="9122832"/>
                  </a:lnTo>
                  <a:lnTo>
                    <a:pt x="5756272" y="9189544"/>
                  </a:lnTo>
                  <a:lnTo>
                    <a:pt x="5789628" y="9270551"/>
                  </a:lnTo>
                  <a:lnTo>
                    <a:pt x="5803924" y="9280082"/>
                  </a:lnTo>
                  <a:lnTo>
                    <a:pt x="5846810" y="9332498"/>
                  </a:lnTo>
                  <a:lnTo>
                    <a:pt x="5889696" y="9356324"/>
                  </a:lnTo>
                  <a:lnTo>
                    <a:pt x="5903992" y="9370619"/>
                  </a:lnTo>
                  <a:lnTo>
                    <a:pt x="5918287" y="9389680"/>
                  </a:lnTo>
                  <a:lnTo>
                    <a:pt x="5923052" y="9389680"/>
                  </a:lnTo>
                  <a:lnTo>
                    <a:pt x="5932582" y="9384914"/>
                  </a:lnTo>
                  <a:lnTo>
                    <a:pt x="5937348" y="9380149"/>
                  </a:lnTo>
                  <a:lnTo>
                    <a:pt x="5937348" y="9370619"/>
                  </a:lnTo>
                  <a:lnTo>
                    <a:pt x="5923052" y="9337263"/>
                  </a:lnTo>
                  <a:lnTo>
                    <a:pt x="5923052" y="9322968"/>
                  </a:lnTo>
                  <a:lnTo>
                    <a:pt x="5927817" y="9318203"/>
                  </a:lnTo>
                  <a:lnTo>
                    <a:pt x="5975468" y="9380149"/>
                  </a:lnTo>
                  <a:lnTo>
                    <a:pt x="5999294" y="9408740"/>
                  </a:lnTo>
                  <a:lnTo>
                    <a:pt x="6037415" y="9432566"/>
                  </a:lnTo>
                  <a:lnTo>
                    <a:pt x="6094596" y="9494512"/>
                  </a:lnTo>
                  <a:lnTo>
                    <a:pt x="6104127" y="9494512"/>
                  </a:lnTo>
                  <a:lnTo>
                    <a:pt x="6132718" y="9489747"/>
                  </a:lnTo>
                  <a:lnTo>
                    <a:pt x="6142248" y="9494512"/>
                  </a:lnTo>
                  <a:lnTo>
                    <a:pt x="6147013" y="9499278"/>
                  </a:lnTo>
                  <a:lnTo>
                    <a:pt x="6151778" y="9508808"/>
                  </a:lnTo>
                  <a:lnTo>
                    <a:pt x="6151778" y="9542164"/>
                  </a:lnTo>
                  <a:lnTo>
                    <a:pt x="6161308" y="9561224"/>
                  </a:lnTo>
                  <a:lnTo>
                    <a:pt x="6213725" y="9551694"/>
                  </a:lnTo>
                  <a:lnTo>
                    <a:pt x="6223255" y="9556459"/>
                  </a:lnTo>
                  <a:lnTo>
                    <a:pt x="6232785" y="9561224"/>
                  </a:lnTo>
                  <a:lnTo>
                    <a:pt x="6242316" y="9570754"/>
                  </a:lnTo>
                  <a:lnTo>
                    <a:pt x="6251846" y="9608876"/>
                  </a:lnTo>
                  <a:lnTo>
                    <a:pt x="6261376" y="9685118"/>
                  </a:lnTo>
                  <a:lnTo>
                    <a:pt x="6261376" y="9708943"/>
                  </a:lnTo>
                  <a:lnTo>
                    <a:pt x="6261376" y="9751829"/>
                  </a:lnTo>
                  <a:lnTo>
                    <a:pt x="6251846" y="9766125"/>
                  </a:lnTo>
                  <a:lnTo>
                    <a:pt x="6242316" y="9775655"/>
                  </a:lnTo>
                  <a:lnTo>
                    <a:pt x="6213725" y="9766125"/>
                  </a:lnTo>
                  <a:lnTo>
                    <a:pt x="6194664" y="9756594"/>
                  </a:lnTo>
                  <a:lnTo>
                    <a:pt x="6185134" y="9737534"/>
                  </a:lnTo>
                  <a:lnTo>
                    <a:pt x="6175604" y="9699413"/>
                  </a:lnTo>
                  <a:lnTo>
                    <a:pt x="6175604" y="9689883"/>
                  </a:lnTo>
                  <a:lnTo>
                    <a:pt x="6170838" y="9699413"/>
                  </a:lnTo>
                  <a:lnTo>
                    <a:pt x="6161308" y="9732769"/>
                  </a:lnTo>
                  <a:lnTo>
                    <a:pt x="6156543" y="9751829"/>
                  </a:lnTo>
                  <a:lnTo>
                    <a:pt x="6147013" y="9761360"/>
                  </a:lnTo>
                  <a:lnTo>
                    <a:pt x="6132718" y="9756594"/>
                  </a:lnTo>
                  <a:lnTo>
                    <a:pt x="6113657" y="9742299"/>
                  </a:lnTo>
                  <a:lnTo>
                    <a:pt x="6075536" y="9704178"/>
                  </a:lnTo>
                  <a:lnTo>
                    <a:pt x="6066006" y="9694648"/>
                  </a:lnTo>
                  <a:lnTo>
                    <a:pt x="6056476" y="9694648"/>
                  </a:lnTo>
                  <a:lnTo>
                    <a:pt x="6037415" y="9708943"/>
                  </a:lnTo>
                  <a:lnTo>
                    <a:pt x="6013590" y="9732769"/>
                  </a:lnTo>
                  <a:lnTo>
                    <a:pt x="5999294" y="9751829"/>
                  </a:lnTo>
                  <a:lnTo>
                    <a:pt x="6004059" y="9761360"/>
                  </a:lnTo>
                  <a:lnTo>
                    <a:pt x="6008824" y="9775655"/>
                  </a:lnTo>
                  <a:lnTo>
                    <a:pt x="6008824" y="9794716"/>
                  </a:lnTo>
                  <a:lnTo>
                    <a:pt x="6008824" y="9809011"/>
                  </a:lnTo>
                  <a:lnTo>
                    <a:pt x="6004059" y="9818541"/>
                  </a:lnTo>
                  <a:lnTo>
                    <a:pt x="5994529" y="9828071"/>
                  </a:lnTo>
                  <a:lnTo>
                    <a:pt x="5975468" y="9828071"/>
                  </a:lnTo>
                  <a:lnTo>
                    <a:pt x="5946878" y="9818541"/>
                  </a:lnTo>
                  <a:lnTo>
                    <a:pt x="5927817" y="9804246"/>
                  </a:lnTo>
                  <a:lnTo>
                    <a:pt x="5889696" y="9770890"/>
                  </a:lnTo>
                  <a:lnTo>
                    <a:pt x="5880166" y="9766125"/>
                  </a:lnTo>
                  <a:lnTo>
                    <a:pt x="5870636" y="9775655"/>
                  </a:lnTo>
                  <a:lnTo>
                    <a:pt x="5865870" y="9785185"/>
                  </a:lnTo>
                  <a:lnTo>
                    <a:pt x="5870636" y="9799481"/>
                  </a:lnTo>
                  <a:lnTo>
                    <a:pt x="5889696" y="9818541"/>
                  </a:lnTo>
                  <a:lnTo>
                    <a:pt x="5913522" y="9851897"/>
                  </a:lnTo>
                  <a:lnTo>
                    <a:pt x="5923052" y="9856662"/>
                  </a:lnTo>
                  <a:lnTo>
                    <a:pt x="5927817" y="9856662"/>
                  </a:lnTo>
                  <a:lnTo>
                    <a:pt x="5927817" y="9861427"/>
                  </a:lnTo>
                  <a:lnTo>
                    <a:pt x="5932582" y="9880488"/>
                  </a:lnTo>
                  <a:lnTo>
                    <a:pt x="5927817" y="9909079"/>
                  </a:lnTo>
                  <a:lnTo>
                    <a:pt x="5918287" y="9966260"/>
                  </a:lnTo>
                  <a:lnTo>
                    <a:pt x="5918287" y="9980556"/>
                  </a:lnTo>
                  <a:lnTo>
                    <a:pt x="5923052" y="9975790"/>
                  </a:lnTo>
                  <a:lnTo>
                    <a:pt x="5956408" y="9918609"/>
                  </a:lnTo>
                  <a:lnTo>
                    <a:pt x="5970703" y="9904314"/>
                  </a:lnTo>
                  <a:lnTo>
                    <a:pt x="6008824" y="9880488"/>
                  </a:lnTo>
                  <a:lnTo>
                    <a:pt x="6023120" y="9861427"/>
                  </a:lnTo>
                  <a:lnTo>
                    <a:pt x="6070771" y="9856662"/>
                  </a:lnTo>
                  <a:lnTo>
                    <a:pt x="6085066" y="9866192"/>
                  </a:lnTo>
                  <a:lnTo>
                    <a:pt x="6094596" y="9880488"/>
                  </a:lnTo>
                  <a:lnTo>
                    <a:pt x="6094596" y="9890018"/>
                  </a:lnTo>
                  <a:lnTo>
                    <a:pt x="6085066" y="9909079"/>
                  </a:lnTo>
                  <a:lnTo>
                    <a:pt x="6080301" y="9923374"/>
                  </a:lnTo>
                  <a:lnTo>
                    <a:pt x="6080301" y="9932904"/>
                  </a:lnTo>
                  <a:lnTo>
                    <a:pt x="6085066" y="9947200"/>
                  </a:lnTo>
                  <a:lnTo>
                    <a:pt x="6085066" y="9956730"/>
                  </a:lnTo>
                  <a:lnTo>
                    <a:pt x="6094596" y="9966260"/>
                  </a:lnTo>
                  <a:lnTo>
                    <a:pt x="6108892" y="9961495"/>
                  </a:lnTo>
                  <a:lnTo>
                    <a:pt x="6113657" y="9966260"/>
                  </a:lnTo>
                  <a:lnTo>
                    <a:pt x="6118422" y="9975790"/>
                  </a:lnTo>
                  <a:lnTo>
                    <a:pt x="6123187" y="9990086"/>
                  </a:lnTo>
                  <a:lnTo>
                    <a:pt x="6127952" y="10013911"/>
                  </a:lnTo>
                  <a:lnTo>
                    <a:pt x="6113657" y="10056798"/>
                  </a:lnTo>
                  <a:lnTo>
                    <a:pt x="6094596" y="10075858"/>
                  </a:lnTo>
                  <a:lnTo>
                    <a:pt x="6037415" y="10104449"/>
                  </a:lnTo>
                  <a:lnTo>
                    <a:pt x="6018354" y="10118744"/>
                  </a:lnTo>
                  <a:lnTo>
                    <a:pt x="5975468" y="10128274"/>
                  </a:lnTo>
                  <a:lnTo>
                    <a:pt x="5961173" y="10142570"/>
                  </a:lnTo>
                  <a:lnTo>
                    <a:pt x="5951643" y="10147335"/>
                  </a:lnTo>
                  <a:lnTo>
                    <a:pt x="5908756" y="10142570"/>
                  </a:lnTo>
                  <a:lnTo>
                    <a:pt x="5865870" y="10152100"/>
                  </a:lnTo>
                  <a:lnTo>
                    <a:pt x="5808689" y="10137805"/>
                  </a:lnTo>
                  <a:lnTo>
                    <a:pt x="5770568" y="10128274"/>
                  </a:lnTo>
                  <a:lnTo>
                    <a:pt x="5727682" y="10099684"/>
                  </a:lnTo>
                  <a:lnTo>
                    <a:pt x="5708621" y="10109214"/>
                  </a:lnTo>
                  <a:lnTo>
                    <a:pt x="5689561" y="10123509"/>
                  </a:lnTo>
                  <a:lnTo>
                    <a:pt x="5608554" y="10104449"/>
                  </a:lnTo>
                  <a:lnTo>
                    <a:pt x="5599024" y="10090154"/>
                  </a:lnTo>
                  <a:lnTo>
                    <a:pt x="5599024" y="10080623"/>
                  </a:lnTo>
                  <a:lnTo>
                    <a:pt x="5622849" y="10047267"/>
                  </a:lnTo>
                  <a:lnTo>
                    <a:pt x="5622849" y="10037737"/>
                  </a:lnTo>
                  <a:lnTo>
                    <a:pt x="5622849" y="10032972"/>
                  </a:lnTo>
                  <a:lnTo>
                    <a:pt x="5584728" y="10028207"/>
                  </a:lnTo>
                  <a:lnTo>
                    <a:pt x="5541842" y="10009146"/>
                  </a:lnTo>
                  <a:lnTo>
                    <a:pt x="5498956" y="10004381"/>
                  </a:lnTo>
                  <a:lnTo>
                    <a:pt x="5465600" y="10004381"/>
                  </a:lnTo>
                  <a:lnTo>
                    <a:pt x="5446539" y="9999616"/>
                  </a:lnTo>
                  <a:lnTo>
                    <a:pt x="5427479" y="9985321"/>
                  </a:lnTo>
                  <a:lnTo>
                    <a:pt x="5413184" y="9971025"/>
                  </a:lnTo>
                  <a:lnTo>
                    <a:pt x="5413184" y="9961495"/>
                  </a:lnTo>
                  <a:lnTo>
                    <a:pt x="5413184" y="9947200"/>
                  </a:lnTo>
                  <a:lnTo>
                    <a:pt x="5413184" y="9918609"/>
                  </a:lnTo>
                  <a:lnTo>
                    <a:pt x="5413184" y="9899548"/>
                  </a:lnTo>
                  <a:lnTo>
                    <a:pt x="5403653" y="9885253"/>
                  </a:lnTo>
                  <a:lnTo>
                    <a:pt x="5384593" y="9875723"/>
                  </a:lnTo>
                  <a:lnTo>
                    <a:pt x="5365532" y="9875723"/>
                  </a:lnTo>
                  <a:lnTo>
                    <a:pt x="5351237" y="9890018"/>
                  </a:lnTo>
                  <a:lnTo>
                    <a:pt x="5332176" y="9918609"/>
                  </a:lnTo>
                  <a:lnTo>
                    <a:pt x="5308351" y="9990086"/>
                  </a:lnTo>
                  <a:lnTo>
                    <a:pt x="5294055" y="10004381"/>
                  </a:lnTo>
                  <a:lnTo>
                    <a:pt x="5255934" y="10056798"/>
                  </a:lnTo>
                  <a:lnTo>
                    <a:pt x="5241639" y="10066328"/>
                  </a:lnTo>
                  <a:lnTo>
                    <a:pt x="5174927" y="10090154"/>
                  </a:lnTo>
                  <a:lnTo>
                    <a:pt x="5098685" y="10099684"/>
                  </a:lnTo>
                  <a:lnTo>
                    <a:pt x="5070094" y="10113979"/>
                  </a:lnTo>
                  <a:lnTo>
                    <a:pt x="5041504" y="10142570"/>
                  </a:lnTo>
                  <a:lnTo>
                    <a:pt x="5008148" y="10175926"/>
                  </a:lnTo>
                  <a:lnTo>
                    <a:pt x="4927140" y="10209282"/>
                  </a:lnTo>
                  <a:lnTo>
                    <a:pt x="4850898" y="10228342"/>
                  </a:lnTo>
                  <a:lnTo>
                    <a:pt x="4769891" y="10237872"/>
                  </a:lnTo>
                  <a:lnTo>
                    <a:pt x="4712710" y="10252168"/>
                  </a:lnTo>
                  <a:lnTo>
                    <a:pt x="4693649" y="10242638"/>
                  </a:lnTo>
                  <a:lnTo>
                    <a:pt x="4665058" y="10247403"/>
                  </a:lnTo>
                  <a:lnTo>
                    <a:pt x="4636468" y="10266463"/>
                  </a:lnTo>
                  <a:lnTo>
                    <a:pt x="4607877" y="10271228"/>
                  </a:lnTo>
                  <a:lnTo>
                    <a:pt x="4483984" y="10275994"/>
                  </a:lnTo>
                  <a:lnTo>
                    <a:pt x="4426802" y="10290289"/>
                  </a:lnTo>
                  <a:lnTo>
                    <a:pt x="4398211" y="10295054"/>
                  </a:lnTo>
                  <a:lnTo>
                    <a:pt x="4369621" y="10295054"/>
                  </a:lnTo>
                  <a:lnTo>
                    <a:pt x="4355325" y="10285524"/>
                  </a:lnTo>
                  <a:lnTo>
                    <a:pt x="4336265" y="10271228"/>
                  </a:lnTo>
                  <a:lnTo>
                    <a:pt x="4321969" y="10242638"/>
                  </a:lnTo>
                  <a:lnTo>
                    <a:pt x="4288614" y="10171161"/>
                  </a:lnTo>
                  <a:lnTo>
                    <a:pt x="4279083" y="10137805"/>
                  </a:lnTo>
                  <a:lnTo>
                    <a:pt x="4283848" y="10085388"/>
                  </a:lnTo>
                  <a:lnTo>
                    <a:pt x="4279083" y="10056798"/>
                  </a:lnTo>
                  <a:lnTo>
                    <a:pt x="4269553" y="9990086"/>
                  </a:lnTo>
                  <a:lnTo>
                    <a:pt x="4264788" y="9985321"/>
                  </a:lnTo>
                  <a:lnTo>
                    <a:pt x="4207606" y="9961495"/>
                  </a:lnTo>
                  <a:lnTo>
                    <a:pt x="4169485" y="9951965"/>
                  </a:lnTo>
                  <a:lnTo>
                    <a:pt x="4107539" y="9947200"/>
                  </a:lnTo>
                  <a:lnTo>
                    <a:pt x="4036062" y="9951965"/>
                  </a:lnTo>
                  <a:lnTo>
                    <a:pt x="3964585" y="9947200"/>
                  </a:lnTo>
                  <a:lnTo>
                    <a:pt x="3926464" y="9937669"/>
                  </a:lnTo>
                  <a:lnTo>
                    <a:pt x="3888343" y="9923374"/>
                  </a:lnTo>
                  <a:lnTo>
                    <a:pt x="3826396" y="9880488"/>
                  </a:lnTo>
                  <a:lnTo>
                    <a:pt x="3821631" y="9880488"/>
                  </a:lnTo>
                  <a:lnTo>
                    <a:pt x="3816866" y="9866192"/>
                  </a:lnTo>
                  <a:lnTo>
                    <a:pt x="3812101" y="9842367"/>
                  </a:lnTo>
                  <a:lnTo>
                    <a:pt x="3793040" y="9813776"/>
                  </a:lnTo>
                  <a:lnTo>
                    <a:pt x="3750154" y="9751829"/>
                  </a:lnTo>
                  <a:lnTo>
                    <a:pt x="3735859" y="9713708"/>
                  </a:lnTo>
                  <a:lnTo>
                    <a:pt x="3731094" y="9704178"/>
                  </a:lnTo>
                  <a:lnTo>
                    <a:pt x="3726329" y="9675587"/>
                  </a:lnTo>
                  <a:lnTo>
                    <a:pt x="3721563" y="9627936"/>
                  </a:lnTo>
                  <a:lnTo>
                    <a:pt x="3716798" y="9599345"/>
                  </a:lnTo>
                  <a:lnTo>
                    <a:pt x="3726329" y="9580285"/>
                  </a:lnTo>
                  <a:lnTo>
                    <a:pt x="3731094" y="9575520"/>
                  </a:lnTo>
                  <a:lnTo>
                    <a:pt x="3821631" y="9542164"/>
                  </a:lnTo>
                  <a:lnTo>
                    <a:pt x="3978880" y="9504043"/>
                  </a:lnTo>
                  <a:lnTo>
                    <a:pt x="4126599" y="9480217"/>
                  </a:lnTo>
                  <a:lnTo>
                    <a:pt x="4193311" y="9480217"/>
                  </a:lnTo>
                  <a:lnTo>
                    <a:pt x="4231432" y="9494512"/>
                  </a:lnTo>
                  <a:lnTo>
                    <a:pt x="4269553" y="9499278"/>
                  </a:lnTo>
                  <a:lnTo>
                    <a:pt x="4341030" y="9504043"/>
                  </a:lnTo>
                  <a:lnTo>
                    <a:pt x="4431567" y="9518338"/>
                  </a:lnTo>
                  <a:lnTo>
                    <a:pt x="4450628" y="9518338"/>
                  </a:lnTo>
                  <a:lnTo>
                    <a:pt x="4488749" y="9504043"/>
                  </a:lnTo>
                  <a:lnTo>
                    <a:pt x="4503044" y="9494512"/>
                  </a:lnTo>
                  <a:lnTo>
                    <a:pt x="4564991" y="9499278"/>
                  </a:lnTo>
                  <a:lnTo>
                    <a:pt x="4574521" y="9489747"/>
                  </a:lnTo>
                  <a:lnTo>
                    <a:pt x="4588816" y="9480217"/>
                  </a:lnTo>
                  <a:lnTo>
                    <a:pt x="4574521" y="9461156"/>
                  </a:lnTo>
                  <a:lnTo>
                    <a:pt x="4512574" y="9418270"/>
                  </a:lnTo>
                  <a:lnTo>
                    <a:pt x="4350560" y="9337263"/>
                  </a:lnTo>
                  <a:lnTo>
                    <a:pt x="4312439" y="9318203"/>
                  </a:lnTo>
                  <a:lnTo>
                    <a:pt x="4255258" y="9303907"/>
                  </a:lnTo>
                  <a:lnTo>
                    <a:pt x="4221902" y="9299142"/>
                  </a:lnTo>
                  <a:lnTo>
                    <a:pt x="4183781" y="9308672"/>
                  </a:lnTo>
                  <a:lnTo>
                    <a:pt x="4164720" y="9308672"/>
                  </a:lnTo>
                  <a:lnTo>
                    <a:pt x="4126599" y="9327733"/>
                  </a:lnTo>
                  <a:lnTo>
                    <a:pt x="4088478" y="9337263"/>
                  </a:lnTo>
                  <a:lnTo>
                    <a:pt x="4012236" y="9346793"/>
                  </a:lnTo>
                  <a:lnTo>
                    <a:pt x="3907403" y="9351558"/>
                  </a:lnTo>
                  <a:lnTo>
                    <a:pt x="3893108" y="9351558"/>
                  </a:lnTo>
                  <a:lnTo>
                    <a:pt x="3869282" y="9337263"/>
                  </a:lnTo>
                  <a:lnTo>
                    <a:pt x="3854987" y="9332498"/>
                  </a:lnTo>
                  <a:lnTo>
                    <a:pt x="3750154" y="9342028"/>
                  </a:lnTo>
                  <a:lnTo>
                    <a:pt x="3659617" y="9332498"/>
                  </a:lnTo>
                  <a:lnTo>
                    <a:pt x="3554784" y="9208605"/>
                  </a:lnTo>
                  <a:lnTo>
                    <a:pt x="3535724" y="9170484"/>
                  </a:lnTo>
                  <a:lnTo>
                    <a:pt x="3540489" y="9156188"/>
                  </a:lnTo>
                  <a:lnTo>
                    <a:pt x="3550019" y="9137128"/>
                  </a:lnTo>
                  <a:lnTo>
                    <a:pt x="3602435" y="9089476"/>
                  </a:lnTo>
                  <a:lnTo>
                    <a:pt x="3621496" y="9079946"/>
                  </a:lnTo>
                  <a:lnTo>
                    <a:pt x="3702503" y="9051355"/>
                  </a:lnTo>
                  <a:lnTo>
                    <a:pt x="3778745" y="9022765"/>
                  </a:lnTo>
                  <a:lnTo>
                    <a:pt x="3840692" y="8994174"/>
                  </a:lnTo>
                  <a:lnTo>
                    <a:pt x="3869282" y="8979878"/>
                  </a:lnTo>
                  <a:lnTo>
                    <a:pt x="3897873" y="8979878"/>
                  </a:lnTo>
                  <a:lnTo>
                    <a:pt x="3921699" y="8970348"/>
                  </a:lnTo>
                  <a:lnTo>
                    <a:pt x="3916934" y="8960818"/>
                  </a:lnTo>
                  <a:lnTo>
                    <a:pt x="3897873" y="8951288"/>
                  </a:lnTo>
                  <a:lnTo>
                    <a:pt x="3897873" y="8936992"/>
                  </a:lnTo>
                  <a:lnTo>
                    <a:pt x="3907403" y="8927462"/>
                  </a:lnTo>
                  <a:lnTo>
                    <a:pt x="3945524" y="8917932"/>
                  </a:lnTo>
                  <a:lnTo>
                    <a:pt x="3988411" y="8927462"/>
                  </a:lnTo>
                  <a:lnTo>
                    <a:pt x="4007471" y="8927462"/>
                  </a:lnTo>
                  <a:lnTo>
                    <a:pt x="4012236" y="8917932"/>
                  </a:lnTo>
                  <a:lnTo>
                    <a:pt x="4007471" y="8908402"/>
                  </a:lnTo>
                  <a:lnTo>
                    <a:pt x="3969350" y="8889341"/>
                  </a:lnTo>
                  <a:lnTo>
                    <a:pt x="3783510" y="8941757"/>
                  </a:lnTo>
                  <a:lnTo>
                    <a:pt x="3697738" y="8946523"/>
                  </a:lnTo>
                  <a:lnTo>
                    <a:pt x="3635791" y="8965583"/>
                  </a:lnTo>
                  <a:lnTo>
                    <a:pt x="3602435" y="8965583"/>
                  </a:lnTo>
                  <a:lnTo>
                    <a:pt x="3564314" y="8941757"/>
                  </a:lnTo>
                  <a:lnTo>
                    <a:pt x="3559549" y="8936992"/>
                  </a:lnTo>
                  <a:lnTo>
                    <a:pt x="3559549" y="8927462"/>
                  </a:lnTo>
                  <a:lnTo>
                    <a:pt x="3569079" y="8898871"/>
                  </a:lnTo>
                  <a:lnTo>
                    <a:pt x="3611966" y="8884576"/>
                  </a:lnTo>
                  <a:lnTo>
                    <a:pt x="3635791" y="8832160"/>
                  </a:lnTo>
                  <a:lnTo>
                    <a:pt x="3611966" y="8832160"/>
                  </a:lnTo>
                  <a:lnTo>
                    <a:pt x="3535724" y="8841690"/>
                  </a:lnTo>
                  <a:lnTo>
                    <a:pt x="3502368" y="8836925"/>
                  </a:lnTo>
                  <a:lnTo>
                    <a:pt x="3459482" y="8817864"/>
                  </a:lnTo>
                  <a:lnTo>
                    <a:pt x="3445186" y="8798804"/>
                  </a:lnTo>
                  <a:lnTo>
                    <a:pt x="3440421" y="8779743"/>
                  </a:lnTo>
                  <a:lnTo>
                    <a:pt x="3440421" y="8760683"/>
                  </a:lnTo>
                  <a:lnTo>
                    <a:pt x="3440421" y="8708266"/>
                  </a:lnTo>
                  <a:lnTo>
                    <a:pt x="3445186" y="8674910"/>
                  </a:lnTo>
                  <a:lnTo>
                    <a:pt x="3445186" y="8670145"/>
                  </a:lnTo>
                  <a:lnTo>
                    <a:pt x="3502368" y="8581990"/>
                  </a:lnTo>
                  <a:lnTo>
                    <a:pt x="3535724" y="8562930"/>
                  </a:lnTo>
                  <a:lnTo>
                    <a:pt x="3559549" y="8529574"/>
                  </a:lnTo>
                  <a:lnTo>
                    <a:pt x="3559549" y="8520044"/>
                  </a:lnTo>
                  <a:lnTo>
                    <a:pt x="3554784" y="8505748"/>
                  </a:lnTo>
                  <a:lnTo>
                    <a:pt x="3530958" y="8477157"/>
                  </a:lnTo>
                  <a:lnTo>
                    <a:pt x="3521428" y="8462862"/>
                  </a:lnTo>
                  <a:lnTo>
                    <a:pt x="3516663" y="8448567"/>
                  </a:lnTo>
                  <a:lnTo>
                    <a:pt x="3521428" y="8424741"/>
                  </a:lnTo>
                  <a:lnTo>
                    <a:pt x="3535724" y="8391385"/>
                  </a:lnTo>
                  <a:lnTo>
                    <a:pt x="3573845" y="8338969"/>
                  </a:lnTo>
                  <a:lnTo>
                    <a:pt x="3664382" y="8234136"/>
                  </a:lnTo>
                  <a:lnTo>
                    <a:pt x="3712033" y="8191250"/>
                  </a:lnTo>
                  <a:lnTo>
                    <a:pt x="3754919" y="8167424"/>
                  </a:lnTo>
                  <a:lnTo>
                    <a:pt x="3816866" y="8115008"/>
                  </a:lnTo>
                  <a:lnTo>
                    <a:pt x="3974115" y="8029235"/>
                  </a:lnTo>
                  <a:close/>
                  <a:moveTo>
                    <a:pt x="9427804" y="7729032"/>
                  </a:moveTo>
                  <a:lnTo>
                    <a:pt x="9461160" y="7729032"/>
                  </a:lnTo>
                  <a:lnTo>
                    <a:pt x="9508811" y="7762388"/>
                  </a:lnTo>
                  <a:lnTo>
                    <a:pt x="9542167" y="7762388"/>
                  </a:lnTo>
                  <a:lnTo>
                    <a:pt x="9599349" y="7790979"/>
                  </a:lnTo>
                  <a:lnTo>
                    <a:pt x="9623174" y="7795744"/>
                  </a:lnTo>
                  <a:lnTo>
                    <a:pt x="9794719" y="7781448"/>
                  </a:lnTo>
                  <a:lnTo>
                    <a:pt x="9828075" y="7790979"/>
                  </a:lnTo>
                  <a:lnTo>
                    <a:pt x="9937673" y="7852925"/>
                  </a:lnTo>
                  <a:lnTo>
                    <a:pt x="9961498" y="7876751"/>
                  </a:lnTo>
                  <a:lnTo>
                    <a:pt x="9975794" y="7900577"/>
                  </a:lnTo>
                  <a:lnTo>
                    <a:pt x="9990089" y="7943463"/>
                  </a:lnTo>
                  <a:lnTo>
                    <a:pt x="9994854" y="7952993"/>
                  </a:lnTo>
                  <a:lnTo>
                    <a:pt x="10032975" y="7976819"/>
                  </a:lnTo>
                  <a:lnTo>
                    <a:pt x="10047271" y="8010175"/>
                  </a:lnTo>
                  <a:lnTo>
                    <a:pt x="10052036" y="8024470"/>
                  </a:lnTo>
                  <a:lnTo>
                    <a:pt x="10061566" y="8062591"/>
                  </a:lnTo>
                  <a:lnTo>
                    <a:pt x="10080626" y="8081652"/>
                  </a:lnTo>
                  <a:lnTo>
                    <a:pt x="10099687" y="8091182"/>
                  </a:lnTo>
                  <a:lnTo>
                    <a:pt x="10104452" y="8100712"/>
                  </a:lnTo>
                  <a:lnTo>
                    <a:pt x="10104452" y="8148363"/>
                  </a:lnTo>
                  <a:lnTo>
                    <a:pt x="10109217" y="8167424"/>
                  </a:lnTo>
                  <a:lnTo>
                    <a:pt x="10128278" y="8191250"/>
                  </a:lnTo>
                  <a:lnTo>
                    <a:pt x="10137808" y="8210310"/>
                  </a:lnTo>
                  <a:lnTo>
                    <a:pt x="10123513" y="8229371"/>
                  </a:lnTo>
                  <a:lnTo>
                    <a:pt x="10090157" y="8238901"/>
                  </a:lnTo>
                  <a:lnTo>
                    <a:pt x="9994854" y="8229371"/>
                  </a:lnTo>
                  <a:lnTo>
                    <a:pt x="9866196" y="8200780"/>
                  </a:lnTo>
                  <a:lnTo>
                    <a:pt x="9789954" y="8210310"/>
                  </a:lnTo>
                  <a:lnTo>
                    <a:pt x="9751833" y="8219840"/>
                  </a:lnTo>
                  <a:lnTo>
                    <a:pt x="9661295" y="8267492"/>
                  </a:lnTo>
                  <a:lnTo>
                    <a:pt x="9632704" y="8272257"/>
                  </a:lnTo>
                  <a:lnTo>
                    <a:pt x="9604114" y="8277022"/>
                  </a:lnTo>
                  <a:lnTo>
                    <a:pt x="9556462" y="8238901"/>
                  </a:lnTo>
                  <a:lnTo>
                    <a:pt x="9537402" y="8219840"/>
                  </a:lnTo>
                  <a:lnTo>
                    <a:pt x="9532637" y="8200780"/>
                  </a:lnTo>
                  <a:lnTo>
                    <a:pt x="9518341" y="8157894"/>
                  </a:lnTo>
                  <a:lnTo>
                    <a:pt x="9508811" y="8105477"/>
                  </a:lnTo>
                  <a:lnTo>
                    <a:pt x="9504046" y="8057826"/>
                  </a:lnTo>
                  <a:lnTo>
                    <a:pt x="9499281" y="8024470"/>
                  </a:lnTo>
                  <a:lnTo>
                    <a:pt x="9480220" y="8014940"/>
                  </a:lnTo>
                  <a:lnTo>
                    <a:pt x="9427804" y="8000644"/>
                  </a:lnTo>
                  <a:lnTo>
                    <a:pt x="9413509" y="7981584"/>
                  </a:lnTo>
                  <a:lnTo>
                    <a:pt x="9403978" y="7967289"/>
                  </a:lnTo>
                  <a:lnTo>
                    <a:pt x="9399213" y="7938698"/>
                  </a:lnTo>
                  <a:lnTo>
                    <a:pt x="9399213" y="7914872"/>
                  </a:lnTo>
                  <a:lnTo>
                    <a:pt x="9403978" y="7891046"/>
                  </a:lnTo>
                  <a:lnTo>
                    <a:pt x="9403978" y="7886281"/>
                  </a:lnTo>
                  <a:lnTo>
                    <a:pt x="9413509" y="7886281"/>
                  </a:lnTo>
                  <a:lnTo>
                    <a:pt x="9399213" y="7857691"/>
                  </a:lnTo>
                  <a:lnTo>
                    <a:pt x="9394448" y="7824335"/>
                  </a:lnTo>
                  <a:lnTo>
                    <a:pt x="9389683" y="7781448"/>
                  </a:lnTo>
                  <a:lnTo>
                    <a:pt x="9394448" y="7752858"/>
                  </a:lnTo>
                  <a:lnTo>
                    <a:pt x="9399213" y="7738562"/>
                  </a:lnTo>
                  <a:lnTo>
                    <a:pt x="9408744" y="7733797"/>
                  </a:lnTo>
                  <a:close/>
                  <a:moveTo>
                    <a:pt x="5546607" y="7729032"/>
                  </a:moveTo>
                  <a:lnTo>
                    <a:pt x="5575198" y="7729032"/>
                  </a:lnTo>
                  <a:lnTo>
                    <a:pt x="5608554" y="7738562"/>
                  </a:lnTo>
                  <a:lnTo>
                    <a:pt x="5651440" y="7790979"/>
                  </a:lnTo>
                  <a:lnTo>
                    <a:pt x="5670500" y="7800509"/>
                  </a:lnTo>
                  <a:lnTo>
                    <a:pt x="5680031" y="7810039"/>
                  </a:lnTo>
                  <a:lnTo>
                    <a:pt x="5689561" y="7833865"/>
                  </a:lnTo>
                  <a:lnTo>
                    <a:pt x="5694326" y="7852925"/>
                  </a:lnTo>
                  <a:lnTo>
                    <a:pt x="5694326" y="7895811"/>
                  </a:lnTo>
                  <a:lnTo>
                    <a:pt x="5689561" y="7952993"/>
                  </a:lnTo>
                  <a:lnTo>
                    <a:pt x="5684796" y="7976818"/>
                  </a:lnTo>
                  <a:lnTo>
                    <a:pt x="5656205" y="8053060"/>
                  </a:lnTo>
                  <a:lnTo>
                    <a:pt x="5627614" y="8100712"/>
                  </a:lnTo>
                  <a:lnTo>
                    <a:pt x="5622849" y="8124537"/>
                  </a:lnTo>
                  <a:lnTo>
                    <a:pt x="5613319" y="8148363"/>
                  </a:lnTo>
                  <a:lnTo>
                    <a:pt x="5594258" y="8172188"/>
                  </a:lnTo>
                  <a:lnTo>
                    <a:pt x="5579963" y="8186484"/>
                  </a:lnTo>
                  <a:lnTo>
                    <a:pt x="5570433" y="8191249"/>
                  </a:lnTo>
                  <a:lnTo>
                    <a:pt x="5556137" y="8176954"/>
                  </a:lnTo>
                  <a:lnTo>
                    <a:pt x="5532312" y="8153128"/>
                  </a:lnTo>
                  <a:lnTo>
                    <a:pt x="5498956" y="8095947"/>
                  </a:lnTo>
                  <a:lnTo>
                    <a:pt x="5456070" y="8038765"/>
                  </a:lnTo>
                  <a:lnTo>
                    <a:pt x="5451305" y="8005409"/>
                  </a:lnTo>
                  <a:lnTo>
                    <a:pt x="5441774" y="7981584"/>
                  </a:lnTo>
                  <a:lnTo>
                    <a:pt x="5384593" y="7924402"/>
                  </a:lnTo>
                  <a:lnTo>
                    <a:pt x="5351237" y="7895811"/>
                  </a:lnTo>
                  <a:lnTo>
                    <a:pt x="5322646" y="7886281"/>
                  </a:lnTo>
                  <a:lnTo>
                    <a:pt x="5317881" y="7867221"/>
                  </a:lnTo>
                  <a:lnTo>
                    <a:pt x="5336942" y="7819569"/>
                  </a:lnTo>
                  <a:lnTo>
                    <a:pt x="5360767" y="7781448"/>
                  </a:lnTo>
                  <a:lnTo>
                    <a:pt x="5370297" y="7767153"/>
                  </a:lnTo>
                  <a:lnTo>
                    <a:pt x="5413184" y="7752858"/>
                  </a:lnTo>
                  <a:close/>
                  <a:moveTo>
                    <a:pt x="8529577" y="7676616"/>
                  </a:moveTo>
                  <a:lnTo>
                    <a:pt x="8598672" y="7681381"/>
                  </a:lnTo>
                  <a:lnTo>
                    <a:pt x="8727330" y="7705207"/>
                  </a:lnTo>
                  <a:lnTo>
                    <a:pt x="8746391" y="7719502"/>
                  </a:lnTo>
                  <a:lnTo>
                    <a:pt x="8746391" y="7729032"/>
                  </a:lnTo>
                  <a:lnTo>
                    <a:pt x="8755921" y="7752858"/>
                  </a:lnTo>
                  <a:lnTo>
                    <a:pt x="8751156" y="7767153"/>
                  </a:lnTo>
                  <a:lnTo>
                    <a:pt x="8713035" y="7819570"/>
                  </a:lnTo>
                  <a:lnTo>
                    <a:pt x="8670148" y="7857691"/>
                  </a:lnTo>
                  <a:lnTo>
                    <a:pt x="8641558" y="7895812"/>
                  </a:lnTo>
                  <a:lnTo>
                    <a:pt x="8589141" y="7976819"/>
                  </a:lnTo>
                  <a:lnTo>
                    <a:pt x="8574846" y="8005410"/>
                  </a:lnTo>
                  <a:lnTo>
                    <a:pt x="8515282" y="8167424"/>
                  </a:lnTo>
                  <a:lnTo>
                    <a:pt x="8500986" y="8196015"/>
                  </a:lnTo>
                  <a:lnTo>
                    <a:pt x="8491456" y="8215075"/>
                  </a:lnTo>
                  <a:lnTo>
                    <a:pt x="8486691" y="8272257"/>
                  </a:lnTo>
                  <a:lnTo>
                    <a:pt x="8491456" y="8291318"/>
                  </a:lnTo>
                  <a:lnTo>
                    <a:pt x="8500986" y="8324673"/>
                  </a:lnTo>
                  <a:lnTo>
                    <a:pt x="8534342" y="8396150"/>
                  </a:lnTo>
                  <a:lnTo>
                    <a:pt x="8543873" y="8429506"/>
                  </a:lnTo>
                  <a:lnTo>
                    <a:pt x="8539108" y="8458097"/>
                  </a:lnTo>
                  <a:lnTo>
                    <a:pt x="8539108" y="8529574"/>
                  </a:lnTo>
                  <a:lnTo>
                    <a:pt x="8539108" y="8567695"/>
                  </a:lnTo>
                  <a:lnTo>
                    <a:pt x="8539108" y="8601051"/>
                  </a:lnTo>
                  <a:lnTo>
                    <a:pt x="8543873" y="8651085"/>
                  </a:lnTo>
                  <a:lnTo>
                    <a:pt x="8558168" y="8713031"/>
                  </a:lnTo>
                  <a:lnTo>
                    <a:pt x="8584376" y="8779743"/>
                  </a:lnTo>
                  <a:lnTo>
                    <a:pt x="8627262" y="8841690"/>
                  </a:lnTo>
                  <a:lnTo>
                    <a:pt x="8660618" y="8884576"/>
                  </a:lnTo>
                  <a:lnTo>
                    <a:pt x="8693974" y="8917932"/>
                  </a:lnTo>
                  <a:lnTo>
                    <a:pt x="8732095" y="8960818"/>
                  </a:lnTo>
                  <a:lnTo>
                    <a:pt x="8741625" y="8984644"/>
                  </a:lnTo>
                  <a:lnTo>
                    <a:pt x="8722565" y="9008469"/>
                  </a:lnTo>
                  <a:lnTo>
                    <a:pt x="8684444" y="9046590"/>
                  </a:lnTo>
                  <a:lnTo>
                    <a:pt x="8627262" y="9060886"/>
                  </a:lnTo>
                  <a:lnTo>
                    <a:pt x="8598672" y="9075181"/>
                  </a:lnTo>
                  <a:lnTo>
                    <a:pt x="8562933" y="9108537"/>
                  </a:lnTo>
                  <a:lnTo>
                    <a:pt x="8520047" y="9137128"/>
                  </a:lnTo>
                  <a:lnTo>
                    <a:pt x="8500986" y="9151423"/>
                  </a:lnTo>
                  <a:lnTo>
                    <a:pt x="8505752" y="9160953"/>
                  </a:lnTo>
                  <a:lnTo>
                    <a:pt x="8543873" y="9146658"/>
                  </a:lnTo>
                  <a:lnTo>
                    <a:pt x="8572463" y="9132362"/>
                  </a:lnTo>
                  <a:lnTo>
                    <a:pt x="8617732" y="9094242"/>
                  </a:lnTo>
                  <a:lnTo>
                    <a:pt x="8646323" y="9079946"/>
                  </a:lnTo>
                  <a:lnTo>
                    <a:pt x="8732095" y="9079946"/>
                  </a:lnTo>
                  <a:lnTo>
                    <a:pt x="8746391" y="9089476"/>
                  </a:lnTo>
                  <a:lnTo>
                    <a:pt x="8736860" y="9113302"/>
                  </a:lnTo>
                  <a:lnTo>
                    <a:pt x="8736860" y="9118067"/>
                  </a:lnTo>
                  <a:lnTo>
                    <a:pt x="8736860" y="9127597"/>
                  </a:lnTo>
                  <a:lnTo>
                    <a:pt x="8746391" y="9141893"/>
                  </a:lnTo>
                  <a:lnTo>
                    <a:pt x="8765451" y="9156188"/>
                  </a:lnTo>
                  <a:lnTo>
                    <a:pt x="8774981" y="9141893"/>
                  </a:lnTo>
                  <a:lnTo>
                    <a:pt x="8779746" y="9108537"/>
                  </a:lnTo>
                  <a:lnTo>
                    <a:pt x="8789277" y="8979878"/>
                  </a:lnTo>
                  <a:lnTo>
                    <a:pt x="8798807" y="8941757"/>
                  </a:lnTo>
                  <a:lnTo>
                    <a:pt x="8798807" y="8903636"/>
                  </a:lnTo>
                  <a:lnTo>
                    <a:pt x="8798807" y="8870280"/>
                  </a:lnTo>
                  <a:lnTo>
                    <a:pt x="8794042" y="8846455"/>
                  </a:lnTo>
                  <a:lnTo>
                    <a:pt x="8770216" y="8832160"/>
                  </a:lnTo>
                  <a:lnTo>
                    <a:pt x="8741625" y="8836925"/>
                  </a:lnTo>
                  <a:lnTo>
                    <a:pt x="8727330" y="8832160"/>
                  </a:lnTo>
                  <a:lnTo>
                    <a:pt x="8708270" y="8827394"/>
                  </a:lnTo>
                  <a:lnTo>
                    <a:pt x="8693974" y="8813099"/>
                  </a:lnTo>
                  <a:lnTo>
                    <a:pt x="8684444" y="8798804"/>
                  </a:lnTo>
                  <a:lnTo>
                    <a:pt x="8665383" y="8755917"/>
                  </a:lnTo>
                  <a:lnTo>
                    <a:pt x="8651088" y="8732092"/>
                  </a:lnTo>
                  <a:lnTo>
                    <a:pt x="8617732" y="8684440"/>
                  </a:lnTo>
                  <a:lnTo>
                    <a:pt x="8603437" y="8670145"/>
                  </a:lnTo>
                  <a:lnTo>
                    <a:pt x="8612967" y="8651085"/>
                  </a:lnTo>
                  <a:lnTo>
                    <a:pt x="8641558" y="8632024"/>
                  </a:lnTo>
                  <a:lnTo>
                    <a:pt x="8660618" y="8615346"/>
                  </a:lnTo>
                  <a:lnTo>
                    <a:pt x="8684444" y="8558165"/>
                  </a:lnTo>
                  <a:lnTo>
                    <a:pt x="8693974" y="8548634"/>
                  </a:lnTo>
                  <a:lnTo>
                    <a:pt x="8741625" y="8553400"/>
                  </a:lnTo>
                  <a:lnTo>
                    <a:pt x="8808337" y="8601051"/>
                  </a:lnTo>
                  <a:lnTo>
                    <a:pt x="8846458" y="8636789"/>
                  </a:lnTo>
                  <a:lnTo>
                    <a:pt x="8855988" y="8641554"/>
                  </a:lnTo>
                  <a:lnTo>
                    <a:pt x="8855988" y="8632024"/>
                  </a:lnTo>
                  <a:lnTo>
                    <a:pt x="8846458" y="8615346"/>
                  </a:lnTo>
                  <a:lnTo>
                    <a:pt x="8803572" y="8567695"/>
                  </a:lnTo>
                  <a:lnTo>
                    <a:pt x="8779746" y="8534339"/>
                  </a:lnTo>
                  <a:lnTo>
                    <a:pt x="8770216" y="8510513"/>
                  </a:lnTo>
                  <a:lnTo>
                    <a:pt x="8774981" y="8496218"/>
                  </a:lnTo>
                  <a:lnTo>
                    <a:pt x="8798807" y="8486688"/>
                  </a:lnTo>
                  <a:lnTo>
                    <a:pt x="8803572" y="8472392"/>
                  </a:lnTo>
                  <a:lnTo>
                    <a:pt x="8770216" y="8458097"/>
                  </a:lnTo>
                  <a:lnTo>
                    <a:pt x="8751156" y="8458097"/>
                  </a:lnTo>
                  <a:lnTo>
                    <a:pt x="8736860" y="8467627"/>
                  </a:lnTo>
                  <a:lnTo>
                    <a:pt x="8722565" y="8467627"/>
                  </a:lnTo>
                  <a:lnTo>
                    <a:pt x="8693974" y="8448567"/>
                  </a:lnTo>
                  <a:lnTo>
                    <a:pt x="8684444" y="8439036"/>
                  </a:lnTo>
                  <a:lnTo>
                    <a:pt x="8665383" y="8405681"/>
                  </a:lnTo>
                  <a:lnTo>
                    <a:pt x="8660618" y="8372325"/>
                  </a:lnTo>
                  <a:lnTo>
                    <a:pt x="8651088" y="8353264"/>
                  </a:lnTo>
                  <a:lnTo>
                    <a:pt x="8646323" y="8338969"/>
                  </a:lnTo>
                  <a:lnTo>
                    <a:pt x="8646323" y="8291318"/>
                  </a:lnTo>
                  <a:lnTo>
                    <a:pt x="8646323" y="8267492"/>
                  </a:lnTo>
                  <a:lnTo>
                    <a:pt x="8646323" y="8243666"/>
                  </a:lnTo>
                  <a:lnTo>
                    <a:pt x="8655853" y="8219841"/>
                  </a:lnTo>
                  <a:lnTo>
                    <a:pt x="8674914" y="8186485"/>
                  </a:lnTo>
                  <a:lnTo>
                    <a:pt x="8684444" y="8176954"/>
                  </a:lnTo>
                  <a:lnTo>
                    <a:pt x="8703504" y="8172189"/>
                  </a:lnTo>
                  <a:lnTo>
                    <a:pt x="8746391" y="8186485"/>
                  </a:lnTo>
                  <a:lnTo>
                    <a:pt x="8860754" y="8253196"/>
                  </a:lnTo>
                  <a:lnTo>
                    <a:pt x="8860754" y="8234136"/>
                  </a:lnTo>
                  <a:lnTo>
                    <a:pt x="8732095" y="8143599"/>
                  </a:lnTo>
                  <a:lnTo>
                    <a:pt x="8684444" y="8119773"/>
                  </a:lnTo>
                  <a:lnTo>
                    <a:pt x="8674914" y="8091182"/>
                  </a:lnTo>
                  <a:lnTo>
                    <a:pt x="8741625" y="7962524"/>
                  </a:lnTo>
                  <a:lnTo>
                    <a:pt x="8803572" y="7933933"/>
                  </a:lnTo>
                  <a:lnTo>
                    <a:pt x="8836928" y="7900577"/>
                  </a:lnTo>
                  <a:lnTo>
                    <a:pt x="8889344" y="7895812"/>
                  </a:lnTo>
                  <a:lnTo>
                    <a:pt x="8936996" y="7919638"/>
                  </a:lnTo>
                  <a:lnTo>
                    <a:pt x="8936996" y="7914872"/>
                  </a:lnTo>
                  <a:lnTo>
                    <a:pt x="8913170" y="7871986"/>
                  </a:lnTo>
                  <a:lnTo>
                    <a:pt x="8917935" y="7857691"/>
                  </a:lnTo>
                  <a:lnTo>
                    <a:pt x="8946526" y="7833865"/>
                  </a:lnTo>
                  <a:lnTo>
                    <a:pt x="8994177" y="7800509"/>
                  </a:lnTo>
                  <a:lnTo>
                    <a:pt x="9056124" y="7776684"/>
                  </a:lnTo>
                  <a:lnTo>
                    <a:pt x="9065654" y="7767153"/>
                  </a:lnTo>
                  <a:lnTo>
                    <a:pt x="9084715" y="7757623"/>
                  </a:lnTo>
                  <a:lnTo>
                    <a:pt x="9113305" y="7748093"/>
                  </a:lnTo>
                  <a:lnTo>
                    <a:pt x="9184782" y="7743328"/>
                  </a:lnTo>
                  <a:lnTo>
                    <a:pt x="9222903" y="7748093"/>
                  </a:lnTo>
                  <a:lnTo>
                    <a:pt x="9275320" y="7767153"/>
                  </a:lnTo>
                  <a:lnTo>
                    <a:pt x="9308676" y="7800509"/>
                  </a:lnTo>
                  <a:lnTo>
                    <a:pt x="9318206" y="7819570"/>
                  </a:lnTo>
                  <a:lnTo>
                    <a:pt x="9332501" y="7886282"/>
                  </a:lnTo>
                  <a:lnTo>
                    <a:pt x="9346797" y="7976819"/>
                  </a:lnTo>
                  <a:lnTo>
                    <a:pt x="9365857" y="8014940"/>
                  </a:lnTo>
                  <a:lnTo>
                    <a:pt x="9399213" y="8034001"/>
                  </a:lnTo>
                  <a:lnTo>
                    <a:pt x="9418274" y="8057826"/>
                  </a:lnTo>
                  <a:lnTo>
                    <a:pt x="9432569" y="8081652"/>
                  </a:lnTo>
                  <a:lnTo>
                    <a:pt x="9437334" y="8110243"/>
                  </a:lnTo>
                  <a:lnTo>
                    <a:pt x="9427804" y="8148364"/>
                  </a:lnTo>
                  <a:lnTo>
                    <a:pt x="9432569" y="8186485"/>
                  </a:lnTo>
                  <a:lnTo>
                    <a:pt x="9446864" y="8219841"/>
                  </a:lnTo>
                  <a:lnTo>
                    <a:pt x="9461160" y="8243666"/>
                  </a:lnTo>
                  <a:lnTo>
                    <a:pt x="9484985" y="8267492"/>
                  </a:lnTo>
                  <a:lnTo>
                    <a:pt x="9484985" y="8281787"/>
                  </a:lnTo>
                  <a:lnTo>
                    <a:pt x="9475455" y="8296083"/>
                  </a:lnTo>
                  <a:lnTo>
                    <a:pt x="9461160" y="8315143"/>
                  </a:lnTo>
                  <a:lnTo>
                    <a:pt x="9423039" y="8377090"/>
                  </a:lnTo>
                  <a:lnTo>
                    <a:pt x="9370622" y="8448567"/>
                  </a:lnTo>
                  <a:lnTo>
                    <a:pt x="9337266" y="8505748"/>
                  </a:lnTo>
                  <a:lnTo>
                    <a:pt x="9332501" y="8524809"/>
                  </a:lnTo>
                  <a:lnTo>
                    <a:pt x="9408743" y="8429506"/>
                  </a:lnTo>
                  <a:lnTo>
                    <a:pt x="9432569" y="8434271"/>
                  </a:lnTo>
                  <a:lnTo>
                    <a:pt x="9432569" y="8448567"/>
                  </a:lnTo>
                  <a:lnTo>
                    <a:pt x="9418274" y="8491453"/>
                  </a:lnTo>
                  <a:lnTo>
                    <a:pt x="9399213" y="8534339"/>
                  </a:lnTo>
                  <a:lnTo>
                    <a:pt x="9380153" y="8558165"/>
                  </a:lnTo>
                  <a:lnTo>
                    <a:pt x="9384918" y="8567695"/>
                  </a:lnTo>
                  <a:lnTo>
                    <a:pt x="9418274" y="8610581"/>
                  </a:lnTo>
                  <a:lnTo>
                    <a:pt x="9413508" y="8620111"/>
                  </a:lnTo>
                  <a:lnTo>
                    <a:pt x="9394448" y="8615346"/>
                  </a:lnTo>
                  <a:lnTo>
                    <a:pt x="9389683" y="8620111"/>
                  </a:lnTo>
                  <a:lnTo>
                    <a:pt x="9384918" y="8627259"/>
                  </a:lnTo>
                  <a:lnTo>
                    <a:pt x="9380153" y="8636789"/>
                  </a:lnTo>
                  <a:lnTo>
                    <a:pt x="9380153" y="8655850"/>
                  </a:lnTo>
                  <a:lnTo>
                    <a:pt x="9380153" y="8679675"/>
                  </a:lnTo>
                  <a:lnTo>
                    <a:pt x="9380153" y="8693971"/>
                  </a:lnTo>
                  <a:lnTo>
                    <a:pt x="9380153" y="8703501"/>
                  </a:lnTo>
                  <a:lnTo>
                    <a:pt x="9380153" y="8708266"/>
                  </a:lnTo>
                  <a:lnTo>
                    <a:pt x="9394448" y="8708266"/>
                  </a:lnTo>
                  <a:lnTo>
                    <a:pt x="9399213" y="8698736"/>
                  </a:lnTo>
                  <a:lnTo>
                    <a:pt x="9418274" y="8670145"/>
                  </a:lnTo>
                  <a:lnTo>
                    <a:pt x="9465925" y="8591520"/>
                  </a:lnTo>
                  <a:lnTo>
                    <a:pt x="9499281" y="8558165"/>
                  </a:lnTo>
                  <a:lnTo>
                    <a:pt x="9508811" y="8558165"/>
                  </a:lnTo>
                  <a:lnTo>
                    <a:pt x="9537402" y="8577225"/>
                  </a:lnTo>
                  <a:lnTo>
                    <a:pt x="9546932" y="8577225"/>
                  </a:lnTo>
                  <a:lnTo>
                    <a:pt x="9513576" y="8510513"/>
                  </a:lnTo>
                  <a:lnTo>
                    <a:pt x="9508811" y="8496218"/>
                  </a:lnTo>
                  <a:lnTo>
                    <a:pt x="9518341" y="8472392"/>
                  </a:lnTo>
                  <a:lnTo>
                    <a:pt x="9518341" y="8462862"/>
                  </a:lnTo>
                  <a:lnTo>
                    <a:pt x="9537402" y="8443802"/>
                  </a:lnTo>
                  <a:lnTo>
                    <a:pt x="9551697" y="8439036"/>
                  </a:lnTo>
                  <a:lnTo>
                    <a:pt x="9561228" y="8439036"/>
                  </a:lnTo>
                  <a:lnTo>
                    <a:pt x="9575523" y="8472392"/>
                  </a:lnTo>
                  <a:lnTo>
                    <a:pt x="9580288" y="8496218"/>
                  </a:lnTo>
                  <a:lnTo>
                    <a:pt x="9589818" y="8505748"/>
                  </a:lnTo>
                  <a:lnTo>
                    <a:pt x="9618409" y="8491453"/>
                  </a:lnTo>
                  <a:lnTo>
                    <a:pt x="9632704" y="8467627"/>
                  </a:lnTo>
                  <a:lnTo>
                    <a:pt x="9651765" y="8481923"/>
                  </a:lnTo>
                  <a:lnTo>
                    <a:pt x="9680356" y="8524809"/>
                  </a:lnTo>
                  <a:lnTo>
                    <a:pt x="9680356" y="8567695"/>
                  </a:lnTo>
                  <a:lnTo>
                    <a:pt x="9680356" y="8610581"/>
                  </a:lnTo>
                  <a:lnTo>
                    <a:pt x="9680356" y="8641554"/>
                  </a:lnTo>
                  <a:lnTo>
                    <a:pt x="9718477" y="8698736"/>
                  </a:lnTo>
                  <a:lnTo>
                    <a:pt x="9742302" y="8722562"/>
                  </a:lnTo>
                  <a:lnTo>
                    <a:pt x="9747067" y="8722562"/>
                  </a:lnTo>
                  <a:lnTo>
                    <a:pt x="9747067" y="8713031"/>
                  </a:lnTo>
                  <a:lnTo>
                    <a:pt x="9742302" y="8693971"/>
                  </a:lnTo>
                  <a:lnTo>
                    <a:pt x="9728007" y="8674910"/>
                  </a:lnTo>
                  <a:lnTo>
                    <a:pt x="9713712" y="8646320"/>
                  </a:lnTo>
                  <a:lnTo>
                    <a:pt x="9704181" y="8615346"/>
                  </a:lnTo>
                  <a:lnTo>
                    <a:pt x="9708946" y="8529574"/>
                  </a:lnTo>
                  <a:lnTo>
                    <a:pt x="9728007" y="8486688"/>
                  </a:lnTo>
                  <a:lnTo>
                    <a:pt x="9747067" y="8496218"/>
                  </a:lnTo>
                  <a:lnTo>
                    <a:pt x="9770893" y="8524809"/>
                  </a:lnTo>
                  <a:lnTo>
                    <a:pt x="9789954" y="8524809"/>
                  </a:lnTo>
                  <a:lnTo>
                    <a:pt x="9818544" y="8520044"/>
                  </a:lnTo>
                  <a:lnTo>
                    <a:pt x="9880491" y="8572460"/>
                  </a:lnTo>
                  <a:lnTo>
                    <a:pt x="9913847" y="8577225"/>
                  </a:lnTo>
                  <a:lnTo>
                    <a:pt x="9913847" y="8553400"/>
                  </a:lnTo>
                  <a:lnTo>
                    <a:pt x="9885256" y="8543869"/>
                  </a:lnTo>
                  <a:lnTo>
                    <a:pt x="9851900" y="8515278"/>
                  </a:lnTo>
                  <a:lnTo>
                    <a:pt x="9794719" y="8481923"/>
                  </a:lnTo>
                  <a:lnTo>
                    <a:pt x="9770893" y="8443802"/>
                  </a:lnTo>
                  <a:lnTo>
                    <a:pt x="9766128" y="8424741"/>
                  </a:lnTo>
                  <a:lnTo>
                    <a:pt x="9766128" y="8405681"/>
                  </a:lnTo>
                  <a:lnTo>
                    <a:pt x="9766128" y="8386620"/>
                  </a:lnTo>
                  <a:lnTo>
                    <a:pt x="9770893" y="8372325"/>
                  </a:lnTo>
                  <a:lnTo>
                    <a:pt x="9785188" y="8358029"/>
                  </a:lnTo>
                  <a:lnTo>
                    <a:pt x="9837605" y="8310378"/>
                  </a:lnTo>
                  <a:lnTo>
                    <a:pt x="9875726" y="8291318"/>
                  </a:lnTo>
                  <a:lnTo>
                    <a:pt x="9909082" y="8286552"/>
                  </a:lnTo>
                  <a:lnTo>
                    <a:pt x="9956733" y="8286552"/>
                  </a:lnTo>
                  <a:lnTo>
                    <a:pt x="10013915" y="8296083"/>
                  </a:lnTo>
                  <a:lnTo>
                    <a:pt x="10042505" y="8305613"/>
                  </a:lnTo>
                  <a:lnTo>
                    <a:pt x="10075861" y="8338969"/>
                  </a:lnTo>
                  <a:lnTo>
                    <a:pt x="10123512" y="8372325"/>
                  </a:lnTo>
                  <a:lnTo>
                    <a:pt x="10137808" y="8377090"/>
                  </a:lnTo>
                  <a:lnTo>
                    <a:pt x="10156868" y="8377090"/>
                  </a:lnTo>
                  <a:lnTo>
                    <a:pt x="10175929" y="8367560"/>
                  </a:lnTo>
                  <a:lnTo>
                    <a:pt x="10199753" y="8372325"/>
                  </a:lnTo>
                  <a:lnTo>
                    <a:pt x="10261701" y="8419976"/>
                  </a:lnTo>
                  <a:lnTo>
                    <a:pt x="10280761" y="8443802"/>
                  </a:lnTo>
                  <a:lnTo>
                    <a:pt x="10290293" y="8472392"/>
                  </a:lnTo>
                  <a:lnTo>
                    <a:pt x="10295057" y="8500983"/>
                  </a:lnTo>
                  <a:lnTo>
                    <a:pt x="10299821" y="8529574"/>
                  </a:lnTo>
                  <a:lnTo>
                    <a:pt x="10299821" y="8548634"/>
                  </a:lnTo>
                  <a:lnTo>
                    <a:pt x="10247405" y="8641554"/>
                  </a:lnTo>
                  <a:lnTo>
                    <a:pt x="10223581" y="8660615"/>
                  </a:lnTo>
                  <a:lnTo>
                    <a:pt x="10209285" y="8693971"/>
                  </a:lnTo>
                  <a:lnTo>
                    <a:pt x="10185461" y="8760683"/>
                  </a:lnTo>
                  <a:lnTo>
                    <a:pt x="10166399" y="8798804"/>
                  </a:lnTo>
                  <a:lnTo>
                    <a:pt x="10161634" y="8803569"/>
                  </a:lnTo>
                  <a:lnTo>
                    <a:pt x="10166399" y="8808334"/>
                  </a:lnTo>
                  <a:lnTo>
                    <a:pt x="10180693" y="8789273"/>
                  </a:lnTo>
                  <a:lnTo>
                    <a:pt x="10199753" y="8746387"/>
                  </a:lnTo>
                  <a:lnTo>
                    <a:pt x="10214049" y="8703501"/>
                  </a:lnTo>
                  <a:lnTo>
                    <a:pt x="10242641" y="8670145"/>
                  </a:lnTo>
                  <a:lnTo>
                    <a:pt x="10285529" y="8632024"/>
                  </a:lnTo>
                  <a:lnTo>
                    <a:pt x="10323649" y="8615346"/>
                  </a:lnTo>
                  <a:lnTo>
                    <a:pt x="10357005" y="8615346"/>
                  </a:lnTo>
                  <a:lnTo>
                    <a:pt x="10380829" y="8620111"/>
                  </a:lnTo>
                  <a:lnTo>
                    <a:pt x="10404657" y="8627259"/>
                  </a:lnTo>
                  <a:lnTo>
                    <a:pt x="10418949" y="8636789"/>
                  </a:lnTo>
                  <a:lnTo>
                    <a:pt x="10423717" y="8646320"/>
                  </a:lnTo>
                  <a:lnTo>
                    <a:pt x="10433245" y="8674910"/>
                  </a:lnTo>
                  <a:lnTo>
                    <a:pt x="10433245" y="8693971"/>
                  </a:lnTo>
                  <a:lnTo>
                    <a:pt x="10423717" y="8717796"/>
                  </a:lnTo>
                  <a:lnTo>
                    <a:pt x="10414185" y="8741622"/>
                  </a:lnTo>
                  <a:lnTo>
                    <a:pt x="10366533" y="8770213"/>
                  </a:lnTo>
                  <a:lnTo>
                    <a:pt x="10342709" y="8794038"/>
                  </a:lnTo>
                  <a:lnTo>
                    <a:pt x="10323649" y="8798804"/>
                  </a:lnTo>
                  <a:lnTo>
                    <a:pt x="10275997" y="8808334"/>
                  </a:lnTo>
                  <a:lnTo>
                    <a:pt x="10275997" y="8817864"/>
                  </a:lnTo>
                  <a:lnTo>
                    <a:pt x="10314117" y="8827394"/>
                  </a:lnTo>
                  <a:lnTo>
                    <a:pt x="10357005" y="8827394"/>
                  </a:lnTo>
                  <a:lnTo>
                    <a:pt x="10352237" y="8841690"/>
                  </a:lnTo>
                  <a:lnTo>
                    <a:pt x="10333177" y="8879811"/>
                  </a:lnTo>
                  <a:lnTo>
                    <a:pt x="10328413" y="8908402"/>
                  </a:lnTo>
                  <a:lnTo>
                    <a:pt x="10333177" y="8936992"/>
                  </a:lnTo>
                  <a:lnTo>
                    <a:pt x="10333177" y="8956053"/>
                  </a:lnTo>
                  <a:lnTo>
                    <a:pt x="10318881" y="9003704"/>
                  </a:lnTo>
                  <a:lnTo>
                    <a:pt x="10304589" y="9041825"/>
                  </a:lnTo>
                  <a:lnTo>
                    <a:pt x="10309353" y="9051355"/>
                  </a:lnTo>
                  <a:lnTo>
                    <a:pt x="10347473" y="8994174"/>
                  </a:lnTo>
                  <a:lnTo>
                    <a:pt x="10357005" y="8927462"/>
                  </a:lnTo>
                  <a:lnTo>
                    <a:pt x="10371301" y="8870280"/>
                  </a:lnTo>
                  <a:lnTo>
                    <a:pt x="10385593" y="8836925"/>
                  </a:lnTo>
                  <a:lnTo>
                    <a:pt x="10399889" y="8827394"/>
                  </a:lnTo>
                  <a:lnTo>
                    <a:pt x="10442777" y="8822629"/>
                  </a:lnTo>
                  <a:lnTo>
                    <a:pt x="10466601" y="8789273"/>
                  </a:lnTo>
                  <a:lnTo>
                    <a:pt x="10485661" y="8779743"/>
                  </a:lnTo>
                  <a:lnTo>
                    <a:pt x="10495193" y="8779743"/>
                  </a:lnTo>
                  <a:lnTo>
                    <a:pt x="10509489" y="8789273"/>
                  </a:lnTo>
                  <a:lnTo>
                    <a:pt x="10509489" y="8803569"/>
                  </a:lnTo>
                  <a:lnTo>
                    <a:pt x="10485661" y="8865515"/>
                  </a:lnTo>
                  <a:lnTo>
                    <a:pt x="10433245" y="8960818"/>
                  </a:lnTo>
                  <a:lnTo>
                    <a:pt x="10452305" y="8946522"/>
                  </a:lnTo>
                  <a:lnTo>
                    <a:pt x="10466601" y="8927462"/>
                  </a:lnTo>
                  <a:lnTo>
                    <a:pt x="10485661" y="8903636"/>
                  </a:lnTo>
                  <a:lnTo>
                    <a:pt x="10509489" y="8870280"/>
                  </a:lnTo>
                  <a:lnTo>
                    <a:pt x="10523785" y="8898871"/>
                  </a:lnTo>
                  <a:lnTo>
                    <a:pt x="10542845" y="8922697"/>
                  </a:lnTo>
                  <a:lnTo>
                    <a:pt x="10557141" y="8975113"/>
                  </a:lnTo>
                  <a:lnTo>
                    <a:pt x="10580965" y="8998939"/>
                  </a:lnTo>
                  <a:lnTo>
                    <a:pt x="10590497" y="9018000"/>
                  </a:lnTo>
                  <a:lnTo>
                    <a:pt x="10590497" y="8984644"/>
                  </a:lnTo>
                  <a:lnTo>
                    <a:pt x="10571433" y="8917932"/>
                  </a:lnTo>
                  <a:lnTo>
                    <a:pt x="10576201" y="8894106"/>
                  </a:lnTo>
                  <a:lnTo>
                    <a:pt x="10590497" y="8879811"/>
                  </a:lnTo>
                  <a:lnTo>
                    <a:pt x="10633381" y="8822629"/>
                  </a:lnTo>
                  <a:lnTo>
                    <a:pt x="10666737" y="8841690"/>
                  </a:lnTo>
                  <a:lnTo>
                    <a:pt x="10685797" y="8860750"/>
                  </a:lnTo>
                  <a:lnTo>
                    <a:pt x="10695329" y="8855985"/>
                  </a:lnTo>
                  <a:lnTo>
                    <a:pt x="10719153" y="8855985"/>
                  </a:lnTo>
                  <a:lnTo>
                    <a:pt x="10757273" y="8865515"/>
                  </a:lnTo>
                  <a:lnTo>
                    <a:pt x="10795397" y="8879811"/>
                  </a:lnTo>
                  <a:lnTo>
                    <a:pt x="10833517" y="8903636"/>
                  </a:lnTo>
                  <a:lnTo>
                    <a:pt x="10862109" y="8932227"/>
                  </a:lnTo>
                  <a:lnTo>
                    <a:pt x="10881169" y="8960818"/>
                  </a:lnTo>
                  <a:lnTo>
                    <a:pt x="10890697" y="8979878"/>
                  </a:lnTo>
                  <a:lnTo>
                    <a:pt x="10895465" y="8989409"/>
                  </a:lnTo>
                  <a:lnTo>
                    <a:pt x="10904993" y="9022765"/>
                  </a:lnTo>
                  <a:lnTo>
                    <a:pt x="10900229" y="9041825"/>
                  </a:lnTo>
                  <a:lnTo>
                    <a:pt x="10871637" y="9084711"/>
                  </a:lnTo>
                  <a:lnTo>
                    <a:pt x="10857341" y="9103772"/>
                  </a:lnTo>
                  <a:lnTo>
                    <a:pt x="10838281" y="9113302"/>
                  </a:lnTo>
                  <a:lnTo>
                    <a:pt x="10800161" y="9103772"/>
                  </a:lnTo>
                  <a:lnTo>
                    <a:pt x="10785865" y="9108537"/>
                  </a:lnTo>
                  <a:lnTo>
                    <a:pt x="10771569" y="9122832"/>
                  </a:lnTo>
                  <a:lnTo>
                    <a:pt x="10728685" y="9184779"/>
                  </a:lnTo>
                  <a:lnTo>
                    <a:pt x="10704857" y="9208605"/>
                  </a:lnTo>
                  <a:lnTo>
                    <a:pt x="10681033" y="9227665"/>
                  </a:lnTo>
                  <a:lnTo>
                    <a:pt x="10676269" y="9237195"/>
                  </a:lnTo>
                  <a:lnTo>
                    <a:pt x="10728685" y="9237195"/>
                  </a:lnTo>
                  <a:lnTo>
                    <a:pt x="10742981" y="9218135"/>
                  </a:lnTo>
                  <a:lnTo>
                    <a:pt x="10752509" y="9184779"/>
                  </a:lnTo>
                  <a:lnTo>
                    <a:pt x="10776337" y="9151423"/>
                  </a:lnTo>
                  <a:lnTo>
                    <a:pt x="10814457" y="9132362"/>
                  </a:lnTo>
                  <a:lnTo>
                    <a:pt x="10876401" y="9165718"/>
                  </a:lnTo>
                  <a:lnTo>
                    <a:pt x="10904993" y="9165718"/>
                  </a:lnTo>
                  <a:lnTo>
                    <a:pt x="10924053" y="9132362"/>
                  </a:lnTo>
                  <a:lnTo>
                    <a:pt x="10947881" y="9108537"/>
                  </a:lnTo>
                  <a:lnTo>
                    <a:pt x="10962177" y="9103772"/>
                  </a:lnTo>
                  <a:lnTo>
                    <a:pt x="10966941" y="9103772"/>
                  </a:lnTo>
                  <a:lnTo>
                    <a:pt x="10986001" y="9132362"/>
                  </a:lnTo>
                  <a:lnTo>
                    <a:pt x="10990765" y="9151423"/>
                  </a:lnTo>
                  <a:lnTo>
                    <a:pt x="10990765" y="9203840"/>
                  </a:lnTo>
                  <a:lnTo>
                    <a:pt x="10986001" y="9218135"/>
                  </a:lnTo>
                  <a:lnTo>
                    <a:pt x="10971705" y="9256256"/>
                  </a:lnTo>
                  <a:lnTo>
                    <a:pt x="10928821" y="9308672"/>
                  </a:lnTo>
                  <a:lnTo>
                    <a:pt x="10904993" y="9332498"/>
                  </a:lnTo>
                  <a:lnTo>
                    <a:pt x="10871637" y="9342028"/>
                  </a:lnTo>
                  <a:lnTo>
                    <a:pt x="10843045" y="9361089"/>
                  </a:lnTo>
                  <a:lnTo>
                    <a:pt x="10828753" y="9375384"/>
                  </a:lnTo>
                  <a:lnTo>
                    <a:pt x="10819221" y="9399210"/>
                  </a:lnTo>
                  <a:lnTo>
                    <a:pt x="10809693" y="9413505"/>
                  </a:lnTo>
                  <a:lnTo>
                    <a:pt x="10795397" y="9423035"/>
                  </a:lnTo>
                  <a:lnTo>
                    <a:pt x="10809693" y="9442096"/>
                  </a:lnTo>
                  <a:lnTo>
                    <a:pt x="10819221" y="9442096"/>
                  </a:lnTo>
                  <a:lnTo>
                    <a:pt x="10823985" y="9432566"/>
                  </a:lnTo>
                  <a:lnTo>
                    <a:pt x="10843045" y="9389679"/>
                  </a:lnTo>
                  <a:lnTo>
                    <a:pt x="10857341" y="9370619"/>
                  </a:lnTo>
                  <a:lnTo>
                    <a:pt x="10866873" y="9365854"/>
                  </a:lnTo>
                  <a:lnTo>
                    <a:pt x="10871637" y="9370619"/>
                  </a:lnTo>
                  <a:lnTo>
                    <a:pt x="10881169" y="9375384"/>
                  </a:lnTo>
                  <a:lnTo>
                    <a:pt x="10890697" y="9389679"/>
                  </a:lnTo>
                  <a:lnTo>
                    <a:pt x="10890697" y="9427800"/>
                  </a:lnTo>
                  <a:lnTo>
                    <a:pt x="10866873" y="9565989"/>
                  </a:lnTo>
                  <a:lnTo>
                    <a:pt x="10885933" y="9527868"/>
                  </a:lnTo>
                  <a:lnTo>
                    <a:pt x="10924053" y="9384914"/>
                  </a:lnTo>
                  <a:lnTo>
                    <a:pt x="10933585" y="9356324"/>
                  </a:lnTo>
                  <a:lnTo>
                    <a:pt x="10957409" y="9322968"/>
                  </a:lnTo>
                  <a:lnTo>
                    <a:pt x="11000297" y="9280082"/>
                  </a:lnTo>
                  <a:lnTo>
                    <a:pt x="11038417" y="9256256"/>
                  </a:lnTo>
                  <a:lnTo>
                    <a:pt x="11076537" y="9237195"/>
                  </a:lnTo>
                  <a:lnTo>
                    <a:pt x="11095597" y="9227665"/>
                  </a:lnTo>
                  <a:lnTo>
                    <a:pt x="11119425" y="9232430"/>
                  </a:lnTo>
                  <a:lnTo>
                    <a:pt x="11138485" y="9256256"/>
                  </a:lnTo>
                  <a:lnTo>
                    <a:pt x="11157545" y="9261021"/>
                  </a:lnTo>
                  <a:lnTo>
                    <a:pt x="11181373" y="9256256"/>
                  </a:lnTo>
                  <a:lnTo>
                    <a:pt x="11200433" y="9256256"/>
                  </a:lnTo>
                  <a:lnTo>
                    <a:pt x="11219493" y="9265786"/>
                  </a:lnTo>
                  <a:lnTo>
                    <a:pt x="11233789" y="9284847"/>
                  </a:lnTo>
                  <a:lnTo>
                    <a:pt x="11262377" y="9303907"/>
                  </a:lnTo>
                  <a:lnTo>
                    <a:pt x="11324325" y="9342028"/>
                  </a:lnTo>
                  <a:lnTo>
                    <a:pt x="11329089" y="9346793"/>
                  </a:lnTo>
                  <a:lnTo>
                    <a:pt x="11338621" y="9361089"/>
                  </a:lnTo>
                  <a:lnTo>
                    <a:pt x="11343385" y="9380149"/>
                  </a:lnTo>
                  <a:lnTo>
                    <a:pt x="11343385" y="9399210"/>
                  </a:lnTo>
                  <a:lnTo>
                    <a:pt x="11333857" y="9418270"/>
                  </a:lnTo>
                  <a:lnTo>
                    <a:pt x="11324325" y="9432566"/>
                  </a:lnTo>
                  <a:lnTo>
                    <a:pt x="11314793" y="9437331"/>
                  </a:lnTo>
                  <a:lnTo>
                    <a:pt x="11300501" y="9446861"/>
                  </a:lnTo>
                  <a:lnTo>
                    <a:pt x="11276673" y="9475452"/>
                  </a:lnTo>
                  <a:lnTo>
                    <a:pt x="11271909" y="9480217"/>
                  </a:lnTo>
                  <a:lnTo>
                    <a:pt x="11233789" y="9489747"/>
                  </a:lnTo>
                  <a:lnTo>
                    <a:pt x="11200433" y="9494512"/>
                  </a:lnTo>
                  <a:lnTo>
                    <a:pt x="11176605" y="9508808"/>
                  </a:lnTo>
                  <a:lnTo>
                    <a:pt x="11133721" y="9537398"/>
                  </a:lnTo>
                  <a:lnTo>
                    <a:pt x="11081305" y="9589815"/>
                  </a:lnTo>
                  <a:lnTo>
                    <a:pt x="11081305" y="9604110"/>
                  </a:lnTo>
                  <a:lnTo>
                    <a:pt x="11100365" y="9608875"/>
                  </a:lnTo>
                  <a:lnTo>
                    <a:pt x="11119425" y="9604110"/>
                  </a:lnTo>
                  <a:lnTo>
                    <a:pt x="11148017" y="9565989"/>
                  </a:lnTo>
                  <a:lnTo>
                    <a:pt x="11167077" y="9551694"/>
                  </a:lnTo>
                  <a:lnTo>
                    <a:pt x="11205197" y="9537398"/>
                  </a:lnTo>
                  <a:lnTo>
                    <a:pt x="11257613" y="9527868"/>
                  </a:lnTo>
                  <a:lnTo>
                    <a:pt x="11281437" y="9527868"/>
                  </a:lnTo>
                  <a:lnTo>
                    <a:pt x="11281437" y="9532633"/>
                  </a:lnTo>
                  <a:lnTo>
                    <a:pt x="11286205" y="9542164"/>
                  </a:lnTo>
                  <a:lnTo>
                    <a:pt x="11286205" y="9556459"/>
                  </a:lnTo>
                  <a:lnTo>
                    <a:pt x="11281437" y="9575519"/>
                  </a:lnTo>
                  <a:lnTo>
                    <a:pt x="11271909" y="9585050"/>
                  </a:lnTo>
                  <a:lnTo>
                    <a:pt x="11243317" y="9632701"/>
                  </a:lnTo>
                  <a:lnTo>
                    <a:pt x="11262377" y="9646996"/>
                  </a:lnTo>
                  <a:lnTo>
                    <a:pt x="11286205" y="9651762"/>
                  </a:lnTo>
                  <a:lnTo>
                    <a:pt x="11300501" y="9637466"/>
                  </a:lnTo>
                  <a:lnTo>
                    <a:pt x="11310029" y="9608875"/>
                  </a:lnTo>
                  <a:lnTo>
                    <a:pt x="11324325" y="9594580"/>
                  </a:lnTo>
                  <a:lnTo>
                    <a:pt x="11338621" y="9589815"/>
                  </a:lnTo>
                  <a:lnTo>
                    <a:pt x="11352917" y="9585050"/>
                  </a:lnTo>
                  <a:lnTo>
                    <a:pt x="11367213" y="9570754"/>
                  </a:lnTo>
                  <a:lnTo>
                    <a:pt x="11367213" y="9565989"/>
                  </a:lnTo>
                  <a:lnTo>
                    <a:pt x="11352917" y="9551694"/>
                  </a:lnTo>
                  <a:lnTo>
                    <a:pt x="11348149" y="9542164"/>
                  </a:lnTo>
                  <a:lnTo>
                    <a:pt x="11357681" y="9518338"/>
                  </a:lnTo>
                  <a:lnTo>
                    <a:pt x="11367213" y="9494512"/>
                  </a:lnTo>
                  <a:lnTo>
                    <a:pt x="11381505" y="9480217"/>
                  </a:lnTo>
                  <a:lnTo>
                    <a:pt x="11391037" y="9475452"/>
                  </a:lnTo>
                  <a:lnTo>
                    <a:pt x="11424393" y="9494512"/>
                  </a:lnTo>
                  <a:lnTo>
                    <a:pt x="11443453" y="9523103"/>
                  </a:lnTo>
                  <a:lnTo>
                    <a:pt x="11500633" y="9608875"/>
                  </a:lnTo>
                  <a:lnTo>
                    <a:pt x="11510165" y="9623171"/>
                  </a:lnTo>
                  <a:lnTo>
                    <a:pt x="11524461" y="9685117"/>
                  </a:lnTo>
                  <a:lnTo>
                    <a:pt x="11529225" y="9713708"/>
                  </a:lnTo>
                  <a:lnTo>
                    <a:pt x="11524461" y="9732769"/>
                  </a:lnTo>
                  <a:lnTo>
                    <a:pt x="11524461" y="9747064"/>
                  </a:lnTo>
                  <a:lnTo>
                    <a:pt x="11514929" y="9751829"/>
                  </a:lnTo>
                  <a:lnTo>
                    <a:pt x="11505401" y="9751829"/>
                  </a:lnTo>
                  <a:lnTo>
                    <a:pt x="11433921" y="9723238"/>
                  </a:lnTo>
                  <a:lnTo>
                    <a:pt x="11395801" y="9728004"/>
                  </a:lnTo>
                  <a:lnTo>
                    <a:pt x="11381505" y="9737534"/>
                  </a:lnTo>
                  <a:lnTo>
                    <a:pt x="11371977" y="9747064"/>
                  </a:lnTo>
                  <a:lnTo>
                    <a:pt x="11362445" y="9761359"/>
                  </a:lnTo>
                  <a:lnTo>
                    <a:pt x="11357681" y="9775655"/>
                  </a:lnTo>
                  <a:lnTo>
                    <a:pt x="11343385" y="9785185"/>
                  </a:lnTo>
                  <a:lnTo>
                    <a:pt x="11295733" y="9785185"/>
                  </a:lnTo>
                  <a:lnTo>
                    <a:pt x="11271909" y="9794715"/>
                  </a:lnTo>
                  <a:lnTo>
                    <a:pt x="11224257" y="9813776"/>
                  </a:lnTo>
                  <a:lnTo>
                    <a:pt x="11209961" y="9828071"/>
                  </a:lnTo>
                  <a:lnTo>
                    <a:pt x="11205197" y="9842366"/>
                  </a:lnTo>
                  <a:lnTo>
                    <a:pt x="11233789" y="9842366"/>
                  </a:lnTo>
                  <a:lnTo>
                    <a:pt x="11276673" y="9818541"/>
                  </a:lnTo>
                  <a:lnTo>
                    <a:pt x="11319561" y="9813776"/>
                  </a:lnTo>
                  <a:lnTo>
                    <a:pt x="11391037" y="9861427"/>
                  </a:lnTo>
                  <a:lnTo>
                    <a:pt x="11414861" y="9866192"/>
                  </a:lnTo>
                  <a:lnTo>
                    <a:pt x="11429157" y="9861427"/>
                  </a:lnTo>
                  <a:lnTo>
                    <a:pt x="11443453" y="9856662"/>
                  </a:lnTo>
                  <a:lnTo>
                    <a:pt x="11500633" y="9861427"/>
                  </a:lnTo>
                  <a:lnTo>
                    <a:pt x="11519697" y="9866192"/>
                  </a:lnTo>
                  <a:lnTo>
                    <a:pt x="11548285" y="9885253"/>
                  </a:lnTo>
                  <a:lnTo>
                    <a:pt x="11591173" y="9923374"/>
                  </a:lnTo>
                  <a:lnTo>
                    <a:pt x="11600701" y="9932904"/>
                  </a:lnTo>
                  <a:lnTo>
                    <a:pt x="11605469" y="9942434"/>
                  </a:lnTo>
                  <a:lnTo>
                    <a:pt x="11610233" y="9956730"/>
                  </a:lnTo>
                  <a:lnTo>
                    <a:pt x="11605469" y="9985320"/>
                  </a:lnTo>
                  <a:lnTo>
                    <a:pt x="11600701" y="9994851"/>
                  </a:lnTo>
                  <a:lnTo>
                    <a:pt x="11586405" y="10004381"/>
                  </a:lnTo>
                  <a:lnTo>
                    <a:pt x="11524461" y="9994851"/>
                  </a:lnTo>
                  <a:lnTo>
                    <a:pt x="11505401" y="9990086"/>
                  </a:lnTo>
                  <a:lnTo>
                    <a:pt x="11481573" y="9994851"/>
                  </a:lnTo>
                  <a:lnTo>
                    <a:pt x="11462513" y="9994851"/>
                  </a:lnTo>
                  <a:lnTo>
                    <a:pt x="11438689" y="9980555"/>
                  </a:lnTo>
                  <a:lnTo>
                    <a:pt x="11410097" y="9961495"/>
                  </a:lnTo>
                  <a:lnTo>
                    <a:pt x="11371977" y="9980555"/>
                  </a:lnTo>
                  <a:lnTo>
                    <a:pt x="11338621" y="9966260"/>
                  </a:lnTo>
                  <a:lnTo>
                    <a:pt x="11305265" y="9980555"/>
                  </a:lnTo>
                  <a:lnTo>
                    <a:pt x="11238553" y="10028206"/>
                  </a:lnTo>
                  <a:lnTo>
                    <a:pt x="11248081" y="10032972"/>
                  </a:lnTo>
                  <a:lnTo>
                    <a:pt x="11338621" y="9994851"/>
                  </a:lnTo>
                  <a:lnTo>
                    <a:pt x="11352917" y="9994851"/>
                  </a:lnTo>
                  <a:lnTo>
                    <a:pt x="11381505" y="10013911"/>
                  </a:lnTo>
                  <a:lnTo>
                    <a:pt x="11429157" y="10042502"/>
                  </a:lnTo>
                  <a:lnTo>
                    <a:pt x="11438689" y="10052032"/>
                  </a:lnTo>
                  <a:lnTo>
                    <a:pt x="11438689" y="10099684"/>
                  </a:lnTo>
                  <a:lnTo>
                    <a:pt x="11433921" y="10128274"/>
                  </a:lnTo>
                  <a:lnTo>
                    <a:pt x="11419629" y="10161630"/>
                  </a:lnTo>
                  <a:lnTo>
                    <a:pt x="11400565" y="10156865"/>
                  </a:lnTo>
                  <a:lnTo>
                    <a:pt x="11352917" y="10137804"/>
                  </a:lnTo>
                  <a:lnTo>
                    <a:pt x="11329089" y="10133039"/>
                  </a:lnTo>
                  <a:lnTo>
                    <a:pt x="11314793" y="10137804"/>
                  </a:lnTo>
                  <a:lnTo>
                    <a:pt x="11295733" y="10152100"/>
                  </a:lnTo>
                  <a:lnTo>
                    <a:pt x="11286205" y="10152100"/>
                  </a:lnTo>
                  <a:lnTo>
                    <a:pt x="11209961" y="10123509"/>
                  </a:lnTo>
                  <a:lnTo>
                    <a:pt x="11195665" y="10123509"/>
                  </a:lnTo>
                  <a:lnTo>
                    <a:pt x="11190901" y="10128274"/>
                  </a:lnTo>
                  <a:lnTo>
                    <a:pt x="11195665" y="10133039"/>
                  </a:lnTo>
                  <a:lnTo>
                    <a:pt x="11267145" y="10171160"/>
                  </a:lnTo>
                  <a:lnTo>
                    <a:pt x="11314793" y="10175926"/>
                  </a:lnTo>
                  <a:lnTo>
                    <a:pt x="11348149" y="10185456"/>
                  </a:lnTo>
                  <a:lnTo>
                    <a:pt x="11367213" y="10199751"/>
                  </a:lnTo>
                  <a:lnTo>
                    <a:pt x="11376741" y="10209282"/>
                  </a:lnTo>
                  <a:lnTo>
                    <a:pt x="11376741" y="10233107"/>
                  </a:lnTo>
                  <a:lnTo>
                    <a:pt x="11395801" y="10261698"/>
                  </a:lnTo>
                  <a:lnTo>
                    <a:pt x="11410097" y="10275993"/>
                  </a:lnTo>
                  <a:lnTo>
                    <a:pt x="11419629" y="10275993"/>
                  </a:lnTo>
                  <a:lnTo>
                    <a:pt x="11438689" y="10266463"/>
                  </a:lnTo>
                  <a:lnTo>
                    <a:pt x="11452985" y="10261698"/>
                  </a:lnTo>
                  <a:lnTo>
                    <a:pt x="11467277" y="10271228"/>
                  </a:lnTo>
                  <a:lnTo>
                    <a:pt x="11486341" y="10285524"/>
                  </a:lnTo>
                  <a:lnTo>
                    <a:pt x="11505401" y="10290288"/>
                  </a:lnTo>
                  <a:lnTo>
                    <a:pt x="11524461" y="10299819"/>
                  </a:lnTo>
                  <a:lnTo>
                    <a:pt x="11538757" y="10299819"/>
                  </a:lnTo>
                  <a:lnTo>
                    <a:pt x="11581641" y="10295054"/>
                  </a:lnTo>
                  <a:lnTo>
                    <a:pt x="11595937" y="10304584"/>
                  </a:lnTo>
                  <a:lnTo>
                    <a:pt x="11600701" y="10309349"/>
                  </a:lnTo>
                  <a:lnTo>
                    <a:pt x="11595937" y="10318879"/>
                  </a:lnTo>
                  <a:lnTo>
                    <a:pt x="11557817" y="10337940"/>
                  </a:lnTo>
                  <a:lnTo>
                    <a:pt x="11553053" y="10357000"/>
                  </a:lnTo>
                  <a:lnTo>
                    <a:pt x="11572113" y="10385591"/>
                  </a:lnTo>
                  <a:lnTo>
                    <a:pt x="11586405" y="10404652"/>
                  </a:lnTo>
                  <a:lnTo>
                    <a:pt x="11581641" y="10418947"/>
                  </a:lnTo>
                  <a:lnTo>
                    <a:pt x="11572113" y="10452303"/>
                  </a:lnTo>
                  <a:lnTo>
                    <a:pt x="11567345" y="10466598"/>
                  </a:lnTo>
                  <a:lnTo>
                    <a:pt x="11572113" y="10471364"/>
                  </a:lnTo>
                  <a:lnTo>
                    <a:pt x="11600701" y="10442773"/>
                  </a:lnTo>
                  <a:lnTo>
                    <a:pt x="11605469" y="10447538"/>
                  </a:lnTo>
                  <a:lnTo>
                    <a:pt x="11605469" y="10485659"/>
                  </a:lnTo>
                  <a:lnTo>
                    <a:pt x="11610233" y="10480894"/>
                  </a:lnTo>
                  <a:lnTo>
                    <a:pt x="11619761" y="10447538"/>
                  </a:lnTo>
                  <a:lnTo>
                    <a:pt x="11614997" y="10409417"/>
                  </a:lnTo>
                  <a:lnTo>
                    <a:pt x="11629293" y="10390356"/>
                  </a:lnTo>
                  <a:lnTo>
                    <a:pt x="11681709" y="10376061"/>
                  </a:lnTo>
                  <a:lnTo>
                    <a:pt x="11672181" y="10442773"/>
                  </a:lnTo>
                  <a:lnTo>
                    <a:pt x="11672181" y="10480894"/>
                  </a:lnTo>
                  <a:lnTo>
                    <a:pt x="11648353" y="10533310"/>
                  </a:lnTo>
                  <a:lnTo>
                    <a:pt x="11629293" y="10552370"/>
                  </a:lnTo>
                  <a:lnTo>
                    <a:pt x="11629293" y="10557136"/>
                  </a:lnTo>
                  <a:lnTo>
                    <a:pt x="11643589" y="10566666"/>
                  </a:lnTo>
                  <a:lnTo>
                    <a:pt x="11653117" y="10566666"/>
                  </a:lnTo>
                  <a:lnTo>
                    <a:pt x="11657885" y="10557136"/>
                  </a:lnTo>
                  <a:lnTo>
                    <a:pt x="11676945" y="10514250"/>
                  </a:lnTo>
                  <a:lnTo>
                    <a:pt x="11715065" y="10466598"/>
                  </a:lnTo>
                  <a:lnTo>
                    <a:pt x="11719829" y="10466598"/>
                  </a:lnTo>
                  <a:lnTo>
                    <a:pt x="11719829" y="10480894"/>
                  </a:lnTo>
                  <a:lnTo>
                    <a:pt x="11715065" y="10514250"/>
                  </a:lnTo>
                  <a:lnTo>
                    <a:pt x="11734125" y="10528545"/>
                  </a:lnTo>
                  <a:lnTo>
                    <a:pt x="11753185" y="10514250"/>
                  </a:lnTo>
                  <a:lnTo>
                    <a:pt x="11757953" y="10499954"/>
                  </a:lnTo>
                  <a:lnTo>
                    <a:pt x="11781777" y="10504719"/>
                  </a:lnTo>
                  <a:lnTo>
                    <a:pt x="11791309" y="10509484"/>
                  </a:lnTo>
                  <a:lnTo>
                    <a:pt x="11791309" y="10523780"/>
                  </a:lnTo>
                  <a:lnTo>
                    <a:pt x="11781777" y="10580961"/>
                  </a:lnTo>
                  <a:lnTo>
                    <a:pt x="11786541" y="10590492"/>
                  </a:lnTo>
                  <a:lnTo>
                    <a:pt x="11805601" y="10628613"/>
                  </a:lnTo>
                  <a:lnTo>
                    <a:pt x="11810369" y="10628613"/>
                  </a:lnTo>
                  <a:lnTo>
                    <a:pt x="11805601" y="10609552"/>
                  </a:lnTo>
                  <a:lnTo>
                    <a:pt x="11800837" y="10566666"/>
                  </a:lnTo>
                  <a:lnTo>
                    <a:pt x="11805601" y="10547606"/>
                  </a:lnTo>
                  <a:lnTo>
                    <a:pt x="11824665" y="10519015"/>
                  </a:lnTo>
                  <a:lnTo>
                    <a:pt x="11858021" y="10485659"/>
                  </a:lnTo>
                  <a:lnTo>
                    <a:pt x="11872313" y="10476128"/>
                  </a:lnTo>
                  <a:lnTo>
                    <a:pt x="11881845" y="10480894"/>
                  </a:lnTo>
                  <a:lnTo>
                    <a:pt x="11896141" y="10499954"/>
                  </a:lnTo>
                  <a:lnTo>
                    <a:pt x="11891377" y="10509484"/>
                  </a:lnTo>
                  <a:lnTo>
                    <a:pt x="11877081" y="10519015"/>
                  </a:lnTo>
                  <a:lnTo>
                    <a:pt x="11867549" y="10542840"/>
                  </a:lnTo>
                  <a:lnTo>
                    <a:pt x="11858021" y="10566666"/>
                  </a:lnTo>
                  <a:lnTo>
                    <a:pt x="11867549" y="10585726"/>
                  </a:lnTo>
                  <a:lnTo>
                    <a:pt x="11896141" y="10585726"/>
                  </a:lnTo>
                  <a:lnTo>
                    <a:pt x="11924733" y="10561901"/>
                  </a:lnTo>
                  <a:lnTo>
                    <a:pt x="11943793" y="10571431"/>
                  </a:lnTo>
                  <a:lnTo>
                    <a:pt x="11962853" y="10604787"/>
                  </a:lnTo>
                  <a:lnTo>
                    <a:pt x="12000973" y="10652438"/>
                  </a:lnTo>
                  <a:lnTo>
                    <a:pt x="12024797" y="10638143"/>
                  </a:lnTo>
                  <a:lnTo>
                    <a:pt x="12048625" y="10676264"/>
                  </a:lnTo>
                  <a:lnTo>
                    <a:pt x="12015269" y="10704855"/>
                  </a:lnTo>
                  <a:lnTo>
                    <a:pt x="12024797" y="10762036"/>
                  </a:lnTo>
                  <a:lnTo>
                    <a:pt x="11977149" y="10762036"/>
                  </a:lnTo>
                  <a:lnTo>
                    <a:pt x="11953321" y="10766801"/>
                  </a:lnTo>
                  <a:lnTo>
                    <a:pt x="11934261" y="10762036"/>
                  </a:lnTo>
                  <a:lnTo>
                    <a:pt x="11915201" y="10762036"/>
                  </a:lnTo>
                  <a:lnTo>
                    <a:pt x="11934261" y="10776332"/>
                  </a:lnTo>
                  <a:lnTo>
                    <a:pt x="11967617" y="10781097"/>
                  </a:lnTo>
                  <a:lnTo>
                    <a:pt x="11972381" y="10800157"/>
                  </a:lnTo>
                  <a:lnTo>
                    <a:pt x="11996209" y="10800157"/>
                  </a:lnTo>
                  <a:lnTo>
                    <a:pt x="12015269" y="10795392"/>
                  </a:lnTo>
                  <a:lnTo>
                    <a:pt x="12053389" y="10800157"/>
                  </a:lnTo>
                  <a:lnTo>
                    <a:pt x="12053389" y="10776332"/>
                  </a:lnTo>
                  <a:lnTo>
                    <a:pt x="12077217" y="10766801"/>
                  </a:lnTo>
                  <a:lnTo>
                    <a:pt x="12091509" y="10752506"/>
                  </a:lnTo>
                  <a:lnTo>
                    <a:pt x="12101041" y="10757271"/>
                  </a:lnTo>
                  <a:lnTo>
                    <a:pt x="12134397" y="10766801"/>
                  </a:lnTo>
                  <a:lnTo>
                    <a:pt x="12177281" y="10809688"/>
                  </a:lnTo>
                  <a:lnTo>
                    <a:pt x="12158221" y="10833513"/>
                  </a:lnTo>
                  <a:lnTo>
                    <a:pt x="12153457" y="10857339"/>
                  </a:lnTo>
                  <a:lnTo>
                    <a:pt x="12143925" y="10876399"/>
                  </a:lnTo>
                  <a:lnTo>
                    <a:pt x="12143925" y="10895460"/>
                  </a:lnTo>
                  <a:lnTo>
                    <a:pt x="12134397" y="10904990"/>
                  </a:lnTo>
                  <a:lnTo>
                    <a:pt x="12072449" y="10976467"/>
                  </a:lnTo>
                  <a:lnTo>
                    <a:pt x="12081981" y="10976467"/>
                  </a:lnTo>
                  <a:lnTo>
                    <a:pt x="12110573" y="10957406"/>
                  </a:lnTo>
                  <a:lnTo>
                    <a:pt x="12158221" y="10933581"/>
                  </a:lnTo>
                  <a:lnTo>
                    <a:pt x="12186813" y="10924050"/>
                  </a:lnTo>
                  <a:lnTo>
                    <a:pt x="12205873" y="10928816"/>
                  </a:lnTo>
                  <a:lnTo>
                    <a:pt x="12220169" y="10933581"/>
                  </a:lnTo>
                  <a:lnTo>
                    <a:pt x="12224933" y="10924050"/>
                  </a:lnTo>
                  <a:lnTo>
                    <a:pt x="12243993" y="10933581"/>
                  </a:lnTo>
                  <a:lnTo>
                    <a:pt x="12277349" y="10943111"/>
                  </a:lnTo>
                  <a:lnTo>
                    <a:pt x="12320237" y="10885930"/>
                  </a:lnTo>
                  <a:lnTo>
                    <a:pt x="12344061" y="10895460"/>
                  </a:lnTo>
                  <a:lnTo>
                    <a:pt x="12363121" y="10933581"/>
                  </a:lnTo>
                  <a:lnTo>
                    <a:pt x="12415541" y="10990762"/>
                  </a:lnTo>
                  <a:lnTo>
                    <a:pt x="12439365" y="11028883"/>
                  </a:lnTo>
                  <a:lnTo>
                    <a:pt x="12448897" y="11043179"/>
                  </a:lnTo>
                  <a:lnTo>
                    <a:pt x="12448897" y="11057474"/>
                  </a:lnTo>
                  <a:lnTo>
                    <a:pt x="12425069" y="11076535"/>
                  </a:lnTo>
                  <a:lnTo>
                    <a:pt x="12410773" y="11076535"/>
                  </a:lnTo>
                  <a:lnTo>
                    <a:pt x="12382185" y="11047944"/>
                  </a:lnTo>
                  <a:lnTo>
                    <a:pt x="12353593" y="11033648"/>
                  </a:lnTo>
                  <a:lnTo>
                    <a:pt x="12334533" y="11033648"/>
                  </a:lnTo>
                  <a:lnTo>
                    <a:pt x="12320237" y="11047944"/>
                  </a:lnTo>
                  <a:lnTo>
                    <a:pt x="12325001" y="11052709"/>
                  </a:lnTo>
                  <a:lnTo>
                    <a:pt x="12391713" y="11100360"/>
                  </a:lnTo>
                  <a:lnTo>
                    <a:pt x="12406009" y="11133716"/>
                  </a:lnTo>
                  <a:lnTo>
                    <a:pt x="12406009" y="11152777"/>
                  </a:lnTo>
                  <a:lnTo>
                    <a:pt x="12358357" y="11176602"/>
                  </a:lnTo>
                  <a:lnTo>
                    <a:pt x="12344061" y="11176602"/>
                  </a:lnTo>
                  <a:lnTo>
                    <a:pt x="12315473" y="11167072"/>
                  </a:lnTo>
                  <a:lnTo>
                    <a:pt x="12296413" y="11143246"/>
                  </a:lnTo>
                  <a:lnTo>
                    <a:pt x="12277349" y="11138481"/>
                  </a:lnTo>
                  <a:lnTo>
                    <a:pt x="12258289" y="11133716"/>
                  </a:lnTo>
                  <a:lnTo>
                    <a:pt x="12253525" y="11138481"/>
                  </a:lnTo>
                  <a:lnTo>
                    <a:pt x="12277349" y="11171837"/>
                  </a:lnTo>
                  <a:lnTo>
                    <a:pt x="12272585" y="11186132"/>
                  </a:lnTo>
                  <a:lnTo>
                    <a:pt x="12263057" y="11190898"/>
                  </a:lnTo>
                  <a:lnTo>
                    <a:pt x="12253525" y="11209958"/>
                  </a:lnTo>
                  <a:lnTo>
                    <a:pt x="12301177" y="11238549"/>
                  </a:lnTo>
                  <a:lnTo>
                    <a:pt x="12334533" y="11271905"/>
                  </a:lnTo>
                  <a:lnTo>
                    <a:pt x="12339297" y="11281435"/>
                  </a:lnTo>
                  <a:lnTo>
                    <a:pt x="12315473" y="11290966"/>
                  </a:lnTo>
                  <a:lnTo>
                    <a:pt x="12301177" y="11290966"/>
                  </a:lnTo>
                  <a:lnTo>
                    <a:pt x="12263057" y="11290966"/>
                  </a:lnTo>
                  <a:lnTo>
                    <a:pt x="12243993" y="11281435"/>
                  </a:lnTo>
                  <a:lnTo>
                    <a:pt x="12239229" y="11290966"/>
                  </a:lnTo>
                  <a:lnTo>
                    <a:pt x="12258289" y="11305261"/>
                  </a:lnTo>
                  <a:lnTo>
                    <a:pt x="12267821" y="11314791"/>
                  </a:lnTo>
                  <a:lnTo>
                    <a:pt x="12272585" y="11333852"/>
                  </a:lnTo>
                  <a:lnTo>
                    <a:pt x="12277349" y="11348147"/>
                  </a:lnTo>
                  <a:lnTo>
                    <a:pt x="12277349" y="11357677"/>
                  </a:lnTo>
                  <a:lnTo>
                    <a:pt x="12263057" y="11371972"/>
                  </a:lnTo>
                  <a:lnTo>
                    <a:pt x="12243993" y="11400563"/>
                  </a:lnTo>
                  <a:lnTo>
                    <a:pt x="12234465" y="11433919"/>
                  </a:lnTo>
                  <a:lnTo>
                    <a:pt x="12215405" y="11438684"/>
                  </a:lnTo>
                  <a:lnTo>
                    <a:pt x="12210637" y="11429154"/>
                  </a:lnTo>
                  <a:lnTo>
                    <a:pt x="12186813" y="11438684"/>
                  </a:lnTo>
                  <a:lnTo>
                    <a:pt x="12158221" y="11424389"/>
                  </a:lnTo>
                  <a:lnTo>
                    <a:pt x="12143925" y="11410094"/>
                  </a:lnTo>
                  <a:lnTo>
                    <a:pt x="12110573" y="11352912"/>
                  </a:lnTo>
                  <a:lnTo>
                    <a:pt x="12110573" y="11357677"/>
                  </a:lnTo>
                  <a:lnTo>
                    <a:pt x="12120101" y="11391033"/>
                  </a:lnTo>
                  <a:lnTo>
                    <a:pt x="12115337" y="11405328"/>
                  </a:lnTo>
                  <a:lnTo>
                    <a:pt x="12081981" y="11419624"/>
                  </a:lnTo>
                  <a:lnTo>
                    <a:pt x="12081981" y="11424389"/>
                  </a:lnTo>
                  <a:lnTo>
                    <a:pt x="12101041" y="11433919"/>
                  </a:lnTo>
                  <a:lnTo>
                    <a:pt x="12129633" y="11443450"/>
                  </a:lnTo>
                  <a:lnTo>
                    <a:pt x="12124865" y="11467275"/>
                  </a:lnTo>
                  <a:lnTo>
                    <a:pt x="12124865" y="11586403"/>
                  </a:lnTo>
                  <a:lnTo>
                    <a:pt x="12120101" y="11629290"/>
                  </a:lnTo>
                  <a:lnTo>
                    <a:pt x="12105805" y="11662645"/>
                  </a:lnTo>
                  <a:lnTo>
                    <a:pt x="12086745" y="11700766"/>
                  </a:lnTo>
                  <a:lnTo>
                    <a:pt x="12067685" y="11676941"/>
                  </a:lnTo>
                  <a:lnTo>
                    <a:pt x="12058153" y="11653115"/>
                  </a:lnTo>
                  <a:lnTo>
                    <a:pt x="12053389" y="11643585"/>
                  </a:lnTo>
                  <a:lnTo>
                    <a:pt x="12043861" y="11634054"/>
                  </a:lnTo>
                  <a:lnTo>
                    <a:pt x="12029565" y="11629290"/>
                  </a:lnTo>
                  <a:lnTo>
                    <a:pt x="12015269" y="11629290"/>
                  </a:lnTo>
                  <a:lnTo>
                    <a:pt x="12000973" y="11648350"/>
                  </a:lnTo>
                  <a:lnTo>
                    <a:pt x="11986677" y="11629290"/>
                  </a:lnTo>
                  <a:lnTo>
                    <a:pt x="11972381" y="11610229"/>
                  </a:lnTo>
                  <a:lnTo>
                    <a:pt x="11977149" y="11553048"/>
                  </a:lnTo>
                  <a:lnTo>
                    <a:pt x="11981913" y="11524457"/>
                  </a:lnTo>
                  <a:lnTo>
                    <a:pt x="11972381" y="11538752"/>
                  </a:lnTo>
                  <a:lnTo>
                    <a:pt x="11953321" y="11576873"/>
                  </a:lnTo>
                  <a:lnTo>
                    <a:pt x="11939025" y="11629290"/>
                  </a:lnTo>
                  <a:lnTo>
                    <a:pt x="11919965" y="11610229"/>
                  </a:lnTo>
                  <a:lnTo>
                    <a:pt x="11905669" y="11586403"/>
                  </a:lnTo>
                  <a:lnTo>
                    <a:pt x="11891377" y="11562578"/>
                  </a:lnTo>
                  <a:lnTo>
                    <a:pt x="11872313" y="11533987"/>
                  </a:lnTo>
                  <a:lnTo>
                    <a:pt x="11853253" y="11500631"/>
                  </a:lnTo>
                  <a:lnTo>
                    <a:pt x="11843725" y="11462510"/>
                  </a:lnTo>
                  <a:lnTo>
                    <a:pt x="11838957" y="11452980"/>
                  </a:lnTo>
                  <a:lnTo>
                    <a:pt x="11824665" y="11419624"/>
                  </a:lnTo>
                  <a:lnTo>
                    <a:pt x="11819897" y="11410094"/>
                  </a:lnTo>
                  <a:lnTo>
                    <a:pt x="11815133" y="11405328"/>
                  </a:lnTo>
                  <a:lnTo>
                    <a:pt x="11805601" y="11386268"/>
                  </a:lnTo>
                  <a:lnTo>
                    <a:pt x="11810369" y="11362442"/>
                  </a:lnTo>
                  <a:lnTo>
                    <a:pt x="11824665" y="11338617"/>
                  </a:lnTo>
                  <a:lnTo>
                    <a:pt x="11838957" y="11319556"/>
                  </a:lnTo>
                  <a:lnTo>
                    <a:pt x="11862785" y="11300496"/>
                  </a:lnTo>
                  <a:lnTo>
                    <a:pt x="11891377" y="11290966"/>
                  </a:lnTo>
                  <a:lnTo>
                    <a:pt x="11905669" y="11267140"/>
                  </a:lnTo>
                  <a:lnTo>
                    <a:pt x="11919965" y="11219488"/>
                  </a:lnTo>
                  <a:lnTo>
                    <a:pt x="11939025" y="11190898"/>
                  </a:lnTo>
                  <a:lnTo>
                    <a:pt x="11958085" y="11171837"/>
                  </a:lnTo>
                  <a:lnTo>
                    <a:pt x="11948557" y="11171837"/>
                  </a:lnTo>
                  <a:lnTo>
                    <a:pt x="11924733" y="11186132"/>
                  </a:lnTo>
                  <a:lnTo>
                    <a:pt x="11905669" y="11205193"/>
                  </a:lnTo>
                  <a:lnTo>
                    <a:pt x="11886609" y="11243314"/>
                  </a:lnTo>
                  <a:lnTo>
                    <a:pt x="11867549" y="11267140"/>
                  </a:lnTo>
                  <a:lnTo>
                    <a:pt x="11819897" y="11290966"/>
                  </a:lnTo>
                  <a:lnTo>
                    <a:pt x="11805601" y="11295730"/>
                  </a:lnTo>
                  <a:lnTo>
                    <a:pt x="11786541" y="11300496"/>
                  </a:lnTo>
                  <a:lnTo>
                    <a:pt x="11738893" y="11295730"/>
                  </a:lnTo>
                  <a:lnTo>
                    <a:pt x="11729361" y="11286200"/>
                  </a:lnTo>
                  <a:lnTo>
                    <a:pt x="11734125" y="11262375"/>
                  </a:lnTo>
                  <a:lnTo>
                    <a:pt x="11767481" y="11214723"/>
                  </a:lnTo>
                  <a:lnTo>
                    <a:pt x="11762717" y="11214723"/>
                  </a:lnTo>
                  <a:lnTo>
                    <a:pt x="11753185" y="11229019"/>
                  </a:lnTo>
                  <a:lnTo>
                    <a:pt x="11734125" y="11243314"/>
                  </a:lnTo>
                  <a:lnTo>
                    <a:pt x="11724597" y="11248079"/>
                  </a:lnTo>
                  <a:lnTo>
                    <a:pt x="11705537" y="11243314"/>
                  </a:lnTo>
                  <a:lnTo>
                    <a:pt x="11681709" y="11214723"/>
                  </a:lnTo>
                  <a:lnTo>
                    <a:pt x="11672181" y="11205193"/>
                  </a:lnTo>
                  <a:lnTo>
                    <a:pt x="11648353" y="11195663"/>
                  </a:lnTo>
                  <a:lnTo>
                    <a:pt x="11638825" y="11186132"/>
                  </a:lnTo>
                  <a:lnTo>
                    <a:pt x="11600701" y="11119421"/>
                  </a:lnTo>
                  <a:lnTo>
                    <a:pt x="11595937" y="11100360"/>
                  </a:lnTo>
                  <a:lnTo>
                    <a:pt x="11591173" y="11081300"/>
                  </a:lnTo>
                  <a:lnTo>
                    <a:pt x="11576877" y="11062239"/>
                  </a:lnTo>
                  <a:lnTo>
                    <a:pt x="11557817" y="11052709"/>
                  </a:lnTo>
                  <a:lnTo>
                    <a:pt x="11553053" y="11052709"/>
                  </a:lnTo>
                  <a:lnTo>
                    <a:pt x="11562581" y="11071770"/>
                  </a:lnTo>
                  <a:lnTo>
                    <a:pt x="11562581" y="11081300"/>
                  </a:lnTo>
                  <a:lnTo>
                    <a:pt x="11543521" y="11090830"/>
                  </a:lnTo>
                  <a:lnTo>
                    <a:pt x="11529225" y="11090830"/>
                  </a:lnTo>
                  <a:lnTo>
                    <a:pt x="11510165" y="11076535"/>
                  </a:lnTo>
                  <a:lnTo>
                    <a:pt x="11510165" y="11095595"/>
                  </a:lnTo>
                  <a:lnTo>
                    <a:pt x="11529225" y="11128951"/>
                  </a:lnTo>
                  <a:lnTo>
                    <a:pt x="11529225" y="11171837"/>
                  </a:lnTo>
                  <a:lnTo>
                    <a:pt x="11519697" y="11176602"/>
                  </a:lnTo>
                  <a:lnTo>
                    <a:pt x="11510165" y="11176602"/>
                  </a:lnTo>
                  <a:lnTo>
                    <a:pt x="11500633" y="11171837"/>
                  </a:lnTo>
                  <a:lnTo>
                    <a:pt x="11472045" y="11138481"/>
                  </a:lnTo>
                  <a:lnTo>
                    <a:pt x="11443453" y="11119421"/>
                  </a:lnTo>
                  <a:lnTo>
                    <a:pt x="11419629" y="11105126"/>
                  </a:lnTo>
                  <a:lnTo>
                    <a:pt x="11419629" y="11114656"/>
                  </a:lnTo>
                  <a:lnTo>
                    <a:pt x="11433921" y="11152777"/>
                  </a:lnTo>
                  <a:lnTo>
                    <a:pt x="11448217" y="11190898"/>
                  </a:lnTo>
                  <a:lnTo>
                    <a:pt x="11472045" y="11224254"/>
                  </a:lnTo>
                  <a:lnTo>
                    <a:pt x="11510165" y="11262375"/>
                  </a:lnTo>
                  <a:lnTo>
                    <a:pt x="11529225" y="11281435"/>
                  </a:lnTo>
                  <a:lnTo>
                    <a:pt x="11514929" y="11314791"/>
                  </a:lnTo>
                  <a:lnTo>
                    <a:pt x="11500633" y="11324321"/>
                  </a:lnTo>
                  <a:lnTo>
                    <a:pt x="11495869" y="11324321"/>
                  </a:lnTo>
                  <a:lnTo>
                    <a:pt x="11472045" y="11324321"/>
                  </a:lnTo>
                  <a:lnTo>
                    <a:pt x="11429157" y="11310026"/>
                  </a:lnTo>
                  <a:lnTo>
                    <a:pt x="11405333" y="11290966"/>
                  </a:lnTo>
                  <a:lnTo>
                    <a:pt x="11376741" y="11248079"/>
                  </a:lnTo>
                  <a:lnTo>
                    <a:pt x="11329089" y="11200428"/>
                  </a:lnTo>
                  <a:lnTo>
                    <a:pt x="11319561" y="11200428"/>
                  </a:lnTo>
                  <a:lnTo>
                    <a:pt x="11286205" y="11219488"/>
                  </a:lnTo>
                  <a:lnTo>
                    <a:pt x="11290969" y="11219488"/>
                  </a:lnTo>
                  <a:lnTo>
                    <a:pt x="11310029" y="11224254"/>
                  </a:lnTo>
                  <a:lnTo>
                    <a:pt x="11329089" y="11229019"/>
                  </a:lnTo>
                  <a:lnTo>
                    <a:pt x="11367213" y="11267140"/>
                  </a:lnTo>
                  <a:lnTo>
                    <a:pt x="11371977" y="11281435"/>
                  </a:lnTo>
                  <a:lnTo>
                    <a:pt x="11362445" y="11295730"/>
                  </a:lnTo>
                  <a:lnTo>
                    <a:pt x="11362445" y="11319556"/>
                  </a:lnTo>
                  <a:lnTo>
                    <a:pt x="11371977" y="11343382"/>
                  </a:lnTo>
                  <a:lnTo>
                    <a:pt x="11381505" y="11362442"/>
                  </a:lnTo>
                  <a:lnTo>
                    <a:pt x="11405333" y="11371972"/>
                  </a:lnTo>
                  <a:lnTo>
                    <a:pt x="11419629" y="11376738"/>
                  </a:lnTo>
                  <a:lnTo>
                    <a:pt x="11419629" y="11381503"/>
                  </a:lnTo>
                  <a:lnTo>
                    <a:pt x="11410097" y="11438684"/>
                  </a:lnTo>
                  <a:lnTo>
                    <a:pt x="11405333" y="11452980"/>
                  </a:lnTo>
                  <a:lnTo>
                    <a:pt x="11410097" y="11462510"/>
                  </a:lnTo>
                  <a:lnTo>
                    <a:pt x="11414861" y="11462510"/>
                  </a:lnTo>
                  <a:lnTo>
                    <a:pt x="11443453" y="11438684"/>
                  </a:lnTo>
                  <a:lnTo>
                    <a:pt x="11457749" y="11433919"/>
                  </a:lnTo>
                  <a:lnTo>
                    <a:pt x="11467277" y="11429154"/>
                  </a:lnTo>
                  <a:lnTo>
                    <a:pt x="11481573" y="11438684"/>
                  </a:lnTo>
                  <a:lnTo>
                    <a:pt x="11495869" y="11452980"/>
                  </a:lnTo>
                  <a:lnTo>
                    <a:pt x="11500633" y="11467275"/>
                  </a:lnTo>
                  <a:lnTo>
                    <a:pt x="11505401" y="11481570"/>
                  </a:lnTo>
                  <a:lnTo>
                    <a:pt x="11510165" y="11491101"/>
                  </a:lnTo>
                  <a:lnTo>
                    <a:pt x="11538757" y="11510161"/>
                  </a:lnTo>
                  <a:lnTo>
                    <a:pt x="11533989" y="11514926"/>
                  </a:lnTo>
                  <a:lnTo>
                    <a:pt x="11505401" y="11538752"/>
                  </a:lnTo>
                  <a:lnTo>
                    <a:pt x="11505401" y="11543517"/>
                  </a:lnTo>
                  <a:lnTo>
                    <a:pt x="11510165" y="11543517"/>
                  </a:lnTo>
                  <a:lnTo>
                    <a:pt x="11529225" y="11557812"/>
                  </a:lnTo>
                  <a:lnTo>
                    <a:pt x="11548285" y="11581638"/>
                  </a:lnTo>
                  <a:lnTo>
                    <a:pt x="11557817" y="11610229"/>
                  </a:lnTo>
                  <a:lnTo>
                    <a:pt x="11557817" y="11619759"/>
                  </a:lnTo>
                  <a:lnTo>
                    <a:pt x="11557817" y="11634054"/>
                  </a:lnTo>
                  <a:lnTo>
                    <a:pt x="11562581" y="11638820"/>
                  </a:lnTo>
                  <a:lnTo>
                    <a:pt x="11572113" y="11643585"/>
                  </a:lnTo>
                  <a:lnTo>
                    <a:pt x="11576877" y="11638820"/>
                  </a:lnTo>
                  <a:lnTo>
                    <a:pt x="11586405" y="11643585"/>
                  </a:lnTo>
                  <a:lnTo>
                    <a:pt x="11586405" y="11662645"/>
                  </a:lnTo>
                  <a:lnTo>
                    <a:pt x="11600701" y="11724592"/>
                  </a:lnTo>
                  <a:lnTo>
                    <a:pt x="11605469" y="11738888"/>
                  </a:lnTo>
                  <a:lnTo>
                    <a:pt x="11610233" y="11738888"/>
                  </a:lnTo>
                  <a:lnTo>
                    <a:pt x="11610233" y="11681706"/>
                  </a:lnTo>
                  <a:lnTo>
                    <a:pt x="11614997" y="11672176"/>
                  </a:lnTo>
                  <a:lnTo>
                    <a:pt x="11634057" y="11681706"/>
                  </a:lnTo>
                  <a:lnTo>
                    <a:pt x="11657885" y="11705532"/>
                  </a:lnTo>
                  <a:lnTo>
                    <a:pt x="11676945" y="11724592"/>
                  </a:lnTo>
                  <a:lnTo>
                    <a:pt x="11681709" y="11734122"/>
                  </a:lnTo>
                  <a:lnTo>
                    <a:pt x="11667413" y="11753183"/>
                  </a:lnTo>
                  <a:lnTo>
                    <a:pt x="11667413" y="11762713"/>
                  </a:lnTo>
                  <a:lnTo>
                    <a:pt x="11681709" y="11772243"/>
                  </a:lnTo>
                  <a:lnTo>
                    <a:pt x="11691241" y="11767478"/>
                  </a:lnTo>
                  <a:lnTo>
                    <a:pt x="11696005" y="11748418"/>
                  </a:lnTo>
                  <a:lnTo>
                    <a:pt x="11710301" y="11729357"/>
                  </a:lnTo>
                  <a:lnTo>
                    <a:pt x="11724597" y="11715062"/>
                  </a:lnTo>
                  <a:lnTo>
                    <a:pt x="11748421" y="11724592"/>
                  </a:lnTo>
                  <a:lnTo>
                    <a:pt x="11772245" y="11757948"/>
                  </a:lnTo>
                  <a:lnTo>
                    <a:pt x="11777013" y="11767478"/>
                  </a:lnTo>
                  <a:lnTo>
                    <a:pt x="11791309" y="11781774"/>
                  </a:lnTo>
                  <a:lnTo>
                    <a:pt x="11800837" y="11772243"/>
                  </a:lnTo>
                  <a:lnTo>
                    <a:pt x="11824665" y="11805599"/>
                  </a:lnTo>
                  <a:lnTo>
                    <a:pt x="11815133" y="11824660"/>
                  </a:lnTo>
                  <a:lnTo>
                    <a:pt x="11791309" y="11843720"/>
                  </a:lnTo>
                  <a:lnTo>
                    <a:pt x="11786541" y="11853250"/>
                  </a:lnTo>
                  <a:lnTo>
                    <a:pt x="11791309" y="11853250"/>
                  </a:lnTo>
                  <a:lnTo>
                    <a:pt x="11843725" y="11853250"/>
                  </a:lnTo>
                  <a:lnTo>
                    <a:pt x="11853253" y="11862781"/>
                  </a:lnTo>
                  <a:lnTo>
                    <a:pt x="11858021" y="11877076"/>
                  </a:lnTo>
                  <a:lnTo>
                    <a:pt x="11834193" y="11924728"/>
                  </a:lnTo>
                  <a:lnTo>
                    <a:pt x="11815133" y="11919962"/>
                  </a:lnTo>
                  <a:lnTo>
                    <a:pt x="11791309" y="11919962"/>
                  </a:lnTo>
                  <a:lnTo>
                    <a:pt x="11777013" y="11924728"/>
                  </a:lnTo>
                  <a:lnTo>
                    <a:pt x="11777013" y="11929492"/>
                  </a:lnTo>
                  <a:lnTo>
                    <a:pt x="11815133" y="11953318"/>
                  </a:lnTo>
                  <a:lnTo>
                    <a:pt x="11824665" y="11972378"/>
                  </a:lnTo>
                  <a:lnTo>
                    <a:pt x="11838957" y="11986674"/>
                  </a:lnTo>
                  <a:lnTo>
                    <a:pt x="11848489" y="12005734"/>
                  </a:lnTo>
                  <a:lnTo>
                    <a:pt x="11848489" y="12010500"/>
                  </a:lnTo>
                  <a:lnTo>
                    <a:pt x="11838957" y="12020030"/>
                  </a:lnTo>
                  <a:lnTo>
                    <a:pt x="11843725" y="12024795"/>
                  </a:lnTo>
                  <a:lnTo>
                    <a:pt x="11867549" y="12034326"/>
                  </a:lnTo>
                  <a:lnTo>
                    <a:pt x="11881845" y="12024795"/>
                  </a:lnTo>
                  <a:lnTo>
                    <a:pt x="11900905" y="12024795"/>
                  </a:lnTo>
                  <a:lnTo>
                    <a:pt x="11919965" y="12024795"/>
                  </a:lnTo>
                  <a:lnTo>
                    <a:pt x="11919965" y="12029560"/>
                  </a:lnTo>
                  <a:lnTo>
                    <a:pt x="11919965" y="12048620"/>
                  </a:lnTo>
                  <a:lnTo>
                    <a:pt x="11900905" y="12067681"/>
                  </a:lnTo>
                  <a:lnTo>
                    <a:pt x="11905669" y="12067681"/>
                  </a:lnTo>
                  <a:lnTo>
                    <a:pt x="11924733" y="12062916"/>
                  </a:lnTo>
                  <a:lnTo>
                    <a:pt x="11934261" y="12072446"/>
                  </a:lnTo>
                  <a:lnTo>
                    <a:pt x="11948557" y="12110568"/>
                  </a:lnTo>
                  <a:lnTo>
                    <a:pt x="11962853" y="12139158"/>
                  </a:lnTo>
                  <a:lnTo>
                    <a:pt x="11948557" y="12143924"/>
                  </a:lnTo>
                  <a:lnTo>
                    <a:pt x="11939025" y="12148688"/>
                  </a:lnTo>
                  <a:lnTo>
                    <a:pt x="11939025" y="12186810"/>
                  </a:lnTo>
                  <a:lnTo>
                    <a:pt x="11948557" y="12224930"/>
                  </a:lnTo>
                  <a:lnTo>
                    <a:pt x="11948557" y="12263052"/>
                  </a:lnTo>
                  <a:lnTo>
                    <a:pt x="11943793" y="12291642"/>
                  </a:lnTo>
                  <a:lnTo>
                    <a:pt x="11934261" y="12301172"/>
                  </a:lnTo>
                  <a:lnTo>
                    <a:pt x="11919965" y="12301172"/>
                  </a:lnTo>
                  <a:lnTo>
                    <a:pt x="11915201" y="12291642"/>
                  </a:lnTo>
                  <a:lnTo>
                    <a:pt x="11886609" y="12196340"/>
                  </a:lnTo>
                  <a:lnTo>
                    <a:pt x="11881845" y="12177279"/>
                  </a:lnTo>
                  <a:lnTo>
                    <a:pt x="11872313" y="12162984"/>
                  </a:lnTo>
                  <a:lnTo>
                    <a:pt x="11838957" y="12120098"/>
                  </a:lnTo>
                  <a:lnTo>
                    <a:pt x="11838957" y="12124863"/>
                  </a:lnTo>
                  <a:lnTo>
                    <a:pt x="11848489" y="12143924"/>
                  </a:lnTo>
                  <a:lnTo>
                    <a:pt x="11853253" y="12172514"/>
                  </a:lnTo>
                  <a:lnTo>
                    <a:pt x="11862785" y="12234460"/>
                  </a:lnTo>
                  <a:lnTo>
                    <a:pt x="11867549" y="12267816"/>
                  </a:lnTo>
                  <a:lnTo>
                    <a:pt x="11867549" y="12282112"/>
                  </a:lnTo>
                  <a:lnTo>
                    <a:pt x="11862785" y="12286877"/>
                  </a:lnTo>
                  <a:lnTo>
                    <a:pt x="11858021" y="12291642"/>
                  </a:lnTo>
                  <a:lnTo>
                    <a:pt x="11862785" y="12305938"/>
                  </a:lnTo>
                  <a:lnTo>
                    <a:pt x="11886609" y="12344058"/>
                  </a:lnTo>
                  <a:lnTo>
                    <a:pt x="11896141" y="12363119"/>
                  </a:lnTo>
                  <a:lnTo>
                    <a:pt x="11905669" y="12386945"/>
                  </a:lnTo>
                  <a:lnTo>
                    <a:pt x="11915201" y="12406006"/>
                  </a:lnTo>
                  <a:lnTo>
                    <a:pt x="11919965" y="12410770"/>
                  </a:lnTo>
                  <a:lnTo>
                    <a:pt x="11919965" y="12420300"/>
                  </a:lnTo>
                  <a:lnTo>
                    <a:pt x="11910437" y="12425066"/>
                  </a:lnTo>
                  <a:lnTo>
                    <a:pt x="11891377" y="12425066"/>
                  </a:lnTo>
                  <a:lnTo>
                    <a:pt x="11881845" y="12425066"/>
                  </a:lnTo>
                  <a:lnTo>
                    <a:pt x="11848489" y="12401240"/>
                  </a:lnTo>
                  <a:lnTo>
                    <a:pt x="11843725" y="12406006"/>
                  </a:lnTo>
                  <a:lnTo>
                    <a:pt x="11862785" y="12487012"/>
                  </a:lnTo>
                  <a:lnTo>
                    <a:pt x="11862785" y="12506073"/>
                  </a:lnTo>
                  <a:lnTo>
                    <a:pt x="11853253" y="12510838"/>
                  </a:lnTo>
                  <a:lnTo>
                    <a:pt x="11843725" y="12506073"/>
                  </a:lnTo>
                  <a:lnTo>
                    <a:pt x="11829429" y="12482248"/>
                  </a:lnTo>
                  <a:lnTo>
                    <a:pt x="11805601" y="12458422"/>
                  </a:lnTo>
                  <a:lnTo>
                    <a:pt x="11781777" y="12429831"/>
                  </a:lnTo>
                  <a:lnTo>
                    <a:pt x="11753185" y="12410770"/>
                  </a:lnTo>
                  <a:lnTo>
                    <a:pt x="11748421" y="12410770"/>
                  </a:lnTo>
                  <a:lnTo>
                    <a:pt x="11743657" y="12415536"/>
                  </a:lnTo>
                  <a:lnTo>
                    <a:pt x="11738893" y="12415536"/>
                  </a:lnTo>
                  <a:lnTo>
                    <a:pt x="11734125" y="12410770"/>
                  </a:lnTo>
                  <a:lnTo>
                    <a:pt x="11724597" y="12396475"/>
                  </a:lnTo>
                  <a:lnTo>
                    <a:pt x="11715065" y="12386945"/>
                  </a:lnTo>
                  <a:lnTo>
                    <a:pt x="11676945" y="12348824"/>
                  </a:lnTo>
                  <a:lnTo>
                    <a:pt x="11672181" y="12348824"/>
                  </a:lnTo>
                  <a:lnTo>
                    <a:pt x="11676945" y="12358354"/>
                  </a:lnTo>
                  <a:lnTo>
                    <a:pt x="11681709" y="12382180"/>
                  </a:lnTo>
                  <a:lnTo>
                    <a:pt x="11676945" y="12386945"/>
                  </a:lnTo>
                  <a:lnTo>
                    <a:pt x="11667413" y="12386945"/>
                  </a:lnTo>
                  <a:lnTo>
                    <a:pt x="11648353" y="12377414"/>
                  </a:lnTo>
                  <a:lnTo>
                    <a:pt x="11634057" y="12353589"/>
                  </a:lnTo>
                  <a:lnTo>
                    <a:pt x="11619761" y="12310702"/>
                  </a:lnTo>
                  <a:lnTo>
                    <a:pt x="11610233" y="12291642"/>
                  </a:lnTo>
                  <a:lnTo>
                    <a:pt x="11610233" y="12305938"/>
                  </a:lnTo>
                  <a:lnTo>
                    <a:pt x="11614997" y="12344058"/>
                  </a:lnTo>
                  <a:lnTo>
                    <a:pt x="11614997" y="12358354"/>
                  </a:lnTo>
                  <a:lnTo>
                    <a:pt x="11605469" y="12363119"/>
                  </a:lnTo>
                  <a:lnTo>
                    <a:pt x="11600701" y="12358354"/>
                  </a:lnTo>
                  <a:lnTo>
                    <a:pt x="11595937" y="12348824"/>
                  </a:lnTo>
                  <a:lnTo>
                    <a:pt x="11591173" y="12329763"/>
                  </a:lnTo>
                  <a:lnTo>
                    <a:pt x="11581641" y="12315468"/>
                  </a:lnTo>
                  <a:lnTo>
                    <a:pt x="11567345" y="12305938"/>
                  </a:lnTo>
                  <a:lnTo>
                    <a:pt x="11562581" y="12296408"/>
                  </a:lnTo>
                  <a:lnTo>
                    <a:pt x="11557817" y="12277347"/>
                  </a:lnTo>
                  <a:lnTo>
                    <a:pt x="11553053" y="12277347"/>
                  </a:lnTo>
                  <a:lnTo>
                    <a:pt x="11529225" y="12277347"/>
                  </a:lnTo>
                  <a:lnTo>
                    <a:pt x="11514929" y="12267816"/>
                  </a:lnTo>
                  <a:lnTo>
                    <a:pt x="11481573" y="12220166"/>
                  </a:lnTo>
                  <a:lnTo>
                    <a:pt x="11448217" y="12162984"/>
                  </a:lnTo>
                  <a:lnTo>
                    <a:pt x="11424393" y="12134393"/>
                  </a:lnTo>
                  <a:lnTo>
                    <a:pt x="11419629" y="12129628"/>
                  </a:lnTo>
                  <a:lnTo>
                    <a:pt x="11429157" y="12162984"/>
                  </a:lnTo>
                  <a:lnTo>
                    <a:pt x="11443453" y="12215400"/>
                  </a:lnTo>
                  <a:lnTo>
                    <a:pt x="11443453" y="12239226"/>
                  </a:lnTo>
                  <a:lnTo>
                    <a:pt x="11438689" y="12239226"/>
                  </a:lnTo>
                  <a:lnTo>
                    <a:pt x="11424393" y="12229696"/>
                  </a:lnTo>
                  <a:lnTo>
                    <a:pt x="11362445" y="12162984"/>
                  </a:lnTo>
                  <a:lnTo>
                    <a:pt x="11324325" y="12134393"/>
                  </a:lnTo>
                  <a:lnTo>
                    <a:pt x="11300501" y="12124863"/>
                  </a:lnTo>
                  <a:lnTo>
                    <a:pt x="11267145" y="12124863"/>
                  </a:lnTo>
                  <a:lnTo>
                    <a:pt x="11257613" y="12139158"/>
                  </a:lnTo>
                  <a:lnTo>
                    <a:pt x="11276673" y="12177279"/>
                  </a:lnTo>
                  <a:lnTo>
                    <a:pt x="11295733" y="12205870"/>
                  </a:lnTo>
                  <a:lnTo>
                    <a:pt x="11314793" y="12224930"/>
                  </a:lnTo>
                  <a:lnTo>
                    <a:pt x="11343385" y="12263052"/>
                  </a:lnTo>
                  <a:lnTo>
                    <a:pt x="11367213" y="12310702"/>
                  </a:lnTo>
                  <a:lnTo>
                    <a:pt x="11376741" y="12324998"/>
                  </a:lnTo>
                  <a:lnTo>
                    <a:pt x="11414861" y="12344058"/>
                  </a:lnTo>
                  <a:lnTo>
                    <a:pt x="11433921" y="12353589"/>
                  </a:lnTo>
                  <a:lnTo>
                    <a:pt x="11452985" y="12353589"/>
                  </a:lnTo>
                  <a:lnTo>
                    <a:pt x="11452985" y="12358354"/>
                  </a:lnTo>
                  <a:lnTo>
                    <a:pt x="11443453" y="12372650"/>
                  </a:lnTo>
                  <a:lnTo>
                    <a:pt x="11443453" y="12382180"/>
                  </a:lnTo>
                  <a:lnTo>
                    <a:pt x="11481573" y="12401240"/>
                  </a:lnTo>
                  <a:lnTo>
                    <a:pt x="11500633" y="12415536"/>
                  </a:lnTo>
                  <a:lnTo>
                    <a:pt x="11514929" y="12434596"/>
                  </a:lnTo>
                  <a:lnTo>
                    <a:pt x="11524461" y="12439361"/>
                  </a:lnTo>
                  <a:lnTo>
                    <a:pt x="11562581" y="12487012"/>
                  </a:lnTo>
                  <a:lnTo>
                    <a:pt x="11567345" y="12496542"/>
                  </a:lnTo>
                  <a:lnTo>
                    <a:pt x="11600701" y="12510838"/>
                  </a:lnTo>
                  <a:lnTo>
                    <a:pt x="11614997" y="12520368"/>
                  </a:lnTo>
                  <a:lnTo>
                    <a:pt x="11629293" y="12553724"/>
                  </a:lnTo>
                  <a:lnTo>
                    <a:pt x="11643589" y="12568020"/>
                  </a:lnTo>
                  <a:lnTo>
                    <a:pt x="11657885" y="12606140"/>
                  </a:lnTo>
                  <a:lnTo>
                    <a:pt x="11667413" y="12620436"/>
                  </a:lnTo>
                  <a:lnTo>
                    <a:pt x="11696005" y="12639496"/>
                  </a:lnTo>
                  <a:lnTo>
                    <a:pt x="11710301" y="12644262"/>
                  </a:lnTo>
                  <a:lnTo>
                    <a:pt x="11715065" y="12653792"/>
                  </a:lnTo>
                  <a:lnTo>
                    <a:pt x="11715065" y="12672852"/>
                  </a:lnTo>
                  <a:lnTo>
                    <a:pt x="11710301" y="12677618"/>
                  </a:lnTo>
                  <a:lnTo>
                    <a:pt x="11691241" y="12691913"/>
                  </a:lnTo>
                  <a:lnTo>
                    <a:pt x="11696005" y="12706208"/>
                  </a:lnTo>
                  <a:lnTo>
                    <a:pt x="11705537" y="12734799"/>
                  </a:lnTo>
                  <a:lnTo>
                    <a:pt x="11705537" y="12753860"/>
                  </a:lnTo>
                  <a:lnTo>
                    <a:pt x="11696005" y="12758624"/>
                  </a:lnTo>
                  <a:lnTo>
                    <a:pt x="11672181" y="12768155"/>
                  </a:lnTo>
                  <a:lnTo>
                    <a:pt x="11662649" y="12768155"/>
                  </a:lnTo>
                  <a:lnTo>
                    <a:pt x="11648353" y="12758624"/>
                  </a:lnTo>
                  <a:lnTo>
                    <a:pt x="11629293" y="12749094"/>
                  </a:lnTo>
                  <a:lnTo>
                    <a:pt x="11586405" y="12720504"/>
                  </a:lnTo>
                  <a:lnTo>
                    <a:pt x="11529225" y="12701443"/>
                  </a:lnTo>
                  <a:lnTo>
                    <a:pt x="11505401" y="12687148"/>
                  </a:lnTo>
                  <a:lnTo>
                    <a:pt x="11500633" y="12677618"/>
                  </a:lnTo>
                  <a:lnTo>
                    <a:pt x="11491105" y="12672852"/>
                  </a:lnTo>
                  <a:lnTo>
                    <a:pt x="11343385" y="12644262"/>
                  </a:lnTo>
                  <a:lnTo>
                    <a:pt x="11319561" y="12639496"/>
                  </a:lnTo>
                  <a:lnTo>
                    <a:pt x="11300501" y="12629966"/>
                  </a:lnTo>
                  <a:lnTo>
                    <a:pt x="11286205" y="12615671"/>
                  </a:lnTo>
                  <a:lnTo>
                    <a:pt x="11233789" y="12587080"/>
                  </a:lnTo>
                  <a:lnTo>
                    <a:pt x="11224257" y="12582315"/>
                  </a:lnTo>
                  <a:lnTo>
                    <a:pt x="11186137" y="12529898"/>
                  </a:lnTo>
                  <a:lnTo>
                    <a:pt x="11157545" y="12472717"/>
                  </a:lnTo>
                  <a:lnTo>
                    <a:pt x="11148017" y="12463187"/>
                  </a:lnTo>
                  <a:lnTo>
                    <a:pt x="11119425" y="12458422"/>
                  </a:lnTo>
                  <a:lnTo>
                    <a:pt x="11095597" y="12463187"/>
                  </a:lnTo>
                  <a:lnTo>
                    <a:pt x="11076537" y="12467952"/>
                  </a:lnTo>
                  <a:lnTo>
                    <a:pt x="11052713" y="12467952"/>
                  </a:lnTo>
                  <a:lnTo>
                    <a:pt x="11033653" y="12458422"/>
                  </a:lnTo>
                  <a:lnTo>
                    <a:pt x="11000297" y="12429831"/>
                  </a:lnTo>
                  <a:lnTo>
                    <a:pt x="10962177" y="12415536"/>
                  </a:lnTo>
                  <a:lnTo>
                    <a:pt x="10933585" y="12391710"/>
                  </a:lnTo>
                  <a:lnTo>
                    <a:pt x="10914525" y="12382180"/>
                  </a:lnTo>
                  <a:lnTo>
                    <a:pt x="10919289" y="12377414"/>
                  </a:lnTo>
                  <a:lnTo>
                    <a:pt x="10943113" y="12344058"/>
                  </a:lnTo>
                  <a:lnTo>
                    <a:pt x="10933585" y="12344058"/>
                  </a:lnTo>
                  <a:lnTo>
                    <a:pt x="10890697" y="12372650"/>
                  </a:lnTo>
                  <a:lnTo>
                    <a:pt x="10876401" y="12363119"/>
                  </a:lnTo>
                  <a:lnTo>
                    <a:pt x="10852577" y="12344058"/>
                  </a:lnTo>
                  <a:lnTo>
                    <a:pt x="10838281" y="12320233"/>
                  </a:lnTo>
                  <a:lnTo>
                    <a:pt x="10800161" y="12263052"/>
                  </a:lnTo>
                  <a:lnTo>
                    <a:pt x="10776337" y="12239226"/>
                  </a:lnTo>
                  <a:lnTo>
                    <a:pt x="10781101" y="12234460"/>
                  </a:lnTo>
                  <a:lnTo>
                    <a:pt x="10804925" y="12234460"/>
                  </a:lnTo>
                  <a:lnTo>
                    <a:pt x="10823985" y="12234460"/>
                  </a:lnTo>
                  <a:lnTo>
                    <a:pt x="10838281" y="12229696"/>
                  </a:lnTo>
                  <a:lnTo>
                    <a:pt x="10862109" y="12205870"/>
                  </a:lnTo>
                  <a:lnTo>
                    <a:pt x="10871637" y="12191574"/>
                  </a:lnTo>
                  <a:lnTo>
                    <a:pt x="10871637" y="12182044"/>
                  </a:lnTo>
                  <a:lnTo>
                    <a:pt x="10852577" y="12182044"/>
                  </a:lnTo>
                  <a:lnTo>
                    <a:pt x="10847813" y="12177279"/>
                  </a:lnTo>
                  <a:lnTo>
                    <a:pt x="10843045" y="12167749"/>
                  </a:lnTo>
                  <a:lnTo>
                    <a:pt x="10833517" y="12153454"/>
                  </a:lnTo>
                  <a:lnTo>
                    <a:pt x="10819221" y="12139158"/>
                  </a:lnTo>
                  <a:lnTo>
                    <a:pt x="10800161" y="12134393"/>
                  </a:lnTo>
                  <a:lnTo>
                    <a:pt x="10742981" y="12139158"/>
                  </a:lnTo>
                  <a:lnTo>
                    <a:pt x="10728685" y="12129628"/>
                  </a:lnTo>
                  <a:lnTo>
                    <a:pt x="10733449" y="12120098"/>
                  </a:lnTo>
                  <a:lnTo>
                    <a:pt x="10742981" y="12091507"/>
                  </a:lnTo>
                  <a:lnTo>
                    <a:pt x="10747745" y="12081976"/>
                  </a:lnTo>
                  <a:lnTo>
                    <a:pt x="10752509" y="12072446"/>
                  </a:lnTo>
                  <a:lnTo>
                    <a:pt x="10747745" y="12072446"/>
                  </a:lnTo>
                  <a:lnTo>
                    <a:pt x="10742981" y="12072446"/>
                  </a:lnTo>
                  <a:lnTo>
                    <a:pt x="10704857" y="12101037"/>
                  </a:lnTo>
                  <a:lnTo>
                    <a:pt x="10700093" y="12096272"/>
                  </a:lnTo>
                  <a:lnTo>
                    <a:pt x="10685797" y="12072446"/>
                  </a:lnTo>
                  <a:lnTo>
                    <a:pt x="10676269" y="12039090"/>
                  </a:lnTo>
                  <a:lnTo>
                    <a:pt x="10671501" y="12029560"/>
                  </a:lnTo>
                  <a:lnTo>
                    <a:pt x="10661973" y="12024795"/>
                  </a:lnTo>
                  <a:lnTo>
                    <a:pt x="10633381" y="11991439"/>
                  </a:lnTo>
                  <a:lnTo>
                    <a:pt x="10595261" y="11934258"/>
                  </a:lnTo>
                  <a:lnTo>
                    <a:pt x="10576201" y="11915197"/>
                  </a:lnTo>
                  <a:lnTo>
                    <a:pt x="10561905" y="11900902"/>
                  </a:lnTo>
                  <a:lnTo>
                    <a:pt x="10547609" y="11891372"/>
                  </a:lnTo>
                  <a:lnTo>
                    <a:pt x="10552373" y="11881841"/>
                  </a:lnTo>
                  <a:lnTo>
                    <a:pt x="10576201" y="11834190"/>
                  </a:lnTo>
                  <a:lnTo>
                    <a:pt x="10576201" y="11824660"/>
                  </a:lnTo>
                  <a:lnTo>
                    <a:pt x="10557141" y="11829425"/>
                  </a:lnTo>
                  <a:lnTo>
                    <a:pt x="10523785" y="11819894"/>
                  </a:lnTo>
                  <a:lnTo>
                    <a:pt x="10504721" y="11829425"/>
                  </a:lnTo>
                  <a:lnTo>
                    <a:pt x="10495193" y="11829425"/>
                  </a:lnTo>
                  <a:lnTo>
                    <a:pt x="10485661" y="11824660"/>
                  </a:lnTo>
                  <a:lnTo>
                    <a:pt x="10476133" y="11829425"/>
                  </a:lnTo>
                  <a:lnTo>
                    <a:pt x="10471369" y="11867546"/>
                  </a:lnTo>
                  <a:lnTo>
                    <a:pt x="10466601" y="11877076"/>
                  </a:lnTo>
                  <a:lnTo>
                    <a:pt x="10461837" y="11881841"/>
                  </a:lnTo>
                  <a:lnTo>
                    <a:pt x="10452305" y="11881841"/>
                  </a:lnTo>
                  <a:lnTo>
                    <a:pt x="10447541" y="11877076"/>
                  </a:lnTo>
                  <a:lnTo>
                    <a:pt x="10447541" y="11867546"/>
                  </a:lnTo>
                  <a:lnTo>
                    <a:pt x="10442777" y="11815130"/>
                  </a:lnTo>
                  <a:lnTo>
                    <a:pt x="10433245" y="11810364"/>
                  </a:lnTo>
                  <a:lnTo>
                    <a:pt x="10399889" y="11805599"/>
                  </a:lnTo>
                  <a:lnTo>
                    <a:pt x="10390361" y="11800834"/>
                  </a:lnTo>
                  <a:lnTo>
                    <a:pt x="10385593" y="11791304"/>
                  </a:lnTo>
                  <a:lnTo>
                    <a:pt x="10376065" y="11777008"/>
                  </a:lnTo>
                  <a:lnTo>
                    <a:pt x="10371301" y="11753183"/>
                  </a:lnTo>
                  <a:lnTo>
                    <a:pt x="10366533" y="11738888"/>
                  </a:lnTo>
                  <a:lnTo>
                    <a:pt x="10357005" y="11734122"/>
                  </a:lnTo>
                  <a:lnTo>
                    <a:pt x="10352237" y="11738888"/>
                  </a:lnTo>
                  <a:lnTo>
                    <a:pt x="10347473" y="11743652"/>
                  </a:lnTo>
                  <a:lnTo>
                    <a:pt x="10337945" y="11748418"/>
                  </a:lnTo>
                  <a:lnTo>
                    <a:pt x="10318881" y="11748418"/>
                  </a:lnTo>
                  <a:lnTo>
                    <a:pt x="10318881" y="11757948"/>
                  </a:lnTo>
                  <a:lnTo>
                    <a:pt x="10337945" y="11777008"/>
                  </a:lnTo>
                  <a:lnTo>
                    <a:pt x="10347473" y="11800834"/>
                  </a:lnTo>
                  <a:lnTo>
                    <a:pt x="10361769" y="11834190"/>
                  </a:lnTo>
                  <a:lnTo>
                    <a:pt x="10357005" y="11858016"/>
                  </a:lnTo>
                  <a:lnTo>
                    <a:pt x="10323649" y="11867546"/>
                  </a:lnTo>
                  <a:lnTo>
                    <a:pt x="10295057" y="11872311"/>
                  </a:lnTo>
                  <a:lnTo>
                    <a:pt x="10275997" y="11867546"/>
                  </a:lnTo>
                  <a:lnTo>
                    <a:pt x="10256937" y="11858016"/>
                  </a:lnTo>
                  <a:lnTo>
                    <a:pt x="10233109" y="11838955"/>
                  </a:lnTo>
                  <a:lnTo>
                    <a:pt x="10194989" y="11848485"/>
                  </a:lnTo>
                  <a:lnTo>
                    <a:pt x="10190225" y="11896136"/>
                  </a:lnTo>
                  <a:lnTo>
                    <a:pt x="10180693" y="11896136"/>
                  </a:lnTo>
                  <a:lnTo>
                    <a:pt x="10147338" y="11896136"/>
                  </a:lnTo>
                  <a:lnTo>
                    <a:pt x="10133043" y="11900902"/>
                  </a:lnTo>
                  <a:lnTo>
                    <a:pt x="10090157" y="11924728"/>
                  </a:lnTo>
                  <a:lnTo>
                    <a:pt x="10075861" y="11929492"/>
                  </a:lnTo>
                  <a:lnTo>
                    <a:pt x="10066331" y="11924728"/>
                  </a:lnTo>
                  <a:lnTo>
                    <a:pt x="10052036" y="11934258"/>
                  </a:lnTo>
                  <a:lnTo>
                    <a:pt x="10037740" y="11948553"/>
                  </a:lnTo>
                  <a:lnTo>
                    <a:pt x="10018680" y="11948553"/>
                  </a:lnTo>
                  <a:lnTo>
                    <a:pt x="9990089" y="11939023"/>
                  </a:lnTo>
                  <a:lnTo>
                    <a:pt x="9971028" y="11934258"/>
                  </a:lnTo>
                  <a:lnTo>
                    <a:pt x="9951968" y="11934258"/>
                  </a:lnTo>
                  <a:lnTo>
                    <a:pt x="9932907" y="11929492"/>
                  </a:lnTo>
                  <a:lnTo>
                    <a:pt x="9913847" y="11910432"/>
                  </a:lnTo>
                  <a:lnTo>
                    <a:pt x="9894786" y="11905667"/>
                  </a:lnTo>
                  <a:lnTo>
                    <a:pt x="9875726" y="11905667"/>
                  </a:lnTo>
                  <a:lnTo>
                    <a:pt x="9870961" y="11905667"/>
                  </a:lnTo>
                  <a:lnTo>
                    <a:pt x="9842370" y="11867546"/>
                  </a:lnTo>
                  <a:lnTo>
                    <a:pt x="9832840" y="11858016"/>
                  </a:lnTo>
                  <a:lnTo>
                    <a:pt x="9813779" y="11815130"/>
                  </a:lnTo>
                  <a:lnTo>
                    <a:pt x="9809014" y="11796069"/>
                  </a:lnTo>
                  <a:lnTo>
                    <a:pt x="9809014" y="11777008"/>
                  </a:lnTo>
                  <a:lnTo>
                    <a:pt x="9809014" y="11762713"/>
                  </a:lnTo>
                  <a:lnTo>
                    <a:pt x="9818544" y="11743652"/>
                  </a:lnTo>
                  <a:lnTo>
                    <a:pt x="9823310" y="11696001"/>
                  </a:lnTo>
                  <a:lnTo>
                    <a:pt x="9832840" y="11676941"/>
                  </a:lnTo>
                  <a:lnTo>
                    <a:pt x="9837605" y="11662645"/>
                  </a:lnTo>
                  <a:lnTo>
                    <a:pt x="9856665" y="11643585"/>
                  </a:lnTo>
                  <a:lnTo>
                    <a:pt x="9923377" y="11610229"/>
                  </a:lnTo>
                  <a:lnTo>
                    <a:pt x="9937672" y="11600699"/>
                  </a:lnTo>
                  <a:lnTo>
                    <a:pt x="9937672" y="11591168"/>
                  </a:lnTo>
                  <a:lnTo>
                    <a:pt x="9923377" y="11548282"/>
                  </a:lnTo>
                  <a:lnTo>
                    <a:pt x="9923377" y="11538752"/>
                  </a:lnTo>
                  <a:lnTo>
                    <a:pt x="9928142" y="11533987"/>
                  </a:lnTo>
                  <a:lnTo>
                    <a:pt x="9937672" y="11510161"/>
                  </a:lnTo>
                  <a:lnTo>
                    <a:pt x="9942438" y="11505396"/>
                  </a:lnTo>
                  <a:lnTo>
                    <a:pt x="9956733" y="11500631"/>
                  </a:lnTo>
                  <a:lnTo>
                    <a:pt x="9980559" y="11510161"/>
                  </a:lnTo>
                  <a:lnTo>
                    <a:pt x="10004384" y="11514926"/>
                  </a:lnTo>
                  <a:lnTo>
                    <a:pt x="10028210" y="11519692"/>
                  </a:lnTo>
                  <a:lnTo>
                    <a:pt x="10075861" y="11533987"/>
                  </a:lnTo>
                  <a:lnTo>
                    <a:pt x="10142573" y="11567343"/>
                  </a:lnTo>
                  <a:lnTo>
                    <a:pt x="10180693" y="11586403"/>
                  </a:lnTo>
                  <a:lnTo>
                    <a:pt x="10204521" y="11619759"/>
                  </a:lnTo>
                  <a:lnTo>
                    <a:pt x="10228345" y="11653115"/>
                  </a:lnTo>
                  <a:lnTo>
                    <a:pt x="10228345" y="11667410"/>
                  </a:lnTo>
                  <a:lnTo>
                    <a:pt x="10218817" y="11691236"/>
                  </a:lnTo>
                  <a:lnTo>
                    <a:pt x="10214049" y="11700766"/>
                  </a:lnTo>
                  <a:lnTo>
                    <a:pt x="10214049" y="11705532"/>
                  </a:lnTo>
                  <a:lnTo>
                    <a:pt x="10218817" y="11715062"/>
                  </a:lnTo>
                  <a:lnTo>
                    <a:pt x="10237877" y="11729357"/>
                  </a:lnTo>
                  <a:lnTo>
                    <a:pt x="10242641" y="11724592"/>
                  </a:lnTo>
                  <a:lnTo>
                    <a:pt x="10237877" y="11710297"/>
                  </a:lnTo>
                  <a:lnTo>
                    <a:pt x="10242641" y="11696001"/>
                  </a:lnTo>
                  <a:lnTo>
                    <a:pt x="10252173" y="11681706"/>
                  </a:lnTo>
                  <a:lnTo>
                    <a:pt x="10252173" y="11667410"/>
                  </a:lnTo>
                  <a:lnTo>
                    <a:pt x="10247405" y="11648350"/>
                  </a:lnTo>
                  <a:lnTo>
                    <a:pt x="10237877" y="11634054"/>
                  </a:lnTo>
                  <a:lnTo>
                    <a:pt x="10228345" y="11624524"/>
                  </a:lnTo>
                  <a:lnTo>
                    <a:pt x="10185461" y="11576873"/>
                  </a:lnTo>
                  <a:lnTo>
                    <a:pt x="10180693" y="11562578"/>
                  </a:lnTo>
                  <a:lnTo>
                    <a:pt x="10194989" y="11553048"/>
                  </a:lnTo>
                  <a:lnTo>
                    <a:pt x="10256937" y="11572108"/>
                  </a:lnTo>
                  <a:lnTo>
                    <a:pt x="10280761" y="11567343"/>
                  </a:lnTo>
                  <a:lnTo>
                    <a:pt x="10290293" y="11548282"/>
                  </a:lnTo>
                  <a:lnTo>
                    <a:pt x="10299821" y="11538752"/>
                  </a:lnTo>
                  <a:lnTo>
                    <a:pt x="10309353" y="11529222"/>
                  </a:lnTo>
                  <a:lnTo>
                    <a:pt x="10333177" y="11529222"/>
                  </a:lnTo>
                  <a:lnTo>
                    <a:pt x="10361769" y="11533987"/>
                  </a:lnTo>
                  <a:lnTo>
                    <a:pt x="10376065" y="11538752"/>
                  </a:lnTo>
                  <a:lnTo>
                    <a:pt x="10385593" y="11533987"/>
                  </a:lnTo>
                  <a:lnTo>
                    <a:pt x="10404657" y="11524457"/>
                  </a:lnTo>
                  <a:lnTo>
                    <a:pt x="10428481" y="11491101"/>
                  </a:lnTo>
                  <a:lnTo>
                    <a:pt x="10442777" y="11486336"/>
                  </a:lnTo>
                  <a:lnTo>
                    <a:pt x="10466601" y="11481570"/>
                  </a:lnTo>
                  <a:lnTo>
                    <a:pt x="10480897" y="11476806"/>
                  </a:lnTo>
                  <a:lnTo>
                    <a:pt x="10514253" y="11491101"/>
                  </a:lnTo>
                  <a:lnTo>
                    <a:pt x="10533313" y="11491101"/>
                  </a:lnTo>
                  <a:lnTo>
                    <a:pt x="10533313" y="11467275"/>
                  </a:lnTo>
                  <a:lnTo>
                    <a:pt x="10519017" y="11429154"/>
                  </a:lnTo>
                  <a:lnTo>
                    <a:pt x="10504721" y="11386268"/>
                  </a:lnTo>
                  <a:lnTo>
                    <a:pt x="10490429" y="11371972"/>
                  </a:lnTo>
                  <a:lnTo>
                    <a:pt x="10457073" y="11343382"/>
                  </a:lnTo>
                  <a:lnTo>
                    <a:pt x="10418949" y="11290966"/>
                  </a:lnTo>
                  <a:lnTo>
                    <a:pt x="10399889" y="11257610"/>
                  </a:lnTo>
                  <a:lnTo>
                    <a:pt x="10395125" y="11243314"/>
                  </a:lnTo>
                  <a:lnTo>
                    <a:pt x="10399889" y="11229019"/>
                  </a:lnTo>
                  <a:lnTo>
                    <a:pt x="10404657" y="11214723"/>
                  </a:lnTo>
                  <a:lnTo>
                    <a:pt x="10476133" y="11157542"/>
                  </a:lnTo>
                  <a:lnTo>
                    <a:pt x="10528549" y="11100360"/>
                  </a:lnTo>
                  <a:lnTo>
                    <a:pt x="10552373" y="11067004"/>
                  </a:lnTo>
                  <a:lnTo>
                    <a:pt x="10561905" y="11047944"/>
                  </a:lnTo>
                  <a:lnTo>
                    <a:pt x="10576201" y="11033648"/>
                  </a:lnTo>
                  <a:lnTo>
                    <a:pt x="10590497" y="11024118"/>
                  </a:lnTo>
                  <a:lnTo>
                    <a:pt x="10614321" y="11009823"/>
                  </a:lnTo>
                  <a:lnTo>
                    <a:pt x="10623853" y="10995528"/>
                  </a:lnTo>
                  <a:lnTo>
                    <a:pt x="10623853" y="10971702"/>
                  </a:lnTo>
                  <a:lnTo>
                    <a:pt x="10628617" y="10952641"/>
                  </a:lnTo>
                  <a:lnTo>
                    <a:pt x="10652441" y="10890695"/>
                  </a:lnTo>
                  <a:lnTo>
                    <a:pt x="10671501" y="10876399"/>
                  </a:lnTo>
                  <a:lnTo>
                    <a:pt x="10700093" y="10862104"/>
                  </a:lnTo>
                  <a:lnTo>
                    <a:pt x="10719153" y="10852574"/>
                  </a:lnTo>
                  <a:lnTo>
                    <a:pt x="10742981" y="10800157"/>
                  </a:lnTo>
                  <a:lnTo>
                    <a:pt x="10738213" y="10790627"/>
                  </a:lnTo>
                  <a:lnTo>
                    <a:pt x="10728685" y="10781097"/>
                  </a:lnTo>
                  <a:lnTo>
                    <a:pt x="10719153" y="10766801"/>
                  </a:lnTo>
                  <a:lnTo>
                    <a:pt x="10685797" y="10638143"/>
                  </a:lnTo>
                  <a:lnTo>
                    <a:pt x="10661973" y="10571431"/>
                  </a:lnTo>
                  <a:lnTo>
                    <a:pt x="10633381" y="10519015"/>
                  </a:lnTo>
                  <a:lnTo>
                    <a:pt x="10609557" y="10452303"/>
                  </a:lnTo>
                  <a:lnTo>
                    <a:pt x="10571433" y="10385591"/>
                  </a:lnTo>
                  <a:lnTo>
                    <a:pt x="10566669" y="10366530"/>
                  </a:lnTo>
                  <a:lnTo>
                    <a:pt x="10576201" y="10347470"/>
                  </a:lnTo>
                  <a:lnTo>
                    <a:pt x="10571433" y="10342705"/>
                  </a:lnTo>
                  <a:lnTo>
                    <a:pt x="10528549" y="10371296"/>
                  </a:lnTo>
                  <a:lnTo>
                    <a:pt x="10519017" y="10371296"/>
                  </a:lnTo>
                  <a:lnTo>
                    <a:pt x="10504721" y="10357000"/>
                  </a:lnTo>
                  <a:lnTo>
                    <a:pt x="10490429" y="10342705"/>
                  </a:lnTo>
                  <a:lnTo>
                    <a:pt x="10480897" y="10314114"/>
                  </a:lnTo>
                  <a:lnTo>
                    <a:pt x="10485661" y="10299819"/>
                  </a:lnTo>
                  <a:lnTo>
                    <a:pt x="10490429" y="10285524"/>
                  </a:lnTo>
                  <a:lnTo>
                    <a:pt x="10499957" y="10252168"/>
                  </a:lnTo>
                  <a:lnTo>
                    <a:pt x="10499957" y="10233107"/>
                  </a:lnTo>
                  <a:lnTo>
                    <a:pt x="10495193" y="10218812"/>
                  </a:lnTo>
                  <a:lnTo>
                    <a:pt x="10490429" y="10204516"/>
                  </a:lnTo>
                  <a:lnTo>
                    <a:pt x="10485661" y="10199751"/>
                  </a:lnTo>
                  <a:lnTo>
                    <a:pt x="10476133" y="10194986"/>
                  </a:lnTo>
                  <a:lnTo>
                    <a:pt x="10452305" y="10194986"/>
                  </a:lnTo>
                  <a:lnTo>
                    <a:pt x="10447541" y="10199751"/>
                  </a:lnTo>
                  <a:lnTo>
                    <a:pt x="10466601" y="10252168"/>
                  </a:lnTo>
                  <a:lnTo>
                    <a:pt x="10466601" y="10261698"/>
                  </a:lnTo>
                  <a:lnTo>
                    <a:pt x="10433245" y="10271228"/>
                  </a:lnTo>
                  <a:lnTo>
                    <a:pt x="10423717" y="10266463"/>
                  </a:lnTo>
                  <a:lnTo>
                    <a:pt x="10409421" y="10261698"/>
                  </a:lnTo>
                  <a:lnTo>
                    <a:pt x="10399889" y="10252168"/>
                  </a:lnTo>
                  <a:lnTo>
                    <a:pt x="10361769" y="10194986"/>
                  </a:lnTo>
                  <a:lnTo>
                    <a:pt x="10357005" y="10175926"/>
                  </a:lnTo>
                  <a:lnTo>
                    <a:pt x="10357005" y="10161630"/>
                  </a:lnTo>
                  <a:lnTo>
                    <a:pt x="10357005" y="10152100"/>
                  </a:lnTo>
                  <a:lnTo>
                    <a:pt x="10347473" y="10156865"/>
                  </a:lnTo>
                  <a:lnTo>
                    <a:pt x="10337945" y="10156865"/>
                  </a:lnTo>
                  <a:lnTo>
                    <a:pt x="10323649" y="10152100"/>
                  </a:lnTo>
                  <a:lnTo>
                    <a:pt x="10323649" y="10147335"/>
                  </a:lnTo>
                  <a:lnTo>
                    <a:pt x="10347473" y="10113979"/>
                  </a:lnTo>
                  <a:lnTo>
                    <a:pt x="10347473" y="10104448"/>
                  </a:lnTo>
                  <a:lnTo>
                    <a:pt x="10337945" y="10094918"/>
                  </a:lnTo>
                  <a:lnTo>
                    <a:pt x="10318881" y="10094918"/>
                  </a:lnTo>
                  <a:lnTo>
                    <a:pt x="10314117" y="10085388"/>
                  </a:lnTo>
                  <a:lnTo>
                    <a:pt x="10318881" y="10075858"/>
                  </a:lnTo>
                  <a:lnTo>
                    <a:pt x="10342709" y="10061562"/>
                  </a:lnTo>
                  <a:lnTo>
                    <a:pt x="10352237" y="10052032"/>
                  </a:lnTo>
                  <a:lnTo>
                    <a:pt x="10337945" y="10042502"/>
                  </a:lnTo>
                  <a:lnTo>
                    <a:pt x="10328413" y="10042502"/>
                  </a:lnTo>
                  <a:lnTo>
                    <a:pt x="10314117" y="10056797"/>
                  </a:lnTo>
                  <a:lnTo>
                    <a:pt x="10290293" y="10094918"/>
                  </a:lnTo>
                  <a:lnTo>
                    <a:pt x="10275997" y="10109214"/>
                  </a:lnTo>
                  <a:lnTo>
                    <a:pt x="10252173" y="10090153"/>
                  </a:lnTo>
                  <a:lnTo>
                    <a:pt x="10237877" y="10085388"/>
                  </a:lnTo>
                  <a:lnTo>
                    <a:pt x="10228345" y="10090153"/>
                  </a:lnTo>
                  <a:lnTo>
                    <a:pt x="10209285" y="10118744"/>
                  </a:lnTo>
                  <a:lnTo>
                    <a:pt x="10175929" y="10137804"/>
                  </a:lnTo>
                  <a:lnTo>
                    <a:pt x="10113982" y="10185456"/>
                  </a:lnTo>
                  <a:lnTo>
                    <a:pt x="10090157" y="10204516"/>
                  </a:lnTo>
                  <a:lnTo>
                    <a:pt x="10061566" y="10199751"/>
                  </a:lnTo>
                  <a:lnTo>
                    <a:pt x="10056801" y="10190221"/>
                  </a:lnTo>
                  <a:lnTo>
                    <a:pt x="10056801" y="10175926"/>
                  </a:lnTo>
                  <a:lnTo>
                    <a:pt x="10056801" y="10161630"/>
                  </a:lnTo>
                  <a:lnTo>
                    <a:pt x="10061566" y="10147335"/>
                  </a:lnTo>
                  <a:lnTo>
                    <a:pt x="10061566" y="10137804"/>
                  </a:lnTo>
                  <a:lnTo>
                    <a:pt x="10061566" y="10080623"/>
                  </a:lnTo>
                  <a:lnTo>
                    <a:pt x="10066331" y="10066328"/>
                  </a:lnTo>
                  <a:lnTo>
                    <a:pt x="10075861" y="10056797"/>
                  </a:lnTo>
                  <a:lnTo>
                    <a:pt x="10090157" y="10047267"/>
                  </a:lnTo>
                  <a:lnTo>
                    <a:pt x="10137808" y="10056797"/>
                  </a:lnTo>
                  <a:lnTo>
                    <a:pt x="10156868" y="10056797"/>
                  </a:lnTo>
                  <a:lnTo>
                    <a:pt x="10171164" y="10042502"/>
                  </a:lnTo>
                  <a:lnTo>
                    <a:pt x="10190225" y="10023442"/>
                  </a:lnTo>
                  <a:lnTo>
                    <a:pt x="10204521" y="9999616"/>
                  </a:lnTo>
                  <a:lnTo>
                    <a:pt x="10204521" y="9975790"/>
                  </a:lnTo>
                  <a:lnTo>
                    <a:pt x="10190225" y="9937669"/>
                  </a:lnTo>
                  <a:lnTo>
                    <a:pt x="10185461" y="9928139"/>
                  </a:lnTo>
                  <a:lnTo>
                    <a:pt x="10142573" y="9899548"/>
                  </a:lnTo>
                  <a:lnTo>
                    <a:pt x="10123512" y="9890018"/>
                  </a:lnTo>
                  <a:lnTo>
                    <a:pt x="10104452" y="9885253"/>
                  </a:lnTo>
                  <a:lnTo>
                    <a:pt x="10090157" y="9875722"/>
                  </a:lnTo>
                  <a:lnTo>
                    <a:pt x="10080626" y="9861427"/>
                  </a:lnTo>
                  <a:lnTo>
                    <a:pt x="10071096" y="9842366"/>
                  </a:lnTo>
                  <a:lnTo>
                    <a:pt x="10071096" y="9828071"/>
                  </a:lnTo>
                  <a:lnTo>
                    <a:pt x="10071096" y="9809011"/>
                  </a:lnTo>
                  <a:lnTo>
                    <a:pt x="10080626" y="9794715"/>
                  </a:lnTo>
                  <a:lnTo>
                    <a:pt x="10113982" y="9780420"/>
                  </a:lnTo>
                  <a:lnTo>
                    <a:pt x="10113982" y="9775655"/>
                  </a:lnTo>
                  <a:lnTo>
                    <a:pt x="10085392" y="9766124"/>
                  </a:lnTo>
                  <a:lnTo>
                    <a:pt x="10071096" y="9766124"/>
                  </a:lnTo>
                  <a:lnTo>
                    <a:pt x="10061566" y="9780420"/>
                  </a:lnTo>
                  <a:lnTo>
                    <a:pt x="10042505" y="9809011"/>
                  </a:lnTo>
                  <a:lnTo>
                    <a:pt x="10032975" y="9818541"/>
                  </a:lnTo>
                  <a:lnTo>
                    <a:pt x="10009150" y="9799480"/>
                  </a:lnTo>
                  <a:lnTo>
                    <a:pt x="9990089" y="9794715"/>
                  </a:lnTo>
                  <a:lnTo>
                    <a:pt x="9980559" y="9789950"/>
                  </a:lnTo>
                  <a:lnTo>
                    <a:pt x="9975794" y="9780420"/>
                  </a:lnTo>
                  <a:lnTo>
                    <a:pt x="9980559" y="9770890"/>
                  </a:lnTo>
                  <a:lnTo>
                    <a:pt x="9990089" y="9766124"/>
                  </a:lnTo>
                  <a:lnTo>
                    <a:pt x="10013915" y="9737534"/>
                  </a:lnTo>
                  <a:lnTo>
                    <a:pt x="10018680" y="9723238"/>
                  </a:lnTo>
                  <a:lnTo>
                    <a:pt x="9999619" y="9704178"/>
                  </a:lnTo>
                  <a:lnTo>
                    <a:pt x="9994854" y="9699413"/>
                  </a:lnTo>
                  <a:lnTo>
                    <a:pt x="9956733" y="9689882"/>
                  </a:lnTo>
                  <a:lnTo>
                    <a:pt x="9918612" y="9699413"/>
                  </a:lnTo>
                  <a:lnTo>
                    <a:pt x="9904317" y="9694648"/>
                  </a:lnTo>
                  <a:lnTo>
                    <a:pt x="9894786" y="9670822"/>
                  </a:lnTo>
                  <a:lnTo>
                    <a:pt x="9890021" y="9637466"/>
                  </a:lnTo>
                  <a:lnTo>
                    <a:pt x="9890021" y="9604110"/>
                  </a:lnTo>
                  <a:lnTo>
                    <a:pt x="9885256" y="9546929"/>
                  </a:lnTo>
                  <a:lnTo>
                    <a:pt x="9875726" y="9513573"/>
                  </a:lnTo>
                  <a:lnTo>
                    <a:pt x="9861430" y="9508808"/>
                  </a:lnTo>
                  <a:lnTo>
                    <a:pt x="9813779" y="9523103"/>
                  </a:lnTo>
                  <a:lnTo>
                    <a:pt x="9804249" y="9523103"/>
                  </a:lnTo>
                  <a:lnTo>
                    <a:pt x="9794719" y="9518338"/>
                  </a:lnTo>
                  <a:lnTo>
                    <a:pt x="9761363" y="9475452"/>
                  </a:lnTo>
                  <a:lnTo>
                    <a:pt x="9751832" y="9465922"/>
                  </a:lnTo>
                  <a:lnTo>
                    <a:pt x="9742302" y="9461156"/>
                  </a:lnTo>
                  <a:lnTo>
                    <a:pt x="9718477" y="9418270"/>
                  </a:lnTo>
                  <a:lnTo>
                    <a:pt x="9708946" y="9408740"/>
                  </a:lnTo>
                  <a:lnTo>
                    <a:pt x="9699416" y="9389679"/>
                  </a:lnTo>
                  <a:lnTo>
                    <a:pt x="9685121" y="9356324"/>
                  </a:lnTo>
                  <a:lnTo>
                    <a:pt x="9670825" y="9342028"/>
                  </a:lnTo>
                  <a:lnTo>
                    <a:pt x="9656530" y="9356324"/>
                  </a:lnTo>
                  <a:lnTo>
                    <a:pt x="9642235" y="9375384"/>
                  </a:lnTo>
                  <a:lnTo>
                    <a:pt x="9627939" y="9399210"/>
                  </a:lnTo>
                  <a:lnTo>
                    <a:pt x="9618409" y="9423035"/>
                  </a:lnTo>
                  <a:lnTo>
                    <a:pt x="9618409" y="9437331"/>
                  </a:lnTo>
                  <a:lnTo>
                    <a:pt x="9627939" y="9451626"/>
                  </a:lnTo>
                  <a:lnTo>
                    <a:pt x="9680356" y="9475452"/>
                  </a:lnTo>
                  <a:lnTo>
                    <a:pt x="9694651" y="9489747"/>
                  </a:lnTo>
                  <a:lnTo>
                    <a:pt x="9704181" y="9513573"/>
                  </a:lnTo>
                  <a:lnTo>
                    <a:pt x="9713712" y="9542164"/>
                  </a:lnTo>
                  <a:lnTo>
                    <a:pt x="9718477" y="9575519"/>
                  </a:lnTo>
                  <a:lnTo>
                    <a:pt x="9718477" y="9604110"/>
                  </a:lnTo>
                  <a:lnTo>
                    <a:pt x="9713712" y="9618406"/>
                  </a:lnTo>
                  <a:lnTo>
                    <a:pt x="9699416" y="9632701"/>
                  </a:lnTo>
                  <a:lnTo>
                    <a:pt x="9666060" y="9656527"/>
                  </a:lnTo>
                  <a:lnTo>
                    <a:pt x="9637470" y="9670822"/>
                  </a:lnTo>
                  <a:lnTo>
                    <a:pt x="9604114" y="9675587"/>
                  </a:lnTo>
                  <a:lnTo>
                    <a:pt x="9585053" y="9670822"/>
                  </a:lnTo>
                  <a:lnTo>
                    <a:pt x="9499281" y="9623171"/>
                  </a:lnTo>
                  <a:lnTo>
                    <a:pt x="9484985" y="9623171"/>
                  </a:lnTo>
                  <a:lnTo>
                    <a:pt x="9465925" y="9618406"/>
                  </a:lnTo>
                  <a:lnTo>
                    <a:pt x="9423039" y="9599345"/>
                  </a:lnTo>
                  <a:lnTo>
                    <a:pt x="9399213" y="9599345"/>
                  </a:lnTo>
                  <a:lnTo>
                    <a:pt x="9356327" y="9580284"/>
                  </a:lnTo>
                  <a:lnTo>
                    <a:pt x="9284850" y="9570754"/>
                  </a:lnTo>
                  <a:lnTo>
                    <a:pt x="9270555" y="9580284"/>
                  </a:lnTo>
                  <a:lnTo>
                    <a:pt x="9289615" y="9599345"/>
                  </a:lnTo>
                  <a:lnTo>
                    <a:pt x="9303910" y="9613640"/>
                  </a:lnTo>
                  <a:lnTo>
                    <a:pt x="9318206" y="9613640"/>
                  </a:lnTo>
                  <a:lnTo>
                    <a:pt x="9342032" y="9632701"/>
                  </a:lnTo>
                  <a:lnTo>
                    <a:pt x="9365857" y="9670822"/>
                  </a:lnTo>
                  <a:lnTo>
                    <a:pt x="9380153" y="9689882"/>
                  </a:lnTo>
                  <a:lnTo>
                    <a:pt x="9394448" y="9718473"/>
                  </a:lnTo>
                  <a:lnTo>
                    <a:pt x="9394448" y="9728004"/>
                  </a:lnTo>
                  <a:lnTo>
                    <a:pt x="9384918" y="9747064"/>
                  </a:lnTo>
                  <a:lnTo>
                    <a:pt x="9280085" y="9646996"/>
                  </a:lnTo>
                  <a:lnTo>
                    <a:pt x="9222903" y="9685117"/>
                  </a:lnTo>
                  <a:lnTo>
                    <a:pt x="9194313" y="9694648"/>
                  </a:lnTo>
                  <a:lnTo>
                    <a:pt x="9170487" y="9699413"/>
                  </a:lnTo>
                  <a:lnTo>
                    <a:pt x="9137131" y="9685117"/>
                  </a:lnTo>
                  <a:lnTo>
                    <a:pt x="9070419" y="9637466"/>
                  </a:lnTo>
                  <a:lnTo>
                    <a:pt x="9041828" y="9623171"/>
                  </a:lnTo>
                  <a:lnTo>
                    <a:pt x="9032298" y="9618406"/>
                  </a:lnTo>
                  <a:lnTo>
                    <a:pt x="8975117" y="9637466"/>
                  </a:lnTo>
                  <a:lnTo>
                    <a:pt x="8922700" y="9642231"/>
                  </a:lnTo>
                  <a:lnTo>
                    <a:pt x="8822633" y="9623171"/>
                  </a:lnTo>
                  <a:lnTo>
                    <a:pt x="8784512" y="9608875"/>
                  </a:lnTo>
                  <a:lnTo>
                    <a:pt x="8770216" y="9594580"/>
                  </a:lnTo>
                  <a:lnTo>
                    <a:pt x="8760686" y="9589815"/>
                  </a:lnTo>
                  <a:lnTo>
                    <a:pt x="8736860" y="9589815"/>
                  </a:lnTo>
                  <a:lnTo>
                    <a:pt x="8679679" y="9570754"/>
                  </a:lnTo>
                  <a:lnTo>
                    <a:pt x="8622497" y="9608875"/>
                  </a:lnTo>
                  <a:lnTo>
                    <a:pt x="8562933" y="9575519"/>
                  </a:lnTo>
                  <a:lnTo>
                    <a:pt x="8543873" y="9556459"/>
                  </a:lnTo>
                  <a:lnTo>
                    <a:pt x="8534342" y="9542164"/>
                  </a:lnTo>
                  <a:lnTo>
                    <a:pt x="8515282" y="9489747"/>
                  </a:lnTo>
                  <a:lnTo>
                    <a:pt x="8515282" y="9461156"/>
                  </a:lnTo>
                  <a:lnTo>
                    <a:pt x="8520047" y="9437331"/>
                  </a:lnTo>
                  <a:lnTo>
                    <a:pt x="8524812" y="9418270"/>
                  </a:lnTo>
                  <a:lnTo>
                    <a:pt x="8529577" y="9408740"/>
                  </a:lnTo>
                  <a:lnTo>
                    <a:pt x="8496221" y="9437331"/>
                  </a:lnTo>
                  <a:lnTo>
                    <a:pt x="8481926" y="9442096"/>
                  </a:lnTo>
                  <a:lnTo>
                    <a:pt x="8467631" y="9446861"/>
                  </a:lnTo>
                  <a:lnTo>
                    <a:pt x="8415214" y="9432566"/>
                  </a:lnTo>
                  <a:lnTo>
                    <a:pt x="8410449" y="9437331"/>
                  </a:lnTo>
                  <a:lnTo>
                    <a:pt x="8410449" y="9451626"/>
                  </a:lnTo>
                  <a:lnTo>
                    <a:pt x="8424744" y="9465922"/>
                  </a:lnTo>
                  <a:lnTo>
                    <a:pt x="8424744" y="9475452"/>
                  </a:lnTo>
                  <a:lnTo>
                    <a:pt x="8400919" y="9480217"/>
                  </a:lnTo>
                  <a:lnTo>
                    <a:pt x="8358033" y="9475452"/>
                  </a:lnTo>
                  <a:lnTo>
                    <a:pt x="8338972" y="9475452"/>
                  </a:lnTo>
                  <a:lnTo>
                    <a:pt x="8329442" y="9480217"/>
                  </a:lnTo>
                  <a:lnTo>
                    <a:pt x="8310381" y="9504042"/>
                  </a:lnTo>
                  <a:lnTo>
                    <a:pt x="8305616" y="9508808"/>
                  </a:lnTo>
                  <a:lnTo>
                    <a:pt x="8296086" y="9508808"/>
                  </a:lnTo>
                  <a:lnTo>
                    <a:pt x="8253200" y="9451626"/>
                  </a:lnTo>
                  <a:lnTo>
                    <a:pt x="8215079" y="9418270"/>
                  </a:lnTo>
                  <a:lnTo>
                    <a:pt x="8176958" y="9403975"/>
                  </a:lnTo>
                  <a:lnTo>
                    <a:pt x="8157897" y="9394444"/>
                  </a:lnTo>
                  <a:lnTo>
                    <a:pt x="8148367" y="9380149"/>
                  </a:lnTo>
                  <a:lnTo>
                    <a:pt x="8091185" y="9270551"/>
                  </a:lnTo>
                  <a:lnTo>
                    <a:pt x="8081655" y="9246726"/>
                  </a:lnTo>
                  <a:lnTo>
                    <a:pt x="8067360" y="9156188"/>
                  </a:lnTo>
                  <a:lnTo>
                    <a:pt x="8057830" y="9137128"/>
                  </a:lnTo>
                  <a:lnTo>
                    <a:pt x="8053064" y="9127597"/>
                  </a:lnTo>
                  <a:lnTo>
                    <a:pt x="8067360" y="9122832"/>
                  </a:lnTo>
                  <a:lnTo>
                    <a:pt x="8119776" y="9132362"/>
                  </a:lnTo>
                  <a:lnTo>
                    <a:pt x="8172193" y="9132362"/>
                  </a:lnTo>
                  <a:lnTo>
                    <a:pt x="8200783" y="9141893"/>
                  </a:lnTo>
                  <a:lnTo>
                    <a:pt x="8229374" y="9160953"/>
                  </a:lnTo>
                  <a:lnTo>
                    <a:pt x="8272260" y="9180014"/>
                  </a:lnTo>
                  <a:lnTo>
                    <a:pt x="8305616" y="9180014"/>
                  </a:lnTo>
                  <a:lnTo>
                    <a:pt x="8353268" y="9175249"/>
                  </a:lnTo>
                  <a:lnTo>
                    <a:pt x="8405684" y="9160953"/>
                  </a:lnTo>
                  <a:lnTo>
                    <a:pt x="8415214" y="9151423"/>
                  </a:lnTo>
                  <a:lnTo>
                    <a:pt x="8377093" y="9132362"/>
                  </a:lnTo>
                  <a:lnTo>
                    <a:pt x="8348502" y="9103772"/>
                  </a:lnTo>
                  <a:lnTo>
                    <a:pt x="8315146" y="9070416"/>
                  </a:lnTo>
                  <a:lnTo>
                    <a:pt x="8300851" y="9056120"/>
                  </a:lnTo>
                  <a:lnTo>
                    <a:pt x="8272260" y="9046590"/>
                  </a:lnTo>
                  <a:lnTo>
                    <a:pt x="8186488" y="9037060"/>
                  </a:lnTo>
                  <a:lnTo>
                    <a:pt x="8110246" y="9018000"/>
                  </a:lnTo>
                  <a:lnTo>
                    <a:pt x="8057830" y="8984644"/>
                  </a:lnTo>
                  <a:lnTo>
                    <a:pt x="8014943" y="8951288"/>
                  </a:lnTo>
                  <a:lnTo>
                    <a:pt x="7995883" y="8932227"/>
                  </a:lnTo>
                  <a:lnTo>
                    <a:pt x="7991118" y="8917932"/>
                  </a:lnTo>
                  <a:lnTo>
                    <a:pt x="7986353" y="8870280"/>
                  </a:lnTo>
                  <a:lnTo>
                    <a:pt x="7976822" y="8794038"/>
                  </a:lnTo>
                  <a:lnTo>
                    <a:pt x="7972057" y="8741622"/>
                  </a:lnTo>
                  <a:lnTo>
                    <a:pt x="7962527" y="8713031"/>
                  </a:lnTo>
                  <a:lnTo>
                    <a:pt x="7962527" y="8689206"/>
                  </a:lnTo>
                  <a:lnTo>
                    <a:pt x="7976822" y="8636789"/>
                  </a:lnTo>
                  <a:lnTo>
                    <a:pt x="8019709" y="8586755"/>
                  </a:lnTo>
                  <a:lnTo>
                    <a:pt x="8019709" y="8577225"/>
                  </a:lnTo>
                  <a:lnTo>
                    <a:pt x="8010178" y="8572460"/>
                  </a:lnTo>
                  <a:lnTo>
                    <a:pt x="7995883" y="8558165"/>
                  </a:lnTo>
                  <a:lnTo>
                    <a:pt x="7991118" y="8539104"/>
                  </a:lnTo>
                  <a:lnTo>
                    <a:pt x="7986353" y="8505748"/>
                  </a:lnTo>
                  <a:lnTo>
                    <a:pt x="7986353" y="8477157"/>
                  </a:lnTo>
                  <a:lnTo>
                    <a:pt x="7991118" y="8453332"/>
                  </a:lnTo>
                  <a:lnTo>
                    <a:pt x="7995883" y="8424741"/>
                  </a:lnTo>
                  <a:lnTo>
                    <a:pt x="8014943" y="8372325"/>
                  </a:lnTo>
                  <a:lnTo>
                    <a:pt x="8038769" y="8310378"/>
                  </a:lnTo>
                  <a:lnTo>
                    <a:pt x="8067360" y="8248431"/>
                  </a:lnTo>
                  <a:lnTo>
                    <a:pt x="8072125" y="8229371"/>
                  </a:lnTo>
                  <a:lnTo>
                    <a:pt x="8076890" y="8176954"/>
                  </a:lnTo>
                  <a:lnTo>
                    <a:pt x="8076890" y="8138833"/>
                  </a:lnTo>
                  <a:lnTo>
                    <a:pt x="8081655" y="8110243"/>
                  </a:lnTo>
                  <a:lnTo>
                    <a:pt x="8086420" y="8086417"/>
                  </a:lnTo>
                  <a:lnTo>
                    <a:pt x="8105481" y="8048296"/>
                  </a:lnTo>
                  <a:lnTo>
                    <a:pt x="8129306" y="8010175"/>
                  </a:lnTo>
                  <a:lnTo>
                    <a:pt x="8162662" y="7976819"/>
                  </a:lnTo>
                  <a:lnTo>
                    <a:pt x="8162662" y="7967289"/>
                  </a:lnTo>
                  <a:lnTo>
                    <a:pt x="8162662" y="7948228"/>
                  </a:lnTo>
                  <a:lnTo>
                    <a:pt x="8167428" y="7933933"/>
                  </a:lnTo>
                  <a:lnTo>
                    <a:pt x="8167428" y="7929168"/>
                  </a:lnTo>
                  <a:lnTo>
                    <a:pt x="8253200" y="7824335"/>
                  </a:lnTo>
                  <a:lnTo>
                    <a:pt x="8291321" y="7776684"/>
                  </a:lnTo>
                  <a:lnTo>
                    <a:pt x="8324677" y="7752858"/>
                  </a:lnTo>
                  <a:lnTo>
                    <a:pt x="8362798" y="7729032"/>
                  </a:lnTo>
                  <a:lnTo>
                    <a:pt x="8472396" y="7690911"/>
                  </a:lnTo>
                  <a:close/>
                  <a:moveTo>
                    <a:pt x="6404330" y="7624199"/>
                  </a:moveTo>
                  <a:lnTo>
                    <a:pt x="6537754" y="7748092"/>
                  </a:lnTo>
                  <a:lnTo>
                    <a:pt x="6556814" y="7738562"/>
                  </a:lnTo>
                  <a:lnTo>
                    <a:pt x="6594935" y="7729032"/>
                  </a:lnTo>
                  <a:lnTo>
                    <a:pt x="6637821" y="7714736"/>
                  </a:lnTo>
                  <a:lnTo>
                    <a:pt x="6695003" y="7695676"/>
                  </a:lnTo>
                  <a:lnTo>
                    <a:pt x="6728359" y="7671850"/>
                  </a:lnTo>
                  <a:lnTo>
                    <a:pt x="6742654" y="7662320"/>
                  </a:lnTo>
                  <a:lnTo>
                    <a:pt x="6771245" y="7657555"/>
                  </a:lnTo>
                  <a:lnTo>
                    <a:pt x="6780775" y="7657555"/>
                  </a:lnTo>
                  <a:lnTo>
                    <a:pt x="6823661" y="7671850"/>
                  </a:lnTo>
                  <a:lnTo>
                    <a:pt x="6837957" y="7686146"/>
                  </a:lnTo>
                  <a:lnTo>
                    <a:pt x="6847487" y="7695676"/>
                  </a:lnTo>
                  <a:lnTo>
                    <a:pt x="6857017" y="7714736"/>
                  </a:lnTo>
                  <a:lnTo>
                    <a:pt x="6871313" y="7762388"/>
                  </a:lnTo>
                  <a:lnTo>
                    <a:pt x="6876078" y="7776683"/>
                  </a:lnTo>
                  <a:lnTo>
                    <a:pt x="6876078" y="7781448"/>
                  </a:lnTo>
                  <a:lnTo>
                    <a:pt x="6857017" y="7810039"/>
                  </a:lnTo>
                  <a:lnTo>
                    <a:pt x="6847487" y="7824334"/>
                  </a:lnTo>
                  <a:lnTo>
                    <a:pt x="6828426" y="7833865"/>
                  </a:lnTo>
                  <a:lnTo>
                    <a:pt x="6814131" y="7838630"/>
                  </a:lnTo>
                  <a:lnTo>
                    <a:pt x="6799836" y="7857690"/>
                  </a:lnTo>
                  <a:lnTo>
                    <a:pt x="6780775" y="7852925"/>
                  </a:lnTo>
                  <a:lnTo>
                    <a:pt x="6776010" y="7871986"/>
                  </a:lnTo>
                  <a:lnTo>
                    <a:pt x="6776010" y="7886281"/>
                  </a:lnTo>
                  <a:lnTo>
                    <a:pt x="6780775" y="7891046"/>
                  </a:lnTo>
                  <a:lnTo>
                    <a:pt x="6790305" y="7891046"/>
                  </a:lnTo>
                  <a:lnTo>
                    <a:pt x="6799836" y="7881516"/>
                  </a:lnTo>
                  <a:lnTo>
                    <a:pt x="6818896" y="7886281"/>
                  </a:lnTo>
                  <a:lnTo>
                    <a:pt x="6828426" y="7895811"/>
                  </a:lnTo>
                  <a:lnTo>
                    <a:pt x="6837957" y="7919637"/>
                  </a:lnTo>
                  <a:lnTo>
                    <a:pt x="6833192" y="7938698"/>
                  </a:lnTo>
                  <a:lnTo>
                    <a:pt x="6799836" y="7962523"/>
                  </a:lnTo>
                  <a:lnTo>
                    <a:pt x="6747419" y="7991114"/>
                  </a:lnTo>
                  <a:lnTo>
                    <a:pt x="6690238" y="8081651"/>
                  </a:lnTo>
                  <a:lnTo>
                    <a:pt x="6656882" y="8119772"/>
                  </a:lnTo>
                  <a:lnTo>
                    <a:pt x="6652117" y="8134068"/>
                  </a:lnTo>
                  <a:lnTo>
                    <a:pt x="6647352" y="8143598"/>
                  </a:lnTo>
                  <a:lnTo>
                    <a:pt x="6652117" y="8167424"/>
                  </a:lnTo>
                  <a:lnTo>
                    <a:pt x="6652117" y="8176954"/>
                  </a:lnTo>
                  <a:lnTo>
                    <a:pt x="6661647" y="8181719"/>
                  </a:lnTo>
                  <a:lnTo>
                    <a:pt x="6690238" y="8148363"/>
                  </a:lnTo>
                  <a:lnTo>
                    <a:pt x="6709298" y="8134068"/>
                  </a:lnTo>
                  <a:lnTo>
                    <a:pt x="6728359" y="8124538"/>
                  </a:lnTo>
                  <a:lnTo>
                    <a:pt x="6761715" y="8124538"/>
                  </a:lnTo>
                  <a:lnTo>
                    <a:pt x="6776010" y="8129303"/>
                  </a:lnTo>
                  <a:lnTo>
                    <a:pt x="6799836" y="8148363"/>
                  </a:lnTo>
                  <a:lnTo>
                    <a:pt x="6823661" y="8176954"/>
                  </a:lnTo>
                  <a:lnTo>
                    <a:pt x="6828426" y="8191249"/>
                  </a:lnTo>
                  <a:lnTo>
                    <a:pt x="6823661" y="8200780"/>
                  </a:lnTo>
                  <a:lnTo>
                    <a:pt x="6814131" y="8210310"/>
                  </a:lnTo>
                  <a:lnTo>
                    <a:pt x="6814131" y="8219840"/>
                  </a:lnTo>
                  <a:lnTo>
                    <a:pt x="6837957" y="8234136"/>
                  </a:lnTo>
                  <a:lnTo>
                    <a:pt x="6861782" y="8272257"/>
                  </a:lnTo>
                  <a:lnTo>
                    <a:pt x="6861782" y="8296082"/>
                  </a:lnTo>
                  <a:lnTo>
                    <a:pt x="6852252" y="8319908"/>
                  </a:lnTo>
                  <a:lnTo>
                    <a:pt x="6847487" y="8334203"/>
                  </a:lnTo>
                  <a:lnTo>
                    <a:pt x="6852252" y="8343734"/>
                  </a:lnTo>
                  <a:lnTo>
                    <a:pt x="6866548" y="8338968"/>
                  </a:lnTo>
                  <a:lnTo>
                    <a:pt x="6895138" y="8310378"/>
                  </a:lnTo>
                  <a:lnTo>
                    <a:pt x="6923729" y="8296082"/>
                  </a:lnTo>
                  <a:lnTo>
                    <a:pt x="6938024" y="8300847"/>
                  </a:lnTo>
                  <a:lnTo>
                    <a:pt x="6942790" y="8305612"/>
                  </a:lnTo>
                  <a:lnTo>
                    <a:pt x="6952320" y="8338968"/>
                  </a:lnTo>
                  <a:lnTo>
                    <a:pt x="6961850" y="8381854"/>
                  </a:lnTo>
                  <a:lnTo>
                    <a:pt x="6961850" y="8415210"/>
                  </a:lnTo>
                  <a:lnTo>
                    <a:pt x="6957085" y="8443801"/>
                  </a:lnTo>
                  <a:lnTo>
                    <a:pt x="6947555" y="8462862"/>
                  </a:lnTo>
                  <a:lnTo>
                    <a:pt x="6928494" y="8491452"/>
                  </a:lnTo>
                  <a:lnTo>
                    <a:pt x="6914199" y="8500983"/>
                  </a:lnTo>
                  <a:lnTo>
                    <a:pt x="6904668" y="8500983"/>
                  </a:lnTo>
                  <a:lnTo>
                    <a:pt x="6904668" y="8505748"/>
                  </a:lnTo>
                  <a:lnTo>
                    <a:pt x="6923729" y="8529574"/>
                  </a:lnTo>
                  <a:lnTo>
                    <a:pt x="6933259" y="8543869"/>
                  </a:lnTo>
                  <a:lnTo>
                    <a:pt x="6938024" y="8562929"/>
                  </a:lnTo>
                  <a:lnTo>
                    <a:pt x="6938024" y="8577225"/>
                  </a:lnTo>
                  <a:lnTo>
                    <a:pt x="6933259" y="8591520"/>
                  </a:lnTo>
                  <a:lnTo>
                    <a:pt x="6909434" y="8641554"/>
                  </a:lnTo>
                  <a:lnTo>
                    <a:pt x="6914199" y="8646319"/>
                  </a:lnTo>
                  <a:lnTo>
                    <a:pt x="6918964" y="8651084"/>
                  </a:lnTo>
                  <a:lnTo>
                    <a:pt x="6933259" y="8679675"/>
                  </a:lnTo>
                  <a:lnTo>
                    <a:pt x="6933259" y="8746387"/>
                  </a:lnTo>
                  <a:lnTo>
                    <a:pt x="6880843" y="8765447"/>
                  </a:lnTo>
                  <a:lnTo>
                    <a:pt x="6871313" y="8784508"/>
                  </a:lnTo>
                  <a:lnTo>
                    <a:pt x="6857017" y="8808334"/>
                  </a:lnTo>
                  <a:lnTo>
                    <a:pt x="6837957" y="8827394"/>
                  </a:lnTo>
                  <a:lnTo>
                    <a:pt x="6799836" y="8846455"/>
                  </a:lnTo>
                  <a:lnTo>
                    <a:pt x="6780775" y="8846455"/>
                  </a:lnTo>
                  <a:lnTo>
                    <a:pt x="6690238" y="8832159"/>
                  </a:lnTo>
                  <a:lnTo>
                    <a:pt x="6680708" y="8822629"/>
                  </a:lnTo>
                  <a:lnTo>
                    <a:pt x="6671177" y="8803568"/>
                  </a:lnTo>
                  <a:lnTo>
                    <a:pt x="6671177" y="8779743"/>
                  </a:lnTo>
                  <a:lnTo>
                    <a:pt x="6666412" y="8760682"/>
                  </a:lnTo>
                  <a:lnTo>
                    <a:pt x="6671177" y="8746387"/>
                  </a:lnTo>
                  <a:lnTo>
                    <a:pt x="6671177" y="8741622"/>
                  </a:lnTo>
                  <a:lnTo>
                    <a:pt x="6666412" y="8736857"/>
                  </a:lnTo>
                  <a:lnTo>
                    <a:pt x="6656882" y="8751152"/>
                  </a:lnTo>
                  <a:lnTo>
                    <a:pt x="6647352" y="8774978"/>
                  </a:lnTo>
                  <a:lnTo>
                    <a:pt x="6652117" y="8803568"/>
                  </a:lnTo>
                  <a:lnTo>
                    <a:pt x="6680708" y="8884576"/>
                  </a:lnTo>
                  <a:lnTo>
                    <a:pt x="6685473" y="8917932"/>
                  </a:lnTo>
                  <a:lnTo>
                    <a:pt x="6690238" y="8932227"/>
                  </a:lnTo>
                  <a:lnTo>
                    <a:pt x="6685473" y="8941757"/>
                  </a:lnTo>
                  <a:lnTo>
                    <a:pt x="6652117" y="8984643"/>
                  </a:lnTo>
                  <a:lnTo>
                    <a:pt x="6633056" y="9003704"/>
                  </a:lnTo>
                  <a:lnTo>
                    <a:pt x="6613996" y="9008469"/>
                  </a:lnTo>
                  <a:lnTo>
                    <a:pt x="6594935" y="9003704"/>
                  </a:lnTo>
                  <a:lnTo>
                    <a:pt x="6575875" y="8984643"/>
                  </a:lnTo>
                  <a:lnTo>
                    <a:pt x="6561579" y="8975113"/>
                  </a:lnTo>
                  <a:lnTo>
                    <a:pt x="6532989" y="8979878"/>
                  </a:lnTo>
                  <a:lnTo>
                    <a:pt x="6528224" y="8965583"/>
                  </a:lnTo>
                  <a:lnTo>
                    <a:pt x="6518693" y="8951288"/>
                  </a:lnTo>
                  <a:lnTo>
                    <a:pt x="6499633" y="8884576"/>
                  </a:lnTo>
                  <a:lnTo>
                    <a:pt x="6471042" y="8836924"/>
                  </a:lnTo>
                  <a:lnTo>
                    <a:pt x="6447216" y="8784508"/>
                  </a:lnTo>
                  <a:lnTo>
                    <a:pt x="6385270" y="8708266"/>
                  </a:lnTo>
                  <a:lnTo>
                    <a:pt x="6356679" y="8660615"/>
                  </a:lnTo>
                  <a:lnTo>
                    <a:pt x="6313793" y="8586755"/>
                  </a:lnTo>
                  <a:lnTo>
                    <a:pt x="6294732" y="8572460"/>
                  </a:lnTo>
                  <a:lnTo>
                    <a:pt x="6280437" y="8562929"/>
                  </a:lnTo>
                  <a:lnTo>
                    <a:pt x="6251846" y="8558164"/>
                  </a:lnTo>
                  <a:lnTo>
                    <a:pt x="6242316" y="8548634"/>
                  </a:lnTo>
                  <a:lnTo>
                    <a:pt x="6232786" y="8524808"/>
                  </a:lnTo>
                  <a:lnTo>
                    <a:pt x="6218490" y="8505748"/>
                  </a:lnTo>
                  <a:lnTo>
                    <a:pt x="6208960" y="8500983"/>
                  </a:lnTo>
                  <a:lnTo>
                    <a:pt x="6199430" y="8505748"/>
                  </a:lnTo>
                  <a:lnTo>
                    <a:pt x="6170839" y="8524808"/>
                  </a:lnTo>
                  <a:lnTo>
                    <a:pt x="6137483" y="8505748"/>
                  </a:lnTo>
                  <a:lnTo>
                    <a:pt x="6127953" y="8491452"/>
                  </a:lnTo>
                  <a:lnTo>
                    <a:pt x="6123188" y="8467627"/>
                  </a:lnTo>
                  <a:lnTo>
                    <a:pt x="6118423" y="8458097"/>
                  </a:lnTo>
                  <a:lnTo>
                    <a:pt x="6108892" y="8443801"/>
                  </a:lnTo>
                  <a:lnTo>
                    <a:pt x="6099362" y="8415210"/>
                  </a:lnTo>
                  <a:lnTo>
                    <a:pt x="6027885" y="8358029"/>
                  </a:lnTo>
                  <a:lnTo>
                    <a:pt x="5989764" y="8296082"/>
                  </a:lnTo>
                  <a:lnTo>
                    <a:pt x="5980234" y="8272257"/>
                  </a:lnTo>
                  <a:lnTo>
                    <a:pt x="5980234" y="8262726"/>
                  </a:lnTo>
                  <a:lnTo>
                    <a:pt x="5984999" y="8229370"/>
                  </a:lnTo>
                  <a:lnTo>
                    <a:pt x="5994529" y="8191249"/>
                  </a:lnTo>
                  <a:lnTo>
                    <a:pt x="6008825" y="8157893"/>
                  </a:lnTo>
                  <a:lnTo>
                    <a:pt x="6013590" y="8143598"/>
                  </a:lnTo>
                  <a:lnTo>
                    <a:pt x="6042181" y="8110242"/>
                  </a:lnTo>
                  <a:lnTo>
                    <a:pt x="6061241" y="8105477"/>
                  </a:lnTo>
                  <a:lnTo>
                    <a:pt x="6089832" y="8110242"/>
                  </a:lnTo>
                  <a:lnTo>
                    <a:pt x="6104127" y="8115007"/>
                  </a:lnTo>
                  <a:lnTo>
                    <a:pt x="6118423" y="8134068"/>
                  </a:lnTo>
                  <a:lnTo>
                    <a:pt x="6123188" y="8157893"/>
                  </a:lnTo>
                  <a:lnTo>
                    <a:pt x="6132718" y="8176954"/>
                  </a:lnTo>
                  <a:lnTo>
                    <a:pt x="6151779" y="8196014"/>
                  </a:lnTo>
                  <a:lnTo>
                    <a:pt x="6166074" y="8205545"/>
                  </a:lnTo>
                  <a:lnTo>
                    <a:pt x="6180369" y="8238901"/>
                  </a:lnTo>
                  <a:lnTo>
                    <a:pt x="6194665" y="8281787"/>
                  </a:lnTo>
                  <a:lnTo>
                    <a:pt x="6208960" y="8291317"/>
                  </a:lnTo>
                  <a:lnTo>
                    <a:pt x="6237551" y="8296082"/>
                  </a:lnTo>
                  <a:lnTo>
                    <a:pt x="6266142" y="8291317"/>
                  </a:lnTo>
                  <a:lnTo>
                    <a:pt x="6328088" y="8267491"/>
                  </a:lnTo>
                  <a:lnTo>
                    <a:pt x="6332853" y="8262726"/>
                  </a:lnTo>
                  <a:lnTo>
                    <a:pt x="6337618" y="8248431"/>
                  </a:lnTo>
                  <a:lnTo>
                    <a:pt x="6342384" y="8157893"/>
                  </a:lnTo>
                  <a:lnTo>
                    <a:pt x="6347149" y="8157893"/>
                  </a:lnTo>
                  <a:lnTo>
                    <a:pt x="6370974" y="8200780"/>
                  </a:lnTo>
                  <a:lnTo>
                    <a:pt x="6375739" y="8205545"/>
                  </a:lnTo>
                  <a:lnTo>
                    <a:pt x="6385270" y="8196014"/>
                  </a:lnTo>
                  <a:lnTo>
                    <a:pt x="6390035" y="8176954"/>
                  </a:lnTo>
                  <a:lnTo>
                    <a:pt x="6390035" y="8167424"/>
                  </a:lnTo>
                  <a:lnTo>
                    <a:pt x="6375739" y="8115007"/>
                  </a:lnTo>
                  <a:lnTo>
                    <a:pt x="6366209" y="8095947"/>
                  </a:lnTo>
                  <a:lnTo>
                    <a:pt x="6361444" y="8081651"/>
                  </a:lnTo>
                  <a:lnTo>
                    <a:pt x="6351914" y="8076886"/>
                  </a:lnTo>
                  <a:lnTo>
                    <a:pt x="6337618" y="8081651"/>
                  </a:lnTo>
                  <a:lnTo>
                    <a:pt x="6323323" y="8072121"/>
                  </a:lnTo>
                  <a:lnTo>
                    <a:pt x="6318558" y="8057826"/>
                  </a:lnTo>
                  <a:lnTo>
                    <a:pt x="6323323" y="8038765"/>
                  </a:lnTo>
                  <a:lnTo>
                    <a:pt x="6328088" y="8019705"/>
                  </a:lnTo>
                  <a:lnTo>
                    <a:pt x="6337618" y="8010174"/>
                  </a:lnTo>
                  <a:lnTo>
                    <a:pt x="6351914" y="8005409"/>
                  </a:lnTo>
                  <a:lnTo>
                    <a:pt x="6370974" y="8010174"/>
                  </a:lnTo>
                  <a:lnTo>
                    <a:pt x="6394800" y="8034000"/>
                  </a:lnTo>
                  <a:lnTo>
                    <a:pt x="6409095" y="8038765"/>
                  </a:lnTo>
                  <a:lnTo>
                    <a:pt x="6432921" y="8029235"/>
                  </a:lnTo>
                  <a:lnTo>
                    <a:pt x="6404330" y="8014940"/>
                  </a:lnTo>
                  <a:lnTo>
                    <a:pt x="6366209" y="7962523"/>
                  </a:lnTo>
                  <a:lnTo>
                    <a:pt x="6347149" y="7952993"/>
                  </a:lnTo>
                  <a:lnTo>
                    <a:pt x="6328088" y="7976819"/>
                  </a:lnTo>
                  <a:lnTo>
                    <a:pt x="6313793" y="7986349"/>
                  </a:lnTo>
                  <a:lnTo>
                    <a:pt x="6285202" y="7995879"/>
                  </a:lnTo>
                  <a:lnTo>
                    <a:pt x="6266142" y="7995879"/>
                  </a:lnTo>
                  <a:lnTo>
                    <a:pt x="6180369" y="7910107"/>
                  </a:lnTo>
                  <a:lnTo>
                    <a:pt x="6175604" y="7905342"/>
                  </a:lnTo>
                  <a:lnTo>
                    <a:pt x="6166074" y="7881516"/>
                  </a:lnTo>
                  <a:lnTo>
                    <a:pt x="6166074" y="7871986"/>
                  </a:lnTo>
                  <a:lnTo>
                    <a:pt x="6175604" y="7857690"/>
                  </a:lnTo>
                  <a:lnTo>
                    <a:pt x="6199430" y="7833865"/>
                  </a:lnTo>
                  <a:lnTo>
                    <a:pt x="6232786" y="7824334"/>
                  </a:lnTo>
                  <a:lnTo>
                    <a:pt x="6251846" y="7819569"/>
                  </a:lnTo>
                  <a:lnTo>
                    <a:pt x="6270907" y="7833865"/>
                  </a:lnTo>
                  <a:lnTo>
                    <a:pt x="6299497" y="7876751"/>
                  </a:lnTo>
                  <a:lnTo>
                    <a:pt x="6323323" y="7900576"/>
                  </a:lnTo>
                  <a:lnTo>
                    <a:pt x="6328088" y="7895811"/>
                  </a:lnTo>
                  <a:lnTo>
                    <a:pt x="6323323" y="7867221"/>
                  </a:lnTo>
                  <a:lnTo>
                    <a:pt x="6309028" y="7833865"/>
                  </a:lnTo>
                  <a:lnTo>
                    <a:pt x="6304263" y="7824334"/>
                  </a:lnTo>
                  <a:lnTo>
                    <a:pt x="6280437" y="7810039"/>
                  </a:lnTo>
                  <a:lnTo>
                    <a:pt x="6266142" y="7786213"/>
                  </a:lnTo>
                  <a:lnTo>
                    <a:pt x="6256611" y="7767153"/>
                  </a:lnTo>
                  <a:lnTo>
                    <a:pt x="6251846" y="7748092"/>
                  </a:lnTo>
                  <a:lnTo>
                    <a:pt x="6251846" y="7729032"/>
                  </a:lnTo>
                  <a:lnTo>
                    <a:pt x="6256611" y="7714736"/>
                  </a:lnTo>
                  <a:lnTo>
                    <a:pt x="6261376" y="7705206"/>
                  </a:lnTo>
                  <a:lnTo>
                    <a:pt x="6328088" y="7686146"/>
                  </a:lnTo>
                  <a:lnTo>
                    <a:pt x="6375739" y="7709971"/>
                  </a:lnTo>
                  <a:lnTo>
                    <a:pt x="6409095" y="7709971"/>
                  </a:lnTo>
                  <a:lnTo>
                    <a:pt x="6418626" y="7681381"/>
                  </a:lnTo>
                  <a:lnTo>
                    <a:pt x="6413860" y="7676615"/>
                  </a:lnTo>
                  <a:lnTo>
                    <a:pt x="6399565" y="7686146"/>
                  </a:lnTo>
                  <a:lnTo>
                    <a:pt x="6380505" y="7686146"/>
                  </a:lnTo>
                  <a:lnTo>
                    <a:pt x="6370974" y="7667085"/>
                  </a:lnTo>
                  <a:lnTo>
                    <a:pt x="6370974" y="7657555"/>
                  </a:lnTo>
                  <a:lnTo>
                    <a:pt x="6385270" y="7633729"/>
                  </a:lnTo>
                  <a:close/>
                  <a:moveTo>
                    <a:pt x="6747418" y="7528897"/>
                  </a:moveTo>
                  <a:lnTo>
                    <a:pt x="6766479" y="7533662"/>
                  </a:lnTo>
                  <a:lnTo>
                    <a:pt x="6771244" y="7543192"/>
                  </a:lnTo>
                  <a:lnTo>
                    <a:pt x="6771244" y="7552723"/>
                  </a:lnTo>
                  <a:lnTo>
                    <a:pt x="6766479" y="7567018"/>
                  </a:lnTo>
                  <a:lnTo>
                    <a:pt x="6756949" y="7590844"/>
                  </a:lnTo>
                  <a:lnTo>
                    <a:pt x="6737888" y="7614670"/>
                  </a:lnTo>
                  <a:lnTo>
                    <a:pt x="6695002" y="7657556"/>
                  </a:lnTo>
                  <a:lnTo>
                    <a:pt x="6675942" y="7671851"/>
                  </a:lnTo>
                  <a:lnTo>
                    <a:pt x="6628290" y="7681381"/>
                  </a:lnTo>
                  <a:lnTo>
                    <a:pt x="6609230" y="7676616"/>
                  </a:lnTo>
                  <a:lnTo>
                    <a:pt x="6599700" y="7690912"/>
                  </a:lnTo>
                  <a:lnTo>
                    <a:pt x="6590169" y="7700442"/>
                  </a:lnTo>
                  <a:lnTo>
                    <a:pt x="6566344" y="7700442"/>
                  </a:lnTo>
                  <a:lnTo>
                    <a:pt x="6513927" y="7671851"/>
                  </a:lnTo>
                  <a:lnTo>
                    <a:pt x="6499632" y="7662321"/>
                  </a:lnTo>
                  <a:lnTo>
                    <a:pt x="6494867" y="7652791"/>
                  </a:lnTo>
                  <a:lnTo>
                    <a:pt x="6499632" y="7648025"/>
                  </a:lnTo>
                  <a:lnTo>
                    <a:pt x="6509162" y="7638495"/>
                  </a:lnTo>
                  <a:lnTo>
                    <a:pt x="6547283" y="7624200"/>
                  </a:lnTo>
                  <a:lnTo>
                    <a:pt x="6561579" y="7614670"/>
                  </a:lnTo>
                  <a:lnTo>
                    <a:pt x="6566344" y="7600374"/>
                  </a:lnTo>
                  <a:lnTo>
                    <a:pt x="6575874" y="7590844"/>
                  </a:lnTo>
                  <a:lnTo>
                    <a:pt x="6590169" y="7581314"/>
                  </a:lnTo>
                  <a:lnTo>
                    <a:pt x="6628290" y="7576548"/>
                  </a:lnTo>
                  <a:lnTo>
                    <a:pt x="6709297" y="7538427"/>
                  </a:lnTo>
                  <a:close/>
                  <a:moveTo>
                    <a:pt x="7433597" y="7495541"/>
                  </a:moveTo>
                  <a:lnTo>
                    <a:pt x="7471718" y="7505071"/>
                  </a:lnTo>
                  <a:lnTo>
                    <a:pt x="7533665" y="7528897"/>
                  </a:lnTo>
                  <a:lnTo>
                    <a:pt x="7562256" y="7547957"/>
                  </a:lnTo>
                  <a:lnTo>
                    <a:pt x="7576551" y="7562253"/>
                  </a:lnTo>
                  <a:lnTo>
                    <a:pt x="7605142" y="7600374"/>
                  </a:lnTo>
                  <a:lnTo>
                    <a:pt x="7619437" y="7609904"/>
                  </a:lnTo>
                  <a:lnTo>
                    <a:pt x="7676619" y="7590844"/>
                  </a:lnTo>
                  <a:lnTo>
                    <a:pt x="7714740" y="7581313"/>
                  </a:lnTo>
                  <a:lnTo>
                    <a:pt x="7795747" y="7590844"/>
                  </a:lnTo>
                  <a:lnTo>
                    <a:pt x="7867224" y="7624199"/>
                  </a:lnTo>
                  <a:lnTo>
                    <a:pt x="7895815" y="7648025"/>
                  </a:lnTo>
                  <a:lnTo>
                    <a:pt x="7910110" y="7671851"/>
                  </a:lnTo>
                  <a:lnTo>
                    <a:pt x="7910110" y="7695676"/>
                  </a:lnTo>
                  <a:lnTo>
                    <a:pt x="7895815" y="7733797"/>
                  </a:lnTo>
                  <a:lnTo>
                    <a:pt x="7876754" y="7771918"/>
                  </a:lnTo>
                  <a:lnTo>
                    <a:pt x="7848163" y="7829100"/>
                  </a:lnTo>
                  <a:lnTo>
                    <a:pt x="7819573" y="7857691"/>
                  </a:lnTo>
                  <a:lnTo>
                    <a:pt x="7814807" y="7871986"/>
                  </a:lnTo>
                  <a:lnTo>
                    <a:pt x="7810042" y="7891047"/>
                  </a:lnTo>
                  <a:lnTo>
                    <a:pt x="7800512" y="7919637"/>
                  </a:lnTo>
                  <a:lnTo>
                    <a:pt x="7771921" y="7981584"/>
                  </a:lnTo>
                  <a:lnTo>
                    <a:pt x="7762391" y="7991114"/>
                  </a:lnTo>
                  <a:lnTo>
                    <a:pt x="7724270" y="8019705"/>
                  </a:lnTo>
                  <a:lnTo>
                    <a:pt x="7738565" y="8029235"/>
                  </a:lnTo>
                  <a:lnTo>
                    <a:pt x="7743331" y="8043531"/>
                  </a:lnTo>
                  <a:lnTo>
                    <a:pt x="7738565" y="8067356"/>
                  </a:lnTo>
                  <a:lnTo>
                    <a:pt x="7714740" y="8129303"/>
                  </a:lnTo>
                  <a:lnTo>
                    <a:pt x="7686149" y="8191250"/>
                  </a:lnTo>
                  <a:lnTo>
                    <a:pt x="7667088" y="8224606"/>
                  </a:lnTo>
                  <a:lnTo>
                    <a:pt x="7638498" y="8277022"/>
                  </a:lnTo>
                  <a:lnTo>
                    <a:pt x="7619437" y="8291318"/>
                  </a:lnTo>
                  <a:lnTo>
                    <a:pt x="7595612" y="8296083"/>
                  </a:lnTo>
                  <a:lnTo>
                    <a:pt x="7447893" y="8248431"/>
                  </a:lnTo>
                  <a:lnTo>
                    <a:pt x="7409772" y="8253196"/>
                  </a:lnTo>
                  <a:lnTo>
                    <a:pt x="7309704" y="8277022"/>
                  </a:lnTo>
                  <a:lnTo>
                    <a:pt x="7319234" y="8286552"/>
                  </a:lnTo>
                  <a:lnTo>
                    <a:pt x="7352590" y="8300848"/>
                  </a:lnTo>
                  <a:lnTo>
                    <a:pt x="7376416" y="8319908"/>
                  </a:lnTo>
                  <a:lnTo>
                    <a:pt x="7409772" y="8377090"/>
                  </a:lnTo>
                  <a:lnTo>
                    <a:pt x="7414537" y="8391385"/>
                  </a:lnTo>
                  <a:lnTo>
                    <a:pt x="7414537" y="8410446"/>
                  </a:lnTo>
                  <a:lnTo>
                    <a:pt x="7414537" y="8443802"/>
                  </a:lnTo>
                  <a:lnTo>
                    <a:pt x="7409772" y="8448567"/>
                  </a:lnTo>
                  <a:lnTo>
                    <a:pt x="7362120" y="8534339"/>
                  </a:lnTo>
                  <a:lnTo>
                    <a:pt x="7347825" y="8601051"/>
                  </a:lnTo>
                  <a:lnTo>
                    <a:pt x="7338295" y="8646320"/>
                  </a:lnTo>
                  <a:lnTo>
                    <a:pt x="7319234" y="8660615"/>
                  </a:lnTo>
                  <a:lnTo>
                    <a:pt x="7262053" y="8641554"/>
                  </a:lnTo>
                  <a:lnTo>
                    <a:pt x="7247757" y="8641554"/>
                  </a:lnTo>
                  <a:lnTo>
                    <a:pt x="7185811" y="8655850"/>
                  </a:lnTo>
                  <a:lnTo>
                    <a:pt x="7157220" y="8651085"/>
                  </a:lnTo>
                  <a:lnTo>
                    <a:pt x="7161985" y="8572460"/>
                  </a:lnTo>
                  <a:lnTo>
                    <a:pt x="7157220" y="8491453"/>
                  </a:lnTo>
                  <a:lnTo>
                    <a:pt x="7147690" y="8405681"/>
                  </a:lnTo>
                  <a:lnTo>
                    <a:pt x="7100038" y="8262727"/>
                  </a:lnTo>
                  <a:lnTo>
                    <a:pt x="7095273" y="8234136"/>
                  </a:lnTo>
                  <a:lnTo>
                    <a:pt x="7090508" y="8205545"/>
                  </a:lnTo>
                  <a:lnTo>
                    <a:pt x="7090508" y="8176954"/>
                  </a:lnTo>
                  <a:lnTo>
                    <a:pt x="7090508" y="8148364"/>
                  </a:lnTo>
                  <a:lnTo>
                    <a:pt x="7095273" y="8081652"/>
                  </a:lnTo>
                  <a:lnTo>
                    <a:pt x="7095273" y="8053061"/>
                  </a:lnTo>
                  <a:lnTo>
                    <a:pt x="7090508" y="7967289"/>
                  </a:lnTo>
                  <a:lnTo>
                    <a:pt x="7085743" y="7843395"/>
                  </a:lnTo>
                  <a:lnTo>
                    <a:pt x="7085743" y="7781449"/>
                  </a:lnTo>
                  <a:lnTo>
                    <a:pt x="7085743" y="7767153"/>
                  </a:lnTo>
                  <a:lnTo>
                    <a:pt x="7095273" y="7748093"/>
                  </a:lnTo>
                  <a:lnTo>
                    <a:pt x="7114334" y="7733797"/>
                  </a:lnTo>
                  <a:lnTo>
                    <a:pt x="7128629" y="7733797"/>
                  </a:lnTo>
                  <a:lnTo>
                    <a:pt x="7185811" y="7771918"/>
                  </a:lnTo>
                  <a:lnTo>
                    <a:pt x="7214401" y="7786214"/>
                  </a:lnTo>
                  <a:lnTo>
                    <a:pt x="7233462" y="7786214"/>
                  </a:lnTo>
                  <a:lnTo>
                    <a:pt x="7233462" y="7781449"/>
                  </a:lnTo>
                  <a:lnTo>
                    <a:pt x="7219167" y="7771918"/>
                  </a:lnTo>
                  <a:lnTo>
                    <a:pt x="7204871" y="7752858"/>
                  </a:lnTo>
                  <a:lnTo>
                    <a:pt x="7176280" y="7705207"/>
                  </a:lnTo>
                  <a:lnTo>
                    <a:pt x="7166750" y="7662321"/>
                  </a:lnTo>
                  <a:lnTo>
                    <a:pt x="7161985" y="7648025"/>
                  </a:lnTo>
                  <a:lnTo>
                    <a:pt x="7161985" y="7633730"/>
                  </a:lnTo>
                  <a:lnTo>
                    <a:pt x="7161985" y="7619434"/>
                  </a:lnTo>
                  <a:lnTo>
                    <a:pt x="7166750" y="7605139"/>
                  </a:lnTo>
                  <a:lnTo>
                    <a:pt x="7181046" y="7581313"/>
                  </a:lnTo>
                  <a:lnTo>
                    <a:pt x="7190576" y="7571783"/>
                  </a:lnTo>
                  <a:lnTo>
                    <a:pt x="7228697" y="7547957"/>
                  </a:lnTo>
                  <a:lnTo>
                    <a:pt x="7266818" y="7533662"/>
                  </a:lnTo>
                  <a:lnTo>
                    <a:pt x="7352590" y="7519367"/>
                  </a:lnTo>
                  <a:lnTo>
                    <a:pt x="7376416" y="7528897"/>
                  </a:lnTo>
                  <a:lnTo>
                    <a:pt x="7414537" y="7500306"/>
                  </a:lnTo>
                  <a:close/>
                  <a:moveTo>
                    <a:pt x="3044915" y="7281110"/>
                  </a:moveTo>
                  <a:lnTo>
                    <a:pt x="3073506" y="7290640"/>
                  </a:lnTo>
                  <a:lnTo>
                    <a:pt x="3106862" y="7314466"/>
                  </a:lnTo>
                  <a:lnTo>
                    <a:pt x="3144983" y="7352587"/>
                  </a:lnTo>
                  <a:lnTo>
                    <a:pt x="3197399" y="7395473"/>
                  </a:lnTo>
                  <a:lnTo>
                    <a:pt x="3292702" y="7452655"/>
                  </a:lnTo>
                  <a:lnTo>
                    <a:pt x="3349883" y="7462185"/>
                  </a:lnTo>
                  <a:lnTo>
                    <a:pt x="3326058" y="7509836"/>
                  </a:lnTo>
                  <a:lnTo>
                    <a:pt x="3321293" y="7519366"/>
                  </a:lnTo>
                  <a:lnTo>
                    <a:pt x="3321293" y="7533662"/>
                  </a:lnTo>
                  <a:lnTo>
                    <a:pt x="3364179" y="7481245"/>
                  </a:lnTo>
                  <a:lnTo>
                    <a:pt x="3388004" y="7476480"/>
                  </a:lnTo>
                  <a:lnTo>
                    <a:pt x="3407065" y="7481245"/>
                  </a:lnTo>
                  <a:lnTo>
                    <a:pt x="3411830" y="7490776"/>
                  </a:lnTo>
                  <a:lnTo>
                    <a:pt x="3416595" y="7500306"/>
                  </a:lnTo>
                  <a:lnTo>
                    <a:pt x="3416595" y="7524132"/>
                  </a:lnTo>
                  <a:lnTo>
                    <a:pt x="3416595" y="7581313"/>
                  </a:lnTo>
                  <a:lnTo>
                    <a:pt x="3421360" y="7586078"/>
                  </a:lnTo>
                  <a:lnTo>
                    <a:pt x="3426126" y="7581313"/>
                  </a:lnTo>
                  <a:lnTo>
                    <a:pt x="3435656" y="7571783"/>
                  </a:lnTo>
                  <a:lnTo>
                    <a:pt x="3478542" y="7486011"/>
                  </a:lnTo>
                  <a:lnTo>
                    <a:pt x="3497602" y="7462185"/>
                  </a:lnTo>
                  <a:lnTo>
                    <a:pt x="3507133" y="7457420"/>
                  </a:lnTo>
                  <a:lnTo>
                    <a:pt x="3564314" y="7443124"/>
                  </a:lnTo>
                  <a:lnTo>
                    <a:pt x="3597670" y="7443124"/>
                  </a:lnTo>
                  <a:lnTo>
                    <a:pt x="3640556" y="7452655"/>
                  </a:lnTo>
                  <a:lnTo>
                    <a:pt x="3669147" y="7462185"/>
                  </a:lnTo>
                  <a:lnTo>
                    <a:pt x="3716798" y="7500306"/>
                  </a:lnTo>
                  <a:lnTo>
                    <a:pt x="3759684" y="7538427"/>
                  </a:lnTo>
                  <a:lnTo>
                    <a:pt x="3793040" y="7581313"/>
                  </a:lnTo>
                  <a:lnTo>
                    <a:pt x="3912169" y="7738562"/>
                  </a:lnTo>
                  <a:lnTo>
                    <a:pt x="3964585" y="7781449"/>
                  </a:lnTo>
                  <a:lnTo>
                    <a:pt x="3983646" y="7810039"/>
                  </a:lnTo>
                  <a:lnTo>
                    <a:pt x="3993176" y="7829100"/>
                  </a:lnTo>
                  <a:lnTo>
                    <a:pt x="3997941" y="7852925"/>
                  </a:lnTo>
                  <a:lnTo>
                    <a:pt x="4002706" y="7871986"/>
                  </a:lnTo>
                  <a:lnTo>
                    <a:pt x="3997941" y="7895812"/>
                  </a:lnTo>
                  <a:lnTo>
                    <a:pt x="3993176" y="7910107"/>
                  </a:lnTo>
                  <a:lnTo>
                    <a:pt x="3978880" y="7919637"/>
                  </a:lnTo>
                  <a:lnTo>
                    <a:pt x="3907403" y="7972054"/>
                  </a:lnTo>
                  <a:lnTo>
                    <a:pt x="3869282" y="7986349"/>
                  </a:lnTo>
                  <a:lnTo>
                    <a:pt x="3831161" y="8010175"/>
                  </a:lnTo>
                  <a:lnTo>
                    <a:pt x="3740624" y="8086417"/>
                  </a:lnTo>
                  <a:lnTo>
                    <a:pt x="3678677" y="8124538"/>
                  </a:lnTo>
                  <a:lnTo>
                    <a:pt x="3597670" y="8196015"/>
                  </a:lnTo>
                  <a:lnTo>
                    <a:pt x="3445186" y="8315143"/>
                  </a:lnTo>
                  <a:lnTo>
                    <a:pt x="3426126" y="8334204"/>
                  </a:lnTo>
                  <a:lnTo>
                    <a:pt x="3416595" y="8353264"/>
                  </a:lnTo>
                  <a:lnTo>
                    <a:pt x="3373709" y="8481922"/>
                  </a:lnTo>
                  <a:lnTo>
                    <a:pt x="3359414" y="8510513"/>
                  </a:lnTo>
                  <a:lnTo>
                    <a:pt x="3316528" y="8539104"/>
                  </a:lnTo>
                  <a:lnTo>
                    <a:pt x="3268876" y="8548634"/>
                  </a:lnTo>
                  <a:lnTo>
                    <a:pt x="3254581" y="8558164"/>
                  </a:lnTo>
                  <a:lnTo>
                    <a:pt x="3249816" y="8601051"/>
                  </a:lnTo>
                  <a:lnTo>
                    <a:pt x="3230755" y="8670145"/>
                  </a:lnTo>
                  <a:lnTo>
                    <a:pt x="3225990" y="8717796"/>
                  </a:lnTo>
                  <a:lnTo>
                    <a:pt x="3211695" y="8846455"/>
                  </a:lnTo>
                  <a:lnTo>
                    <a:pt x="3206930" y="8860750"/>
                  </a:lnTo>
                  <a:lnTo>
                    <a:pt x="3202164" y="8884576"/>
                  </a:lnTo>
                  <a:lnTo>
                    <a:pt x="3183104" y="8908402"/>
                  </a:lnTo>
                  <a:lnTo>
                    <a:pt x="3135453" y="8936992"/>
                  </a:lnTo>
                  <a:lnTo>
                    <a:pt x="3102097" y="8956053"/>
                  </a:lnTo>
                  <a:lnTo>
                    <a:pt x="3049680" y="8965583"/>
                  </a:lnTo>
                  <a:lnTo>
                    <a:pt x="3040150" y="8956053"/>
                  </a:lnTo>
                  <a:lnTo>
                    <a:pt x="3025855" y="8936992"/>
                  </a:lnTo>
                  <a:lnTo>
                    <a:pt x="3016324" y="8936992"/>
                  </a:lnTo>
                  <a:lnTo>
                    <a:pt x="3006794" y="8941757"/>
                  </a:lnTo>
                  <a:lnTo>
                    <a:pt x="2944848" y="9027530"/>
                  </a:lnTo>
                  <a:lnTo>
                    <a:pt x="2882901" y="9060886"/>
                  </a:lnTo>
                  <a:lnTo>
                    <a:pt x="2854310" y="9094242"/>
                  </a:lnTo>
                  <a:lnTo>
                    <a:pt x="2835250" y="9108537"/>
                  </a:lnTo>
                  <a:lnTo>
                    <a:pt x="2820954" y="9113302"/>
                  </a:lnTo>
                  <a:lnTo>
                    <a:pt x="2797129" y="9108537"/>
                  </a:lnTo>
                  <a:lnTo>
                    <a:pt x="2778068" y="9094242"/>
                  </a:lnTo>
                  <a:lnTo>
                    <a:pt x="2763773" y="9075181"/>
                  </a:lnTo>
                  <a:lnTo>
                    <a:pt x="2749477" y="9051355"/>
                  </a:lnTo>
                  <a:lnTo>
                    <a:pt x="2720886" y="8951288"/>
                  </a:lnTo>
                  <a:lnTo>
                    <a:pt x="2706591" y="8917932"/>
                  </a:lnTo>
                  <a:lnTo>
                    <a:pt x="2697061" y="8898871"/>
                  </a:lnTo>
                  <a:lnTo>
                    <a:pt x="2663705" y="8836924"/>
                  </a:lnTo>
                  <a:lnTo>
                    <a:pt x="2654175" y="8822629"/>
                  </a:lnTo>
                  <a:lnTo>
                    <a:pt x="2539812" y="8746387"/>
                  </a:lnTo>
                  <a:lnTo>
                    <a:pt x="2482630" y="8703501"/>
                  </a:lnTo>
                  <a:lnTo>
                    <a:pt x="2468335" y="8684440"/>
                  </a:lnTo>
                  <a:lnTo>
                    <a:pt x="2454039" y="8674910"/>
                  </a:lnTo>
                  <a:lnTo>
                    <a:pt x="2382562" y="8684440"/>
                  </a:lnTo>
                  <a:lnTo>
                    <a:pt x="2368267" y="8679675"/>
                  </a:lnTo>
                  <a:lnTo>
                    <a:pt x="2368267" y="8674910"/>
                  </a:lnTo>
                  <a:lnTo>
                    <a:pt x="2377797" y="8651084"/>
                  </a:lnTo>
                  <a:lnTo>
                    <a:pt x="2382562" y="8636789"/>
                  </a:lnTo>
                  <a:lnTo>
                    <a:pt x="2382562" y="8624876"/>
                  </a:lnTo>
                  <a:lnTo>
                    <a:pt x="2382562" y="8601051"/>
                  </a:lnTo>
                  <a:lnTo>
                    <a:pt x="2382562" y="8596286"/>
                  </a:lnTo>
                  <a:lnTo>
                    <a:pt x="2411153" y="8572460"/>
                  </a:lnTo>
                  <a:lnTo>
                    <a:pt x="2406388" y="8567695"/>
                  </a:lnTo>
                  <a:lnTo>
                    <a:pt x="2401623" y="8558164"/>
                  </a:lnTo>
                  <a:lnTo>
                    <a:pt x="2401623" y="8543869"/>
                  </a:lnTo>
                  <a:lnTo>
                    <a:pt x="2401623" y="8534339"/>
                  </a:lnTo>
                  <a:lnTo>
                    <a:pt x="2411153" y="8529574"/>
                  </a:lnTo>
                  <a:lnTo>
                    <a:pt x="2420683" y="8510513"/>
                  </a:lnTo>
                  <a:lnTo>
                    <a:pt x="2430214" y="8472392"/>
                  </a:lnTo>
                  <a:lnTo>
                    <a:pt x="2439744" y="8448566"/>
                  </a:lnTo>
                  <a:lnTo>
                    <a:pt x="2454039" y="8434271"/>
                  </a:lnTo>
                  <a:lnTo>
                    <a:pt x="2473100" y="8396150"/>
                  </a:lnTo>
                  <a:lnTo>
                    <a:pt x="2487395" y="8381855"/>
                  </a:lnTo>
                  <a:lnTo>
                    <a:pt x="2501691" y="8362794"/>
                  </a:lnTo>
                  <a:lnTo>
                    <a:pt x="2501691" y="8353264"/>
                  </a:lnTo>
                  <a:lnTo>
                    <a:pt x="2496925" y="8348499"/>
                  </a:lnTo>
                  <a:lnTo>
                    <a:pt x="2496925" y="8334204"/>
                  </a:lnTo>
                  <a:lnTo>
                    <a:pt x="2496925" y="8286552"/>
                  </a:lnTo>
                  <a:lnTo>
                    <a:pt x="2496925" y="8262726"/>
                  </a:lnTo>
                  <a:lnTo>
                    <a:pt x="2501691" y="8243666"/>
                  </a:lnTo>
                  <a:lnTo>
                    <a:pt x="2506456" y="8229371"/>
                  </a:lnTo>
                  <a:lnTo>
                    <a:pt x="2511221" y="8219840"/>
                  </a:lnTo>
                  <a:lnTo>
                    <a:pt x="2563637" y="8186484"/>
                  </a:lnTo>
                  <a:lnTo>
                    <a:pt x="2568402" y="8176954"/>
                  </a:lnTo>
                  <a:lnTo>
                    <a:pt x="2568402" y="8162659"/>
                  </a:lnTo>
                  <a:lnTo>
                    <a:pt x="2568402" y="8153129"/>
                  </a:lnTo>
                  <a:lnTo>
                    <a:pt x="2563637" y="8143598"/>
                  </a:lnTo>
                  <a:lnTo>
                    <a:pt x="2554107" y="8134068"/>
                  </a:lnTo>
                  <a:lnTo>
                    <a:pt x="2539812" y="8134068"/>
                  </a:lnTo>
                  <a:lnTo>
                    <a:pt x="2530281" y="8115008"/>
                  </a:lnTo>
                  <a:lnTo>
                    <a:pt x="2525516" y="8105477"/>
                  </a:lnTo>
                  <a:lnTo>
                    <a:pt x="2530281" y="8076886"/>
                  </a:lnTo>
                  <a:lnTo>
                    <a:pt x="2554107" y="8034000"/>
                  </a:lnTo>
                  <a:lnTo>
                    <a:pt x="2563637" y="8014940"/>
                  </a:lnTo>
                  <a:lnTo>
                    <a:pt x="2592228" y="7919637"/>
                  </a:lnTo>
                  <a:lnTo>
                    <a:pt x="2639879" y="7857691"/>
                  </a:lnTo>
                  <a:lnTo>
                    <a:pt x="2654175" y="7795744"/>
                  </a:lnTo>
                  <a:lnTo>
                    <a:pt x="2687531" y="7724267"/>
                  </a:lnTo>
                  <a:lnTo>
                    <a:pt x="2687531" y="7714737"/>
                  </a:lnTo>
                  <a:lnTo>
                    <a:pt x="2678000" y="7690911"/>
                  </a:lnTo>
                  <a:lnTo>
                    <a:pt x="2644644" y="7676616"/>
                  </a:lnTo>
                  <a:lnTo>
                    <a:pt x="2625584" y="7652790"/>
                  </a:lnTo>
                  <a:lnTo>
                    <a:pt x="2616054" y="7619434"/>
                  </a:lnTo>
                  <a:lnTo>
                    <a:pt x="2568402" y="7452655"/>
                  </a:lnTo>
                  <a:lnTo>
                    <a:pt x="2558872" y="7443124"/>
                  </a:lnTo>
                  <a:lnTo>
                    <a:pt x="2554107" y="7419299"/>
                  </a:lnTo>
                  <a:lnTo>
                    <a:pt x="2544577" y="7409768"/>
                  </a:lnTo>
                  <a:lnTo>
                    <a:pt x="2549342" y="7395473"/>
                  </a:lnTo>
                  <a:lnTo>
                    <a:pt x="2739947" y="7343057"/>
                  </a:lnTo>
                  <a:lnTo>
                    <a:pt x="2873371" y="7328761"/>
                  </a:lnTo>
                  <a:lnTo>
                    <a:pt x="3006794" y="7285875"/>
                  </a:lnTo>
                  <a:close/>
                  <a:moveTo>
                    <a:pt x="6809365" y="7233459"/>
                  </a:moveTo>
                  <a:lnTo>
                    <a:pt x="6823661" y="7252520"/>
                  </a:lnTo>
                  <a:lnTo>
                    <a:pt x="6828426" y="7262050"/>
                  </a:lnTo>
                  <a:lnTo>
                    <a:pt x="6828426" y="7271580"/>
                  </a:lnTo>
                  <a:lnTo>
                    <a:pt x="6818896" y="7290641"/>
                  </a:lnTo>
                  <a:lnTo>
                    <a:pt x="6771244" y="7328762"/>
                  </a:lnTo>
                  <a:lnTo>
                    <a:pt x="6761714" y="7314467"/>
                  </a:lnTo>
                  <a:lnTo>
                    <a:pt x="6756949" y="7300171"/>
                  </a:lnTo>
                  <a:lnTo>
                    <a:pt x="6795070" y="7247754"/>
                  </a:lnTo>
                  <a:close/>
                  <a:moveTo>
                    <a:pt x="7080978" y="7228694"/>
                  </a:moveTo>
                  <a:lnTo>
                    <a:pt x="7104803" y="7228694"/>
                  </a:lnTo>
                  <a:lnTo>
                    <a:pt x="7133394" y="7257285"/>
                  </a:lnTo>
                  <a:lnTo>
                    <a:pt x="7142924" y="7285875"/>
                  </a:lnTo>
                  <a:lnTo>
                    <a:pt x="7142924" y="7295406"/>
                  </a:lnTo>
                  <a:lnTo>
                    <a:pt x="7138159" y="7304936"/>
                  </a:lnTo>
                  <a:lnTo>
                    <a:pt x="7133394" y="7309701"/>
                  </a:lnTo>
                  <a:lnTo>
                    <a:pt x="7119098" y="7304936"/>
                  </a:lnTo>
                  <a:lnTo>
                    <a:pt x="7066682" y="7276345"/>
                  </a:lnTo>
                  <a:lnTo>
                    <a:pt x="7057152" y="7266815"/>
                  </a:lnTo>
                  <a:lnTo>
                    <a:pt x="7052387" y="7257285"/>
                  </a:lnTo>
                  <a:lnTo>
                    <a:pt x="7066682" y="7247754"/>
                  </a:lnTo>
                  <a:lnTo>
                    <a:pt x="7071447" y="7238224"/>
                  </a:lnTo>
                  <a:close/>
                  <a:moveTo>
                    <a:pt x="5727682" y="6747416"/>
                  </a:moveTo>
                  <a:lnTo>
                    <a:pt x="5770568" y="6752181"/>
                  </a:lnTo>
                  <a:lnTo>
                    <a:pt x="5794394" y="6771242"/>
                  </a:lnTo>
                  <a:lnTo>
                    <a:pt x="5803924" y="6785537"/>
                  </a:lnTo>
                  <a:lnTo>
                    <a:pt x="5808689" y="6799832"/>
                  </a:lnTo>
                  <a:lnTo>
                    <a:pt x="5818220" y="6833188"/>
                  </a:lnTo>
                  <a:lnTo>
                    <a:pt x="5818220" y="6857014"/>
                  </a:lnTo>
                  <a:lnTo>
                    <a:pt x="5832515" y="6880839"/>
                  </a:lnTo>
                  <a:lnTo>
                    <a:pt x="5837280" y="6895135"/>
                  </a:lnTo>
                  <a:lnTo>
                    <a:pt x="5837280" y="6914195"/>
                  </a:lnTo>
                  <a:lnTo>
                    <a:pt x="5832515" y="6928490"/>
                  </a:lnTo>
                  <a:lnTo>
                    <a:pt x="5827750" y="6942786"/>
                  </a:lnTo>
                  <a:lnTo>
                    <a:pt x="5808689" y="6961846"/>
                  </a:lnTo>
                  <a:lnTo>
                    <a:pt x="5761038" y="6990437"/>
                  </a:lnTo>
                  <a:lnTo>
                    <a:pt x="5732447" y="6990437"/>
                  </a:lnTo>
                  <a:lnTo>
                    <a:pt x="5680031" y="6971377"/>
                  </a:lnTo>
                  <a:lnTo>
                    <a:pt x="5651440" y="6938021"/>
                  </a:lnTo>
                  <a:lnTo>
                    <a:pt x="5641910" y="6923725"/>
                  </a:lnTo>
                  <a:lnTo>
                    <a:pt x="5641910" y="6914195"/>
                  </a:lnTo>
                  <a:lnTo>
                    <a:pt x="5646675" y="6904665"/>
                  </a:lnTo>
                  <a:lnTo>
                    <a:pt x="5656205" y="6880839"/>
                  </a:lnTo>
                  <a:lnTo>
                    <a:pt x="5670501" y="6814128"/>
                  </a:lnTo>
                  <a:lnTo>
                    <a:pt x="5680031" y="6795067"/>
                  </a:lnTo>
                  <a:lnTo>
                    <a:pt x="5708622" y="6756946"/>
                  </a:lnTo>
                  <a:close/>
                  <a:moveTo>
                    <a:pt x="7204871" y="6623523"/>
                  </a:moveTo>
                  <a:lnTo>
                    <a:pt x="7242992" y="6628288"/>
                  </a:lnTo>
                  <a:lnTo>
                    <a:pt x="7276348" y="6647349"/>
                  </a:lnTo>
                  <a:lnTo>
                    <a:pt x="7300174" y="6675939"/>
                  </a:lnTo>
                  <a:lnTo>
                    <a:pt x="7357355" y="6752181"/>
                  </a:lnTo>
                  <a:lnTo>
                    <a:pt x="7381181" y="6799833"/>
                  </a:lnTo>
                  <a:lnTo>
                    <a:pt x="7395476" y="6842719"/>
                  </a:lnTo>
                  <a:lnTo>
                    <a:pt x="7405006" y="6871310"/>
                  </a:lnTo>
                  <a:lnTo>
                    <a:pt x="7419302" y="6928491"/>
                  </a:lnTo>
                  <a:lnTo>
                    <a:pt x="7414537" y="6952317"/>
                  </a:lnTo>
                  <a:lnTo>
                    <a:pt x="7414537" y="6980907"/>
                  </a:lnTo>
                  <a:lnTo>
                    <a:pt x="7414537" y="6995203"/>
                  </a:lnTo>
                  <a:lnTo>
                    <a:pt x="7424067" y="7038089"/>
                  </a:lnTo>
                  <a:lnTo>
                    <a:pt x="7424067" y="7057149"/>
                  </a:lnTo>
                  <a:lnTo>
                    <a:pt x="7424067" y="7095270"/>
                  </a:lnTo>
                  <a:lnTo>
                    <a:pt x="7424067" y="7147687"/>
                  </a:lnTo>
                  <a:lnTo>
                    <a:pt x="7419302" y="7157217"/>
                  </a:lnTo>
                  <a:lnTo>
                    <a:pt x="7414537" y="7161982"/>
                  </a:lnTo>
                  <a:lnTo>
                    <a:pt x="7414537" y="7176278"/>
                  </a:lnTo>
                  <a:lnTo>
                    <a:pt x="7414537" y="7195338"/>
                  </a:lnTo>
                  <a:lnTo>
                    <a:pt x="7409772" y="7209634"/>
                  </a:lnTo>
                  <a:lnTo>
                    <a:pt x="7400241" y="7214399"/>
                  </a:lnTo>
                  <a:lnTo>
                    <a:pt x="7343060" y="7223929"/>
                  </a:lnTo>
                  <a:lnTo>
                    <a:pt x="7309704" y="7219164"/>
                  </a:lnTo>
                  <a:lnTo>
                    <a:pt x="7257288" y="7228694"/>
                  </a:lnTo>
                  <a:lnTo>
                    <a:pt x="7233462" y="7223929"/>
                  </a:lnTo>
                  <a:lnTo>
                    <a:pt x="7214401" y="7214399"/>
                  </a:lnTo>
                  <a:lnTo>
                    <a:pt x="7190576" y="7190573"/>
                  </a:lnTo>
                  <a:lnTo>
                    <a:pt x="7142924" y="7133391"/>
                  </a:lnTo>
                  <a:lnTo>
                    <a:pt x="7114334" y="7133391"/>
                  </a:lnTo>
                  <a:lnTo>
                    <a:pt x="7052387" y="7114331"/>
                  </a:lnTo>
                  <a:lnTo>
                    <a:pt x="7014266" y="7052384"/>
                  </a:lnTo>
                  <a:lnTo>
                    <a:pt x="6999971" y="7042854"/>
                  </a:lnTo>
                  <a:lnTo>
                    <a:pt x="6985675" y="7057149"/>
                  </a:lnTo>
                  <a:lnTo>
                    <a:pt x="6985675" y="7052384"/>
                  </a:lnTo>
                  <a:lnTo>
                    <a:pt x="6980910" y="7042854"/>
                  </a:lnTo>
                  <a:lnTo>
                    <a:pt x="6976145" y="7023794"/>
                  </a:lnTo>
                  <a:lnTo>
                    <a:pt x="6971380" y="7009498"/>
                  </a:lnTo>
                  <a:lnTo>
                    <a:pt x="6942789" y="7014263"/>
                  </a:lnTo>
                  <a:lnTo>
                    <a:pt x="6938024" y="7009498"/>
                  </a:lnTo>
                  <a:lnTo>
                    <a:pt x="6938024" y="6990438"/>
                  </a:lnTo>
                  <a:lnTo>
                    <a:pt x="6938024" y="6976142"/>
                  </a:lnTo>
                  <a:lnTo>
                    <a:pt x="6942789" y="6952317"/>
                  </a:lnTo>
                  <a:lnTo>
                    <a:pt x="6971380" y="6880840"/>
                  </a:lnTo>
                  <a:lnTo>
                    <a:pt x="6985675" y="6876075"/>
                  </a:lnTo>
                  <a:lnTo>
                    <a:pt x="6999971" y="6866544"/>
                  </a:lnTo>
                  <a:lnTo>
                    <a:pt x="7009501" y="6828423"/>
                  </a:lnTo>
                  <a:lnTo>
                    <a:pt x="7009501" y="6790302"/>
                  </a:lnTo>
                  <a:lnTo>
                    <a:pt x="7038092" y="6737886"/>
                  </a:lnTo>
                  <a:lnTo>
                    <a:pt x="7052387" y="6723591"/>
                  </a:lnTo>
                  <a:lnTo>
                    <a:pt x="7080978" y="6685470"/>
                  </a:lnTo>
                  <a:lnTo>
                    <a:pt x="7176280" y="6628288"/>
                  </a:lnTo>
                  <a:close/>
                  <a:moveTo>
                    <a:pt x="6971380" y="6609227"/>
                  </a:moveTo>
                  <a:lnTo>
                    <a:pt x="7009501" y="6633053"/>
                  </a:lnTo>
                  <a:lnTo>
                    <a:pt x="7023797" y="6652113"/>
                  </a:lnTo>
                  <a:lnTo>
                    <a:pt x="7038092" y="6671174"/>
                  </a:lnTo>
                  <a:lnTo>
                    <a:pt x="7033327" y="6675939"/>
                  </a:lnTo>
                  <a:lnTo>
                    <a:pt x="7019032" y="6699765"/>
                  </a:lnTo>
                  <a:lnTo>
                    <a:pt x="7004736" y="6718825"/>
                  </a:lnTo>
                  <a:lnTo>
                    <a:pt x="6995206" y="6718825"/>
                  </a:lnTo>
                  <a:lnTo>
                    <a:pt x="6976146" y="6699765"/>
                  </a:lnTo>
                  <a:lnTo>
                    <a:pt x="6957085" y="6709295"/>
                  </a:lnTo>
                  <a:lnTo>
                    <a:pt x="6933259" y="6747416"/>
                  </a:lnTo>
                  <a:lnTo>
                    <a:pt x="6923729" y="6771242"/>
                  </a:lnTo>
                  <a:lnTo>
                    <a:pt x="6918964" y="6776007"/>
                  </a:lnTo>
                  <a:lnTo>
                    <a:pt x="6895139" y="6785537"/>
                  </a:lnTo>
                  <a:lnTo>
                    <a:pt x="6885608" y="6780772"/>
                  </a:lnTo>
                  <a:lnTo>
                    <a:pt x="6880843" y="6756946"/>
                  </a:lnTo>
                  <a:lnTo>
                    <a:pt x="6871313" y="6723590"/>
                  </a:lnTo>
                  <a:lnTo>
                    <a:pt x="6876078" y="6699765"/>
                  </a:lnTo>
                  <a:lnTo>
                    <a:pt x="6895139" y="6680704"/>
                  </a:lnTo>
                  <a:lnTo>
                    <a:pt x="6947555" y="6652113"/>
                  </a:lnTo>
                  <a:lnTo>
                    <a:pt x="6961850" y="6637818"/>
                  </a:lnTo>
                  <a:lnTo>
                    <a:pt x="6966615" y="6623522"/>
                  </a:lnTo>
                  <a:lnTo>
                    <a:pt x="6966615" y="6613992"/>
                  </a:lnTo>
                  <a:close/>
                  <a:moveTo>
                    <a:pt x="3140219" y="6428158"/>
                  </a:moveTo>
                  <a:lnTo>
                    <a:pt x="3144984" y="6432923"/>
                  </a:lnTo>
                  <a:lnTo>
                    <a:pt x="3144984" y="6447219"/>
                  </a:lnTo>
                  <a:lnTo>
                    <a:pt x="3140219" y="6485339"/>
                  </a:lnTo>
                  <a:lnTo>
                    <a:pt x="3135454" y="6504395"/>
                  </a:lnTo>
                  <a:lnTo>
                    <a:pt x="3130688" y="6523455"/>
                  </a:lnTo>
                  <a:lnTo>
                    <a:pt x="3125923" y="6537751"/>
                  </a:lnTo>
                  <a:lnTo>
                    <a:pt x="3111628" y="6547281"/>
                  </a:lnTo>
                  <a:lnTo>
                    <a:pt x="3102098" y="6552046"/>
                  </a:lnTo>
                  <a:lnTo>
                    <a:pt x="3087802" y="6547281"/>
                  </a:lnTo>
                  <a:lnTo>
                    <a:pt x="3092567" y="6528220"/>
                  </a:lnTo>
                  <a:lnTo>
                    <a:pt x="3121158" y="6485339"/>
                  </a:lnTo>
                  <a:lnTo>
                    <a:pt x="3121158" y="6471043"/>
                  </a:lnTo>
                  <a:lnTo>
                    <a:pt x="3121158" y="6461515"/>
                  </a:lnTo>
                  <a:lnTo>
                    <a:pt x="3121158" y="6447219"/>
                  </a:lnTo>
                  <a:lnTo>
                    <a:pt x="3125923" y="6432923"/>
                  </a:lnTo>
                  <a:close/>
                  <a:moveTo>
                    <a:pt x="7257288" y="6390038"/>
                  </a:moveTo>
                  <a:lnTo>
                    <a:pt x="7262053" y="6390038"/>
                  </a:lnTo>
                  <a:lnTo>
                    <a:pt x="7266818" y="6404334"/>
                  </a:lnTo>
                  <a:lnTo>
                    <a:pt x="7271583" y="6442455"/>
                  </a:lnTo>
                  <a:lnTo>
                    <a:pt x="7276348" y="6461515"/>
                  </a:lnTo>
                  <a:lnTo>
                    <a:pt x="7290644" y="6499636"/>
                  </a:lnTo>
                  <a:lnTo>
                    <a:pt x="7295409" y="6523455"/>
                  </a:lnTo>
                  <a:lnTo>
                    <a:pt x="7295409" y="6528221"/>
                  </a:lnTo>
                  <a:lnTo>
                    <a:pt x="7290644" y="6537751"/>
                  </a:lnTo>
                  <a:lnTo>
                    <a:pt x="7262053" y="6547281"/>
                  </a:lnTo>
                  <a:lnTo>
                    <a:pt x="7242992" y="6547281"/>
                  </a:lnTo>
                  <a:lnTo>
                    <a:pt x="7223932" y="6532986"/>
                  </a:lnTo>
                  <a:lnTo>
                    <a:pt x="7219167" y="6518690"/>
                  </a:lnTo>
                  <a:lnTo>
                    <a:pt x="7214401" y="6499636"/>
                  </a:lnTo>
                  <a:lnTo>
                    <a:pt x="7214401" y="6475811"/>
                  </a:lnTo>
                  <a:lnTo>
                    <a:pt x="7209636" y="6456748"/>
                  </a:lnTo>
                  <a:lnTo>
                    <a:pt x="7204871" y="6442455"/>
                  </a:lnTo>
                  <a:lnTo>
                    <a:pt x="7200106" y="6432923"/>
                  </a:lnTo>
                  <a:lnTo>
                    <a:pt x="7204871" y="6423394"/>
                  </a:lnTo>
                  <a:lnTo>
                    <a:pt x="7209636" y="6418628"/>
                  </a:lnTo>
                  <a:lnTo>
                    <a:pt x="7228697" y="6413862"/>
                  </a:lnTo>
                  <a:close/>
                  <a:moveTo>
                    <a:pt x="3631026" y="6313794"/>
                  </a:moveTo>
                  <a:lnTo>
                    <a:pt x="3650086" y="6313794"/>
                  </a:lnTo>
                  <a:lnTo>
                    <a:pt x="3669147" y="6323325"/>
                  </a:lnTo>
                  <a:lnTo>
                    <a:pt x="3673912" y="6337621"/>
                  </a:lnTo>
                  <a:lnTo>
                    <a:pt x="3650086" y="6409098"/>
                  </a:lnTo>
                  <a:lnTo>
                    <a:pt x="3635791" y="6437688"/>
                  </a:lnTo>
                  <a:lnTo>
                    <a:pt x="3611965" y="6513924"/>
                  </a:lnTo>
                  <a:lnTo>
                    <a:pt x="3559549" y="6633052"/>
                  </a:lnTo>
                  <a:lnTo>
                    <a:pt x="3540488" y="6652113"/>
                  </a:lnTo>
                  <a:lnTo>
                    <a:pt x="3497602" y="6694999"/>
                  </a:lnTo>
                  <a:lnTo>
                    <a:pt x="3464246" y="6690234"/>
                  </a:lnTo>
                  <a:lnTo>
                    <a:pt x="3426125" y="6661643"/>
                  </a:lnTo>
                  <a:lnTo>
                    <a:pt x="3388004" y="6652113"/>
                  </a:lnTo>
                  <a:lnTo>
                    <a:pt x="3378474" y="6642583"/>
                  </a:lnTo>
                  <a:lnTo>
                    <a:pt x="3373709" y="6633052"/>
                  </a:lnTo>
                  <a:lnTo>
                    <a:pt x="3388004" y="6599696"/>
                  </a:lnTo>
                  <a:lnTo>
                    <a:pt x="3402300" y="6580636"/>
                  </a:lnTo>
                  <a:lnTo>
                    <a:pt x="3435656" y="6532985"/>
                  </a:lnTo>
                  <a:lnTo>
                    <a:pt x="3497602" y="6447219"/>
                  </a:lnTo>
                  <a:lnTo>
                    <a:pt x="3535723" y="6413862"/>
                  </a:lnTo>
                  <a:lnTo>
                    <a:pt x="3573844" y="6390038"/>
                  </a:lnTo>
                  <a:lnTo>
                    <a:pt x="3611965" y="6337621"/>
                  </a:lnTo>
                  <a:close/>
                  <a:moveTo>
                    <a:pt x="9680356" y="6289968"/>
                  </a:moveTo>
                  <a:lnTo>
                    <a:pt x="9694652" y="6299500"/>
                  </a:lnTo>
                  <a:lnTo>
                    <a:pt x="9708947" y="6318561"/>
                  </a:lnTo>
                  <a:lnTo>
                    <a:pt x="9689886" y="6370978"/>
                  </a:lnTo>
                  <a:lnTo>
                    <a:pt x="9675591" y="6394802"/>
                  </a:lnTo>
                  <a:lnTo>
                    <a:pt x="9670826" y="6432923"/>
                  </a:lnTo>
                  <a:lnTo>
                    <a:pt x="9675591" y="6471043"/>
                  </a:lnTo>
                  <a:lnTo>
                    <a:pt x="9661296" y="6471043"/>
                  </a:lnTo>
                  <a:lnTo>
                    <a:pt x="9627940" y="6494872"/>
                  </a:lnTo>
                  <a:lnTo>
                    <a:pt x="9599349" y="6499636"/>
                  </a:lnTo>
                  <a:lnTo>
                    <a:pt x="9585053" y="6485339"/>
                  </a:lnTo>
                  <a:lnTo>
                    <a:pt x="9575523" y="6461515"/>
                  </a:lnTo>
                  <a:lnTo>
                    <a:pt x="9594584" y="6413862"/>
                  </a:lnTo>
                  <a:lnTo>
                    <a:pt x="9623174" y="6380507"/>
                  </a:lnTo>
                  <a:lnTo>
                    <a:pt x="9656530" y="6328090"/>
                  </a:lnTo>
                  <a:close/>
                  <a:moveTo>
                    <a:pt x="5923053" y="6185136"/>
                  </a:moveTo>
                  <a:lnTo>
                    <a:pt x="5980234" y="6185136"/>
                  </a:lnTo>
                  <a:lnTo>
                    <a:pt x="5999295" y="6204199"/>
                  </a:lnTo>
                  <a:lnTo>
                    <a:pt x="6008825" y="6261380"/>
                  </a:lnTo>
                  <a:lnTo>
                    <a:pt x="6018355" y="6323325"/>
                  </a:lnTo>
                  <a:lnTo>
                    <a:pt x="6027885" y="6332857"/>
                  </a:lnTo>
                  <a:lnTo>
                    <a:pt x="6056476" y="6375742"/>
                  </a:lnTo>
                  <a:lnTo>
                    <a:pt x="6089832" y="6418626"/>
                  </a:lnTo>
                  <a:lnTo>
                    <a:pt x="6089832" y="6423392"/>
                  </a:lnTo>
                  <a:lnTo>
                    <a:pt x="6085067" y="6432923"/>
                  </a:lnTo>
                  <a:lnTo>
                    <a:pt x="6042181" y="6456748"/>
                  </a:lnTo>
                  <a:lnTo>
                    <a:pt x="6027885" y="6471043"/>
                  </a:lnTo>
                  <a:lnTo>
                    <a:pt x="6013590" y="6509159"/>
                  </a:lnTo>
                  <a:lnTo>
                    <a:pt x="6004060" y="6528220"/>
                  </a:lnTo>
                  <a:lnTo>
                    <a:pt x="5946878" y="6537750"/>
                  </a:lnTo>
                  <a:lnTo>
                    <a:pt x="5889697" y="6537750"/>
                  </a:lnTo>
                  <a:lnTo>
                    <a:pt x="5899227" y="6499636"/>
                  </a:lnTo>
                  <a:lnTo>
                    <a:pt x="5927818" y="6437688"/>
                  </a:lnTo>
                  <a:lnTo>
                    <a:pt x="5903992" y="6413862"/>
                  </a:lnTo>
                  <a:lnTo>
                    <a:pt x="5818220" y="6456748"/>
                  </a:lnTo>
                  <a:lnTo>
                    <a:pt x="5784864" y="6428158"/>
                  </a:lnTo>
                  <a:lnTo>
                    <a:pt x="5813455" y="6361445"/>
                  </a:lnTo>
                  <a:lnTo>
                    <a:pt x="5784864" y="6356681"/>
                  </a:lnTo>
                  <a:lnTo>
                    <a:pt x="5741978" y="6356681"/>
                  </a:lnTo>
                  <a:lnTo>
                    <a:pt x="5718152" y="6318561"/>
                  </a:lnTo>
                  <a:lnTo>
                    <a:pt x="5727682" y="6266144"/>
                  </a:lnTo>
                  <a:lnTo>
                    <a:pt x="5780099" y="6242319"/>
                  </a:lnTo>
                  <a:lnTo>
                    <a:pt x="5846810" y="6218492"/>
                  </a:lnTo>
                  <a:close/>
                  <a:moveTo>
                    <a:pt x="5746743" y="5946883"/>
                  </a:moveTo>
                  <a:lnTo>
                    <a:pt x="5770568" y="5946883"/>
                  </a:lnTo>
                  <a:lnTo>
                    <a:pt x="5780099" y="5951644"/>
                  </a:lnTo>
                  <a:lnTo>
                    <a:pt x="5784864" y="5965940"/>
                  </a:lnTo>
                  <a:lnTo>
                    <a:pt x="5784864" y="5980235"/>
                  </a:lnTo>
                  <a:lnTo>
                    <a:pt x="5775334" y="6004061"/>
                  </a:lnTo>
                  <a:lnTo>
                    <a:pt x="5784864" y="6004061"/>
                  </a:lnTo>
                  <a:lnTo>
                    <a:pt x="5808690" y="5994532"/>
                  </a:lnTo>
                  <a:lnTo>
                    <a:pt x="5822985" y="5989767"/>
                  </a:lnTo>
                  <a:lnTo>
                    <a:pt x="5842045" y="6013593"/>
                  </a:lnTo>
                  <a:lnTo>
                    <a:pt x="5846811" y="6032653"/>
                  </a:lnTo>
                  <a:lnTo>
                    <a:pt x="5908757" y="6075538"/>
                  </a:lnTo>
                  <a:lnTo>
                    <a:pt x="5927818" y="6089834"/>
                  </a:lnTo>
                  <a:lnTo>
                    <a:pt x="5932583" y="6104129"/>
                  </a:lnTo>
                  <a:lnTo>
                    <a:pt x="5923053" y="6123191"/>
                  </a:lnTo>
                  <a:lnTo>
                    <a:pt x="5903992" y="6142250"/>
                  </a:lnTo>
                  <a:lnTo>
                    <a:pt x="5889697" y="6161310"/>
                  </a:lnTo>
                  <a:lnTo>
                    <a:pt x="5861106" y="6170842"/>
                  </a:lnTo>
                  <a:lnTo>
                    <a:pt x="5737212" y="6175606"/>
                  </a:lnTo>
                  <a:lnTo>
                    <a:pt x="5722917" y="6166076"/>
                  </a:lnTo>
                  <a:lnTo>
                    <a:pt x="5718152" y="6147015"/>
                  </a:lnTo>
                  <a:lnTo>
                    <a:pt x="5703857" y="6070774"/>
                  </a:lnTo>
                  <a:lnTo>
                    <a:pt x="5689561" y="6032653"/>
                  </a:lnTo>
                  <a:lnTo>
                    <a:pt x="5684796" y="6004061"/>
                  </a:lnTo>
                  <a:lnTo>
                    <a:pt x="5689561" y="5984999"/>
                  </a:lnTo>
                  <a:lnTo>
                    <a:pt x="5703857" y="5970705"/>
                  </a:lnTo>
                  <a:close/>
                  <a:moveTo>
                    <a:pt x="6604465" y="5927820"/>
                  </a:moveTo>
                  <a:lnTo>
                    <a:pt x="6633056" y="5946880"/>
                  </a:lnTo>
                  <a:lnTo>
                    <a:pt x="6671177" y="5989767"/>
                  </a:lnTo>
                  <a:lnTo>
                    <a:pt x="6680707" y="6008828"/>
                  </a:lnTo>
                  <a:lnTo>
                    <a:pt x="6723593" y="6037416"/>
                  </a:lnTo>
                  <a:lnTo>
                    <a:pt x="6747419" y="6046948"/>
                  </a:lnTo>
                  <a:lnTo>
                    <a:pt x="6761714" y="6061242"/>
                  </a:lnTo>
                  <a:lnTo>
                    <a:pt x="6766479" y="6080303"/>
                  </a:lnTo>
                  <a:lnTo>
                    <a:pt x="6766479" y="6108893"/>
                  </a:lnTo>
                  <a:lnTo>
                    <a:pt x="6766479" y="6132722"/>
                  </a:lnTo>
                  <a:lnTo>
                    <a:pt x="6756949" y="6147015"/>
                  </a:lnTo>
                  <a:lnTo>
                    <a:pt x="6756949" y="6166074"/>
                  </a:lnTo>
                  <a:lnTo>
                    <a:pt x="6761714" y="6189903"/>
                  </a:lnTo>
                  <a:lnTo>
                    <a:pt x="6785540" y="6242319"/>
                  </a:lnTo>
                  <a:lnTo>
                    <a:pt x="6790305" y="6270909"/>
                  </a:lnTo>
                  <a:lnTo>
                    <a:pt x="6790305" y="6294734"/>
                  </a:lnTo>
                  <a:lnTo>
                    <a:pt x="6790305" y="6318561"/>
                  </a:lnTo>
                  <a:lnTo>
                    <a:pt x="6776010" y="6351917"/>
                  </a:lnTo>
                  <a:lnTo>
                    <a:pt x="6771245" y="6399567"/>
                  </a:lnTo>
                  <a:lnTo>
                    <a:pt x="6771245" y="6423392"/>
                  </a:lnTo>
                  <a:lnTo>
                    <a:pt x="6780775" y="6466279"/>
                  </a:lnTo>
                  <a:lnTo>
                    <a:pt x="6780775" y="6480573"/>
                  </a:lnTo>
                  <a:lnTo>
                    <a:pt x="6766479" y="6513925"/>
                  </a:lnTo>
                  <a:lnTo>
                    <a:pt x="6733124" y="6542515"/>
                  </a:lnTo>
                  <a:lnTo>
                    <a:pt x="6737889" y="6556811"/>
                  </a:lnTo>
                  <a:lnTo>
                    <a:pt x="6804600" y="6590167"/>
                  </a:lnTo>
                  <a:lnTo>
                    <a:pt x="6809366" y="6594932"/>
                  </a:lnTo>
                  <a:lnTo>
                    <a:pt x="6809366" y="6671174"/>
                  </a:lnTo>
                  <a:lnTo>
                    <a:pt x="6823661" y="6752181"/>
                  </a:lnTo>
                  <a:lnTo>
                    <a:pt x="6818896" y="6756946"/>
                  </a:lnTo>
                  <a:lnTo>
                    <a:pt x="6799835" y="6728355"/>
                  </a:lnTo>
                  <a:lnTo>
                    <a:pt x="6771245" y="6699764"/>
                  </a:lnTo>
                  <a:lnTo>
                    <a:pt x="6737889" y="6756946"/>
                  </a:lnTo>
                  <a:lnTo>
                    <a:pt x="6742654" y="6852249"/>
                  </a:lnTo>
                  <a:lnTo>
                    <a:pt x="6761714" y="6895135"/>
                  </a:lnTo>
                  <a:lnTo>
                    <a:pt x="6771245" y="6918960"/>
                  </a:lnTo>
                  <a:lnTo>
                    <a:pt x="6766479" y="6933256"/>
                  </a:lnTo>
                  <a:lnTo>
                    <a:pt x="6747419" y="6942786"/>
                  </a:lnTo>
                  <a:lnTo>
                    <a:pt x="6742654" y="6938021"/>
                  </a:lnTo>
                  <a:lnTo>
                    <a:pt x="6723593" y="6918960"/>
                  </a:lnTo>
                  <a:lnTo>
                    <a:pt x="6709298" y="6890370"/>
                  </a:lnTo>
                  <a:lnTo>
                    <a:pt x="6704533" y="6890370"/>
                  </a:lnTo>
                  <a:lnTo>
                    <a:pt x="6704533" y="6904665"/>
                  </a:lnTo>
                  <a:lnTo>
                    <a:pt x="6704533" y="6918960"/>
                  </a:lnTo>
                  <a:lnTo>
                    <a:pt x="6718828" y="6942786"/>
                  </a:lnTo>
                  <a:lnTo>
                    <a:pt x="6723593" y="6976142"/>
                  </a:lnTo>
                  <a:lnTo>
                    <a:pt x="6718828" y="6985672"/>
                  </a:lnTo>
                  <a:lnTo>
                    <a:pt x="6699768" y="6990437"/>
                  </a:lnTo>
                  <a:lnTo>
                    <a:pt x="6671177" y="6990437"/>
                  </a:lnTo>
                  <a:lnTo>
                    <a:pt x="6628291" y="7004733"/>
                  </a:lnTo>
                  <a:lnTo>
                    <a:pt x="6609230" y="7009498"/>
                  </a:lnTo>
                  <a:lnTo>
                    <a:pt x="6585405" y="6999968"/>
                  </a:lnTo>
                  <a:lnTo>
                    <a:pt x="6561579" y="6999968"/>
                  </a:lnTo>
                  <a:lnTo>
                    <a:pt x="6537753" y="6999968"/>
                  </a:lnTo>
                  <a:lnTo>
                    <a:pt x="6523458" y="6995202"/>
                  </a:lnTo>
                  <a:lnTo>
                    <a:pt x="6509163" y="6980907"/>
                  </a:lnTo>
                  <a:lnTo>
                    <a:pt x="6494867" y="6985672"/>
                  </a:lnTo>
                  <a:lnTo>
                    <a:pt x="6461511" y="7019028"/>
                  </a:lnTo>
                  <a:lnTo>
                    <a:pt x="6413860" y="7009498"/>
                  </a:lnTo>
                  <a:lnTo>
                    <a:pt x="6370974" y="7004733"/>
                  </a:lnTo>
                  <a:lnTo>
                    <a:pt x="6361444" y="6995202"/>
                  </a:lnTo>
                  <a:lnTo>
                    <a:pt x="6351913" y="6971377"/>
                  </a:lnTo>
                  <a:lnTo>
                    <a:pt x="6328088" y="6895135"/>
                  </a:lnTo>
                  <a:lnTo>
                    <a:pt x="6332853" y="6876074"/>
                  </a:lnTo>
                  <a:lnTo>
                    <a:pt x="6380504" y="6866544"/>
                  </a:lnTo>
                  <a:lnTo>
                    <a:pt x="6380504" y="6861779"/>
                  </a:lnTo>
                  <a:lnTo>
                    <a:pt x="6347148" y="6833188"/>
                  </a:lnTo>
                  <a:lnTo>
                    <a:pt x="6309027" y="6814128"/>
                  </a:lnTo>
                  <a:lnTo>
                    <a:pt x="6289967" y="6799832"/>
                  </a:lnTo>
                  <a:lnTo>
                    <a:pt x="6294732" y="6771241"/>
                  </a:lnTo>
                  <a:lnTo>
                    <a:pt x="6294732" y="6761711"/>
                  </a:lnTo>
                  <a:lnTo>
                    <a:pt x="6361444" y="6728355"/>
                  </a:lnTo>
                  <a:lnTo>
                    <a:pt x="6409095" y="6661644"/>
                  </a:lnTo>
                  <a:lnTo>
                    <a:pt x="6442451" y="6633053"/>
                  </a:lnTo>
                  <a:lnTo>
                    <a:pt x="6442451" y="6618757"/>
                  </a:lnTo>
                  <a:lnTo>
                    <a:pt x="6471042" y="6609227"/>
                  </a:lnTo>
                  <a:lnTo>
                    <a:pt x="6528223" y="6599697"/>
                  </a:lnTo>
                  <a:lnTo>
                    <a:pt x="6532988" y="6580636"/>
                  </a:lnTo>
                  <a:lnTo>
                    <a:pt x="6418625" y="6590167"/>
                  </a:lnTo>
                  <a:lnTo>
                    <a:pt x="6266141" y="6628288"/>
                  </a:lnTo>
                  <a:lnTo>
                    <a:pt x="6218490" y="6647348"/>
                  </a:lnTo>
                  <a:lnTo>
                    <a:pt x="6175604" y="6637818"/>
                  </a:lnTo>
                  <a:lnTo>
                    <a:pt x="6008824" y="6694999"/>
                  </a:lnTo>
                  <a:lnTo>
                    <a:pt x="5999294" y="6694999"/>
                  </a:lnTo>
                  <a:lnTo>
                    <a:pt x="5984999" y="6675939"/>
                  </a:lnTo>
                  <a:lnTo>
                    <a:pt x="5965938" y="6642583"/>
                  </a:lnTo>
                  <a:lnTo>
                    <a:pt x="5980233" y="6618757"/>
                  </a:lnTo>
                  <a:lnTo>
                    <a:pt x="6027885" y="6571106"/>
                  </a:lnTo>
                  <a:lnTo>
                    <a:pt x="6051710" y="6528220"/>
                  </a:lnTo>
                  <a:lnTo>
                    <a:pt x="6051710" y="6504394"/>
                  </a:lnTo>
                  <a:lnTo>
                    <a:pt x="6070771" y="6466279"/>
                  </a:lnTo>
                  <a:lnTo>
                    <a:pt x="6099362" y="6461515"/>
                  </a:lnTo>
                  <a:lnTo>
                    <a:pt x="6156543" y="6494869"/>
                  </a:lnTo>
                  <a:lnTo>
                    <a:pt x="6185134" y="6528220"/>
                  </a:lnTo>
                  <a:lnTo>
                    <a:pt x="6208960" y="6542515"/>
                  </a:lnTo>
                  <a:lnTo>
                    <a:pt x="6232785" y="6537750"/>
                  </a:lnTo>
                  <a:lnTo>
                    <a:pt x="6251846" y="6513925"/>
                  </a:lnTo>
                  <a:lnTo>
                    <a:pt x="6247081" y="6513925"/>
                  </a:lnTo>
                  <a:lnTo>
                    <a:pt x="6208960" y="6523455"/>
                  </a:lnTo>
                  <a:lnTo>
                    <a:pt x="6204194" y="6523455"/>
                  </a:lnTo>
                  <a:lnTo>
                    <a:pt x="6185134" y="6485339"/>
                  </a:lnTo>
                  <a:lnTo>
                    <a:pt x="6175604" y="6461515"/>
                  </a:lnTo>
                  <a:lnTo>
                    <a:pt x="6170838" y="6437688"/>
                  </a:lnTo>
                  <a:lnTo>
                    <a:pt x="6170838" y="6423392"/>
                  </a:lnTo>
                  <a:lnTo>
                    <a:pt x="6180369" y="6390038"/>
                  </a:lnTo>
                  <a:lnTo>
                    <a:pt x="6137483" y="6380506"/>
                  </a:lnTo>
                  <a:lnTo>
                    <a:pt x="6118422" y="6361445"/>
                  </a:lnTo>
                  <a:lnTo>
                    <a:pt x="6113657" y="6332857"/>
                  </a:lnTo>
                  <a:lnTo>
                    <a:pt x="6113657" y="6323325"/>
                  </a:lnTo>
                  <a:lnTo>
                    <a:pt x="6127952" y="6289968"/>
                  </a:lnTo>
                  <a:lnTo>
                    <a:pt x="6166073" y="6247084"/>
                  </a:lnTo>
                  <a:lnTo>
                    <a:pt x="6161308" y="6232787"/>
                  </a:lnTo>
                  <a:lnTo>
                    <a:pt x="6108892" y="6232787"/>
                  </a:lnTo>
                  <a:lnTo>
                    <a:pt x="6094596" y="6228023"/>
                  </a:lnTo>
                  <a:lnTo>
                    <a:pt x="6070771" y="6199431"/>
                  </a:lnTo>
                  <a:lnTo>
                    <a:pt x="6075536" y="6170842"/>
                  </a:lnTo>
                  <a:lnTo>
                    <a:pt x="6099362" y="6127955"/>
                  </a:lnTo>
                  <a:lnTo>
                    <a:pt x="6113657" y="6099366"/>
                  </a:lnTo>
                  <a:lnTo>
                    <a:pt x="6127952" y="6089834"/>
                  </a:lnTo>
                  <a:lnTo>
                    <a:pt x="6142248" y="6089834"/>
                  </a:lnTo>
                  <a:lnTo>
                    <a:pt x="6185134" y="6108893"/>
                  </a:lnTo>
                  <a:lnTo>
                    <a:pt x="6194664" y="6118426"/>
                  </a:lnTo>
                  <a:lnTo>
                    <a:pt x="6228020" y="6161310"/>
                  </a:lnTo>
                  <a:lnTo>
                    <a:pt x="6237550" y="6185136"/>
                  </a:lnTo>
                  <a:lnTo>
                    <a:pt x="6232785" y="6208963"/>
                  </a:lnTo>
                  <a:lnTo>
                    <a:pt x="6242315" y="6228023"/>
                  </a:lnTo>
                  <a:lnTo>
                    <a:pt x="6266141" y="6251848"/>
                  </a:lnTo>
                  <a:lnTo>
                    <a:pt x="6370974" y="6380506"/>
                  </a:lnTo>
                  <a:lnTo>
                    <a:pt x="6390034" y="6413862"/>
                  </a:lnTo>
                  <a:lnTo>
                    <a:pt x="6399565" y="6423392"/>
                  </a:lnTo>
                  <a:lnTo>
                    <a:pt x="6428155" y="6437688"/>
                  </a:lnTo>
                  <a:lnTo>
                    <a:pt x="6442451" y="6432923"/>
                  </a:lnTo>
                  <a:lnTo>
                    <a:pt x="6451981" y="6423392"/>
                  </a:lnTo>
                  <a:lnTo>
                    <a:pt x="6451981" y="6413862"/>
                  </a:lnTo>
                  <a:lnTo>
                    <a:pt x="6409095" y="6366211"/>
                  </a:lnTo>
                  <a:lnTo>
                    <a:pt x="6394800" y="6342386"/>
                  </a:lnTo>
                  <a:lnTo>
                    <a:pt x="6390034" y="6309029"/>
                  </a:lnTo>
                  <a:lnTo>
                    <a:pt x="6390034" y="6299500"/>
                  </a:lnTo>
                  <a:lnTo>
                    <a:pt x="6404330" y="6294734"/>
                  </a:lnTo>
                  <a:lnTo>
                    <a:pt x="6437686" y="6299500"/>
                  </a:lnTo>
                  <a:lnTo>
                    <a:pt x="6475807" y="6289968"/>
                  </a:lnTo>
                  <a:lnTo>
                    <a:pt x="6432921" y="6280440"/>
                  </a:lnTo>
                  <a:lnTo>
                    <a:pt x="6404330" y="6261380"/>
                  </a:lnTo>
                  <a:lnTo>
                    <a:pt x="6375739" y="6256613"/>
                  </a:lnTo>
                  <a:lnTo>
                    <a:pt x="6342383" y="6228023"/>
                  </a:lnTo>
                  <a:lnTo>
                    <a:pt x="6342383" y="6218492"/>
                  </a:lnTo>
                  <a:lnTo>
                    <a:pt x="6347148" y="6208963"/>
                  </a:lnTo>
                  <a:lnTo>
                    <a:pt x="6399565" y="6194667"/>
                  </a:lnTo>
                  <a:lnTo>
                    <a:pt x="6409095" y="6189903"/>
                  </a:lnTo>
                  <a:lnTo>
                    <a:pt x="6409095" y="6185136"/>
                  </a:lnTo>
                  <a:lnTo>
                    <a:pt x="6394800" y="6161310"/>
                  </a:lnTo>
                  <a:lnTo>
                    <a:pt x="6375739" y="6151780"/>
                  </a:lnTo>
                  <a:lnTo>
                    <a:pt x="6304262" y="6127955"/>
                  </a:lnTo>
                  <a:lnTo>
                    <a:pt x="6275671" y="6099366"/>
                  </a:lnTo>
                  <a:lnTo>
                    <a:pt x="6270906" y="6085069"/>
                  </a:lnTo>
                  <a:lnTo>
                    <a:pt x="6266141" y="6075538"/>
                  </a:lnTo>
                  <a:lnTo>
                    <a:pt x="6275671" y="6042184"/>
                  </a:lnTo>
                  <a:lnTo>
                    <a:pt x="6313792" y="5999297"/>
                  </a:lnTo>
                  <a:lnTo>
                    <a:pt x="6347148" y="5980235"/>
                  </a:lnTo>
                  <a:lnTo>
                    <a:pt x="6394800" y="5965940"/>
                  </a:lnTo>
                  <a:lnTo>
                    <a:pt x="6432921" y="5970705"/>
                  </a:lnTo>
                  <a:lnTo>
                    <a:pt x="6456746" y="5975472"/>
                  </a:lnTo>
                  <a:lnTo>
                    <a:pt x="6509163" y="6042184"/>
                  </a:lnTo>
                  <a:lnTo>
                    <a:pt x="6532988" y="6089834"/>
                  </a:lnTo>
                  <a:lnTo>
                    <a:pt x="6580640" y="6080303"/>
                  </a:lnTo>
                  <a:lnTo>
                    <a:pt x="6566344" y="6032653"/>
                  </a:lnTo>
                  <a:lnTo>
                    <a:pt x="6556814" y="5980235"/>
                  </a:lnTo>
                  <a:lnTo>
                    <a:pt x="6571109" y="5961176"/>
                  </a:lnTo>
                  <a:close/>
                  <a:moveTo>
                    <a:pt x="6309028" y="5889699"/>
                  </a:moveTo>
                  <a:lnTo>
                    <a:pt x="6332853" y="5889699"/>
                  </a:lnTo>
                  <a:lnTo>
                    <a:pt x="6361444" y="5899231"/>
                  </a:lnTo>
                  <a:lnTo>
                    <a:pt x="6289967" y="5956411"/>
                  </a:lnTo>
                  <a:lnTo>
                    <a:pt x="6213725" y="6004061"/>
                  </a:lnTo>
                  <a:lnTo>
                    <a:pt x="6175604" y="6008828"/>
                  </a:lnTo>
                  <a:lnTo>
                    <a:pt x="6156543" y="5999297"/>
                  </a:lnTo>
                  <a:lnTo>
                    <a:pt x="6151778" y="5989767"/>
                  </a:lnTo>
                  <a:lnTo>
                    <a:pt x="6170839" y="5970705"/>
                  </a:lnTo>
                  <a:lnTo>
                    <a:pt x="6223255" y="5946880"/>
                  </a:lnTo>
                  <a:lnTo>
                    <a:pt x="6256611" y="5899231"/>
                  </a:lnTo>
                  <a:lnTo>
                    <a:pt x="6266141" y="5894463"/>
                  </a:lnTo>
                  <a:close/>
                  <a:moveTo>
                    <a:pt x="5027209" y="5842046"/>
                  </a:moveTo>
                  <a:lnTo>
                    <a:pt x="5070095" y="5884934"/>
                  </a:lnTo>
                  <a:lnTo>
                    <a:pt x="5079625" y="5884934"/>
                  </a:lnTo>
                  <a:lnTo>
                    <a:pt x="5084390" y="5899231"/>
                  </a:lnTo>
                  <a:lnTo>
                    <a:pt x="5079625" y="5918290"/>
                  </a:lnTo>
                  <a:lnTo>
                    <a:pt x="5074860" y="5937351"/>
                  </a:lnTo>
                  <a:lnTo>
                    <a:pt x="5060565" y="5970705"/>
                  </a:lnTo>
                  <a:lnTo>
                    <a:pt x="5055800" y="5984999"/>
                  </a:lnTo>
                  <a:lnTo>
                    <a:pt x="5055800" y="5999297"/>
                  </a:lnTo>
                  <a:lnTo>
                    <a:pt x="5070095" y="6032653"/>
                  </a:lnTo>
                  <a:lnTo>
                    <a:pt x="5070095" y="6056478"/>
                  </a:lnTo>
                  <a:lnTo>
                    <a:pt x="5074860" y="6094599"/>
                  </a:lnTo>
                  <a:lnTo>
                    <a:pt x="5074860" y="6099366"/>
                  </a:lnTo>
                  <a:lnTo>
                    <a:pt x="5103451" y="6132722"/>
                  </a:lnTo>
                  <a:lnTo>
                    <a:pt x="5127277" y="6170842"/>
                  </a:lnTo>
                  <a:lnTo>
                    <a:pt x="5136807" y="6232789"/>
                  </a:lnTo>
                  <a:lnTo>
                    <a:pt x="5127277" y="6256613"/>
                  </a:lnTo>
                  <a:lnTo>
                    <a:pt x="5108216" y="6285204"/>
                  </a:lnTo>
                  <a:lnTo>
                    <a:pt x="5093921" y="6313794"/>
                  </a:lnTo>
                  <a:lnTo>
                    <a:pt x="5093921" y="6332857"/>
                  </a:lnTo>
                  <a:lnTo>
                    <a:pt x="5093921" y="6342386"/>
                  </a:lnTo>
                  <a:lnTo>
                    <a:pt x="5108216" y="6351917"/>
                  </a:lnTo>
                  <a:lnTo>
                    <a:pt x="5127277" y="6351917"/>
                  </a:lnTo>
                  <a:lnTo>
                    <a:pt x="5151102" y="6342386"/>
                  </a:lnTo>
                  <a:lnTo>
                    <a:pt x="5179693" y="6347151"/>
                  </a:lnTo>
                  <a:lnTo>
                    <a:pt x="5189223" y="6366211"/>
                  </a:lnTo>
                  <a:lnTo>
                    <a:pt x="5198754" y="6390038"/>
                  </a:lnTo>
                  <a:lnTo>
                    <a:pt x="5198754" y="6404334"/>
                  </a:lnTo>
                  <a:lnTo>
                    <a:pt x="5198754" y="6413862"/>
                  </a:lnTo>
                  <a:lnTo>
                    <a:pt x="5193988" y="6423392"/>
                  </a:lnTo>
                  <a:lnTo>
                    <a:pt x="5160632" y="6490105"/>
                  </a:lnTo>
                  <a:lnTo>
                    <a:pt x="5151102" y="6513925"/>
                  </a:lnTo>
                  <a:lnTo>
                    <a:pt x="5165398" y="6518690"/>
                  </a:lnTo>
                  <a:lnTo>
                    <a:pt x="5170163" y="6513925"/>
                  </a:lnTo>
                  <a:lnTo>
                    <a:pt x="5203519" y="6466280"/>
                  </a:lnTo>
                  <a:lnTo>
                    <a:pt x="5227344" y="6451984"/>
                  </a:lnTo>
                  <a:lnTo>
                    <a:pt x="5246405" y="6447219"/>
                  </a:lnTo>
                  <a:lnTo>
                    <a:pt x="5279761" y="6456748"/>
                  </a:lnTo>
                  <a:lnTo>
                    <a:pt x="5289291" y="6466280"/>
                  </a:lnTo>
                  <a:lnTo>
                    <a:pt x="5298821" y="6475811"/>
                  </a:lnTo>
                  <a:lnTo>
                    <a:pt x="5303586" y="6485339"/>
                  </a:lnTo>
                  <a:lnTo>
                    <a:pt x="5317882" y="6532986"/>
                  </a:lnTo>
                  <a:lnTo>
                    <a:pt x="5327412" y="6590167"/>
                  </a:lnTo>
                  <a:lnTo>
                    <a:pt x="5327412" y="6585402"/>
                  </a:lnTo>
                  <a:lnTo>
                    <a:pt x="5327412" y="6552046"/>
                  </a:lnTo>
                  <a:lnTo>
                    <a:pt x="5327412" y="6528220"/>
                  </a:lnTo>
                  <a:lnTo>
                    <a:pt x="5360768" y="6509160"/>
                  </a:lnTo>
                  <a:lnTo>
                    <a:pt x="5360768" y="6504395"/>
                  </a:lnTo>
                  <a:lnTo>
                    <a:pt x="5351238" y="6490105"/>
                  </a:lnTo>
                  <a:lnTo>
                    <a:pt x="5341707" y="6466280"/>
                  </a:lnTo>
                  <a:lnTo>
                    <a:pt x="5332177" y="6432923"/>
                  </a:lnTo>
                  <a:lnTo>
                    <a:pt x="5336942" y="6418628"/>
                  </a:lnTo>
                  <a:lnTo>
                    <a:pt x="5341707" y="6404334"/>
                  </a:lnTo>
                  <a:lnTo>
                    <a:pt x="5360768" y="6370978"/>
                  </a:lnTo>
                  <a:lnTo>
                    <a:pt x="5384594" y="6351917"/>
                  </a:lnTo>
                  <a:lnTo>
                    <a:pt x="5403654" y="6347151"/>
                  </a:lnTo>
                  <a:lnTo>
                    <a:pt x="5484661" y="6380507"/>
                  </a:lnTo>
                  <a:lnTo>
                    <a:pt x="5513252" y="6409098"/>
                  </a:lnTo>
                  <a:lnTo>
                    <a:pt x="5527547" y="6423392"/>
                  </a:lnTo>
                  <a:lnTo>
                    <a:pt x="5527547" y="6432923"/>
                  </a:lnTo>
                  <a:lnTo>
                    <a:pt x="5537078" y="6461515"/>
                  </a:lnTo>
                  <a:lnTo>
                    <a:pt x="5551373" y="6547281"/>
                  </a:lnTo>
                  <a:lnTo>
                    <a:pt x="5551373" y="6575872"/>
                  </a:lnTo>
                  <a:lnTo>
                    <a:pt x="5541843" y="6618758"/>
                  </a:lnTo>
                  <a:lnTo>
                    <a:pt x="5518017" y="6704530"/>
                  </a:lnTo>
                  <a:lnTo>
                    <a:pt x="5513252" y="6756947"/>
                  </a:lnTo>
                  <a:lnTo>
                    <a:pt x="5489426" y="6895135"/>
                  </a:lnTo>
                  <a:lnTo>
                    <a:pt x="5470366" y="6933256"/>
                  </a:lnTo>
                  <a:lnTo>
                    <a:pt x="5451305" y="6957082"/>
                  </a:lnTo>
                  <a:lnTo>
                    <a:pt x="5375063" y="6999968"/>
                  </a:lnTo>
                  <a:lnTo>
                    <a:pt x="5317882" y="7047619"/>
                  </a:lnTo>
                  <a:lnTo>
                    <a:pt x="5303586" y="7052384"/>
                  </a:lnTo>
                  <a:lnTo>
                    <a:pt x="5289291" y="7052384"/>
                  </a:lnTo>
                  <a:lnTo>
                    <a:pt x="5241640" y="7038089"/>
                  </a:lnTo>
                  <a:lnTo>
                    <a:pt x="5184458" y="7009498"/>
                  </a:lnTo>
                  <a:lnTo>
                    <a:pt x="5151102" y="7019029"/>
                  </a:lnTo>
                  <a:lnTo>
                    <a:pt x="5122512" y="7038089"/>
                  </a:lnTo>
                  <a:lnTo>
                    <a:pt x="5098686" y="7047619"/>
                  </a:lnTo>
                  <a:lnTo>
                    <a:pt x="5079625" y="7042854"/>
                  </a:lnTo>
                  <a:lnTo>
                    <a:pt x="5060565" y="7033324"/>
                  </a:lnTo>
                  <a:lnTo>
                    <a:pt x="5036739" y="7014264"/>
                  </a:lnTo>
                  <a:lnTo>
                    <a:pt x="5051034" y="7004733"/>
                  </a:lnTo>
                  <a:lnTo>
                    <a:pt x="5055800" y="6995203"/>
                  </a:lnTo>
                  <a:lnTo>
                    <a:pt x="5051034" y="6985673"/>
                  </a:lnTo>
                  <a:lnTo>
                    <a:pt x="5027209" y="6971377"/>
                  </a:lnTo>
                  <a:lnTo>
                    <a:pt x="4998618" y="7004733"/>
                  </a:lnTo>
                  <a:lnTo>
                    <a:pt x="4922376" y="7080975"/>
                  </a:lnTo>
                  <a:lnTo>
                    <a:pt x="4817543" y="7104801"/>
                  </a:lnTo>
                  <a:lnTo>
                    <a:pt x="4784187" y="7123862"/>
                  </a:lnTo>
                  <a:lnTo>
                    <a:pt x="4760362" y="7142922"/>
                  </a:lnTo>
                  <a:lnTo>
                    <a:pt x="4746066" y="7157217"/>
                  </a:lnTo>
                  <a:lnTo>
                    <a:pt x="4727006" y="7200104"/>
                  </a:lnTo>
                  <a:lnTo>
                    <a:pt x="4698415" y="7228694"/>
                  </a:lnTo>
                  <a:lnTo>
                    <a:pt x="4641234" y="7257285"/>
                  </a:lnTo>
                  <a:lnTo>
                    <a:pt x="4574522" y="7304936"/>
                  </a:lnTo>
                  <a:lnTo>
                    <a:pt x="4450628" y="7357353"/>
                  </a:lnTo>
                  <a:lnTo>
                    <a:pt x="4374386" y="7366883"/>
                  </a:lnTo>
                  <a:lnTo>
                    <a:pt x="4293379" y="7347822"/>
                  </a:lnTo>
                  <a:lnTo>
                    <a:pt x="4269554" y="7333527"/>
                  </a:lnTo>
                  <a:lnTo>
                    <a:pt x="4245728" y="7314467"/>
                  </a:lnTo>
                  <a:lnTo>
                    <a:pt x="4193312" y="7266815"/>
                  </a:lnTo>
                  <a:lnTo>
                    <a:pt x="4179016" y="7247755"/>
                  </a:lnTo>
                  <a:lnTo>
                    <a:pt x="4159956" y="7209634"/>
                  </a:lnTo>
                  <a:lnTo>
                    <a:pt x="4169486" y="7181043"/>
                  </a:lnTo>
                  <a:lnTo>
                    <a:pt x="4198077" y="7152452"/>
                  </a:lnTo>
                  <a:lnTo>
                    <a:pt x="4240963" y="7123862"/>
                  </a:lnTo>
                  <a:lnTo>
                    <a:pt x="4321970" y="7085740"/>
                  </a:lnTo>
                  <a:lnTo>
                    <a:pt x="4398212" y="7023794"/>
                  </a:lnTo>
                  <a:lnTo>
                    <a:pt x="4426803" y="7014264"/>
                  </a:lnTo>
                  <a:lnTo>
                    <a:pt x="4498280" y="7004733"/>
                  </a:lnTo>
                  <a:lnTo>
                    <a:pt x="4536401" y="7009498"/>
                  </a:lnTo>
                  <a:lnTo>
                    <a:pt x="4564992" y="7009498"/>
                  </a:lnTo>
                  <a:lnTo>
                    <a:pt x="4584052" y="6999968"/>
                  </a:lnTo>
                  <a:lnTo>
                    <a:pt x="4607878" y="6976142"/>
                  </a:lnTo>
                  <a:lnTo>
                    <a:pt x="4645999" y="6933256"/>
                  </a:lnTo>
                  <a:lnTo>
                    <a:pt x="4674589" y="6890370"/>
                  </a:lnTo>
                  <a:lnTo>
                    <a:pt x="4684120" y="6871310"/>
                  </a:lnTo>
                  <a:lnTo>
                    <a:pt x="4674589" y="6857014"/>
                  </a:lnTo>
                  <a:lnTo>
                    <a:pt x="4660294" y="6852249"/>
                  </a:lnTo>
                  <a:lnTo>
                    <a:pt x="4612643" y="6895135"/>
                  </a:lnTo>
                  <a:lnTo>
                    <a:pt x="4588817" y="6909431"/>
                  </a:lnTo>
                  <a:lnTo>
                    <a:pt x="4564992" y="6909431"/>
                  </a:lnTo>
                  <a:lnTo>
                    <a:pt x="4531636" y="6923726"/>
                  </a:lnTo>
                  <a:lnTo>
                    <a:pt x="4498280" y="6928491"/>
                  </a:lnTo>
                  <a:lnTo>
                    <a:pt x="4488749" y="6928491"/>
                  </a:lnTo>
                  <a:lnTo>
                    <a:pt x="4455394" y="6890370"/>
                  </a:lnTo>
                  <a:lnTo>
                    <a:pt x="4436333" y="6880840"/>
                  </a:lnTo>
                  <a:lnTo>
                    <a:pt x="4431568" y="6885605"/>
                  </a:lnTo>
                  <a:lnTo>
                    <a:pt x="4422038" y="6895135"/>
                  </a:lnTo>
                  <a:lnTo>
                    <a:pt x="4407742" y="6928491"/>
                  </a:lnTo>
                  <a:lnTo>
                    <a:pt x="4398212" y="6938022"/>
                  </a:lnTo>
                  <a:lnTo>
                    <a:pt x="4383917" y="6947552"/>
                  </a:lnTo>
                  <a:lnTo>
                    <a:pt x="4321970" y="6952317"/>
                  </a:lnTo>
                  <a:lnTo>
                    <a:pt x="4264788" y="6971377"/>
                  </a:lnTo>
                  <a:lnTo>
                    <a:pt x="4250493" y="6961847"/>
                  </a:lnTo>
                  <a:lnTo>
                    <a:pt x="4240963" y="6942787"/>
                  </a:lnTo>
                  <a:lnTo>
                    <a:pt x="4240963" y="6933256"/>
                  </a:lnTo>
                  <a:lnTo>
                    <a:pt x="4240963" y="6895135"/>
                  </a:lnTo>
                  <a:lnTo>
                    <a:pt x="4236198" y="6880840"/>
                  </a:lnTo>
                  <a:lnTo>
                    <a:pt x="4240963" y="6852249"/>
                  </a:lnTo>
                  <a:lnTo>
                    <a:pt x="4245728" y="6828424"/>
                  </a:lnTo>
                  <a:lnTo>
                    <a:pt x="4255258" y="6814128"/>
                  </a:lnTo>
                  <a:lnTo>
                    <a:pt x="4298144" y="6766477"/>
                  </a:lnTo>
                  <a:lnTo>
                    <a:pt x="4302909" y="6756947"/>
                  </a:lnTo>
                  <a:lnTo>
                    <a:pt x="4283849" y="6756947"/>
                  </a:lnTo>
                  <a:lnTo>
                    <a:pt x="4236198" y="6780772"/>
                  </a:lnTo>
                  <a:lnTo>
                    <a:pt x="4231432" y="6776007"/>
                  </a:lnTo>
                  <a:lnTo>
                    <a:pt x="4221902" y="6747416"/>
                  </a:lnTo>
                  <a:lnTo>
                    <a:pt x="4217137" y="6747416"/>
                  </a:lnTo>
                  <a:lnTo>
                    <a:pt x="4207607" y="6756947"/>
                  </a:lnTo>
                  <a:lnTo>
                    <a:pt x="4207607" y="6771242"/>
                  </a:lnTo>
                  <a:lnTo>
                    <a:pt x="4198077" y="6833189"/>
                  </a:lnTo>
                  <a:lnTo>
                    <a:pt x="4193312" y="6866545"/>
                  </a:lnTo>
                  <a:lnTo>
                    <a:pt x="4174251" y="6857014"/>
                  </a:lnTo>
                  <a:lnTo>
                    <a:pt x="4150425" y="6837954"/>
                  </a:lnTo>
                  <a:lnTo>
                    <a:pt x="4140895" y="6837954"/>
                  </a:lnTo>
                  <a:lnTo>
                    <a:pt x="4136130" y="6842719"/>
                  </a:lnTo>
                  <a:lnTo>
                    <a:pt x="4140895" y="6852249"/>
                  </a:lnTo>
                  <a:lnTo>
                    <a:pt x="4164721" y="6909431"/>
                  </a:lnTo>
                  <a:lnTo>
                    <a:pt x="4164721" y="6923726"/>
                  </a:lnTo>
                  <a:lnTo>
                    <a:pt x="4145660" y="6957082"/>
                  </a:lnTo>
                  <a:lnTo>
                    <a:pt x="4083714" y="7009498"/>
                  </a:lnTo>
                  <a:lnTo>
                    <a:pt x="4059888" y="7023794"/>
                  </a:lnTo>
                  <a:lnTo>
                    <a:pt x="4050358" y="7019029"/>
                  </a:lnTo>
                  <a:lnTo>
                    <a:pt x="4040827" y="7004733"/>
                  </a:lnTo>
                  <a:lnTo>
                    <a:pt x="4036062" y="6980908"/>
                  </a:lnTo>
                  <a:lnTo>
                    <a:pt x="4017002" y="6947552"/>
                  </a:lnTo>
                  <a:lnTo>
                    <a:pt x="4007471" y="6942787"/>
                  </a:lnTo>
                  <a:lnTo>
                    <a:pt x="3997941" y="6942787"/>
                  </a:lnTo>
                  <a:lnTo>
                    <a:pt x="3988411" y="6947552"/>
                  </a:lnTo>
                  <a:lnTo>
                    <a:pt x="3978881" y="6961847"/>
                  </a:lnTo>
                  <a:lnTo>
                    <a:pt x="3974116" y="6976142"/>
                  </a:lnTo>
                  <a:lnTo>
                    <a:pt x="3969350" y="7004733"/>
                  </a:lnTo>
                  <a:lnTo>
                    <a:pt x="3955055" y="7028559"/>
                  </a:lnTo>
                  <a:lnTo>
                    <a:pt x="3950290" y="7028559"/>
                  </a:lnTo>
                  <a:lnTo>
                    <a:pt x="3883578" y="6985673"/>
                  </a:lnTo>
                  <a:lnTo>
                    <a:pt x="3831162" y="6904666"/>
                  </a:lnTo>
                  <a:lnTo>
                    <a:pt x="3773980" y="6918961"/>
                  </a:lnTo>
                  <a:lnTo>
                    <a:pt x="3750155" y="6914196"/>
                  </a:lnTo>
                  <a:lnTo>
                    <a:pt x="3673913" y="6885605"/>
                  </a:lnTo>
                  <a:lnTo>
                    <a:pt x="3659617" y="6871310"/>
                  </a:lnTo>
                  <a:lnTo>
                    <a:pt x="3654852" y="6847484"/>
                  </a:lnTo>
                  <a:lnTo>
                    <a:pt x="3654852" y="6833189"/>
                  </a:lnTo>
                  <a:lnTo>
                    <a:pt x="3659617" y="6818893"/>
                  </a:lnTo>
                  <a:lnTo>
                    <a:pt x="3669147" y="6795068"/>
                  </a:lnTo>
                  <a:lnTo>
                    <a:pt x="3688208" y="6752182"/>
                  </a:lnTo>
                  <a:lnTo>
                    <a:pt x="3697738" y="6737886"/>
                  </a:lnTo>
                  <a:lnTo>
                    <a:pt x="3712034" y="6728356"/>
                  </a:lnTo>
                  <a:lnTo>
                    <a:pt x="3726329" y="6718826"/>
                  </a:lnTo>
                  <a:lnTo>
                    <a:pt x="3769215" y="6714060"/>
                  </a:lnTo>
                  <a:lnTo>
                    <a:pt x="3874048" y="6714060"/>
                  </a:lnTo>
                  <a:lnTo>
                    <a:pt x="3893108" y="6709295"/>
                  </a:lnTo>
                  <a:lnTo>
                    <a:pt x="4007471" y="6628288"/>
                  </a:lnTo>
                  <a:lnTo>
                    <a:pt x="4021767" y="6618758"/>
                  </a:lnTo>
                  <a:lnTo>
                    <a:pt x="4040827" y="6590167"/>
                  </a:lnTo>
                  <a:lnTo>
                    <a:pt x="4045592" y="6580637"/>
                  </a:lnTo>
                  <a:lnTo>
                    <a:pt x="4045592" y="6575872"/>
                  </a:lnTo>
                  <a:lnTo>
                    <a:pt x="3902639" y="6637818"/>
                  </a:lnTo>
                  <a:lnTo>
                    <a:pt x="3840692" y="6652114"/>
                  </a:lnTo>
                  <a:lnTo>
                    <a:pt x="3745389" y="6642584"/>
                  </a:lnTo>
                  <a:lnTo>
                    <a:pt x="3726329" y="6633053"/>
                  </a:lnTo>
                  <a:lnTo>
                    <a:pt x="3726329" y="6613993"/>
                  </a:lnTo>
                  <a:lnTo>
                    <a:pt x="3745389" y="6566342"/>
                  </a:lnTo>
                  <a:lnTo>
                    <a:pt x="3754920" y="6547281"/>
                  </a:lnTo>
                  <a:lnTo>
                    <a:pt x="3778745" y="6532986"/>
                  </a:lnTo>
                  <a:lnTo>
                    <a:pt x="3845457" y="6509160"/>
                  </a:lnTo>
                  <a:lnTo>
                    <a:pt x="3931229" y="6490105"/>
                  </a:lnTo>
                  <a:lnTo>
                    <a:pt x="3988411" y="6490105"/>
                  </a:lnTo>
                  <a:lnTo>
                    <a:pt x="4036062" y="6471043"/>
                  </a:lnTo>
                  <a:lnTo>
                    <a:pt x="4064653" y="6451984"/>
                  </a:lnTo>
                  <a:lnTo>
                    <a:pt x="3969350" y="6456748"/>
                  </a:lnTo>
                  <a:lnTo>
                    <a:pt x="3854987" y="6461515"/>
                  </a:lnTo>
                  <a:lnTo>
                    <a:pt x="3835927" y="6456748"/>
                  </a:lnTo>
                  <a:lnTo>
                    <a:pt x="3802571" y="6432923"/>
                  </a:lnTo>
                  <a:lnTo>
                    <a:pt x="3802571" y="6413862"/>
                  </a:lnTo>
                  <a:lnTo>
                    <a:pt x="3816866" y="6390038"/>
                  </a:lnTo>
                  <a:lnTo>
                    <a:pt x="3821631" y="6375742"/>
                  </a:lnTo>
                  <a:lnTo>
                    <a:pt x="3812101" y="6337621"/>
                  </a:lnTo>
                  <a:lnTo>
                    <a:pt x="3812101" y="6323325"/>
                  </a:lnTo>
                  <a:lnTo>
                    <a:pt x="3835927" y="6294734"/>
                  </a:lnTo>
                  <a:lnTo>
                    <a:pt x="3874048" y="6261380"/>
                  </a:lnTo>
                  <a:lnTo>
                    <a:pt x="3897874" y="6256613"/>
                  </a:lnTo>
                  <a:lnTo>
                    <a:pt x="3940760" y="6266144"/>
                  </a:lnTo>
                  <a:lnTo>
                    <a:pt x="4069418" y="6280440"/>
                  </a:lnTo>
                  <a:lnTo>
                    <a:pt x="4098009" y="6275673"/>
                  </a:lnTo>
                  <a:lnTo>
                    <a:pt x="4078948" y="6261380"/>
                  </a:lnTo>
                  <a:lnTo>
                    <a:pt x="4059888" y="6247084"/>
                  </a:lnTo>
                  <a:lnTo>
                    <a:pt x="3959820" y="6232789"/>
                  </a:lnTo>
                  <a:lnTo>
                    <a:pt x="3935995" y="6223259"/>
                  </a:lnTo>
                  <a:lnTo>
                    <a:pt x="3935995" y="6208963"/>
                  </a:lnTo>
                  <a:lnTo>
                    <a:pt x="3931229" y="6194667"/>
                  </a:lnTo>
                  <a:lnTo>
                    <a:pt x="3931229" y="6170842"/>
                  </a:lnTo>
                  <a:lnTo>
                    <a:pt x="3940760" y="6147015"/>
                  </a:lnTo>
                  <a:lnTo>
                    <a:pt x="3969350" y="6099366"/>
                  </a:lnTo>
                  <a:lnTo>
                    <a:pt x="4064653" y="6061245"/>
                  </a:lnTo>
                  <a:lnTo>
                    <a:pt x="4098009" y="6056478"/>
                  </a:lnTo>
                  <a:lnTo>
                    <a:pt x="4136130" y="6056478"/>
                  </a:lnTo>
                  <a:lnTo>
                    <a:pt x="4169486" y="6075538"/>
                  </a:lnTo>
                  <a:lnTo>
                    <a:pt x="4188546" y="6089834"/>
                  </a:lnTo>
                  <a:lnTo>
                    <a:pt x="4198077" y="6108893"/>
                  </a:lnTo>
                  <a:lnTo>
                    <a:pt x="4202842" y="6127955"/>
                  </a:lnTo>
                  <a:lnTo>
                    <a:pt x="4202842" y="6156547"/>
                  </a:lnTo>
                  <a:lnTo>
                    <a:pt x="4202842" y="6170842"/>
                  </a:lnTo>
                  <a:lnTo>
                    <a:pt x="4207607" y="6189903"/>
                  </a:lnTo>
                  <a:lnTo>
                    <a:pt x="4231432" y="6237553"/>
                  </a:lnTo>
                  <a:lnTo>
                    <a:pt x="4245728" y="6251849"/>
                  </a:lnTo>
                  <a:lnTo>
                    <a:pt x="4317205" y="6223259"/>
                  </a:lnTo>
                  <a:lnTo>
                    <a:pt x="4350561" y="6218492"/>
                  </a:lnTo>
                  <a:lnTo>
                    <a:pt x="4379152" y="6228023"/>
                  </a:lnTo>
                  <a:lnTo>
                    <a:pt x="4422038" y="6256613"/>
                  </a:lnTo>
                  <a:lnTo>
                    <a:pt x="4479219" y="6342386"/>
                  </a:lnTo>
                  <a:lnTo>
                    <a:pt x="4550696" y="6428158"/>
                  </a:lnTo>
                  <a:lnTo>
                    <a:pt x="4550696" y="6442455"/>
                  </a:lnTo>
                  <a:lnTo>
                    <a:pt x="4522105" y="6471043"/>
                  </a:lnTo>
                  <a:lnTo>
                    <a:pt x="4517340" y="6485339"/>
                  </a:lnTo>
                  <a:lnTo>
                    <a:pt x="4522105" y="6494869"/>
                  </a:lnTo>
                  <a:lnTo>
                    <a:pt x="4550696" y="6499636"/>
                  </a:lnTo>
                  <a:lnTo>
                    <a:pt x="4574522" y="6494869"/>
                  </a:lnTo>
                  <a:lnTo>
                    <a:pt x="4603112" y="6499636"/>
                  </a:lnTo>
                  <a:lnTo>
                    <a:pt x="4607878" y="6509160"/>
                  </a:lnTo>
                  <a:lnTo>
                    <a:pt x="4617408" y="6537751"/>
                  </a:lnTo>
                  <a:lnTo>
                    <a:pt x="4626938" y="6594932"/>
                  </a:lnTo>
                  <a:lnTo>
                    <a:pt x="4645999" y="6633053"/>
                  </a:lnTo>
                  <a:lnTo>
                    <a:pt x="4660294" y="6661644"/>
                  </a:lnTo>
                  <a:lnTo>
                    <a:pt x="4679355" y="6675939"/>
                  </a:lnTo>
                  <a:lnTo>
                    <a:pt x="4703180" y="6675939"/>
                  </a:lnTo>
                  <a:lnTo>
                    <a:pt x="4731771" y="6666409"/>
                  </a:lnTo>
                  <a:lnTo>
                    <a:pt x="4769892" y="6671174"/>
                  </a:lnTo>
                  <a:lnTo>
                    <a:pt x="4984323" y="6699765"/>
                  </a:lnTo>
                  <a:lnTo>
                    <a:pt x="4998618" y="6695000"/>
                  </a:lnTo>
                  <a:lnTo>
                    <a:pt x="5008148" y="6675939"/>
                  </a:lnTo>
                  <a:lnTo>
                    <a:pt x="5012914" y="6652114"/>
                  </a:lnTo>
                  <a:lnTo>
                    <a:pt x="5017679" y="6628288"/>
                  </a:lnTo>
                  <a:lnTo>
                    <a:pt x="5012914" y="6594932"/>
                  </a:lnTo>
                  <a:lnTo>
                    <a:pt x="5008148" y="6580637"/>
                  </a:lnTo>
                  <a:lnTo>
                    <a:pt x="4874725" y="6475811"/>
                  </a:lnTo>
                  <a:lnTo>
                    <a:pt x="4865194" y="6432923"/>
                  </a:lnTo>
                  <a:lnTo>
                    <a:pt x="4927141" y="6375742"/>
                  </a:lnTo>
                  <a:lnTo>
                    <a:pt x="4931906" y="6361445"/>
                  </a:lnTo>
                  <a:lnTo>
                    <a:pt x="4931906" y="6342386"/>
                  </a:lnTo>
                  <a:lnTo>
                    <a:pt x="4931906" y="6318561"/>
                  </a:lnTo>
                  <a:lnTo>
                    <a:pt x="4922376" y="6294734"/>
                  </a:lnTo>
                  <a:lnTo>
                    <a:pt x="4889020" y="6247084"/>
                  </a:lnTo>
                  <a:lnTo>
                    <a:pt x="4855664" y="6242319"/>
                  </a:lnTo>
                  <a:lnTo>
                    <a:pt x="4812778" y="6199432"/>
                  </a:lnTo>
                  <a:lnTo>
                    <a:pt x="4803248" y="6185136"/>
                  </a:lnTo>
                  <a:lnTo>
                    <a:pt x="4798483" y="6170842"/>
                  </a:lnTo>
                  <a:lnTo>
                    <a:pt x="4793718" y="6147015"/>
                  </a:lnTo>
                  <a:lnTo>
                    <a:pt x="4793718" y="6127955"/>
                  </a:lnTo>
                  <a:lnTo>
                    <a:pt x="4803248" y="6113661"/>
                  </a:lnTo>
                  <a:lnTo>
                    <a:pt x="4846134" y="6070774"/>
                  </a:lnTo>
                  <a:lnTo>
                    <a:pt x="4865194" y="6042184"/>
                  </a:lnTo>
                  <a:lnTo>
                    <a:pt x="4922376" y="5927820"/>
                  </a:lnTo>
                  <a:lnTo>
                    <a:pt x="4946202" y="5880170"/>
                  </a:lnTo>
                  <a:lnTo>
                    <a:pt x="4965262" y="5861109"/>
                  </a:lnTo>
                  <a:lnTo>
                    <a:pt x="4984323" y="5846814"/>
                  </a:lnTo>
                  <a:close/>
                  <a:moveTo>
                    <a:pt x="7943467" y="5832518"/>
                  </a:moveTo>
                  <a:lnTo>
                    <a:pt x="7976823" y="5832518"/>
                  </a:lnTo>
                  <a:lnTo>
                    <a:pt x="8000649" y="5865875"/>
                  </a:lnTo>
                  <a:lnTo>
                    <a:pt x="8010179" y="5880170"/>
                  </a:lnTo>
                  <a:lnTo>
                    <a:pt x="8014944" y="5894463"/>
                  </a:lnTo>
                  <a:lnTo>
                    <a:pt x="8014944" y="5908759"/>
                  </a:lnTo>
                  <a:lnTo>
                    <a:pt x="8014944" y="5923054"/>
                  </a:lnTo>
                  <a:lnTo>
                    <a:pt x="8000649" y="5951644"/>
                  </a:lnTo>
                  <a:lnTo>
                    <a:pt x="7995883" y="5970705"/>
                  </a:lnTo>
                  <a:lnTo>
                    <a:pt x="7995883" y="5989767"/>
                  </a:lnTo>
                  <a:lnTo>
                    <a:pt x="7995883" y="6018357"/>
                  </a:lnTo>
                  <a:lnTo>
                    <a:pt x="8000649" y="6037418"/>
                  </a:lnTo>
                  <a:lnTo>
                    <a:pt x="8010179" y="6042184"/>
                  </a:lnTo>
                  <a:lnTo>
                    <a:pt x="8010179" y="6051713"/>
                  </a:lnTo>
                  <a:lnTo>
                    <a:pt x="8000649" y="6061245"/>
                  </a:lnTo>
                  <a:lnTo>
                    <a:pt x="7976823" y="6056478"/>
                  </a:lnTo>
                  <a:lnTo>
                    <a:pt x="7972058" y="6066009"/>
                  </a:lnTo>
                  <a:lnTo>
                    <a:pt x="7957762" y="6061245"/>
                  </a:lnTo>
                  <a:lnTo>
                    <a:pt x="7943467" y="6042184"/>
                  </a:lnTo>
                  <a:lnTo>
                    <a:pt x="7919641" y="6004061"/>
                  </a:lnTo>
                  <a:lnTo>
                    <a:pt x="7900581" y="5946883"/>
                  </a:lnTo>
                  <a:lnTo>
                    <a:pt x="7881520" y="5899231"/>
                  </a:lnTo>
                  <a:lnTo>
                    <a:pt x="7881520" y="5884934"/>
                  </a:lnTo>
                  <a:lnTo>
                    <a:pt x="7886285" y="5865875"/>
                  </a:lnTo>
                  <a:lnTo>
                    <a:pt x="7905346" y="5846814"/>
                  </a:lnTo>
                  <a:close/>
                  <a:moveTo>
                    <a:pt x="4236197" y="5789633"/>
                  </a:moveTo>
                  <a:lnTo>
                    <a:pt x="4264788" y="5803928"/>
                  </a:lnTo>
                  <a:lnTo>
                    <a:pt x="4283849" y="5822987"/>
                  </a:lnTo>
                  <a:lnTo>
                    <a:pt x="4293379" y="5837282"/>
                  </a:lnTo>
                  <a:lnTo>
                    <a:pt x="4298144" y="5865875"/>
                  </a:lnTo>
                  <a:lnTo>
                    <a:pt x="4288614" y="5894463"/>
                  </a:lnTo>
                  <a:lnTo>
                    <a:pt x="4264788" y="5918290"/>
                  </a:lnTo>
                  <a:lnTo>
                    <a:pt x="4102773" y="5884934"/>
                  </a:lnTo>
                  <a:lnTo>
                    <a:pt x="4093243" y="5875406"/>
                  </a:lnTo>
                  <a:lnTo>
                    <a:pt x="4088478" y="5861109"/>
                  </a:lnTo>
                  <a:lnTo>
                    <a:pt x="4117069" y="5818222"/>
                  </a:lnTo>
                  <a:lnTo>
                    <a:pt x="4155190" y="5803928"/>
                  </a:lnTo>
                  <a:close/>
                  <a:moveTo>
                    <a:pt x="7052387" y="5670502"/>
                  </a:moveTo>
                  <a:lnTo>
                    <a:pt x="7085743" y="5675267"/>
                  </a:lnTo>
                  <a:lnTo>
                    <a:pt x="7166750" y="5703860"/>
                  </a:lnTo>
                  <a:lnTo>
                    <a:pt x="7247758" y="5746745"/>
                  </a:lnTo>
                  <a:lnTo>
                    <a:pt x="7295409" y="5780101"/>
                  </a:lnTo>
                  <a:lnTo>
                    <a:pt x="7324000" y="5784865"/>
                  </a:lnTo>
                  <a:lnTo>
                    <a:pt x="7352590" y="5775337"/>
                  </a:lnTo>
                  <a:lnTo>
                    <a:pt x="7371651" y="5775337"/>
                  </a:lnTo>
                  <a:lnTo>
                    <a:pt x="7405007" y="5803926"/>
                  </a:lnTo>
                  <a:lnTo>
                    <a:pt x="7433598" y="5846814"/>
                  </a:lnTo>
                  <a:lnTo>
                    <a:pt x="7457423" y="5865874"/>
                  </a:lnTo>
                  <a:lnTo>
                    <a:pt x="7462188" y="5875403"/>
                  </a:lnTo>
                  <a:lnTo>
                    <a:pt x="7466954" y="5884934"/>
                  </a:lnTo>
                  <a:lnTo>
                    <a:pt x="7466954" y="5918290"/>
                  </a:lnTo>
                  <a:lnTo>
                    <a:pt x="7466954" y="5932587"/>
                  </a:lnTo>
                  <a:lnTo>
                    <a:pt x="7466954" y="5946880"/>
                  </a:lnTo>
                  <a:lnTo>
                    <a:pt x="7457423" y="5975472"/>
                  </a:lnTo>
                  <a:lnTo>
                    <a:pt x="7447893" y="6008828"/>
                  </a:lnTo>
                  <a:lnTo>
                    <a:pt x="7433598" y="6037416"/>
                  </a:lnTo>
                  <a:lnTo>
                    <a:pt x="7424067" y="6066009"/>
                  </a:lnTo>
                  <a:lnTo>
                    <a:pt x="7414537" y="6094599"/>
                  </a:lnTo>
                  <a:lnTo>
                    <a:pt x="7433598" y="6075538"/>
                  </a:lnTo>
                  <a:lnTo>
                    <a:pt x="7500309" y="5975472"/>
                  </a:lnTo>
                  <a:lnTo>
                    <a:pt x="7543196" y="5989767"/>
                  </a:lnTo>
                  <a:lnTo>
                    <a:pt x="7609907" y="5980235"/>
                  </a:lnTo>
                  <a:lnTo>
                    <a:pt x="7686149" y="5937351"/>
                  </a:lnTo>
                  <a:lnTo>
                    <a:pt x="7724270" y="5932587"/>
                  </a:lnTo>
                  <a:lnTo>
                    <a:pt x="7762392" y="5937351"/>
                  </a:lnTo>
                  <a:lnTo>
                    <a:pt x="7790982" y="5951644"/>
                  </a:lnTo>
                  <a:lnTo>
                    <a:pt x="7852929" y="6004061"/>
                  </a:lnTo>
                  <a:lnTo>
                    <a:pt x="7871989" y="6027886"/>
                  </a:lnTo>
                  <a:lnTo>
                    <a:pt x="7881520" y="6046948"/>
                  </a:lnTo>
                  <a:lnTo>
                    <a:pt x="7881520" y="6061242"/>
                  </a:lnTo>
                  <a:lnTo>
                    <a:pt x="7871989" y="6080303"/>
                  </a:lnTo>
                  <a:lnTo>
                    <a:pt x="7833868" y="6070774"/>
                  </a:lnTo>
                  <a:lnTo>
                    <a:pt x="7771922" y="6056478"/>
                  </a:lnTo>
                  <a:lnTo>
                    <a:pt x="7757626" y="6051713"/>
                  </a:lnTo>
                  <a:lnTo>
                    <a:pt x="7748096" y="6051713"/>
                  </a:lnTo>
                  <a:lnTo>
                    <a:pt x="7743331" y="6061242"/>
                  </a:lnTo>
                  <a:lnTo>
                    <a:pt x="7748096" y="6089834"/>
                  </a:lnTo>
                  <a:lnTo>
                    <a:pt x="7757626" y="6094599"/>
                  </a:lnTo>
                  <a:lnTo>
                    <a:pt x="7833868" y="6099366"/>
                  </a:lnTo>
                  <a:lnTo>
                    <a:pt x="8076890" y="6189903"/>
                  </a:lnTo>
                  <a:lnTo>
                    <a:pt x="8091185" y="6218492"/>
                  </a:lnTo>
                  <a:lnTo>
                    <a:pt x="8086420" y="6232787"/>
                  </a:lnTo>
                  <a:lnTo>
                    <a:pt x="8076890" y="6247084"/>
                  </a:lnTo>
                  <a:lnTo>
                    <a:pt x="8057830" y="6266144"/>
                  </a:lnTo>
                  <a:lnTo>
                    <a:pt x="7919641" y="6285204"/>
                  </a:lnTo>
                  <a:lnTo>
                    <a:pt x="7838634" y="6266144"/>
                  </a:lnTo>
                  <a:lnTo>
                    <a:pt x="7771922" y="6237552"/>
                  </a:lnTo>
                  <a:lnTo>
                    <a:pt x="7748096" y="6242319"/>
                  </a:lnTo>
                  <a:lnTo>
                    <a:pt x="7767157" y="6285204"/>
                  </a:lnTo>
                  <a:lnTo>
                    <a:pt x="7805278" y="6294734"/>
                  </a:lnTo>
                  <a:lnTo>
                    <a:pt x="7843399" y="6318561"/>
                  </a:lnTo>
                  <a:lnTo>
                    <a:pt x="7857694" y="6337621"/>
                  </a:lnTo>
                  <a:lnTo>
                    <a:pt x="7929171" y="6351915"/>
                  </a:lnTo>
                  <a:lnTo>
                    <a:pt x="7938701" y="6366211"/>
                  </a:lnTo>
                  <a:lnTo>
                    <a:pt x="7962527" y="6404332"/>
                  </a:lnTo>
                  <a:lnTo>
                    <a:pt x="7981587" y="6409098"/>
                  </a:lnTo>
                  <a:lnTo>
                    <a:pt x="8000648" y="6437688"/>
                  </a:lnTo>
                  <a:lnTo>
                    <a:pt x="8014943" y="6480573"/>
                  </a:lnTo>
                  <a:lnTo>
                    <a:pt x="8019708" y="6485339"/>
                  </a:lnTo>
                  <a:lnTo>
                    <a:pt x="8043534" y="6480573"/>
                  </a:lnTo>
                  <a:lnTo>
                    <a:pt x="8081655" y="6518690"/>
                  </a:lnTo>
                  <a:lnTo>
                    <a:pt x="8091185" y="6537750"/>
                  </a:lnTo>
                  <a:lnTo>
                    <a:pt x="8091185" y="6556811"/>
                  </a:lnTo>
                  <a:lnTo>
                    <a:pt x="8081655" y="6580636"/>
                  </a:lnTo>
                  <a:lnTo>
                    <a:pt x="8067360" y="6613992"/>
                  </a:lnTo>
                  <a:lnTo>
                    <a:pt x="8024474" y="6652113"/>
                  </a:lnTo>
                  <a:lnTo>
                    <a:pt x="8024474" y="6661643"/>
                  </a:lnTo>
                  <a:lnTo>
                    <a:pt x="8072125" y="6656878"/>
                  </a:lnTo>
                  <a:lnTo>
                    <a:pt x="8081655" y="6661643"/>
                  </a:lnTo>
                  <a:lnTo>
                    <a:pt x="8134072" y="6733120"/>
                  </a:lnTo>
                  <a:lnTo>
                    <a:pt x="8143602" y="6733120"/>
                  </a:lnTo>
                  <a:lnTo>
                    <a:pt x="8148367" y="6728355"/>
                  </a:lnTo>
                  <a:lnTo>
                    <a:pt x="8153132" y="6704530"/>
                  </a:lnTo>
                  <a:lnTo>
                    <a:pt x="8153132" y="6680704"/>
                  </a:lnTo>
                  <a:lnTo>
                    <a:pt x="8143602" y="6647348"/>
                  </a:lnTo>
                  <a:lnTo>
                    <a:pt x="8148367" y="6623522"/>
                  </a:lnTo>
                  <a:lnTo>
                    <a:pt x="8157897" y="6613992"/>
                  </a:lnTo>
                  <a:lnTo>
                    <a:pt x="8167427" y="6604462"/>
                  </a:lnTo>
                  <a:lnTo>
                    <a:pt x="8176958" y="6604462"/>
                  </a:lnTo>
                  <a:lnTo>
                    <a:pt x="8191253" y="6613992"/>
                  </a:lnTo>
                  <a:lnTo>
                    <a:pt x="8248435" y="6694999"/>
                  </a:lnTo>
                  <a:lnTo>
                    <a:pt x="8319912" y="6656878"/>
                  </a:lnTo>
                  <a:lnTo>
                    <a:pt x="8334207" y="6675939"/>
                  </a:lnTo>
                  <a:lnTo>
                    <a:pt x="8348502" y="6709295"/>
                  </a:lnTo>
                  <a:lnTo>
                    <a:pt x="8353267" y="6714060"/>
                  </a:lnTo>
                  <a:lnTo>
                    <a:pt x="8377093" y="6647348"/>
                  </a:lnTo>
                  <a:lnTo>
                    <a:pt x="8396154" y="6628288"/>
                  </a:lnTo>
                  <a:lnTo>
                    <a:pt x="8462865" y="6709295"/>
                  </a:lnTo>
                  <a:lnTo>
                    <a:pt x="8505752" y="6728355"/>
                  </a:lnTo>
                  <a:lnTo>
                    <a:pt x="8524812" y="6742650"/>
                  </a:lnTo>
                  <a:lnTo>
                    <a:pt x="8553403" y="6761711"/>
                  </a:lnTo>
                  <a:lnTo>
                    <a:pt x="8598672" y="6771241"/>
                  </a:lnTo>
                  <a:lnTo>
                    <a:pt x="8603437" y="6737885"/>
                  </a:lnTo>
                  <a:lnTo>
                    <a:pt x="8579611" y="6704530"/>
                  </a:lnTo>
                  <a:lnTo>
                    <a:pt x="8593906" y="6685469"/>
                  </a:lnTo>
                  <a:lnTo>
                    <a:pt x="8655853" y="6652113"/>
                  </a:lnTo>
                  <a:lnTo>
                    <a:pt x="8689209" y="6656878"/>
                  </a:lnTo>
                  <a:lnTo>
                    <a:pt x="8746390" y="6613992"/>
                  </a:lnTo>
                  <a:lnTo>
                    <a:pt x="8784512" y="6609227"/>
                  </a:lnTo>
                  <a:lnTo>
                    <a:pt x="8808337" y="6609227"/>
                  </a:lnTo>
                  <a:lnTo>
                    <a:pt x="8879814" y="6537750"/>
                  </a:lnTo>
                  <a:lnTo>
                    <a:pt x="8898875" y="6528220"/>
                  </a:lnTo>
                  <a:lnTo>
                    <a:pt x="8913170" y="6504394"/>
                  </a:lnTo>
                  <a:lnTo>
                    <a:pt x="8941761" y="6504394"/>
                  </a:lnTo>
                  <a:lnTo>
                    <a:pt x="9022768" y="6547280"/>
                  </a:lnTo>
                  <a:lnTo>
                    <a:pt x="9041828" y="6542515"/>
                  </a:lnTo>
                  <a:lnTo>
                    <a:pt x="9127601" y="6504394"/>
                  </a:lnTo>
                  <a:lnTo>
                    <a:pt x="9160957" y="6494869"/>
                  </a:lnTo>
                  <a:lnTo>
                    <a:pt x="9189548" y="6494869"/>
                  </a:lnTo>
                  <a:lnTo>
                    <a:pt x="9270555" y="6518690"/>
                  </a:lnTo>
                  <a:lnTo>
                    <a:pt x="9327736" y="6542515"/>
                  </a:lnTo>
                  <a:lnTo>
                    <a:pt x="9346797" y="6556811"/>
                  </a:lnTo>
                  <a:lnTo>
                    <a:pt x="9342032" y="6590166"/>
                  </a:lnTo>
                  <a:lnTo>
                    <a:pt x="9342032" y="6599697"/>
                  </a:lnTo>
                  <a:lnTo>
                    <a:pt x="9351562" y="6604462"/>
                  </a:lnTo>
                  <a:lnTo>
                    <a:pt x="9370622" y="6613992"/>
                  </a:lnTo>
                  <a:lnTo>
                    <a:pt x="9442099" y="6613992"/>
                  </a:lnTo>
                  <a:lnTo>
                    <a:pt x="9475455" y="6623522"/>
                  </a:lnTo>
                  <a:lnTo>
                    <a:pt x="9504046" y="6652113"/>
                  </a:lnTo>
                  <a:lnTo>
                    <a:pt x="9508811" y="6666408"/>
                  </a:lnTo>
                  <a:lnTo>
                    <a:pt x="9508811" y="6675939"/>
                  </a:lnTo>
                  <a:lnTo>
                    <a:pt x="9480220" y="6709295"/>
                  </a:lnTo>
                  <a:lnTo>
                    <a:pt x="9484986" y="6718825"/>
                  </a:lnTo>
                  <a:lnTo>
                    <a:pt x="9508811" y="6723590"/>
                  </a:lnTo>
                  <a:lnTo>
                    <a:pt x="9565992" y="6728355"/>
                  </a:lnTo>
                  <a:lnTo>
                    <a:pt x="9580288" y="6737885"/>
                  </a:lnTo>
                  <a:lnTo>
                    <a:pt x="9589818" y="6776006"/>
                  </a:lnTo>
                  <a:lnTo>
                    <a:pt x="9604114" y="6833188"/>
                  </a:lnTo>
                  <a:lnTo>
                    <a:pt x="9604114" y="6852248"/>
                  </a:lnTo>
                  <a:lnTo>
                    <a:pt x="9585053" y="6890370"/>
                  </a:lnTo>
                  <a:lnTo>
                    <a:pt x="9532637" y="6938021"/>
                  </a:lnTo>
                  <a:lnTo>
                    <a:pt x="9470690" y="6980907"/>
                  </a:lnTo>
                  <a:lnTo>
                    <a:pt x="9465925" y="6990437"/>
                  </a:lnTo>
                  <a:lnTo>
                    <a:pt x="9484986" y="7009498"/>
                  </a:lnTo>
                  <a:lnTo>
                    <a:pt x="9504046" y="7019028"/>
                  </a:lnTo>
                  <a:lnTo>
                    <a:pt x="9523106" y="7014263"/>
                  </a:lnTo>
                  <a:lnTo>
                    <a:pt x="9570758" y="6999967"/>
                  </a:lnTo>
                  <a:lnTo>
                    <a:pt x="9580288" y="6999967"/>
                  </a:lnTo>
                  <a:lnTo>
                    <a:pt x="9599348" y="7019028"/>
                  </a:lnTo>
                  <a:lnTo>
                    <a:pt x="9613644" y="7033323"/>
                  </a:lnTo>
                  <a:lnTo>
                    <a:pt x="9618409" y="7061914"/>
                  </a:lnTo>
                  <a:lnTo>
                    <a:pt x="9604114" y="7080974"/>
                  </a:lnTo>
                  <a:lnTo>
                    <a:pt x="9537402" y="7109565"/>
                  </a:lnTo>
                  <a:lnTo>
                    <a:pt x="9494516" y="7076209"/>
                  </a:lnTo>
                  <a:lnTo>
                    <a:pt x="9480220" y="7066679"/>
                  </a:lnTo>
                  <a:lnTo>
                    <a:pt x="9470690" y="7071444"/>
                  </a:lnTo>
                  <a:lnTo>
                    <a:pt x="9475455" y="7085740"/>
                  </a:lnTo>
                  <a:lnTo>
                    <a:pt x="9499281" y="7114330"/>
                  </a:lnTo>
                  <a:lnTo>
                    <a:pt x="9504046" y="7133391"/>
                  </a:lnTo>
                  <a:lnTo>
                    <a:pt x="9494516" y="7142921"/>
                  </a:lnTo>
                  <a:lnTo>
                    <a:pt x="9494516" y="7161982"/>
                  </a:lnTo>
                  <a:lnTo>
                    <a:pt x="9494516" y="7185807"/>
                  </a:lnTo>
                  <a:lnTo>
                    <a:pt x="9494516" y="7214398"/>
                  </a:lnTo>
                  <a:lnTo>
                    <a:pt x="9484986" y="7257284"/>
                  </a:lnTo>
                  <a:lnTo>
                    <a:pt x="9484986" y="7262049"/>
                  </a:lnTo>
                  <a:lnTo>
                    <a:pt x="9337266" y="7266814"/>
                  </a:lnTo>
                  <a:lnTo>
                    <a:pt x="9318206" y="7276345"/>
                  </a:lnTo>
                  <a:lnTo>
                    <a:pt x="9275320" y="7304936"/>
                  </a:lnTo>
                  <a:lnTo>
                    <a:pt x="9241964" y="7319231"/>
                  </a:lnTo>
                  <a:lnTo>
                    <a:pt x="9222903" y="7323996"/>
                  </a:lnTo>
                  <a:lnTo>
                    <a:pt x="9203843" y="7319231"/>
                  </a:lnTo>
                  <a:lnTo>
                    <a:pt x="9151426" y="7285875"/>
                  </a:lnTo>
                  <a:lnTo>
                    <a:pt x="9113306" y="7295405"/>
                  </a:lnTo>
                  <a:lnTo>
                    <a:pt x="9099010" y="7290640"/>
                  </a:lnTo>
                  <a:lnTo>
                    <a:pt x="9070419" y="7271580"/>
                  </a:lnTo>
                  <a:lnTo>
                    <a:pt x="9060889" y="7257284"/>
                  </a:lnTo>
                  <a:lnTo>
                    <a:pt x="9051359" y="7233459"/>
                  </a:lnTo>
                  <a:lnTo>
                    <a:pt x="9041828" y="7195338"/>
                  </a:lnTo>
                  <a:lnTo>
                    <a:pt x="9041828" y="7171512"/>
                  </a:lnTo>
                  <a:lnTo>
                    <a:pt x="9046594" y="7138156"/>
                  </a:lnTo>
                  <a:lnTo>
                    <a:pt x="9041828" y="7119096"/>
                  </a:lnTo>
                  <a:lnTo>
                    <a:pt x="9032298" y="7119096"/>
                  </a:lnTo>
                  <a:lnTo>
                    <a:pt x="9022768" y="7114330"/>
                  </a:lnTo>
                  <a:lnTo>
                    <a:pt x="8994177" y="7080974"/>
                  </a:lnTo>
                  <a:lnTo>
                    <a:pt x="8975117" y="7071444"/>
                  </a:lnTo>
                  <a:lnTo>
                    <a:pt x="8975117" y="7076209"/>
                  </a:lnTo>
                  <a:lnTo>
                    <a:pt x="8979882" y="7100035"/>
                  </a:lnTo>
                  <a:lnTo>
                    <a:pt x="8984647" y="7109565"/>
                  </a:lnTo>
                  <a:lnTo>
                    <a:pt x="8998942" y="7128626"/>
                  </a:lnTo>
                  <a:lnTo>
                    <a:pt x="9003708" y="7152451"/>
                  </a:lnTo>
                  <a:lnTo>
                    <a:pt x="8994177" y="7209633"/>
                  </a:lnTo>
                  <a:lnTo>
                    <a:pt x="8994177" y="7219163"/>
                  </a:lnTo>
                  <a:lnTo>
                    <a:pt x="8975117" y="7257284"/>
                  </a:lnTo>
                  <a:lnTo>
                    <a:pt x="8960821" y="7266814"/>
                  </a:lnTo>
                  <a:lnTo>
                    <a:pt x="8922700" y="7271580"/>
                  </a:lnTo>
                  <a:lnTo>
                    <a:pt x="8865519" y="7300170"/>
                  </a:lnTo>
                  <a:lnTo>
                    <a:pt x="8836928" y="7304936"/>
                  </a:lnTo>
                  <a:lnTo>
                    <a:pt x="8798807" y="7295405"/>
                  </a:lnTo>
                  <a:lnTo>
                    <a:pt x="8774981" y="7281110"/>
                  </a:lnTo>
                  <a:lnTo>
                    <a:pt x="8760686" y="7266814"/>
                  </a:lnTo>
                  <a:lnTo>
                    <a:pt x="8741625" y="7247754"/>
                  </a:lnTo>
                  <a:lnTo>
                    <a:pt x="8736860" y="7242989"/>
                  </a:lnTo>
                  <a:lnTo>
                    <a:pt x="8732095" y="7290640"/>
                  </a:lnTo>
                  <a:lnTo>
                    <a:pt x="8722565" y="7300170"/>
                  </a:lnTo>
                  <a:lnTo>
                    <a:pt x="8713035" y="7295405"/>
                  </a:lnTo>
                  <a:lnTo>
                    <a:pt x="8693974" y="7281110"/>
                  </a:lnTo>
                  <a:lnTo>
                    <a:pt x="8674914" y="7247754"/>
                  </a:lnTo>
                  <a:lnTo>
                    <a:pt x="8670148" y="7247754"/>
                  </a:lnTo>
                  <a:lnTo>
                    <a:pt x="8670148" y="7266814"/>
                  </a:lnTo>
                  <a:lnTo>
                    <a:pt x="8665383" y="7281110"/>
                  </a:lnTo>
                  <a:lnTo>
                    <a:pt x="8660618" y="7285875"/>
                  </a:lnTo>
                  <a:lnTo>
                    <a:pt x="8617732" y="7309701"/>
                  </a:lnTo>
                  <a:lnTo>
                    <a:pt x="8598672" y="7309701"/>
                  </a:lnTo>
                  <a:lnTo>
                    <a:pt x="8574846" y="7285875"/>
                  </a:lnTo>
                  <a:lnTo>
                    <a:pt x="8558168" y="7285875"/>
                  </a:lnTo>
                  <a:lnTo>
                    <a:pt x="8539107" y="7300170"/>
                  </a:lnTo>
                  <a:lnTo>
                    <a:pt x="8491456" y="7276345"/>
                  </a:lnTo>
                  <a:lnTo>
                    <a:pt x="8477161" y="7276345"/>
                  </a:lnTo>
                  <a:lnTo>
                    <a:pt x="8486691" y="7314466"/>
                  </a:lnTo>
                  <a:lnTo>
                    <a:pt x="8472396" y="7319231"/>
                  </a:lnTo>
                  <a:lnTo>
                    <a:pt x="8439040" y="7319231"/>
                  </a:lnTo>
                  <a:lnTo>
                    <a:pt x="8377093" y="7304936"/>
                  </a:lnTo>
                  <a:lnTo>
                    <a:pt x="8343737" y="7323996"/>
                  </a:lnTo>
                  <a:lnTo>
                    <a:pt x="8277025" y="7314466"/>
                  </a:lnTo>
                  <a:lnTo>
                    <a:pt x="8215079" y="7309701"/>
                  </a:lnTo>
                  <a:lnTo>
                    <a:pt x="8200783" y="7300170"/>
                  </a:lnTo>
                  <a:lnTo>
                    <a:pt x="8191253" y="7285875"/>
                  </a:lnTo>
                  <a:lnTo>
                    <a:pt x="8191253" y="7266814"/>
                  </a:lnTo>
                  <a:lnTo>
                    <a:pt x="8196018" y="7242989"/>
                  </a:lnTo>
                  <a:lnTo>
                    <a:pt x="8205548" y="7209633"/>
                  </a:lnTo>
                  <a:lnTo>
                    <a:pt x="8219844" y="7161982"/>
                  </a:lnTo>
                  <a:lnTo>
                    <a:pt x="8224609" y="7138156"/>
                  </a:lnTo>
                  <a:lnTo>
                    <a:pt x="8210314" y="7128626"/>
                  </a:lnTo>
                  <a:lnTo>
                    <a:pt x="8205548" y="7114330"/>
                  </a:lnTo>
                  <a:lnTo>
                    <a:pt x="8196018" y="7109565"/>
                  </a:lnTo>
                  <a:lnTo>
                    <a:pt x="8172192" y="7128626"/>
                  </a:lnTo>
                  <a:lnTo>
                    <a:pt x="8157897" y="7181042"/>
                  </a:lnTo>
                  <a:lnTo>
                    <a:pt x="8148367" y="7195338"/>
                  </a:lnTo>
                  <a:lnTo>
                    <a:pt x="8143602" y="7185807"/>
                  </a:lnTo>
                  <a:lnTo>
                    <a:pt x="8138837" y="7152451"/>
                  </a:lnTo>
                  <a:lnTo>
                    <a:pt x="8134072" y="7138156"/>
                  </a:lnTo>
                  <a:lnTo>
                    <a:pt x="8124541" y="7138156"/>
                  </a:lnTo>
                  <a:lnTo>
                    <a:pt x="8119776" y="7147686"/>
                  </a:lnTo>
                  <a:lnTo>
                    <a:pt x="8115011" y="7161982"/>
                  </a:lnTo>
                  <a:lnTo>
                    <a:pt x="8105481" y="7166747"/>
                  </a:lnTo>
                  <a:lnTo>
                    <a:pt x="8091185" y="7161982"/>
                  </a:lnTo>
                  <a:lnTo>
                    <a:pt x="8091185" y="7171512"/>
                  </a:lnTo>
                  <a:lnTo>
                    <a:pt x="8091185" y="7190572"/>
                  </a:lnTo>
                  <a:lnTo>
                    <a:pt x="8095950" y="7209633"/>
                  </a:lnTo>
                  <a:lnTo>
                    <a:pt x="8091185" y="7228694"/>
                  </a:lnTo>
                  <a:lnTo>
                    <a:pt x="8081655" y="7242989"/>
                  </a:lnTo>
                  <a:lnTo>
                    <a:pt x="8053064" y="7266814"/>
                  </a:lnTo>
                  <a:lnTo>
                    <a:pt x="8034004" y="7276345"/>
                  </a:lnTo>
                  <a:lnTo>
                    <a:pt x="7991118" y="7281110"/>
                  </a:lnTo>
                  <a:lnTo>
                    <a:pt x="7962527" y="7271580"/>
                  </a:lnTo>
                  <a:lnTo>
                    <a:pt x="7910110" y="7242989"/>
                  </a:lnTo>
                  <a:lnTo>
                    <a:pt x="7881520" y="7242989"/>
                  </a:lnTo>
                  <a:lnTo>
                    <a:pt x="7843399" y="7190572"/>
                  </a:lnTo>
                  <a:lnTo>
                    <a:pt x="7814808" y="7181042"/>
                  </a:lnTo>
                  <a:lnTo>
                    <a:pt x="7819573" y="7161982"/>
                  </a:lnTo>
                  <a:lnTo>
                    <a:pt x="7829103" y="7128626"/>
                  </a:lnTo>
                  <a:lnTo>
                    <a:pt x="7829103" y="7119096"/>
                  </a:lnTo>
                  <a:lnTo>
                    <a:pt x="7790982" y="7166747"/>
                  </a:lnTo>
                  <a:lnTo>
                    <a:pt x="7786217" y="7185807"/>
                  </a:lnTo>
                  <a:lnTo>
                    <a:pt x="7790982" y="7219163"/>
                  </a:lnTo>
                  <a:lnTo>
                    <a:pt x="7786217" y="7223928"/>
                  </a:lnTo>
                  <a:lnTo>
                    <a:pt x="7757626" y="7209633"/>
                  </a:lnTo>
                  <a:lnTo>
                    <a:pt x="7729036" y="7219163"/>
                  </a:lnTo>
                  <a:lnTo>
                    <a:pt x="7724270" y="7214398"/>
                  </a:lnTo>
                  <a:lnTo>
                    <a:pt x="7705210" y="7190572"/>
                  </a:lnTo>
                  <a:lnTo>
                    <a:pt x="7676619" y="7166747"/>
                  </a:lnTo>
                  <a:lnTo>
                    <a:pt x="7662324" y="7133391"/>
                  </a:lnTo>
                  <a:lnTo>
                    <a:pt x="7638498" y="7042854"/>
                  </a:lnTo>
                  <a:lnTo>
                    <a:pt x="7628968" y="6980907"/>
                  </a:lnTo>
                  <a:lnTo>
                    <a:pt x="7628968" y="6966612"/>
                  </a:lnTo>
                  <a:lnTo>
                    <a:pt x="7643263" y="6947551"/>
                  </a:lnTo>
                  <a:lnTo>
                    <a:pt x="7643263" y="6938021"/>
                  </a:lnTo>
                  <a:lnTo>
                    <a:pt x="7624203" y="6899900"/>
                  </a:lnTo>
                  <a:lnTo>
                    <a:pt x="7600377" y="6871309"/>
                  </a:lnTo>
                  <a:lnTo>
                    <a:pt x="7595612" y="6852248"/>
                  </a:lnTo>
                  <a:lnTo>
                    <a:pt x="7590847" y="6828423"/>
                  </a:lnTo>
                  <a:lnTo>
                    <a:pt x="7586082" y="6799832"/>
                  </a:lnTo>
                  <a:lnTo>
                    <a:pt x="7586082" y="6776006"/>
                  </a:lnTo>
                  <a:lnTo>
                    <a:pt x="7590847" y="6761711"/>
                  </a:lnTo>
                  <a:lnTo>
                    <a:pt x="7605142" y="6718825"/>
                  </a:lnTo>
                  <a:lnTo>
                    <a:pt x="7638498" y="6633053"/>
                  </a:lnTo>
                  <a:lnTo>
                    <a:pt x="7643263" y="6618757"/>
                  </a:lnTo>
                  <a:lnTo>
                    <a:pt x="7643263" y="6604462"/>
                  </a:lnTo>
                  <a:lnTo>
                    <a:pt x="7638498" y="6561576"/>
                  </a:lnTo>
                  <a:lnTo>
                    <a:pt x="7633733" y="6518690"/>
                  </a:lnTo>
                  <a:lnTo>
                    <a:pt x="7624203" y="6485339"/>
                  </a:lnTo>
                  <a:lnTo>
                    <a:pt x="7605142" y="6442455"/>
                  </a:lnTo>
                  <a:lnTo>
                    <a:pt x="7581317" y="6394802"/>
                  </a:lnTo>
                  <a:lnTo>
                    <a:pt x="7543196" y="6313794"/>
                  </a:lnTo>
                  <a:lnTo>
                    <a:pt x="7519370" y="6247084"/>
                  </a:lnTo>
                  <a:lnTo>
                    <a:pt x="7486014" y="6156547"/>
                  </a:lnTo>
                  <a:lnTo>
                    <a:pt x="7466954" y="6147015"/>
                  </a:lnTo>
                  <a:lnTo>
                    <a:pt x="7452658" y="6151780"/>
                  </a:lnTo>
                  <a:lnTo>
                    <a:pt x="7409772" y="6185136"/>
                  </a:lnTo>
                  <a:lnTo>
                    <a:pt x="7395477" y="6199431"/>
                  </a:lnTo>
                  <a:lnTo>
                    <a:pt x="7395477" y="6208963"/>
                  </a:lnTo>
                  <a:lnTo>
                    <a:pt x="7366886" y="6208963"/>
                  </a:lnTo>
                  <a:lnTo>
                    <a:pt x="7281114" y="6204196"/>
                  </a:lnTo>
                  <a:lnTo>
                    <a:pt x="7252523" y="6194667"/>
                  </a:lnTo>
                  <a:lnTo>
                    <a:pt x="7228697" y="6194667"/>
                  </a:lnTo>
                  <a:lnTo>
                    <a:pt x="7185811" y="6218492"/>
                  </a:lnTo>
                  <a:lnTo>
                    <a:pt x="7142925" y="6213727"/>
                  </a:lnTo>
                  <a:lnTo>
                    <a:pt x="7114334" y="6147015"/>
                  </a:lnTo>
                  <a:lnTo>
                    <a:pt x="7057152" y="6113659"/>
                  </a:lnTo>
                  <a:lnTo>
                    <a:pt x="7038092" y="6094599"/>
                  </a:lnTo>
                  <a:lnTo>
                    <a:pt x="7023797" y="6066009"/>
                  </a:lnTo>
                  <a:lnTo>
                    <a:pt x="7028562" y="6051713"/>
                  </a:lnTo>
                  <a:lnTo>
                    <a:pt x="7061918" y="6032653"/>
                  </a:lnTo>
                  <a:lnTo>
                    <a:pt x="7076213" y="6013592"/>
                  </a:lnTo>
                  <a:lnTo>
                    <a:pt x="7085743" y="5999297"/>
                  </a:lnTo>
                  <a:lnTo>
                    <a:pt x="7052387" y="6013592"/>
                  </a:lnTo>
                  <a:lnTo>
                    <a:pt x="7033327" y="6013592"/>
                  </a:lnTo>
                  <a:lnTo>
                    <a:pt x="6928494" y="5923054"/>
                  </a:lnTo>
                  <a:lnTo>
                    <a:pt x="6899903" y="5903995"/>
                  </a:lnTo>
                  <a:lnTo>
                    <a:pt x="6890373" y="5899231"/>
                  </a:lnTo>
                  <a:lnTo>
                    <a:pt x="6890373" y="5884934"/>
                  </a:lnTo>
                  <a:lnTo>
                    <a:pt x="6890373" y="5875403"/>
                  </a:lnTo>
                  <a:lnTo>
                    <a:pt x="6895138" y="5851578"/>
                  </a:lnTo>
                  <a:lnTo>
                    <a:pt x="6923729" y="5880170"/>
                  </a:lnTo>
                  <a:lnTo>
                    <a:pt x="6938024" y="5880170"/>
                  </a:lnTo>
                  <a:lnTo>
                    <a:pt x="6961850" y="5875403"/>
                  </a:lnTo>
                  <a:lnTo>
                    <a:pt x="6966615" y="5856341"/>
                  </a:lnTo>
                  <a:lnTo>
                    <a:pt x="6961850" y="5846814"/>
                  </a:lnTo>
                  <a:lnTo>
                    <a:pt x="6928494" y="5818221"/>
                  </a:lnTo>
                  <a:lnTo>
                    <a:pt x="6909434" y="5794396"/>
                  </a:lnTo>
                  <a:lnTo>
                    <a:pt x="6904668" y="5775337"/>
                  </a:lnTo>
                  <a:lnTo>
                    <a:pt x="6909434" y="5751509"/>
                  </a:lnTo>
                  <a:lnTo>
                    <a:pt x="6914199" y="5737215"/>
                  </a:lnTo>
                  <a:lnTo>
                    <a:pt x="6923729" y="5727684"/>
                  </a:lnTo>
                  <a:lnTo>
                    <a:pt x="6942789" y="5727684"/>
                  </a:lnTo>
                  <a:lnTo>
                    <a:pt x="6971380" y="5713388"/>
                  </a:lnTo>
                  <a:lnTo>
                    <a:pt x="7019031" y="5684799"/>
                  </a:lnTo>
                  <a:close/>
                  <a:moveTo>
                    <a:pt x="3826397" y="5327414"/>
                  </a:moveTo>
                  <a:lnTo>
                    <a:pt x="3850222" y="5332178"/>
                  </a:lnTo>
                  <a:lnTo>
                    <a:pt x="3874048" y="5351238"/>
                  </a:lnTo>
                  <a:lnTo>
                    <a:pt x="3902639" y="5389360"/>
                  </a:lnTo>
                  <a:lnTo>
                    <a:pt x="3974116" y="5460836"/>
                  </a:lnTo>
                  <a:lnTo>
                    <a:pt x="3988411" y="5489428"/>
                  </a:lnTo>
                  <a:lnTo>
                    <a:pt x="3988411" y="5498959"/>
                  </a:lnTo>
                  <a:lnTo>
                    <a:pt x="3983646" y="5513253"/>
                  </a:lnTo>
                  <a:lnTo>
                    <a:pt x="3964585" y="5532313"/>
                  </a:lnTo>
                  <a:lnTo>
                    <a:pt x="3874048" y="5594262"/>
                  </a:lnTo>
                  <a:lnTo>
                    <a:pt x="3854987" y="5622851"/>
                  </a:lnTo>
                  <a:lnTo>
                    <a:pt x="3859753" y="5646679"/>
                  </a:lnTo>
                  <a:lnTo>
                    <a:pt x="3893108" y="5694328"/>
                  </a:lnTo>
                  <a:lnTo>
                    <a:pt x="3926464" y="5737215"/>
                  </a:lnTo>
                  <a:lnTo>
                    <a:pt x="3935995" y="5761041"/>
                  </a:lnTo>
                  <a:lnTo>
                    <a:pt x="3921699" y="5780101"/>
                  </a:lnTo>
                  <a:lnTo>
                    <a:pt x="3888343" y="5775337"/>
                  </a:lnTo>
                  <a:lnTo>
                    <a:pt x="3878813" y="5775337"/>
                  </a:lnTo>
                  <a:lnTo>
                    <a:pt x="3864518" y="5784865"/>
                  </a:lnTo>
                  <a:lnTo>
                    <a:pt x="3869283" y="5803926"/>
                  </a:lnTo>
                  <a:lnTo>
                    <a:pt x="3902639" y="5865874"/>
                  </a:lnTo>
                  <a:lnTo>
                    <a:pt x="3912169" y="5899231"/>
                  </a:lnTo>
                  <a:lnTo>
                    <a:pt x="3912169" y="5913522"/>
                  </a:lnTo>
                  <a:lnTo>
                    <a:pt x="3907404" y="5932587"/>
                  </a:lnTo>
                  <a:lnTo>
                    <a:pt x="3893108" y="5956411"/>
                  </a:lnTo>
                  <a:lnTo>
                    <a:pt x="3869283" y="5984999"/>
                  </a:lnTo>
                  <a:lnTo>
                    <a:pt x="3831162" y="6008828"/>
                  </a:lnTo>
                  <a:lnTo>
                    <a:pt x="3750155" y="6037416"/>
                  </a:lnTo>
                  <a:lnTo>
                    <a:pt x="3745390" y="6061242"/>
                  </a:lnTo>
                  <a:lnTo>
                    <a:pt x="3750155" y="6080303"/>
                  </a:lnTo>
                  <a:lnTo>
                    <a:pt x="3745390" y="6123191"/>
                  </a:lnTo>
                  <a:lnTo>
                    <a:pt x="3740624" y="6142250"/>
                  </a:lnTo>
                  <a:lnTo>
                    <a:pt x="3731094" y="6175606"/>
                  </a:lnTo>
                  <a:lnTo>
                    <a:pt x="3726329" y="6189903"/>
                  </a:lnTo>
                  <a:lnTo>
                    <a:pt x="3712034" y="6204196"/>
                  </a:lnTo>
                  <a:lnTo>
                    <a:pt x="3697738" y="6208963"/>
                  </a:lnTo>
                  <a:lnTo>
                    <a:pt x="3673913" y="6208963"/>
                  </a:lnTo>
                  <a:lnTo>
                    <a:pt x="3635792" y="6180371"/>
                  </a:lnTo>
                  <a:lnTo>
                    <a:pt x="3616731" y="6161310"/>
                  </a:lnTo>
                  <a:lnTo>
                    <a:pt x="3592905" y="6123191"/>
                  </a:lnTo>
                  <a:lnTo>
                    <a:pt x="3592905" y="6094599"/>
                  </a:lnTo>
                  <a:lnTo>
                    <a:pt x="3592905" y="6061242"/>
                  </a:lnTo>
                  <a:lnTo>
                    <a:pt x="3597671" y="6008828"/>
                  </a:lnTo>
                  <a:lnTo>
                    <a:pt x="3611966" y="5956411"/>
                  </a:lnTo>
                  <a:lnTo>
                    <a:pt x="3621496" y="5899231"/>
                  </a:lnTo>
                  <a:lnTo>
                    <a:pt x="3626261" y="5865874"/>
                  </a:lnTo>
                  <a:lnTo>
                    <a:pt x="3621496" y="5851578"/>
                  </a:lnTo>
                  <a:lnTo>
                    <a:pt x="3611966" y="5851578"/>
                  </a:lnTo>
                  <a:lnTo>
                    <a:pt x="3583375" y="5875403"/>
                  </a:lnTo>
                  <a:lnTo>
                    <a:pt x="3559550" y="5880170"/>
                  </a:lnTo>
                  <a:lnTo>
                    <a:pt x="3545254" y="5899231"/>
                  </a:lnTo>
                  <a:lnTo>
                    <a:pt x="3535724" y="5923054"/>
                  </a:lnTo>
                  <a:lnTo>
                    <a:pt x="3530959" y="5946880"/>
                  </a:lnTo>
                  <a:lnTo>
                    <a:pt x="3526194" y="5999297"/>
                  </a:lnTo>
                  <a:lnTo>
                    <a:pt x="3521429" y="6027886"/>
                  </a:lnTo>
                  <a:lnTo>
                    <a:pt x="3502368" y="6042184"/>
                  </a:lnTo>
                  <a:lnTo>
                    <a:pt x="3478542" y="6042184"/>
                  </a:lnTo>
                  <a:lnTo>
                    <a:pt x="3469012" y="6051713"/>
                  </a:lnTo>
                  <a:lnTo>
                    <a:pt x="3464247" y="6066009"/>
                  </a:lnTo>
                  <a:lnTo>
                    <a:pt x="3469012" y="6085069"/>
                  </a:lnTo>
                  <a:lnTo>
                    <a:pt x="3492838" y="6113659"/>
                  </a:lnTo>
                  <a:lnTo>
                    <a:pt x="3497603" y="6147015"/>
                  </a:lnTo>
                  <a:lnTo>
                    <a:pt x="3492838" y="6166074"/>
                  </a:lnTo>
                  <a:lnTo>
                    <a:pt x="3469012" y="6204196"/>
                  </a:lnTo>
                  <a:lnTo>
                    <a:pt x="3459482" y="6218492"/>
                  </a:lnTo>
                  <a:lnTo>
                    <a:pt x="3445186" y="6280440"/>
                  </a:lnTo>
                  <a:lnTo>
                    <a:pt x="3440421" y="6294734"/>
                  </a:lnTo>
                  <a:lnTo>
                    <a:pt x="3426126" y="6304265"/>
                  </a:lnTo>
                  <a:lnTo>
                    <a:pt x="3411831" y="6304265"/>
                  </a:lnTo>
                  <a:lnTo>
                    <a:pt x="3397535" y="6285204"/>
                  </a:lnTo>
                  <a:lnTo>
                    <a:pt x="3378475" y="6242319"/>
                  </a:lnTo>
                  <a:lnTo>
                    <a:pt x="3368944" y="6208963"/>
                  </a:lnTo>
                  <a:lnTo>
                    <a:pt x="3359414" y="6180371"/>
                  </a:lnTo>
                  <a:lnTo>
                    <a:pt x="3354649" y="6166074"/>
                  </a:lnTo>
                  <a:lnTo>
                    <a:pt x="3345119" y="6175606"/>
                  </a:lnTo>
                  <a:lnTo>
                    <a:pt x="3335589" y="6204196"/>
                  </a:lnTo>
                  <a:lnTo>
                    <a:pt x="3335589" y="6228023"/>
                  </a:lnTo>
                  <a:lnTo>
                    <a:pt x="3340354" y="6261380"/>
                  </a:lnTo>
                  <a:lnTo>
                    <a:pt x="3335589" y="6285204"/>
                  </a:lnTo>
                  <a:lnTo>
                    <a:pt x="3321293" y="6309029"/>
                  </a:lnTo>
                  <a:lnTo>
                    <a:pt x="3326058" y="6323325"/>
                  </a:lnTo>
                  <a:lnTo>
                    <a:pt x="3349884" y="6351915"/>
                  </a:lnTo>
                  <a:lnTo>
                    <a:pt x="3354649" y="6366211"/>
                  </a:lnTo>
                  <a:lnTo>
                    <a:pt x="3354649" y="6390038"/>
                  </a:lnTo>
                  <a:lnTo>
                    <a:pt x="3354649" y="6399567"/>
                  </a:lnTo>
                  <a:lnTo>
                    <a:pt x="3340354" y="6394802"/>
                  </a:lnTo>
                  <a:lnTo>
                    <a:pt x="3335589" y="6423392"/>
                  </a:lnTo>
                  <a:lnTo>
                    <a:pt x="3321293" y="6442455"/>
                  </a:lnTo>
                  <a:lnTo>
                    <a:pt x="3297468" y="6475809"/>
                  </a:lnTo>
                  <a:lnTo>
                    <a:pt x="3254581" y="6480573"/>
                  </a:lnTo>
                  <a:lnTo>
                    <a:pt x="3225991" y="6499636"/>
                  </a:lnTo>
                  <a:lnTo>
                    <a:pt x="3216460" y="6499636"/>
                  </a:lnTo>
                  <a:lnTo>
                    <a:pt x="3211695" y="6471043"/>
                  </a:lnTo>
                  <a:lnTo>
                    <a:pt x="3202165" y="6413862"/>
                  </a:lnTo>
                  <a:lnTo>
                    <a:pt x="3192635" y="6380506"/>
                  </a:lnTo>
                  <a:lnTo>
                    <a:pt x="3183105" y="6366211"/>
                  </a:lnTo>
                  <a:lnTo>
                    <a:pt x="3168809" y="6299500"/>
                  </a:lnTo>
                  <a:lnTo>
                    <a:pt x="3159279" y="6280440"/>
                  </a:lnTo>
                  <a:lnTo>
                    <a:pt x="3154514" y="6270909"/>
                  </a:lnTo>
                  <a:lnTo>
                    <a:pt x="3149749" y="6266144"/>
                  </a:lnTo>
                  <a:lnTo>
                    <a:pt x="3140218" y="6280440"/>
                  </a:lnTo>
                  <a:lnTo>
                    <a:pt x="3121158" y="6375742"/>
                  </a:lnTo>
                  <a:lnTo>
                    <a:pt x="3092567" y="6399567"/>
                  </a:lnTo>
                  <a:lnTo>
                    <a:pt x="3073507" y="6399567"/>
                  </a:lnTo>
                  <a:lnTo>
                    <a:pt x="3059211" y="6399567"/>
                  </a:lnTo>
                  <a:lnTo>
                    <a:pt x="3016325" y="6375742"/>
                  </a:lnTo>
                  <a:lnTo>
                    <a:pt x="2982969" y="6366211"/>
                  </a:lnTo>
                  <a:lnTo>
                    <a:pt x="2959144" y="6375742"/>
                  </a:lnTo>
                  <a:lnTo>
                    <a:pt x="2921023" y="6413862"/>
                  </a:lnTo>
                  <a:lnTo>
                    <a:pt x="2906727" y="6423392"/>
                  </a:lnTo>
                  <a:lnTo>
                    <a:pt x="2887667" y="6418626"/>
                  </a:lnTo>
                  <a:lnTo>
                    <a:pt x="2878136" y="6404332"/>
                  </a:lnTo>
                  <a:lnTo>
                    <a:pt x="2868606" y="6380506"/>
                  </a:lnTo>
                  <a:lnTo>
                    <a:pt x="2868606" y="6366211"/>
                  </a:lnTo>
                  <a:lnTo>
                    <a:pt x="2873371" y="6361445"/>
                  </a:lnTo>
                  <a:lnTo>
                    <a:pt x="2882902" y="6332857"/>
                  </a:lnTo>
                  <a:lnTo>
                    <a:pt x="2882902" y="6323325"/>
                  </a:lnTo>
                  <a:lnTo>
                    <a:pt x="2873371" y="6309029"/>
                  </a:lnTo>
                  <a:lnTo>
                    <a:pt x="2873371" y="6294734"/>
                  </a:lnTo>
                  <a:lnTo>
                    <a:pt x="2878136" y="6285204"/>
                  </a:lnTo>
                  <a:lnTo>
                    <a:pt x="2878136" y="6280440"/>
                  </a:lnTo>
                  <a:lnTo>
                    <a:pt x="2873371" y="6280440"/>
                  </a:lnTo>
                  <a:lnTo>
                    <a:pt x="2863841" y="6280440"/>
                  </a:lnTo>
                  <a:lnTo>
                    <a:pt x="2825720" y="6299500"/>
                  </a:lnTo>
                  <a:lnTo>
                    <a:pt x="2830485" y="6280440"/>
                  </a:lnTo>
                  <a:lnTo>
                    <a:pt x="2849546" y="6237552"/>
                  </a:lnTo>
                  <a:lnTo>
                    <a:pt x="2887667" y="6156547"/>
                  </a:lnTo>
                  <a:lnTo>
                    <a:pt x="2901962" y="6132722"/>
                  </a:lnTo>
                  <a:lnTo>
                    <a:pt x="2911492" y="6123191"/>
                  </a:lnTo>
                  <a:lnTo>
                    <a:pt x="3030620" y="6099366"/>
                  </a:lnTo>
                  <a:lnTo>
                    <a:pt x="3035386" y="6089834"/>
                  </a:lnTo>
                  <a:lnTo>
                    <a:pt x="3092567" y="5975472"/>
                  </a:lnTo>
                  <a:lnTo>
                    <a:pt x="3106862" y="5951644"/>
                  </a:lnTo>
                  <a:lnTo>
                    <a:pt x="3125923" y="5927820"/>
                  </a:lnTo>
                  <a:lnTo>
                    <a:pt x="3206930" y="5861107"/>
                  </a:lnTo>
                  <a:lnTo>
                    <a:pt x="3211695" y="5842046"/>
                  </a:lnTo>
                  <a:lnTo>
                    <a:pt x="3225991" y="5794396"/>
                  </a:lnTo>
                  <a:lnTo>
                    <a:pt x="3230756" y="5784865"/>
                  </a:lnTo>
                  <a:lnTo>
                    <a:pt x="3249816" y="5765805"/>
                  </a:lnTo>
                  <a:lnTo>
                    <a:pt x="3306998" y="5665736"/>
                  </a:lnTo>
                  <a:lnTo>
                    <a:pt x="3359414" y="5594262"/>
                  </a:lnTo>
                  <a:lnTo>
                    <a:pt x="3388005" y="5551374"/>
                  </a:lnTo>
                  <a:lnTo>
                    <a:pt x="3421361" y="5503722"/>
                  </a:lnTo>
                  <a:lnTo>
                    <a:pt x="3464247" y="5484664"/>
                  </a:lnTo>
                  <a:lnTo>
                    <a:pt x="3592905" y="5446541"/>
                  </a:lnTo>
                  <a:lnTo>
                    <a:pt x="3683443" y="5494193"/>
                  </a:lnTo>
                  <a:lnTo>
                    <a:pt x="3707268" y="5498959"/>
                  </a:lnTo>
                  <a:lnTo>
                    <a:pt x="3716799" y="5484664"/>
                  </a:lnTo>
                  <a:lnTo>
                    <a:pt x="3726329" y="5465600"/>
                  </a:lnTo>
                  <a:lnTo>
                    <a:pt x="3740624" y="5470368"/>
                  </a:lnTo>
                  <a:lnTo>
                    <a:pt x="3773980" y="5479896"/>
                  </a:lnTo>
                  <a:lnTo>
                    <a:pt x="3783511" y="5475132"/>
                  </a:lnTo>
                  <a:lnTo>
                    <a:pt x="3797806" y="5451308"/>
                  </a:lnTo>
                  <a:lnTo>
                    <a:pt x="3788276" y="5437012"/>
                  </a:lnTo>
                  <a:lnTo>
                    <a:pt x="3745390" y="5413187"/>
                  </a:lnTo>
                  <a:lnTo>
                    <a:pt x="3740624" y="5398891"/>
                  </a:lnTo>
                  <a:lnTo>
                    <a:pt x="3745390" y="5389360"/>
                  </a:lnTo>
                  <a:lnTo>
                    <a:pt x="3759685" y="5360770"/>
                  </a:lnTo>
                  <a:lnTo>
                    <a:pt x="3773980" y="5341710"/>
                  </a:lnTo>
                  <a:close/>
                  <a:moveTo>
                    <a:pt x="7833868" y="5251173"/>
                  </a:moveTo>
                  <a:lnTo>
                    <a:pt x="7862459" y="5255937"/>
                  </a:lnTo>
                  <a:lnTo>
                    <a:pt x="7900580" y="5270233"/>
                  </a:lnTo>
                  <a:lnTo>
                    <a:pt x="7938701" y="5294057"/>
                  </a:lnTo>
                  <a:lnTo>
                    <a:pt x="7991117" y="5370299"/>
                  </a:lnTo>
                  <a:lnTo>
                    <a:pt x="8010178" y="5403655"/>
                  </a:lnTo>
                  <a:lnTo>
                    <a:pt x="8014943" y="5451308"/>
                  </a:lnTo>
                  <a:lnTo>
                    <a:pt x="8014943" y="5479896"/>
                  </a:lnTo>
                  <a:lnTo>
                    <a:pt x="8010178" y="5498959"/>
                  </a:lnTo>
                  <a:lnTo>
                    <a:pt x="8005413" y="5513253"/>
                  </a:lnTo>
                  <a:lnTo>
                    <a:pt x="7991117" y="5527549"/>
                  </a:lnTo>
                  <a:lnTo>
                    <a:pt x="7952996" y="5570434"/>
                  </a:lnTo>
                  <a:lnTo>
                    <a:pt x="7933936" y="5570434"/>
                  </a:lnTo>
                  <a:lnTo>
                    <a:pt x="7810043" y="5484664"/>
                  </a:lnTo>
                  <a:lnTo>
                    <a:pt x="7786217" y="5446541"/>
                  </a:lnTo>
                  <a:lnTo>
                    <a:pt x="7781452" y="5417951"/>
                  </a:lnTo>
                  <a:lnTo>
                    <a:pt x="7781452" y="5375065"/>
                  </a:lnTo>
                  <a:lnTo>
                    <a:pt x="7781452" y="5322650"/>
                  </a:lnTo>
                  <a:lnTo>
                    <a:pt x="7786217" y="5284529"/>
                  </a:lnTo>
                  <a:lnTo>
                    <a:pt x="7795747" y="5270233"/>
                  </a:lnTo>
                  <a:lnTo>
                    <a:pt x="7810043" y="5260701"/>
                  </a:lnTo>
                  <a:close/>
                  <a:moveTo>
                    <a:pt x="5489426" y="5179696"/>
                  </a:moveTo>
                  <a:lnTo>
                    <a:pt x="5532312" y="5189224"/>
                  </a:lnTo>
                  <a:lnTo>
                    <a:pt x="5551373" y="5217816"/>
                  </a:lnTo>
                  <a:lnTo>
                    <a:pt x="5579963" y="5260701"/>
                  </a:lnTo>
                  <a:lnTo>
                    <a:pt x="5613319" y="5327414"/>
                  </a:lnTo>
                  <a:lnTo>
                    <a:pt x="5622850" y="5360770"/>
                  </a:lnTo>
                  <a:lnTo>
                    <a:pt x="5627615" y="5398891"/>
                  </a:lnTo>
                  <a:lnTo>
                    <a:pt x="5632380" y="5422716"/>
                  </a:lnTo>
                  <a:lnTo>
                    <a:pt x="5660971" y="5427483"/>
                  </a:lnTo>
                  <a:lnTo>
                    <a:pt x="5694327" y="5479896"/>
                  </a:lnTo>
                  <a:lnTo>
                    <a:pt x="5703857" y="5498959"/>
                  </a:lnTo>
                  <a:lnTo>
                    <a:pt x="5708622" y="5541845"/>
                  </a:lnTo>
                  <a:lnTo>
                    <a:pt x="5708622" y="5560904"/>
                  </a:lnTo>
                  <a:lnTo>
                    <a:pt x="5703857" y="5603790"/>
                  </a:lnTo>
                  <a:lnTo>
                    <a:pt x="5694327" y="5618086"/>
                  </a:lnTo>
                  <a:lnTo>
                    <a:pt x="5670501" y="5632380"/>
                  </a:lnTo>
                  <a:lnTo>
                    <a:pt x="5622850" y="5603790"/>
                  </a:lnTo>
                  <a:lnTo>
                    <a:pt x="5589494" y="5589498"/>
                  </a:lnTo>
                  <a:lnTo>
                    <a:pt x="5565668" y="5537077"/>
                  </a:lnTo>
                  <a:lnTo>
                    <a:pt x="5537077" y="5470368"/>
                  </a:lnTo>
                  <a:lnTo>
                    <a:pt x="5513252" y="5389360"/>
                  </a:lnTo>
                  <a:lnTo>
                    <a:pt x="5508486" y="5346474"/>
                  </a:lnTo>
                  <a:lnTo>
                    <a:pt x="5494191" y="5317882"/>
                  </a:lnTo>
                  <a:lnTo>
                    <a:pt x="5484661" y="5270233"/>
                  </a:lnTo>
                  <a:lnTo>
                    <a:pt x="5456070" y="5198756"/>
                  </a:lnTo>
                  <a:lnTo>
                    <a:pt x="5460835" y="5189224"/>
                  </a:lnTo>
                  <a:close/>
                  <a:moveTo>
                    <a:pt x="7109569" y="5151103"/>
                  </a:moveTo>
                  <a:lnTo>
                    <a:pt x="7147690" y="5179696"/>
                  </a:lnTo>
                  <a:lnTo>
                    <a:pt x="7190576" y="5165399"/>
                  </a:lnTo>
                  <a:lnTo>
                    <a:pt x="7238228" y="5160635"/>
                  </a:lnTo>
                  <a:lnTo>
                    <a:pt x="7338295" y="5174930"/>
                  </a:lnTo>
                  <a:lnTo>
                    <a:pt x="7409772" y="5165399"/>
                  </a:lnTo>
                  <a:lnTo>
                    <a:pt x="7424068" y="5170167"/>
                  </a:lnTo>
                  <a:lnTo>
                    <a:pt x="7452658" y="5189226"/>
                  </a:lnTo>
                  <a:lnTo>
                    <a:pt x="7466954" y="5208284"/>
                  </a:lnTo>
                  <a:lnTo>
                    <a:pt x="7476484" y="5246409"/>
                  </a:lnTo>
                  <a:lnTo>
                    <a:pt x="7447893" y="5270233"/>
                  </a:lnTo>
                  <a:lnTo>
                    <a:pt x="7419302" y="5379831"/>
                  </a:lnTo>
                  <a:lnTo>
                    <a:pt x="7414537" y="5389360"/>
                  </a:lnTo>
                  <a:lnTo>
                    <a:pt x="7381181" y="5389360"/>
                  </a:lnTo>
                  <a:lnTo>
                    <a:pt x="7366886" y="5398891"/>
                  </a:lnTo>
                  <a:lnTo>
                    <a:pt x="7276349" y="5384595"/>
                  </a:lnTo>
                  <a:lnTo>
                    <a:pt x="7033327" y="5375067"/>
                  </a:lnTo>
                  <a:lnTo>
                    <a:pt x="7019032" y="5360771"/>
                  </a:lnTo>
                  <a:lnTo>
                    <a:pt x="6990441" y="5294057"/>
                  </a:lnTo>
                  <a:lnTo>
                    <a:pt x="6985676" y="5270233"/>
                  </a:lnTo>
                  <a:lnTo>
                    <a:pt x="6995206" y="5236877"/>
                  </a:lnTo>
                  <a:lnTo>
                    <a:pt x="6999971" y="5217816"/>
                  </a:lnTo>
                  <a:lnTo>
                    <a:pt x="7009502" y="5208284"/>
                  </a:lnTo>
                  <a:lnTo>
                    <a:pt x="7080979" y="5155871"/>
                  </a:lnTo>
                  <a:close/>
                  <a:moveTo>
                    <a:pt x="6104127" y="5070095"/>
                  </a:moveTo>
                  <a:lnTo>
                    <a:pt x="6151778" y="5074862"/>
                  </a:lnTo>
                  <a:lnTo>
                    <a:pt x="6199430" y="5103453"/>
                  </a:lnTo>
                  <a:lnTo>
                    <a:pt x="6218490" y="5122515"/>
                  </a:lnTo>
                  <a:lnTo>
                    <a:pt x="6228020" y="5136808"/>
                  </a:lnTo>
                  <a:lnTo>
                    <a:pt x="6242316" y="5160635"/>
                  </a:lnTo>
                  <a:lnTo>
                    <a:pt x="6247081" y="5170164"/>
                  </a:lnTo>
                  <a:lnTo>
                    <a:pt x="6247081" y="5193989"/>
                  </a:lnTo>
                  <a:lnTo>
                    <a:pt x="6185134" y="5198756"/>
                  </a:lnTo>
                  <a:lnTo>
                    <a:pt x="6156544" y="5203520"/>
                  </a:lnTo>
                  <a:lnTo>
                    <a:pt x="6142248" y="5222580"/>
                  </a:lnTo>
                  <a:lnTo>
                    <a:pt x="6118423" y="5227345"/>
                  </a:lnTo>
                  <a:lnTo>
                    <a:pt x="6080302" y="5222580"/>
                  </a:lnTo>
                  <a:lnTo>
                    <a:pt x="6032650" y="5198756"/>
                  </a:lnTo>
                  <a:lnTo>
                    <a:pt x="6023120" y="5165399"/>
                  </a:lnTo>
                  <a:lnTo>
                    <a:pt x="6018355" y="5117747"/>
                  </a:lnTo>
                  <a:lnTo>
                    <a:pt x="6018355" y="5089158"/>
                  </a:lnTo>
                  <a:lnTo>
                    <a:pt x="6023120" y="5084394"/>
                  </a:lnTo>
                  <a:lnTo>
                    <a:pt x="6051711" y="5079626"/>
                  </a:lnTo>
                  <a:close/>
                  <a:moveTo>
                    <a:pt x="4164720" y="4936672"/>
                  </a:moveTo>
                  <a:lnTo>
                    <a:pt x="4169485" y="4946204"/>
                  </a:lnTo>
                  <a:lnTo>
                    <a:pt x="4169485" y="4970029"/>
                  </a:lnTo>
                  <a:lnTo>
                    <a:pt x="4174250" y="4993857"/>
                  </a:lnTo>
                  <a:lnTo>
                    <a:pt x="4188546" y="4998621"/>
                  </a:lnTo>
                  <a:lnTo>
                    <a:pt x="4202841" y="5012917"/>
                  </a:lnTo>
                  <a:lnTo>
                    <a:pt x="4236197" y="5060566"/>
                  </a:lnTo>
                  <a:lnTo>
                    <a:pt x="4255257" y="5070098"/>
                  </a:lnTo>
                  <a:lnTo>
                    <a:pt x="4260022" y="5079627"/>
                  </a:lnTo>
                  <a:lnTo>
                    <a:pt x="4264788" y="5093922"/>
                  </a:lnTo>
                  <a:lnTo>
                    <a:pt x="4279083" y="5122515"/>
                  </a:lnTo>
                  <a:lnTo>
                    <a:pt x="4279083" y="5132043"/>
                  </a:lnTo>
                  <a:lnTo>
                    <a:pt x="4260022" y="5160635"/>
                  </a:lnTo>
                  <a:lnTo>
                    <a:pt x="4245727" y="5179696"/>
                  </a:lnTo>
                  <a:lnTo>
                    <a:pt x="4202841" y="5203520"/>
                  </a:lnTo>
                  <a:lnTo>
                    <a:pt x="4174250" y="5203520"/>
                  </a:lnTo>
                  <a:lnTo>
                    <a:pt x="4121834" y="5165399"/>
                  </a:lnTo>
                  <a:lnTo>
                    <a:pt x="4064652" y="5060566"/>
                  </a:lnTo>
                  <a:lnTo>
                    <a:pt x="4059887" y="5017681"/>
                  </a:lnTo>
                  <a:lnTo>
                    <a:pt x="4078948" y="5012917"/>
                  </a:lnTo>
                  <a:lnTo>
                    <a:pt x="4093243" y="4998621"/>
                  </a:lnTo>
                  <a:lnTo>
                    <a:pt x="4102773" y="4984325"/>
                  </a:lnTo>
                  <a:lnTo>
                    <a:pt x="4121834" y="4965264"/>
                  </a:lnTo>
                  <a:close/>
                  <a:moveTo>
                    <a:pt x="4769892" y="4917612"/>
                  </a:moveTo>
                  <a:lnTo>
                    <a:pt x="4898550" y="4936672"/>
                  </a:lnTo>
                  <a:lnTo>
                    <a:pt x="4903315" y="4936672"/>
                  </a:lnTo>
                  <a:lnTo>
                    <a:pt x="4903315" y="4950968"/>
                  </a:lnTo>
                  <a:lnTo>
                    <a:pt x="4893785" y="4993857"/>
                  </a:lnTo>
                  <a:lnTo>
                    <a:pt x="4879489" y="5027209"/>
                  </a:lnTo>
                  <a:lnTo>
                    <a:pt x="4812778" y="5065331"/>
                  </a:lnTo>
                  <a:lnTo>
                    <a:pt x="4727005" y="5103453"/>
                  </a:lnTo>
                  <a:lnTo>
                    <a:pt x="4707945" y="5117747"/>
                  </a:lnTo>
                  <a:lnTo>
                    <a:pt x="4707945" y="5127279"/>
                  </a:lnTo>
                  <a:lnTo>
                    <a:pt x="4717475" y="5141575"/>
                  </a:lnTo>
                  <a:lnTo>
                    <a:pt x="4731770" y="5155868"/>
                  </a:lnTo>
                  <a:lnTo>
                    <a:pt x="4798482" y="5155868"/>
                  </a:lnTo>
                  <a:lnTo>
                    <a:pt x="4812778" y="5160635"/>
                  </a:lnTo>
                  <a:lnTo>
                    <a:pt x="4817543" y="5170164"/>
                  </a:lnTo>
                  <a:lnTo>
                    <a:pt x="4822308" y="5189224"/>
                  </a:lnTo>
                  <a:lnTo>
                    <a:pt x="4827073" y="5208284"/>
                  </a:lnTo>
                  <a:lnTo>
                    <a:pt x="4827073" y="5274997"/>
                  </a:lnTo>
                  <a:lnTo>
                    <a:pt x="4822308" y="5313118"/>
                  </a:lnTo>
                  <a:lnTo>
                    <a:pt x="4812778" y="5346474"/>
                  </a:lnTo>
                  <a:lnTo>
                    <a:pt x="4784187" y="5370299"/>
                  </a:lnTo>
                  <a:lnTo>
                    <a:pt x="4736536" y="5403655"/>
                  </a:lnTo>
                  <a:lnTo>
                    <a:pt x="4703180" y="5417951"/>
                  </a:lnTo>
                  <a:lnTo>
                    <a:pt x="4679354" y="5413187"/>
                  </a:lnTo>
                  <a:lnTo>
                    <a:pt x="4650763" y="5413187"/>
                  </a:lnTo>
                  <a:lnTo>
                    <a:pt x="4536400" y="5475132"/>
                  </a:lnTo>
                  <a:lnTo>
                    <a:pt x="4503044" y="5475132"/>
                  </a:lnTo>
                  <a:lnTo>
                    <a:pt x="4474454" y="5460836"/>
                  </a:lnTo>
                  <a:lnTo>
                    <a:pt x="4431568" y="5403655"/>
                  </a:lnTo>
                  <a:lnTo>
                    <a:pt x="4383916" y="5379831"/>
                  </a:lnTo>
                  <a:lnTo>
                    <a:pt x="4364856" y="5356006"/>
                  </a:lnTo>
                  <a:lnTo>
                    <a:pt x="4350560" y="5341710"/>
                  </a:lnTo>
                  <a:lnTo>
                    <a:pt x="4345795" y="5322650"/>
                  </a:lnTo>
                  <a:lnTo>
                    <a:pt x="4341030" y="5303590"/>
                  </a:lnTo>
                  <a:lnTo>
                    <a:pt x="4345795" y="5289293"/>
                  </a:lnTo>
                  <a:lnTo>
                    <a:pt x="4355326" y="5279761"/>
                  </a:lnTo>
                  <a:lnTo>
                    <a:pt x="4355326" y="5265465"/>
                  </a:lnTo>
                  <a:lnTo>
                    <a:pt x="4350560" y="5236877"/>
                  </a:lnTo>
                  <a:lnTo>
                    <a:pt x="4345795" y="5203520"/>
                  </a:lnTo>
                  <a:lnTo>
                    <a:pt x="4331500" y="5160635"/>
                  </a:lnTo>
                  <a:lnTo>
                    <a:pt x="4331500" y="5136808"/>
                  </a:lnTo>
                  <a:lnTo>
                    <a:pt x="4331500" y="5117747"/>
                  </a:lnTo>
                  <a:lnTo>
                    <a:pt x="4331500" y="5098686"/>
                  </a:lnTo>
                  <a:lnTo>
                    <a:pt x="4341030" y="5070095"/>
                  </a:lnTo>
                  <a:lnTo>
                    <a:pt x="4345795" y="5060566"/>
                  </a:lnTo>
                  <a:lnTo>
                    <a:pt x="4369621" y="5055802"/>
                  </a:lnTo>
                  <a:lnTo>
                    <a:pt x="4402977" y="5036741"/>
                  </a:lnTo>
                  <a:lnTo>
                    <a:pt x="4483984" y="4989089"/>
                  </a:lnTo>
                  <a:lnTo>
                    <a:pt x="4655528" y="4927144"/>
                  </a:lnTo>
                  <a:lnTo>
                    <a:pt x="4707945" y="4936672"/>
                  </a:lnTo>
                  <a:lnTo>
                    <a:pt x="4731770" y="4922379"/>
                  </a:lnTo>
                  <a:close/>
                  <a:moveTo>
                    <a:pt x="5951642" y="4788954"/>
                  </a:moveTo>
                  <a:lnTo>
                    <a:pt x="5965938" y="4803250"/>
                  </a:lnTo>
                  <a:lnTo>
                    <a:pt x="5970703" y="4831842"/>
                  </a:lnTo>
                  <a:lnTo>
                    <a:pt x="5937347" y="4884259"/>
                  </a:lnTo>
                  <a:lnTo>
                    <a:pt x="5918287" y="4898551"/>
                  </a:lnTo>
                  <a:lnTo>
                    <a:pt x="5899226" y="4889023"/>
                  </a:lnTo>
                  <a:lnTo>
                    <a:pt x="5894461" y="4879492"/>
                  </a:lnTo>
                  <a:lnTo>
                    <a:pt x="5894461" y="4869963"/>
                  </a:lnTo>
                  <a:lnTo>
                    <a:pt x="5894461" y="4855666"/>
                  </a:lnTo>
                  <a:lnTo>
                    <a:pt x="5918287" y="4808014"/>
                  </a:lnTo>
                  <a:lnTo>
                    <a:pt x="5942112" y="4793720"/>
                  </a:lnTo>
                  <a:close/>
                  <a:moveTo>
                    <a:pt x="4746066" y="4407743"/>
                  </a:moveTo>
                  <a:lnTo>
                    <a:pt x="4779422" y="4407743"/>
                  </a:lnTo>
                  <a:lnTo>
                    <a:pt x="4822308" y="4450632"/>
                  </a:lnTo>
                  <a:lnTo>
                    <a:pt x="4850899" y="4469691"/>
                  </a:lnTo>
                  <a:lnTo>
                    <a:pt x="4869959" y="4493517"/>
                  </a:lnTo>
                  <a:lnTo>
                    <a:pt x="4898550" y="4541169"/>
                  </a:lnTo>
                  <a:lnTo>
                    <a:pt x="4908080" y="4536402"/>
                  </a:lnTo>
                  <a:lnTo>
                    <a:pt x="4922375" y="4545933"/>
                  </a:lnTo>
                  <a:lnTo>
                    <a:pt x="4927140" y="4560230"/>
                  </a:lnTo>
                  <a:lnTo>
                    <a:pt x="4941436" y="4617411"/>
                  </a:lnTo>
                  <a:lnTo>
                    <a:pt x="4946201" y="4646003"/>
                  </a:lnTo>
                  <a:lnTo>
                    <a:pt x="4946201" y="4684122"/>
                  </a:lnTo>
                  <a:lnTo>
                    <a:pt x="4946201" y="4712712"/>
                  </a:lnTo>
                  <a:lnTo>
                    <a:pt x="4936671" y="4741305"/>
                  </a:lnTo>
                  <a:lnTo>
                    <a:pt x="4922375" y="4755597"/>
                  </a:lnTo>
                  <a:lnTo>
                    <a:pt x="4889020" y="4765129"/>
                  </a:lnTo>
                  <a:lnTo>
                    <a:pt x="4841368" y="4750833"/>
                  </a:lnTo>
                  <a:lnTo>
                    <a:pt x="4798482" y="4769893"/>
                  </a:lnTo>
                  <a:lnTo>
                    <a:pt x="4779422" y="4769893"/>
                  </a:lnTo>
                  <a:lnTo>
                    <a:pt x="4727005" y="4760365"/>
                  </a:lnTo>
                  <a:lnTo>
                    <a:pt x="4712710" y="4750833"/>
                  </a:lnTo>
                  <a:lnTo>
                    <a:pt x="4684119" y="4717477"/>
                  </a:lnTo>
                  <a:lnTo>
                    <a:pt x="4660294" y="4698416"/>
                  </a:lnTo>
                  <a:lnTo>
                    <a:pt x="4650763" y="4707948"/>
                  </a:lnTo>
                  <a:lnTo>
                    <a:pt x="4641233" y="4741305"/>
                  </a:lnTo>
                  <a:lnTo>
                    <a:pt x="4617407" y="4774658"/>
                  </a:lnTo>
                  <a:lnTo>
                    <a:pt x="4607877" y="4784189"/>
                  </a:lnTo>
                  <a:lnTo>
                    <a:pt x="4569756" y="4779425"/>
                  </a:lnTo>
                  <a:lnTo>
                    <a:pt x="4512575" y="4717477"/>
                  </a:lnTo>
                  <a:lnTo>
                    <a:pt x="4445863" y="4736537"/>
                  </a:lnTo>
                  <a:lnTo>
                    <a:pt x="4374386" y="4774658"/>
                  </a:lnTo>
                  <a:lnTo>
                    <a:pt x="4345795" y="4779425"/>
                  </a:lnTo>
                  <a:lnTo>
                    <a:pt x="4341030" y="4769893"/>
                  </a:lnTo>
                  <a:lnTo>
                    <a:pt x="4331500" y="4741305"/>
                  </a:lnTo>
                  <a:lnTo>
                    <a:pt x="4331500" y="4727008"/>
                  </a:lnTo>
                  <a:lnTo>
                    <a:pt x="4350560" y="4684122"/>
                  </a:lnTo>
                  <a:lnTo>
                    <a:pt x="4398212" y="4636471"/>
                  </a:lnTo>
                  <a:lnTo>
                    <a:pt x="4431568" y="4612647"/>
                  </a:lnTo>
                  <a:lnTo>
                    <a:pt x="4498279" y="4574526"/>
                  </a:lnTo>
                  <a:lnTo>
                    <a:pt x="4574521" y="4555462"/>
                  </a:lnTo>
                  <a:lnTo>
                    <a:pt x="4607877" y="4531637"/>
                  </a:lnTo>
                  <a:lnTo>
                    <a:pt x="4626938" y="4498283"/>
                  </a:lnTo>
                  <a:lnTo>
                    <a:pt x="4674589" y="4445865"/>
                  </a:lnTo>
                  <a:lnTo>
                    <a:pt x="4707945" y="4426804"/>
                  </a:lnTo>
                  <a:close/>
                  <a:moveTo>
                    <a:pt x="6685472" y="4369623"/>
                  </a:moveTo>
                  <a:lnTo>
                    <a:pt x="6709298" y="4369623"/>
                  </a:lnTo>
                  <a:lnTo>
                    <a:pt x="6780775" y="4379155"/>
                  </a:lnTo>
                  <a:lnTo>
                    <a:pt x="6814131" y="4388683"/>
                  </a:lnTo>
                  <a:lnTo>
                    <a:pt x="6847487" y="4407743"/>
                  </a:lnTo>
                  <a:lnTo>
                    <a:pt x="6885608" y="4436336"/>
                  </a:lnTo>
                  <a:lnTo>
                    <a:pt x="6938024" y="4464928"/>
                  </a:lnTo>
                  <a:lnTo>
                    <a:pt x="6957085" y="4483987"/>
                  </a:lnTo>
                  <a:lnTo>
                    <a:pt x="6990440" y="4536402"/>
                  </a:lnTo>
                  <a:lnTo>
                    <a:pt x="6990440" y="4555462"/>
                  </a:lnTo>
                  <a:lnTo>
                    <a:pt x="6990440" y="4569758"/>
                  </a:lnTo>
                  <a:lnTo>
                    <a:pt x="6999971" y="4588818"/>
                  </a:lnTo>
                  <a:lnTo>
                    <a:pt x="7033327" y="4607881"/>
                  </a:lnTo>
                  <a:lnTo>
                    <a:pt x="7100038" y="4598350"/>
                  </a:lnTo>
                  <a:lnTo>
                    <a:pt x="7123864" y="4612647"/>
                  </a:lnTo>
                  <a:lnTo>
                    <a:pt x="7181045" y="4665062"/>
                  </a:lnTo>
                  <a:lnTo>
                    <a:pt x="7200106" y="4698416"/>
                  </a:lnTo>
                  <a:lnTo>
                    <a:pt x="7204871" y="4722243"/>
                  </a:lnTo>
                  <a:lnTo>
                    <a:pt x="7204871" y="4731773"/>
                  </a:lnTo>
                  <a:lnTo>
                    <a:pt x="7185810" y="4755597"/>
                  </a:lnTo>
                  <a:lnTo>
                    <a:pt x="7142924" y="4793721"/>
                  </a:lnTo>
                  <a:lnTo>
                    <a:pt x="7133394" y="4822311"/>
                  </a:lnTo>
                  <a:lnTo>
                    <a:pt x="7171515" y="4860431"/>
                  </a:lnTo>
                  <a:lnTo>
                    <a:pt x="7190576" y="4893787"/>
                  </a:lnTo>
                  <a:lnTo>
                    <a:pt x="7195341" y="4912847"/>
                  </a:lnTo>
                  <a:lnTo>
                    <a:pt x="7195341" y="4936676"/>
                  </a:lnTo>
                  <a:lnTo>
                    <a:pt x="7171515" y="4998621"/>
                  </a:lnTo>
                  <a:lnTo>
                    <a:pt x="7157220" y="5017681"/>
                  </a:lnTo>
                  <a:lnTo>
                    <a:pt x="7128629" y="5017681"/>
                  </a:lnTo>
                  <a:lnTo>
                    <a:pt x="7114334" y="5022446"/>
                  </a:lnTo>
                  <a:lnTo>
                    <a:pt x="7080978" y="5051038"/>
                  </a:lnTo>
                  <a:lnTo>
                    <a:pt x="7028561" y="5079630"/>
                  </a:lnTo>
                  <a:lnTo>
                    <a:pt x="6957085" y="5089158"/>
                  </a:lnTo>
                  <a:lnTo>
                    <a:pt x="6938024" y="5108218"/>
                  </a:lnTo>
                  <a:lnTo>
                    <a:pt x="6899903" y="5136811"/>
                  </a:lnTo>
                  <a:lnTo>
                    <a:pt x="6876077" y="5141575"/>
                  </a:lnTo>
                  <a:lnTo>
                    <a:pt x="6866547" y="5122515"/>
                  </a:lnTo>
                  <a:lnTo>
                    <a:pt x="6861782" y="5098690"/>
                  </a:lnTo>
                  <a:lnTo>
                    <a:pt x="6866547" y="5084394"/>
                  </a:lnTo>
                  <a:lnTo>
                    <a:pt x="6871312" y="5065334"/>
                  </a:lnTo>
                  <a:lnTo>
                    <a:pt x="6857017" y="5046272"/>
                  </a:lnTo>
                  <a:lnTo>
                    <a:pt x="6809366" y="5008153"/>
                  </a:lnTo>
                  <a:lnTo>
                    <a:pt x="6776010" y="4955736"/>
                  </a:lnTo>
                  <a:lnTo>
                    <a:pt x="6771245" y="4941440"/>
                  </a:lnTo>
                  <a:lnTo>
                    <a:pt x="6771245" y="4927144"/>
                  </a:lnTo>
                  <a:lnTo>
                    <a:pt x="6837956" y="4917614"/>
                  </a:lnTo>
                  <a:lnTo>
                    <a:pt x="6866547" y="4908083"/>
                  </a:lnTo>
                  <a:lnTo>
                    <a:pt x="6880843" y="4889023"/>
                  </a:lnTo>
                  <a:lnTo>
                    <a:pt x="6880843" y="4879492"/>
                  </a:lnTo>
                  <a:lnTo>
                    <a:pt x="6871312" y="4874727"/>
                  </a:lnTo>
                  <a:lnTo>
                    <a:pt x="6823661" y="4841370"/>
                  </a:lnTo>
                  <a:lnTo>
                    <a:pt x="6747419" y="4822311"/>
                  </a:lnTo>
                  <a:lnTo>
                    <a:pt x="6742654" y="4798486"/>
                  </a:lnTo>
                  <a:lnTo>
                    <a:pt x="6709298" y="4746069"/>
                  </a:lnTo>
                  <a:lnTo>
                    <a:pt x="6704533" y="4698416"/>
                  </a:lnTo>
                  <a:lnTo>
                    <a:pt x="6699768" y="4688888"/>
                  </a:lnTo>
                  <a:lnTo>
                    <a:pt x="6675942" y="4665062"/>
                  </a:lnTo>
                  <a:lnTo>
                    <a:pt x="6675942" y="4660296"/>
                  </a:lnTo>
                  <a:lnTo>
                    <a:pt x="6666412" y="4631707"/>
                  </a:lnTo>
                  <a:lnTo>
                    <a:pt x="6666412" y="4612647"/>
                  </a:lnTo>
                  <a:lnTo>
                    <a:pt x="6666412" y="4598350"/>
                  </a:lnTo>
                  <a:lnTo>
                    <a:pt x="6709298" y="4564994"/>
                  </a:lnTo>
                  <a:lnTo>
                    <a:pt x="6704533" y="4545933"/>
                  </a:lnTo>
                  <a:lnTo>
                    <a:pt x="6671177" y="4460160"/>
                  </a:lnTo>
                  <a:lnTo>
                    <a:pt x="6666412" y="4412508"/>
                  </a:lnTo>
                  <a:lnTo>
                    <a:pt x="6666412" y="4393448"/>
                  </a:lnTo>
                  <a:close/>
                  <a:moveTo>
                    <a:pt x="5827750" y="3916936"/>
                  </a:moveTo>
                  <a:lnTo>
                    <a:pt x="5870636" y="3950292"/>
                  </a:lnTo>
                  <a:lnTo>
                    <a:pt x="5908757" y="3964588"/>
                  </a:lnTo>
                  <a:lnTo>
                    <a:pt x="5951643" y="4021769"/>
                  </a:lnTo>
                  <a:lnTo>
                    <a:pt x="5989764" y="4131367"/>
                  </a:lnTo>
                  <a:lnTo>
                    <a:pt x="5994529" y="4145663"/>
                  </a:lnTo>
                  <a:lnTo>
                    <a:pt x="5994529" y="4164723"/>
                  </a:lnTo>
                  <a:lnTo>
                    <a:pt x="5989764" y="4188548"/>
                  </a:lnTo>
                  <a:lnTo>
                    <a:pt x="5984999" y="4217140"/>
                  </a:lnTo>
                  <a:lnTo>
                    <a:pt x="5980234" y="4236201"/>
                  </a:lnTo>
                  <a:lnTo>
                    <a:pt x="5999294" y="4260025"/>
                  </a:lnTo>
                  <a:lnTo>
                    <a:pt x="6004059" y="4269557"/>
                  </a:lnTo>
                  <a:lnTo>
                    <a:pt x="5999294" y="4293381"/>
                  </a:lnTo>
                  <a:lnTo>
                    <a:pt x="6004059" y="4307678"/>
                  </a:lnTo>
                  <a:lnTo>
                    <a:pt x="6013590" y="4293381"/>
                  </a:lnTo>
                  <a:lnTo>
                    <a:pt x="6027885" y="4264790"/>
                  </a:lnTo>
                  <a:lnTo>
                    <a:pt x="6027885" y="4250497"/>
                  </a:lnTo>
                  <a:lnTo>
                    <a:pt x="6032650" y="4202844"/>
                  </a:lnTo>
                  <a:lnTo>
                    <a:pt x="6061241" y="4179020"/>
                  </a:lnTo>
                  <a:lnTo>
                    <a:pt x="6099362" y="4145663"/>
                  </a:lnTo>
                  <a:lnTo>
                    <a:pt x="6113657" y="4140899"/>
                  </a:lnTo>
                  <a:lnTo>
                    <a:pt x="6137483" y="4145663"/>
                  </a:lnTo>
                  <a:lnTo>
                    <a:pt x="6204195" y="4226669"/>
                  </a:lnTo>
                  <a:lnTo>
                    <a:pt x="6228020" y="4231435"/>
                  </a:lnTo>
                  <a:lnTo>
                    <a:pt x="6237550" y="4240965"/>
                  </a:lnTo>
                  <a:lnTo>
                    <a:pt x="6242316" y="4260025"/>
                  </a:lnTo>
                  <a:lnTo>
                    <a:pt x="6242316" y="4279085"/>
                  </a:lnTo>
                  <a:lnTo>
                    <a:pt x="6232785" y="4326738"/>
                  </a:lnTo>
                  <a:lnTo>
                    <a:pt x="6228020" y="4355327"/>
                  </a:lnTo>
                  <a:lnTo>
                    <a:pt x="6228020" y="4374391"/>
                  </a:lnTo>
                  <a:lnTo>
                    <a:pt x="6261376" y="4388683"/>
                  </a:lnTo>
                  <a:lnTo>
                    <a:pt x="6337618" y="4360095"/>
                  </a:lnTo>
                  <a:lnTo>
                    <a:pt x="6404330" y="4431572"/>
                  </a:lnTo>
                  <a:lnTo>
                    <a:pt x="6437686" y="4517342"/>
                  </a:lnTo>
                  <a:lnTo>
                    <a:pt x="6466276" y="4545933"/>
                  </a:lnTo>
                  <a:lnTo>
                    <a:pt x="6471042" y="4560230"/>
                  </a:lnTo>
                  <a:lnTo>
                    <a:pt x="6461511" y="4579290"/>
                  </a:lnTo>
                  <a:lnTo>
                    <a:pt x="6456746" y="4617411"/>
                  </a:lnTo>
                  <a:lnTo>
                    <a:pt x="6432921" y="4646003"/>
                  </a:lnTo>
                  <a:lnTo>
                    <a:pt x="6428156" y="4660296"/>
                  </a:lnTo>
                  <a:lnTo>
                    <a:pt x="6442451" y="4693652"/>
                  </a:lnTo>
                  <a:lnTo>
                    <a:pt x="6442451" y="4717477"/>
                  </a:lnTo>
                  <a:lnTo>
                    <a:pt x="6437686" y="4746069"/>
                  </a:lnTo>
                  <a:lnTo>
                    <a:pt x="6442451" y="4765129"/>
                  </a:lnTo>
                  <a:lnTo>
                    <a:pt x="6475807" y="4784189"/>
                  </a:lnTo>
                  <a:lnTo>
                    <a:pt x="6542518" y="4908083"/>
                  </a:lnTo>
                  <a:lnTo>
                    <a:pt x="6552049" y="4941440"/>
                  </a:lnTo>
                  <a:lnTo>
                    <a:pt x="6561579" y="4984325"/>
                  </a:lnTo>
                  <a:lnTo>
                    <a:pt x="6561579" y="4998621"/>
                  </a:lnTo>
                  <a:lnTo>
                    <a:pt x="6552049" y="5022446"/>
                  </a:lnTo>
                  <a:lnTo>
                    <a:pt x="6542518" y="5089158"/>
                  </a:lnTo>
                  <a:lnTo>
                    <a:pt x="6532988" y="5103454"/>
                  </a:lnTo>
                  <a:lnTo>
                    <a:pt x="6509163" y="5112983"/>
                  </a:lnTo>
                  <a:lnTo>
                    <a:pt x="6456746" y="5127279"/>
                  </a:lnTo>
                  <a:lnTo>
                    <a:pt x="6413860" y="5151103"/>
                  </a:lnTo>
                  <a:lnTo>
                    <a:pt x="6361444" y="5122515"/>
                  </a:lnTo>
                  <a:lnTo>
                    <a:pt x="6313792" y="5074862"/>
                  </a:lnTo>
                  <a:lnTo>
                    <a:pt x="6299497" y="5046272"/>
                  </a:lnTo>
                  <a:lnTo>
                    <a:pt x="6285202" y="5012917"/>
                  </a:lnTo>
                  <a:lnTo>
                    <a:pt x="6285202" y="4998621"/>
                  </a:lnTo>
                  <a:lnTo>
                    <a:pt x="6280437" y="4941440"/>
                  </a:lnTo>
                  <a:lnTo>
                    <a:pt x="6275672" y="4927144"/>
                  </a:lnTo>
                  <a:lnTo>
                    <a:pt x="6256611" y="4898551"/>
                  </a:lnTo>
                  <a:lnTo>
                    <a:pt x="6237550" y="4850902"/>
                  </a:lnTo>
                  <a:lnTo>
                    <a:pt x="6204195" y="4846137"/>
                  </a:lnTo>
                  <a:lnTo>
                    <a:pt x="6118422" y="4793721"/>
                  </a:lnTo>
                  <a:lnTo>
                    <a:pt x="6085066" y="4784189"/>
                  </a:lnTo>
                  <a:lnTo>
                    <a:pt x="6046946" y="4784189"/>
                  </a:lnTo>
                  <a:lnTo>
                    <a:pt x="5999294" y="4808016"/>
                  </a:lnTo>
                  <a:lnTo>
                    <a:pt x="5989764" y="4803250"/>
                  </a:lnTo>
                  <a:lnTo>
                    <a:pt x="5980234" y="4784189"/>
                  </a:lnTo>
                  <a:lnTo>
                    <a:pt x="5970704" y="4760365"/>
                  </a:lnTo>
                  <a:lnTo>
                    <a:pt x="5970704" y="4746069"/>
                  </a:lnTo>
                  <a:lnTo>
                    <a:pt x="5980234" y="4712712"/>
                  </a:lnTo>
                  <a:lnTo>
                    <a:pt x="5832515" y="4750833"/>
                  </a:lnTo>
                  <a:lnTo>
                    <a:pt x="5789629" y="4798486"/>
                  </a:lnTo>
                  <a:lnTo>
                    <a:pt x="5727682" y="4788954"/>
                  </a:lnTo>
                  <a:lnTo>
                    <a:pt x="5699091" y="4769897"/>
                  </a:lnTo>
                  <a:lnTo>
                    <a:pt x="5660970" y="4727008"/>
                  </a:lnTo>
                  <a:lnTo>
                    <a:pt x="5641910" y="4688888"/>
                  </a:lnTo>
                  <a:lnTo>
                    <a:pt x="5627614" y="4636471"/>
                  </a:lnTo>
                  <a:lnTo>
                    <a:pt x="5622849" y="4598350"/>
                  </a:lnTo>
                  <a:lnTo>
                    <a:pt x="5637145" y="4569758"/>
                  </a:lnTo>
                  <a:lnTo>
                    <a:pt x="5651440" y="4555462"/>
                  </a:lnTo>
                  <a:lnTo>
                    <a:pt x="5665736" y="4550698"/>
                  </a:lnTo>
                  <a:lnTo>
                    <a:pt x="5746743" y="4579290"/>
                  </a:lnTo>
                  <a:lnTo>
                    <a:pt x="5818220" y="4598350"/>
                  </a:lnTo>
                  <a:lnTo>
                    <a:pt x="5846810" y="4579290"/>
                  </a:lnTo>
                  <a:lnTo>
                    <a:pt x="5861106" y="4536402"/>
                  </a:lnTo>
                  <a:lnTo>
                    <a:pt x="5846810" y="4517342"/>
                  </a:lnTo>
                  <a:lnTo>
                    <a:pt x="5775333" y="4507813"/>
                  </a:lnTo>
                  <a:lnTo>
                    <a:pt x="5789629" y="4483987"/>
                  </a:lnTo>
                  <a:lnTo>
                    <a:pt x="5846810" y="4460160"/>
                  </a:lnTo>
                  <a:lnTo>
                    <a:pt x="5880166" y="4426804"/>
                  </a:lnTo>
                  <a:lnTo>
                    <a:pt x="5870636" y="4412508"/>
                  </a:lnTo>
                  <a:lnTo>
                    <a:pt x="5856340" y="4398215"/>
                  </a:lnTo>
                  <a:lnTo>
                    <a:pt x="5780098" y="4402979"/>
                  </a:lnTo>
                  <a:lnTo>
                    <a:pt x="5751508" y="4388683"/>
                  </a:lnTo>
                  <a:lnTo>
                    <a:pt x="5751508" y="4379155"/>
                  </a:lnTo>
                  <a:lnTo>
                    <a:pt x="5756273" y="4364859"/>
                  </a:lnTo>
                  <a:lnTo>
                    <a:pt x="5799159" y="4288617"/>
                  </a:lnTo>
                  <a:lnTo>
                    <a:pt x="5799159" y="4279085"/>
                  </a:lnTo>
                  <a:lnTo>
                    <a:pt x="5780098" y="4255261"/>
                  </a:lnTo>
                  <a:lnTo>
                    <a:pt x="5761038" y="4221904"/>
                  </a:lnTo>
                  <a:lnTo>
                    <a:pt x="5756273" y="4217140"/>
                  </a:lnTo>
                  <a:lnTo>
                    <a:pt x="5718152" y="4245731"/>
                  </a:lnTo>
                  <a:lnTo>
                    <a:pt x="5665736" y="4350562"/>
                  </a:lnTo>
                  <a:lnTo>
                    <a:pt x="5651440" y="4369623"/>
                  </a:lnTo>
                  <a:lnTo>
                    <a:pt x="5641910" y="4364859"/>
                  </a:lnTo>
                  <a:lnTo>
                    <a:pt x="5627614" y="4350562"/>
                  </a:lnTo>
                  <a:lnTo>
                    <a:pt x="5627614" y="4326738"/>
                  </a:lnTo>
                  <a:lnTo>
                    <a:pt x="5641910" y="4302912"/>
                  </a:lnTo>
                  <a:lnTo>
                    <a:pt x="5665736" y="4217140"/>
                  </a:lnTo>
                  <a:lnTo>
                    <a:pt x="5665736" y="4188548"/>
                  </a:lnTo>
                  <a:lnTo>
                    <a:pt x="5637145" y="4169488"/>
                  </a:lnTo>
                  <a:lnTo>
                    <a:pt x="5575198" y="4183784"/>
                  </a:lnTo>
                  <a:lnTo>
                    <a:pt x="5541842" y="4183784"/>
                  </a:lnTo>
                  <a:lnTo>
                    <a:pt x="5537077" y="4159958"/>
                  </a:lnTo>
                  <a:lnTo>
                    <a:pt x="5532312" y="4117071"/>
                  </a:lnTo>
                  <a:lnTo>
                    <a:pt x="5537077" y="4074186"/>
                  </a:lnTo>
                  <a:lnTo>
                    <a:pt x="5541842" y="4012238"/>
                  </a:lnTo>
                  <a:lnTo>
                    <a:pt x="5556138" y="3959823"/>
                  </a:lnTo>
                  <a:lnTo>
                    <a:pt x="5565668" y="3940761"/>
                  </a:lnTo>
                  <a:lnTo>
                    <a:pt x="5646675" y="3955057"/>
                  </a:lnTo>
                  <a:lnTo>
                    <a:pt x="5784864" y="3921700"/>
                  </a:lnTo>
                  <a:close/>
                  <a:moveTo>
                    <a:pt x="6447217" y="3221228"/>
                  </a:moveTo>
                  <a:lnTo>
                    <a:pt x="6494868" y="3240289"/>
                  </a:lnTo>
                  <a:lnTo>
                    <a:pt x="6537754" y="3240289"/>
                  </a:lnTo>
                  <a:lnTo>
                    <a:pt x="6556815" y="3254584"/>
                  </a:lnTo>
                  <a:lnTo>
                    <a:pt x="6575875" y="3278409"/>
                  </a:lnTo>
                  <a:lnTo>
                    <a:pt x="6590171" y="3321295"/>
                  </a:lnTo>
                  <a:lnTo>
                    <a:pt x="6594936" y="3368947"/>
                  </a:lnTo>
                  <a:lnTo>
                    <a:pt x="6594936" y="3488075"/>
                  </a:lnTo>
                  <a:lnTo>
                    <a:pt x="6594936" y="3545256"/>
                  </a:lnTo>
                  <a:lnTo>
                    <a:pt x="6585406" y="3588142"/>
                  </a:lnTo>
                  <a:lnTo>
                    <a:pt x="6580641" y="3597671"/>
                  </a:lnTo>
                  <a:lnTo>
                    <a:pt x="6571110" y="3597671"/>
                  </a:lnTo>
                  <a:lnTo>
                    <a:pt x="6528224" y="3564317"/>
                  </a:lnTo>
                  <a:lnTo>
                    <a:pt x="6513929" y="3545256"/>
                  </a:lnTo>
                  <a:lnTo>
                    <a:pt x="6513929" y="3530960"/>
                  </a:lnTo>
                  <a:lnTo>
                    <a:pt x="6509164" y="3497605"/>
                  </a:lnTo>
                  <a:lnTo>
                    <a:pt x="6480573" y="3454717"/>
                  </a:lnTo>
                  <a:lnTo>
                    <a:pt x="6428156" y="3459484"/>
                  </a:lnTo>
                  <a:lnTo>
                    <a:pt x="6404331" y="3459484"/>
                  </a:lnTo>
                  <a:lnTo>
                    <a:pt x="6394800" y="3445189"/>
                  </a:lnTo>
                  <a:lnTo>
                    <a:pt x="6390035" y="3426128"/>
                  </a:lnTo>
                  <a:lnTo>
                    <a:pt x="6385270" y="3354650"/>
                  </a:lnTo>
                  <a:lnTo>
                    <a:pt x="6385270" y="3326059"/>
                  </a:lnTo>
                  <a:lnTo>
                    <a:pt x="6394800" y="3278409"/>
                  </a:lnTo>
                  <a:lnTo>
                    <a:pt x="6394800" y="3268878"/>
                  </a:lnTo>
                  <a:lnTo>
                    <a:pt x="6437686" y="3225993"/>
                  </a:lnTo>
                  <a:close/>
                  <a:moveTo>
                    <a:pt x="7447894" y="2034711"/>
                  </a:moveTo>
                  <a:lnTo>
                    <a:pt x="7490780" y="2053771"/>
                  </a:lnTo>
                  <a:lnTo>
                    <a:pt x="7590847" y="2125248"/>
                  </a:lnTo>
                  <a:lnTo>
                    <a:pt x="7624203" y="2158604"/>
                  </a:lnTo>
                  <a:lnTo>
                    <a:pt x="7652794" y="2220551"/>
                  </a:lnTo>
                  <a:lnTo>
                    <a:pt x="7671855" y="2272967"/>
                  </a:lnTo>
                  <a:lnTo>
                    <a:pt x="7690915" y="2358741"/>
                  </a:lnTo>
                  <a:lnTo>
                    <a:pt x="7767157" y="2554112"/>
                  </a:lnTo>
                  <a:lnTo>
                    <a:pt x="7800513" y="2625587"/>
                  </a:lnTo>
                  <a:lnTo>
                    <a:pt x="7862460" y="2711359"/>
                  </a:lnTo>
                  <a:lnTo>
                    <a:pt x="7867225" y="2744713"/>
                  </a:lnTo>
                  <a:lnTo>
                    <a:pt x="7867225" y="2759008"/>
                  </a:lnTo>
                  <a:lnTo>
                    <a:pt x="7867225" y="2801896"/>
                  </a:lnTo>
                  <a:lnTo>
                    <a:pt x="7881520" y="2820957"/>
                  </a:lnTo>
                  <a:lnTo>
                    <a:pt x="7933937" y="2844783"/>
                  </a:lnTo>
                  <a:lnTo>
                    <a:pt x="7991118" y="2892434"/>
                  </a:lnTo>
                  <a:lnTo>
                    <a:pt x="8000648" y="2892434"/>
                  </a:lnTo>
                  <a:lnTo>
                    <a:pt x="8019709" y="2863843"/>
                  </a:lnTo>
                  <a:lnTo>
                    <a:pt x="8043535" y="2854314"/>
                  </a:lnTo>
                  <a:lnTo>
                    <a:pt x="8072126" y="2863843"/>
                  </a:lnTo>
                  <a:lnTo>
                    <a:pt x="8086421" y="2882902"/>
                  </a:lnTo>
                  <a:lnTo>
                    <a:pt x="8095951" y="2911495"/>
                  </a:lnTo>
                  <a:lnTo>
                    <a:pt x="8100716" y="2930558"/>
                  </a:lnTo>
                  <a:lnTo>
                    <a:pt x="8100716" y="2949616"/>
                  </a:lnTo>
                  <a:lnTo>
                    <a:pt x="8091186" y="2978207"/>
                  </a:lnTo>
                  <a:lnTo>
                    <a:pt x="8091186" y="2992503"/>
                  </a:lnTo>
                  <a:lnTo>
                    <a:pt x="8100716" y="3006797"/>
                  </a:lnTo>
                  <a:lnTo>
                    <a:pt x="8100716" y="3025858"/>
                  </a:lnTo>
                  <a:lnTo>
                    <a:pt x="8091186" y="3087803"/>
                  </a:lnTo>
                  <a:lnTo>
                    <a:pt x="8091186" y="3111631"/>
                  </a:lnTo>
                  <a:lnTo>
                    <a:pt x="8119777" y="3173575"/>
                  </a:lnTo>
                  <a:lnTo>
                    <a:pt x="8143602" y="3202165"/>
                  </a:lnTo>
                  <a:lnTo>
                    <a:pt x="8196019" y="3235524"/>
                  </a:lnTo>
                  <a:lnTo>
                    <a:pt x="8229375" y="3230759"/>
                  </a:lnTo>
                  <a:lnTo>
                    <a:pt x="8248435" y="3254584"/>
                  </a:lnTo>
                  <a:lnTo>
                    <a:pt x="8248435" y="3240289"/>
                  </a:lnTo>
                  <a:lnTo>
                    <a:pt x="8238905" y="3202165"/>
                  </a:lnTo>
                  <a:lnTo>
                    <a:pt x="8219844" y="3149752"/>
                  </a:lnTo>
                  <a:lnTo>
                    <a:pt x="8186489" y="3121159"/>
                  </a:lnTo>
                  <a:lnTo>
                    <a:pt x="8176958" y="3087803"/>
                  </a:lnTo>
                  <a:lnTo>
                    <a:pt x="8176958" y="3035388"/>
                  </a:lnTo>
                  <a:lnTo>
                    <a:pt x="8176958" y="2997264"/>
                  </a:lnTo>
                  <a:lnTo>
                    <a:pt x="8196019" y="2968677"/>
                  </a:lnTo>
                  <a:lnTo>
                    <a:pt x="8215079" y="2959145"/>
                  </a:lnTo>
                  <a:lnTo>
                    <a:pt x="8257966" y="2959145"/>
                  </a:lnTo>
                  <a:lnTo>
                    <a:pt x="8286556" y="2973441"/>
                  </a:lnTo>
                  <a:lnTo>
                    <a:pt x="8329442" y="3011562"/>
                  </a:lnTo>
                  <a:lnTo>
                    <a:pt x="8334208" y="3035388"/>
                  </a:lnTo>
                  <a:lnTo>
                    <a:pt x="8338973" y="3078275"/>
                  </a:lnTo>
                  <a:lnTo>
                    <a:pt x="8338973" y="3164046"/>
                  </a:lnTo>
                  <a:lnTo>
                    <a:pt x="8338973" y="3183108"/>
                  </a:lnTo>
                  <a:lnTo>
                    <a:pt x="8300852" y="3230759"/>
                  </a:lnTo>
                  <a:lnTo>
                    <a:pt x="8291321" y="3264114"/>
                  </a:lnTo>
                  <a:lnTo>
                    <a:pt x="8300852" y="3273644"/>
                  </a:lnTo>
                  <a:lnTo>
                    <a:pt x="8334208" y="3283174"/>
                  </a:lnTo>
                  <a:lnTo>
                    <a:pt x="8386624" y="3311766"/>
                  </a:lnTo>
                  <a:lnTo>
                    <a:pt x="8405684" y="3316530"/>
                  </a:lnTo>
                  <a:lnTo>
                    <a:pt x="8424745" y="3383243"/>
                  </a:lnTo>
                  <a:lnTo>
                    <a:pt x="8439040" y="3449955"/>
                  </a:lnTo>
                  <a:lnTo>
                    <a:pt x="8429510" y="3526193"/>
                  </a:lnTo>
                  <a:lnTo>
                    <a:pt x="8415215" y="3654855"/>
                  </a:lnTo>
                  <a:lnTo>
                    <a:pt x="8400919" y="3678680"/>
                  </a:lnTo>
                  <a:lnTo>
                    <a:pt x="8391389" y="3721567"/>
                  </a:lnTo>
                  <a:lnTo>
                    <a:pt x="8396154" y="3731097"/>
                  </a:lnTo>
                  <a:lnTo>
                    <a:pt x="8448571" y="3716801"/>
                  </a:lnTo>
                  <a:lnTo>
                    <a:pt x="8458101" y="3707271"/>
                  </a:lnTo>
                  <a:lnTo>
                    <a:pt x="8491457" y="3664384"/>
                  </a:lnTo>
                  <a:lnTo>
                    <a:pt x="8539108" y="3678680"/>
                  </a:lnTo>
                  <a:lnTo>
                    <a:pt x="8558169" y="3688211"/>
                  </a:lnTo>
                  <a:lnTo>
                    <a:pt x="8562934" y="3702505"/>
                  </a:lnTo>
                  <a:lnTo>
                    <a:pt x="8574847" y="3750157"/>
                  </a:lnTo>
                  <a:lnTo>
                    <a:pt x="8589142" y="3812105"/>
                  </a:lnTo>
                  <a:lnTo>
                    <a:pt x="8598672" y="3802574"/>
                  </a:lnTo>
                  <a:lnTo>
                    <a:pt x="8622498" y="3731097"/>
                  </a:lnTo>
                  <a:lnTo>
                    <a:pt x="8627263" y="3712037"/>
                  </a:lnTo>
                  <a:lnTo>
                    <a:pt x="8641558" y="3692976"/>
                  </a:lnTo>
                  <a:lnTo>
                    <a:pt x="8646324" y="3697740"/>
                  </a:lnTo>
                  <a:lnTo>
                    <a:pt x="8665384" y="3764453"/>
                  </a:lnTo>
                  <a:lnTo>
                    <a:pt x="8717800" y="3888346"/>
                  </a:lnTo>
                  <a:lnTo>
                    <a:pt x="8736861" y="3940763"/>
                  </a:lnTo>
                  <a:lnTo>
                    <a:pt x="8736861" y="3974119"/>
                  </a:lnTo>
                  <a:lnTo>
                    <a:pt x="8717800" y="4017005"/>
                  </a:lnTo>
                  <a:lnTo>
                    <a:pt x="8698740" y="4040830"/>
                  </a:lnTo>
                  <a:lnTo>
                    <a:pt x="8574847" y="4131367"/>
                  </a:lnTo>
                  <a:lnTo>
                    <a:pt x="8520048" y="4179020"/>
                  </a:lnTo>
                  <a:lnTo>
                    <a:pt x="8491457" y="4217140"/>
                  </a:lnTo>
                  <a:lnTo>
                    <a:pt x="8481927" y="4231435"/>
                  </a:lnTo>
                  <a:lnTo>
                    <a:pt x="8448571" y="4226669"/>
                  </a:lnTo>
                  <a:lnTo>
                    <a:pt x="8443806" y="4231435"/>
                  </a:lnTo>
                  <a:lnTo>
                    <a:pt x="8434275" y="4293381"/>
                  </a:lnTo>
                  <a:lnTo>
                    <a:pt x="8424745" y="4321971"/>
                  </a:lnTo>
                  <a:lnTo>
                    <a:pt x="8396154" y="4364859"/>
                  </a:lnTo>
                  <a:lnTo>
                    <a:pt x="8362798" y="4441100"/>
                  </a:lnTo>
                  <a:lnTo>
                    <a:pt x="8338973" y="4474456"/>
                  </a:lnTo>
                  <a:lnTo>
                    <a:pt x="8300852" y="4450632"/>
                  </a:lnTo>
                  <a:lnTo>
                    <a:pt x="8291321" y="4412510"/>
                  </a:lnTo>
                  <a:lnTo>
                    <a:pt x="8286556" y="4331502"/>
                  </a:lnTo>
                  <a:lnTo>
                    <a:pt x="8286556" y="4298146"/>
                  </a:lnTo>
                  <a:lnTo>
                    <a:pt x="8286556" y="4279085"/>
                  </a:lnTo>
                  <a:lnTo>
                    <a:pt x="8291321" y="4250497"/>
                  </a:lnTo>
                  <a:lnTo>
                    <a:pt x="8310382" y="4179020"/>
                  </a:lnTo>
                  <a:lnTo>
                    <a:pt x="8305617" y="4174252"/>
                  </a:lnTo>
                  <a:lnTo>
                    <a:pt x="8296086" y="4179020"/>
                  </a:lnTo>
                  <a:lnTo>
                    <a:pt x="8272261" y="4217140"/>
                  </a:lnTo>
                  <a:lnTo>
                    <a:pt x="8262731" y="4231435"/>
                  </a:lnTo>
                  <a:lnTo>
                    <a:pt x="8253200" y="4264790"/>
                  </a:lnTo>
                  <a:lnTo>
                    <a:pt x="8248435" y="4321971"/>
                  </a:lnTo>
                  <a:lnTo>
                    <a:pt x="8253200" y="4417275"/>
                  </a:lnTo>
                  <a:lnTo>
                    <a:pt x="8248435" y="4455396"/>
                  </a:lnTo>
                  <a:lnTo>
                    <a:pt x="8238905" y="4474456"/>
                  </a:lnTo>
                  <a:lnTo>
                    <a:pt x="8243670" y="4488753"/>
                  </a:lnTo>
                  <a:lnTo>
                    <a:pt x="8272261" y="4512577"/>
                  </a:lnTo>
                  <a:lnTo>
                    <a:pt x="8277026" y="4522109"/>
                  </a:lnTo>
                  <a:lnTo>
                    <a:pt x="8281791" y="4536404"/>
                  </a:lnTo>
                  <a:lnTo>
                    <a:pt x="8281791" y="4560230"/>
                  </a:lnTo>
                  <a:lnTo>
                    <a:pt x="8281791" y="4584054"/>
                  </a:lnTo>
                  <a:lnTo>
                    <a:pt x="8272261" y="4617411"/>
                  </a:lnTo>
                  <a:lnTo>
                    <a:pt x="8257966" y="4631707"/>
                  </a:lnTo>
                  <a:lnTo>
                    <a:pt x="8234140" y="4612647"/>
                  </a:lnTo>
                  <a:lnTo>
                    <a:pt x="8191254" y="4531637"/>
                  </a:lnTo>
                  <a:lnTo>
                    <a:pt x="8167428" y="4536404"/>
                  </a:lnTo>
                  <a:lnTo>
                    <a:pt x="8162663" y="4545933"/>
                  </a:lnTo>
                  <a:lnTo>
                    <a:pt x="8167428" y="4574526"/>
                  </a:lnTo>
                  <a:lnTo>
                    <a:pt x="8181724" y="4641235"/>
                  </a:lnTo>
                  <a:lnTo>
                    <a:pt x="8186489" y="4698416"/>
                  </a:lnTo>
                  <a:lnTo>
                    <a:pt x="8176958" y="4741305"/>
                  </a:lnTo>
                  <a:lnTo>
                    <a:pt x="8167428" y="4812782"/>
                  </a:lnTo>
                  <a:lnTo>
                    <a:pt x="8157898" y="4850902"/>
                  </a:lnTo>
                  <a:lnTo>
                    <a:pt x="8153133" y="4855666"/>
                  </a:lnTo>
                  <a:lnTo>
                    <a:pt x="8129307" y="4855666"/>
                  </a:lnTo>
                  <a:lnTo>
                    <a:pt x="8110246" y="4836606"/>
                  </a:lnTo>
                  <a:lnTo>
                    <a:pt x="8048300" y="4712712"/>
                  </a:lnTo>
                  <a:lnTo>
                    <a:pt x="8019709" y="4660296"/>
                  </a:lnTo>
                  <a:lnTo>
                    <a:pt x="7976823" y="4555462"/>
                  </a:lnTo>
                  <a:lnTo>
                    <a:pt x="7967293" y="4531637"/>
                  </a:lnTo>
                  <a:lnTo>
                    <a:pt x="7962528" y="4526873"/>
                  </a:lnTo>
                  <a:lnTo>
                    <a:pt x="7952997" y="4574526"/>
                  </a:lnTo>
                  <a:lnTo>
                    <a:pt x="7967293" y="4617411"/>
                  </a:lnTo>
                  <a:lnTo>
                    <a:pt x="8005414" y="4712712"/>
                  </a:lnTo>
                  <a:lnTo>
                    <a:pt x="8029239" y="4784189"/>
                  </a:lnTo>
                  <a:lnTo>
                    <a:pt x="8043535" y="4841370"/>
                  </a:lnTo>
                  <a:lnTo>
                    <a:pt x="8048300" y="4865199"/>
                  </a:lnTo>
                  <a:lnTo>
                    <a:pt x="8038770" y="4874727"/>
                  </a:lnTo>
                  <a:lnTo>
                    <a:pt x="8034004" y="4869963"/>
                  </a:lnTo>
                  <a:lnTo>
                    <a:pt x="8019709" y="4850902"/>
                  </a:lnTo>
                  <a:lnTo>
                    <a:pt x="7986353" y="4817546"/>
                  </a:lnTo>
                  <a:lnTo>
                    <a:pt x="7972058" y="4798486"/>
                  </a:lnTo>
                  <a:lnTo>
                    <a:pt x="7962528" y="4774658"/>
                  </a:lnTo>
                  <a:lnTo>
                    <a:pt x="7943467" y="4755597"/>
                  </a:lnTo>
                  <a:lnTo>
                    <a:pt x="7919641" y="4746069"/>
                  </a:lnTo>
                  <a:lnTo>
                    <a:pt x="7895816" y="4741305"/>
                  </a:lnTo>
                  <a:lnTo>
                    <a:pt x="7871990" y="4750833"/>
                  </a:lnTo>
                  <a:lnTo>
                    <a:pt x="7867225" y="4760365"/>
                  </a:lnTo>
                  <a:lnTo>
                    <a:pt x="7895816" y="4793721"/>
                  </a:lnTo>
                  <a:lnTo>
                    <a:pt x="7905346" y="4808016"/>
                  </a:lnTo>
                  <a:lnTo>
                    <a:pt x="7910111" y="4831842"/>
                  </a:lnTo>
                  <a:lnTo>
                    <a:pt x="7914876" y="4855666"/>
                  </a:lnTo>
                  <a:lnTo>
                    <a:pt x="7905346" y="4869963"/>
                  </a:lnTo>
                  <a:lnTo>
                    <a:pt x="7871990" y="4884259"/>
                  </a:lnTo>
                  <a:lnTo>
                    <a:pt x="7824339" y="4874727"/>
                  </a:lnTo>
                  <a:lnTo>
                    <a:pt x="7748097" y="4850902"/>
                  </a:lnTo>
                  <a:lnTo>
                    <a:pt x="7671855" y="4817546"/>
                  </a:lnTo>
                  <a:lnTo>
                    <a:pt x="7600378" y="4755597"/>
                  </a:lnTo>
                  <a:lnTo>
                    <a:pt x="7547961" y="4698416"/>
                  </a:lnTo>
                  <a:lnTo>
                    <a:pt x="7528901" y="4665062"/>
                  </a:lnTo>
                  <a:lnTo>
                    <a:pt x="7524136" y="4641235"/>
                  </a:lnTo>
                  <a:lnTo>
                    <a:pt x="7543196" y="4622175"/>
                  </a:lnTo>
                  <a:lnTo>
                    <a:pt x="7609908" y="4593585"/>
                  </a:lnTo>
                  <a:lnTo>
                    <a:pt x="7676620" y="4579290"/>
                  </a:lnTo>
                  <a:lnTo>
                    <a:pt x="7667090" y="4564994"/>
                  </a:lnTo>
                  <a:lnTo>
                    <a:pt x="7543196" y="4526873"/>
                  </a:lnTo>
                  <a:lnTo>
                    <a:pt x="7505075" y="4522109"/>
                  </a:lnTo>
                  <a:lnTo>
                    <a:pt x="7481250" y="4531637"/>
                  </a:lnTo>
                  <a:lnTo>
                    <a:pt x="7457424" y="4526873"/>
                  </a:lnTo>
                  <a:lnTo>
                    <a:pt x="7438363" y="4498283"/>
                  </a:lnTo>
                  <a:lnTo>
                    <a:pt x="7414538" y="4445865"/>
                  </a:lnTo>
                  <a:lnTo>
                    <a:pt x="7400242" y="4412510"/>
                  </a:lnTo>
                  <a:lnTo>
                    <a:pt x="7400242" y="4398215"/>
                  </a:lnTo>
                  <a:lnTo>
                    <a:pt x="7409773" y="4393448"/>
                  </a:lnTo>
                  <a:lnTo>
                    <a:pt x="7466954" y="4398215"/>
                  </a:lnTo>
                  <a:lnTo>
                    <a:pt x="7471719" y="4393448"/>
                  </a:lnTo>
                  <a:lnTo>
                    <a:pt x="7447894" y="4369623"/>
                  </a:lnTo>
                  <a:lnTo>
                    <a:pt x="7357356" y="4317206"/>
                  </a:lnTo>
                  <a:lnTo>
                    <a:pt x="7324000" y="4269557"/>
                  </a:lnTo>
                  <a:lnTo>
                    <a:pt x="7319235" y="4250497"/>
                  </a:lnTo>
                  <a:lnTo>
                    <a:pt x="7314470" y="4231435"/>
                  </a:lnTo>
                  <a:lnTo>
                    <a:pt x="7314470" y="4217140"/>
                  </a:lnTo>
                  <a:lnTo>
                    <a:pt x="7352591" y="4179020"/>
                  </a:lnTo>
                  <a:lnTo>
                    <a:pt x="7452659" y="4098010"/>
                  </a:lnTo>
                  <a:lnTo>
                    <a:pt x="7486015" y="4083715"/>
                  </a:lnTo>
                  <a:lnTo>
                    <a:pt x="7524136" y="4083715"/>
                  </a:lnTo>
                  <a:lnTo>
                    <a:pt x="7547961" y="4059890"/>
                  </a:lnTo>
                  <a:lnTo>
                    <a:pt x="7567022" y="3978884"/>
                  </a:lnTo>
                  <a:lnTo>
                    <a:pt x="7676620" y="3945528"/>
                  </a:lnTo>
                  <a:lnTo>
                    <a:pt x="7757627" y="3912172"/>
                  </a:lnTo>
                  <a:lnTo>
                    <a:pt x="7762392" y="3902640"/>
                  </a:lnTo>
                  <a:lnTo>
                    <a:pt x="7700445" y="3907407"/>
                  </a:lnTo>
                  <a:lnTo>
                    <a:pt x="7614673" y="3902640"/>
                  </a:lnTo>
                  <a:lnTo>
                    <a:pt x="7581317" y="3845459"/>
                  </a:lnTo>
                  <a:lnTo>
                    <a:pt x="7552726" y="3835930"/>
                  </a:lnTo>
                  <a:lnTo>
                    <a:pt x="7524136" y="3835930"/>
                  </a:lnTo>
                  <a:lnTo>
                    <a:pt x="7495545" y="3854991"/>
                  </a:lnTo>
                  <a:lnTo>
                    <a:pt x="7438363" y="3902640"/>
                  </a:lnTo>
                  <a:lnTo>
                    <a:pt x="7414538" y="3916936"/>
                  </a:lnTo>
                  <a:lnTo>
                    <a:pt x="7352591" y="3969352"/>
                  </a:lnTo>
                  <a:lnTo>
                    <a:pt x="7338296" y="3964588"/>
                  </a:lnTo>
                  <a:lnTo>
                    <a:pt x="7328765" y="3959823"/>
                  </a:lnTo>
                  <a:lnTo>
                    <a:pt x="7324000" y="3950292"/>
                  </a:lnTo>
                  <a:lnTo>
                    <a:pt x="7338296" y="3916936"/>
                  </a:lnTo>
                  <a:lnTo>
                    <a:pt x="7352591" y="3888346"/>
                  </a:lnTo>
                  <a:lnTo>
                    <a:pt x="7347826" y="3883579"/>
                  </a:lnTo>
                  <a:lnTo>
                    <a:pt x="7324000" y="3878815"/>
                  </a:lnTo>
                  <a:lnTo>
                    <a:pt x="7300175" y="3878815"/>
                  </a:lnTo>
                  <a:lnTo>
                    <a:pt x="7281114" y="3888346"/>
                  </a:lnTo>
                  <a:lnTo>
                    <a:pt x="7209637" y="3931232"/>
                  </a:lnTo>
                  <a:lnTo>
                    <a:pt x="7181046" y="3969352"/>
                  </a:lnTo>
                  <a:lnTo>
                    <a:pt x="7171516" y="3969352"/>
                  </a:lnTo>
                  <a:lnTo>
                    <a:pt x="7138160" y="3916936"/>
                  </a:lnTo>
                  <a:lnTo>
                    <a:pt x="7085744" y="3888346"/>
                  </a:lnTo>
                  <a:lnTo>
                    <a:pt x="7071448" y="3864519"/>
                  </a:lnTo>
                  <a:lnTo>
                    <a:pt x="7080979" y="3769217"/>
                  </a:lnTo>
                  <a:lnTo>
                    <a:pt x="7100039" y="3750157"/>
                  </a:lnTo>
                  <a:lnTo>
                    <a:pt x="7138160" y="3735861"/>
                  </a:lnTo>
                  <a:lnTo>
                    <a:pt x="7262054" y="3650090"/>
                  </a:lnTo>
                  <a:lnTo>
                    <a:pt x="7266819" y="3631028"/>
                  </a:lnTo>
                  <a:lnTo>
                    <a:pt x="7281114" y="3588143"/>
                  </a:lnTo>
                  <a:lnTo>
                    <a:pt x="7252523" y="3597673"/>
                  </a:lnTo>
                  <a:lnTo>
                    <a:pt x="7190577" y="3640559"/>
                  </a:lnTo>
                  <a:lnTo>
                    <a:pt x="7138160" y="3659620"/>
                  </a:lnTo>
                  <a:lnTo>
                    <a:pt x="7100039" y="3659620"/>
                  </a:lnTo>
                  <a:lnTo>
                    <a:pt x="7071448" y="3654855"/>
                  </a:lnTo>
                  <a:lnTo>
                    <a:pt x="7052388" y="3640559"/>
                  </a:lnTo>
                  <a:lnTo>
                    <a:pt x="7028562" y="3616733"/>
                  </a:lnTo>
                  <a:lnTo>
                    <a:pt x="6957085" y="3488076"/>
                  </a:lnTo>
                  <a:lnTo>
                    <a:pt x="6938025" y="3426128"/>
                  </a:lnTo>
                  <a:lnTo>
                    <a:pt x="6933260" y="3373711"/>
                  </a:lnTo>
                  <a:lnTo>
                    <a:pt x="6928495" y="3330827"/>
                  </a:lnTo>
                  <a:lnTo>
                    <a:pt x="6909434" y="3230759"/>
                  </a:lnTo>
                  <a:lnTo>
                    <a:pt x="7061918" y="3292705"/>
                  </a:lnTo>
                  <a:lnTo>
                    <a:pt x="7123865" y="3306998"/>
                  </a:lnTo>
                  <a:lnTo>
                    <a:pt x="7242993" y="3311766"/>
                  </a:lnTo>
                  <a:lnTo>
                    <a:pt x="7247758" y="3302234"/>
                  </a:lnTo>
                  <a:lnTo>
                    <a:pt x="7247758" y="3287940"/>
                  </a:lnTo>
                  <a:lnTo>
                    <a:pt x="7247758" y="3259349"/>
                  </a:lnTo>
                  <a:lnTo>
                    <a:pt x="7247758" y="3240289"/>
                  </a:lnTo>
                  <a:lnTo>
                    <a:pt x="7252523" y="3225993"/>
                  </a:lnTo>
                  <a:lnTo>
                    <a:pt x="7295409" y="3187872"/>
                  </a:lnTo>
                  <a:lnTo>
                    <a:pt x="7300175" y="3178342"/>
                  </a:lnTo>
                  <a:lnTo>
                    <a:pt x="7252523" y="3168812"/>
                  </a:lnTo>
                  <a:lnTo>
                    <a:pt x="7157221" y="3230759"/>
                  </a:lnTo>
                  <a:lnTo>
                    <a:pt x="7123865" y="3230759"/>
                  </a:lnTo>
                  <a:lnTo>
                    <a:pt x="7085744" y="3144986"/>
                  </a:lnTo>
                  <a:lnTo>
                    <a:pt x="7042858" y="3159280"/>
                  </a:lnTo>
                  <a:lnTo>
                    <a:pt x="7023797" y="3154516"/>
                  </a:lnTo>
                  <a:lnTo>
                    <a:pt x="6995206" y="3130688"/>
                  </a:lnTo>
                  <a:lnTo>
                    <a:pt x="6980911" y="3111631"/>
                  </a:lnTo>
                  <a:lnTo>
                    <a:pt x="6971381" y="3087803"/>
                  </a:lnTo>
                  <a:lnTo>
                    <a:pt x="6966616" y="3063978"/>
                  </a:lnTo>
                  <a:lnTo>
                    <a:pt x="6971381" y="3049684"/>
                  </a:lnTo>
                  <a:lnTo>
                    <a:pt x="6976146" y="3030622"/>
                  </a:lnTo>
                  <a:lnTo>
                    <a:pt x="7014267" y="3006797"/>
                  </a:lnTo>
                  <a:lnTo>
                    <a:pt x="7028562" y="3002029"/>
                  </a:lnTo>
                  <a:lnTo>
                    <a:pt x="7071448" y="3021093"/>
                  </a:lnTo>
                  <a:lnTo>
                    <a:pt x="7100039" y="3016326"/>
                  </a:lnTo>
                  <a:lnTo>
                    <a:pt x="7090509" y="2992503"/>
                  </a:lnTo>
                  <a:lnTo>
                    <a:pt x="7042858" y="2921026"/>
                  </a:lnTo>
                  <a:lnTo>
                    <a:pt x="7004737" y="2840019"/>
                  </a:lnTo>
                  <a:lnTo>
                    <a:pt x="7009502" y="2711359"/>
                  </a:lnTo>
                  <a:lnTo>
                    <a:pt x="7042858" y="2682768"/>
                  </a:lnTo>
                  <a:lnTo>
                    <a:pt x="7076214" y="2678000"/>
                  </a:lnTo>
                  <a:lnTo>
                    <a:pt x="7104804" y="2711359"/>
                  </a:lnTo>
                  <a:lnTo>
                    <a:pt x="7152456" y="2716125"/>
                  </a:lnTo>
                  <a:lnTo>
                    <a:pt x="7181046" y="2754244"/>
                  </a:lnTo>
                  <a:lnTo>
                    <a:pt x="7204872" y="2825723"/>
                  </a:lnTo>
                  <a:lnTo>
                    <a:pt x="7228698" y="2825723"/>
                  </a:lnTo>
                  <a:lnTo>
                    <a:pt x="7266819" y="2835253"/>
                  </a:lnTo>
                  <a:lnTo>
                    <a:pt x="7352591" y="2835253"/>
                  </a:lnTo>
                  <a:lnTo>
                    <a:pt x="7338296" y="2811426"/>
                  </a:lnTo>
                  <a:lnTo>
                    <a:pt x="7309705" y="2787601"/>
                  </a:lnTo>
                  <a:lnTo>
                    <a:pt x="7247758" y="2759008"/>
                  </a:lnTo>
                  <a:lnTo>
                    <a:pt x="7219167" y="2649412"/>
                  </a:lnTo>
                  <a:lnTo>
                    <a:pt x="7157221" y="2596997"/>
                  </a:lnTo>
                  <a:lnTo>
                    <a:pt x="7104804" y="2568405"/>
                  </a:lnTo>
                  <a:lnTo>
                    <a:pt x="7104804" y="2544580"/>
                  </a:lnTo>
                  <a:lnTo>
                    <a:pt x="7142925" y="2406390"/>
                  </a:lnTo>
                  <a:lnTo>
                    <a:pt x="7190577" y="2358741"/>
                  </a:lnTo>
                  <a:lnTo>
                    <a:pt x="7262054" y="2373035"/>
                  </a:lnTo>
                  <a:lnTo>
                    <a:pt x="7309705" y="2349209"/>
                  </a:lnTo>
                  <a:lnTo>
                    <a:pt x="7371652" y="2301558"/>
                  </a:lnTo>
                  <a:lnTo>
                    <a:pt x="7428833" y="2320618"/>
                  </a:lnTo>
                  <a:lnTo>
                    <a:pt x="7443128" y="2320618"/>
                  </a:lnTo>
                  <a:lnTo>
                    <a:pt x="7452659" y="2306323"/>
                  </a:lnTo>
                  <a:lnTo>
                    <a:pt x="7462189" y="2277732"/>
                  </a:lnTo>
                  <a:lnTo>
                    <a:pt x="7462189" y="2249142"/>
                  </a:lnTo>
                  <a:lnTo>
                    <a:pt x="7452659" y="2225316"/>
                  </a:lnTo>
                  <a:lnTo>
                    <a:pt x="7433598" y="2196725"/>
                  </a:lnTo>
                  <a:lnTo>
                    <a:pt x="7357356" y="2191960"/>
                  </a:lnTo>
                  <a:lnTo>
                    <a:pt x="7324000" y="2177665"/>
                  </a:lnTo>
                  <a:lnTo>
                    <a:pt x="7309705" y="2163369"/>
                  </a:lnTo>
                  <a:lnTo>
                    <a:pt x="7309705" y="2139544"/>
                  </a:lnTo>
                  <a:lnTo>
                    <a:pt x="7304940" y="2110953"/>
                  </a:lnTo>
                  <a:lnTo>
                    <a:pt x="7304940" y="2087127"/>
                  </a:lnTo>
                  <a:lnTo>
                    <a:pt x="7309705" y="2068067"/>
                  </a:lnTo>
                  <a:lnTo>
                    <a:pt x="7314470" y="2063302"/>
                  </a:lnTo>
                  <a:lnTo>
                    <a:pt x="7333530" y="2049006"/>
                  </a:lnTo>
                  <a:lnTo>
                    <a:pt x="7405007" y="2049006"/>
                  </a:lnTo>
                  <a:close/>
                  <a:moveTo>
                    <a:pt x="11090833" y="0"/>
                  </a:moveTo>
                  <a:lnTo>
                    <a:pt x="11109893" y="9529"/>
                  </a:lnTo>
                  <a:lnTo>
                    <a:pt x="11124189" y="28591"/>
                  </a:lnTo>
                  <a:lnTo>
                    <a:pt x="11157545" y="119127"/>
                  </a:lnTo>
                  <a:lnTo>
                    <a:pt x="11167077" y="128658"/>
                  </a:lnTo>
                  <a:lnTo>
                    <a:pt x="11295733" y="152485"/>
                  </a:lnTo>
                  <a:lnTo>
                    <a:pt x="11338621" y="142954"/>
                  </a:lnTo>
                  <a:lnTo>
                    <a:pt x="11386273" y="200135"/>
                  </a:lnTo>
                  <a:lnTo>
                    <a:pt x="11414861" y="204900"/>
                  </a:lnTo>
                  <a:lnTo>
                    <a:pt x="11457749" y="195371"/>
                  </a:lnTo>
                  <a:lnTo>
                    <a:pt x="11495869" y="209666"/>
                  </a:lnTo>
                  <a:lnTo>
                    <a:pt x="11619761" y="219197"/>
                  </a:lnTo>
                  <a:lnTo>
                    <a:pt x="11648353" y="243022"/>
                  </a:lnTo>
                  <a:lnTo>
                    <a:pt x="11648353" y="271613"/>
                  </a:lnTo>
                  <a:lnTo>
                    <a:pt x="11619761" y="328794"/>
                  </a:lnTo>
                  <a:lnTo>
                    <a:pt x="11581641" y="381211"/>
                  </a:lnTo>
                  <a:lnTo>
                    <a:pt x="11343385" y="552755"/>
                  </a:lnTo>
                  <a:lnTo>
                    <a:pt x="11329089" y="586111"/>
                  </a:lnTo>
                  <a:lnTo>
                    <a:pt x="11371977" y="590876"/>
                  </a:lnTo>
                  <a:lnTo>
                    <a:pt x="11443453" y="586111"/>
                  </a:lnTo>
                  <a:lnTo>
                    <a:pt x="11495869" y="567050"/>
                  </a:lnTo>
                  <a:lnTo>
                    <a:pt x="11557817" y="505104"/>
                  </a:lnTo>
                  <a:lnTo>
                    <a:pt x="11576877" y="505104"/>
                  </a:lnTo>
                  <a:lnTo>
                    <a:pt x="11619761" y="476513"/>
                  </a:lnTo>
                  <a:lnTo>
                    <a:pt x="11696005" y="395506"/>
                  </a:lnTo>
                  <a:lnTo>
                    <a:pt x="11757953" y="347855"/>
                  </a:lnTo>
                  <a:lnTo>
                    <a:pt x="11781777" y="371680"/>
                  </a:lnTo>
                  <a:lnTo>
                    <a:pt x="11805601" y="400271"/>
                  </a:lnTo>
                  <a:lnTo>
                    <a:pt x="11824665" y="405036"/>
                  </a:lnTo>
                  <a:lnTo>
                    <a:pt x="11829429" y="381211"/>
                  </a:lnTo>
                  <a:lnTo>
                    <a:pt x="11843725" y="314499"/>
                  </a:lnTo>
                  <a:lnTo>
                    <a:pt x="11853253" y="290674"/>
                  </a:lnTo>
                  <a:lnTo>
                    <a:pt x="11872313" y="276378"/>
                  </a:lnTo>
                  <a:lnTo>
                    <a:pt x="11886609" y="276378"/>
                  </a:lnTo>
                  <a:lnTo>
                    <a:pt x="11905669" y="304970"/>
                  </a:lnTo>
                  <a:lnTo>
                    <a:pt x="11924729" y="381211"/>
                  </a:lnTo>
                  <a:lnTo>
                    <a:pt x="11948557" y="428862"/>
                  </a:lnTo>
                  <a:lnTo>
                    <a:pt x="11958085" y="428862"/>
                  </a:lnTo>
                  <a:lnTo>
                    <a:pt x="12005737" y="371680"/>
                  </a:lnTo>
                  <a:lnTo>
                    <a:pt x="12029565" y="366915"/>
                  </a:lnTo>
                  <a:lnTo>
                    <a:pt x="12081981" y="385976"/>
                  </a:lnTo>
                  <a:lnTo>
                    <a:pt x="12105805" y="414568"/>
                  </a:lnTo>
                  <a:lnTo>
                    <a:pt x="12105805" y="438392"/>
                  </a:lnTo>
                  <a:lnTo>
                    <a:pt x="12096277" y="466983"/>
                  </a:lnTo>
                  <a:lnTo>
                    <a:pt x="12086745" y="490809"/>
                  </a:lnTo>
                  <a:lnTo>
                    <a:pt x="12081981" y="509869"/>
                  </a:lnTo>
                  <a:lnTo>
                    <a:pt x="12091509" y="533695"/>
                  </a:lnTo>
                  <a:lnTo>
                    <a:pt x="12120101" y="586111"/>
                  </a:lnTo>
                  <a:lnTo>
                    <a:pt x="12167753" y="690944"/>
                  </a:lnTo>
                  <a:lnTo>
                    <a:pt x="12167753" y="729065"/>
                  </a:lnTo>
                  <a:lnTo>
                    <a:pt x="12143925" y="810072"/>
                  </a:lnTo>
                  <a:lnTo>
                    <a:pt x="12143925" y="829133"/>
                  </a:lnTo>
                  <a:lnTo>
                    <a:pt x="12263053" y="748126"/>
                  </a:lnTo>
                  <a:lnTo>
                    <a:pt x="12386949" y="781482"/>
                  </a:lnTo>
                  <a:lnTo>
                    <a:pt x="12420305" y="810072"/>
                  </a:lnTo>
                  <a:lnTo>
                    <a:pt x="12434601" y="838663"/>
                  </a:lnTo>
                  <a:lnTo>
                    <a:pt x="12448893" y="886314"/>
                  </a:lnTo>
                  <a:lnTo>
                    <a:pt x="12463189" y="957791"/>
                  </a:lnTo>
                  <a:lnTo>
                    <a:pt x="12453661" y="1029268"/>
                  </a:lnTo>
                  <a:lnTo>
                    <a:pt x="12396477" y="1138866"/>
                  </a:lnTo>
                  <a:lnTo>
                    <a:pt x="12344061" y="1224638"/>
                  </a:lnTo>
                  <a:lnTo>
                    <a:pt x="12310705" y="1300880"/>
                  </a:lnTo>
                  <a:lnTo>
                    <a:pt x="12258289" y="1339001"/>
                  </a:lnTo>
                  <a:lnTo>
                    <a:pt x="12091509" y="1520076"/>
                  </a:lnTo>
                  <a:lnTo>
                    <a:pt x="12005737" y="1577258"/>
                  </a:lnTo>
                  <a:lnTo>
                    <a:pt x="11958085" y="1634439"/>
                  </a:lnTo>
                  <a:lnTo>
                    <a:pt x="11934261" y="1643969"/>
                  </a:lnTo>
                  <a:lnTo>
                    <a:pt x="11834193" y="1629674"/>
                  </a:lnTo>
                  <a:lnTo>
                    <a:pt x="11805601" y="1663030"/>
                  </a:lnTo>
                  <a:lnTo>
                    <a:pt x="11791309" y="1715446"/>
                  </a:lnTo>
                  <a:lnTo>
                    <a:pt x="11757953" y="1739273"/>
                  </a:lnTo>
                  <a:lnTo>
                    <a:pt x="11710301" y="1753567"/>
                  </a:lnTo>
                  <a:lnTo>
                    <a:pt x="11614997" y="1767863"/>
                  </a:lnTo>
                  <a:lnTo>
                    <a:pt x="11595937" y="1825044"/>
                  </a:lnTo>
                  <a:lnTo>
                    <a:pt x="11586405" y="1863165"/>
                  </a:lnTo>
                  <a:lnTo>
                    <a:pt x="11576877" y="1896521"/>
                  </a:lnTo>
                  <a:lnTo>
                    <a:pt x="11572113" y="1910817"/>
                  </a:lnTo>
                  <a:lnTo>
                    <a:pt x="11295733" y="2110952"/>
                  </a:lnTo>
                  <a:lnTo>
                    <a:pt x="11286205" y="2139543"/>
                  </a:lnTo>
                  <a:lnTo>
                    <a:pt x="11314793" y="2153838"/>
                  </a:lnTo>
                  <a:lnTo>
                    <a:pt x="11352917" y="2139543"/>
                  </a:lnTo>
                  <a:lnTo>
                    <a:pt x="11753185" y="1901286"/>
                  </a:lnTo>
                  <a:lnTo>
                    <a:pt x="11834193" y="1882226"/>
                  </a:lnTo>
                  <a:lnTo>
                    <a:pt x="11905669" y="1901286"/>
                  </a:lnTo>
                  <a:lnTo>
                    <a:pt x="11896141" y="1958468"/>
                  </a:lnTo>
                  <a:lnTo>
                    <a:pt x="11796073" y="2115717"/>
                  </a:lnTo>
                  <a:lnTo>
                    <a:pt x="11662649" y="2258671"/>
                  </a:lnTo>
                  <a:lnTo>
                    <a:pt x="11600701" y="2363505"/>
                  </a:lnTo>
                  <a:lnTo>
                    <a:pt x="11438689" y="2544580"/>
                  </a:lnTo>
                  <a:lnTo>
                    <a:pt x="11300497" y="2720889"/>
                  </a:lnTo>
                  <a:lnTo>
                    <a:pt x="11252849" y="2811426"/>
                  </a:lnTo>
                  <a:lnTo>
                    <a:pt x="11181369" y="2963909"/>
                  </a:lnTo>
                  <a:lnTo>
                    <a:pt x="11157545" y="3002029"/>
                  </a:lnTo>
                  <a:lnTo>
                    <a:pt x="11128953" y="3016326"/>
                  </a:lnTo>
                  <a:lnTo>
                    <a:pt x="11095597" y="3011562"/>
                  </a:lnTo>
                  <a:lnTo>
                    <a:pt x="11067009" y="2987736"/>
                  </a:lnTo>
                  <a:lnTo>
                    <a:pt x="11024121" y="2930551"/>
                  </a:lnTo>
                  <a:lnTo>
                    <a:pt x="10990765" y="2863841"/>
                  </a:lnTo>
                  <a:lnTo>
                    <a:pt x="10976469" y="2854313"/>
                  </a:lnTo>
                  <a:lnTo>
                    <a:pt x="10986001" y="2887668"/>
                  </a:lnTo>
                  <a:lnTo>
                    <a:pt x="11057477" y="3102099"/>
                  </a:lnTo>
                  <a:lnTo>
                    <a:pt x="11047949" y="3140220"/>
                  </a:lnTo>
                  <a:lnTo>
                    <a:pt x="10919289" y="3183104"/>
                  </a:lnTo>
                  <a:lnTo>
                    <a:pt x="10857341" y="3221227"/>
                  </a:lnTo>
                  <a:lnTo>
                    <a:pt x="10828753" y="3230756"/>
                  </a:lnTo>
                  <a:lnTo>
                    <a:pt x="10809689" y="3225993"/>
                  </a:lnTo>
                  <a:lnTo>
                    <a:pt x="10785865" y="3225993"/>
                  </a:lnTo>
                  <a:lnTo>
                    <a:pt x="10766805" y="3240287"/>
                  </a:lnTo>
                  <a:lnTo>
                    <a:pt x="10766805" y="3259349"/>
                  </a:lnTo>
                  <a:lnTo>
                    <a:pt x="10785865" y="3273642"/>
                  </a:lnTo>
                  <a:lnTo>
                    <a:pt x="10838281" y="3287937"/>
                  </a:lnTo>
                  <a:lnTo>
                    <a:pt x="10952645" y="3245053"/>
                  </a:lnTo>
                  <a:lnTo>
                    <a:pt x="10971705" y="3245053"/>
                  </a:lnTo>
                  <a:lnTo>
                    <a:pt x="11000297" y="3268878"/>
                  </a:lnTo>
                  <a:lnTo>
                    <a:pt x="11000297" y="3287937"/>
                  </a:lnTo>
                  <a:lnTo>
                    <a:pt x="10971705" y="3354650"/>
                  </a:lnTo>
                  <a:lnTo>
                    <a:pt x="10876401" y="3430892"/>
                  </a:lnTo>
                  <a:lnTo>
                    <a:pt x="10890697" y="3435656"/>
                  </a:lnTo>
                  <a:lnTo>
                    <a:pt x="10914525" y="3464249"/>
                  </a:lnTo>
                  <a:lnTo>
                    <a:pt x="10914525" y="3488073"/>
                  </a:lnTo>
                  <a:lnTo>
                    <a:pt x="10885933" y="3545254"/>
                  </a:lnTo>
                  <a:lnTo>
                    <a:pt x="10871637" y="3564315"/>
                  </a:lnTo>
                  <a:lnTo>
                    <a:pt x="10781101" y="3616731"/>
                  </a:lnTo>
                  <a:lnTo>
                    <a:pt x="10742981" y="3631027"/>
                  </a:lnTo>
                  <a:lnTo>
                    <a:pt x="10709625" y="3626263"/>
                  </a:lnTo>
                  <a:lnTo>
                    <a:pt x="10552373" y="3507134"/>
                  </a:lnTo>
                  <a:lnTo>
                    <a:pt x="10495193" y="3492839"/>
                  </a:lnTo>
                  <a:lnTo>
                    <a:pt x="10442777" y="3459481"/>
                  </a:lnTo>
                  <a:lnTo>
                    <a:pt x="10399889" y="3464249"/>
                  </a:lnTo>
                  <a:lnTo>
                    <a:pt x="10361769" y="3502369"/>
                  </a:lnTo>
                  <a:lnTo>
                    <a:pt x="10380829" y="3516665"/>
                  </a:lnTo>
                  <a:lnTo>
                    <a:pt x="10457073" y="3550021"/>
                  </a:lnTo>
                  <a:lnTo>
                    <a:pt x="10519017" y="3559550"/>
                  </a:lnTo>
                  <a:lnTo>
                    <a:pt x="10547609" y="3569082"/>
                  </a:lnTo>
                  <a:lnTo>
                    <a:pt x="10557141" y="3592907"/>
                  </a:lnTo>
                  <a:lnTo>
                    <a:pt x="10585729" y="3669148"/>
                  </a:lnTo>
                  <a:lnTo>
                    <a:pt x="10590493" y="3707271"/>
                  </a:lnTo>
                  <a:lnTo>
                    <a:pt x="10580965" y="3745390"/>
                  </a:lnTo>
                  <a:lnTo>
                    <a:pt x="10576201" y="3773982"/>
                  </a:lnTo>
                  <a:lnTo>
                    <a:pt x="10561905" y="3788278"/>
                  </a:lnTo>
                  <a:lnTo>
                    <a:pt x="10547609" y="3797806"/>
                  </a:lnTo>
                  <a:lnTo>
                    <a:pt x="10485661" y="3793042"/>
                  </a:lnTo>
                  <a:lnTo>
                    <a:pt x="10461837" y="3802572"/>
                  </a:lnTo>
                  <a:lnTo>
                    <a:pt x="10433245" y="3821634"/>
                  </a:lnTo>
                  <a:lnTo>
                    <a:pt x="10399889" y="3831163"/>
                  </a:lnTo>
                  <a:lnTo>
                    <a:pt x="10337945" y="3826398"/>
                  </a:lnTo>
                  <a:lnTo>
                    <a:pt x="10266465" y="3859755"/>
                  </a:lnTo>
                  <a:lnTo>
                    <a:pt x="10228345" y="3864519"/>
                  </a:lnTo>
                  <a:lnTo>
                    <a:pt x="10185461" y="3850223"/>
                  </a:lnTo>
                  <a:lnTo>
                    <a:pt x="10142573" y="3816867"/>
                  </a:lnTo>
                  <a:lnTo>
                    <a:pt x="10094922" y="3797806"/>
                  </a:lnTo>
                  <a:lnTo>
                    <a:pt x="10009149" y="3783512"/>
                  </a:lnTo>
                  <a:lnTo>
                    <a:pt x="10018680" y="3802572"/>
                  </a:lnTo>
                  <a:lnTo>
                    <a:pt x="10047270" y="3812102"/>
                  </a:lnTo>
                  <a:lnTo>
                    <a:pt x="10104452" y="3864519"/>
                  </a:lnTo>
                  <a:lnTo>
                    <a:pt x="10133042" y="3940760"/>
                  </a:lnTo>
                  <a:lnTo>
                    <a:pt x="10161633" y="3955056"/>
                  </a:lnTo>
                  <a:lnTo>
                    <a:pt x="10214049" y="4012237"/>
                  </a:lnTo>
                  <a:lnTo>
                    <a:pt x="10252169" y="4021769"/>
                  </a:lnTo>
                  <a:lnTo>
                    <a:pt x="10295057" y="4045594"/>
                  </a:lnTo>
                  <a:lnTo>
                    <a:pt x="10352237" y="4017002"/>
                  </a:lnTo>
                  <a:lnTo>
                    <a:pt x="10390361" y="4021769"/>
                  </a:lnTo>
                  <a:lnTo>
                    <a:pt x="10380829" y="4169488"/>
                  </a:lnTo>
                  <a:lnTo>
                    <a:pt x="10361769" y="4183784"/>
                  </a:lnTo>
                  <a:lnTo>
                    <a:pt x="10271233" y="4183784"/>
                  </a:lnTo>
                  <a:lnTo>
                    <a:pt x="10228345" y="4159956"/>
                  </a:lnTo>
                  <a:lnTo>
                    <a:pt x="10209285" y="4140895"/>
                  </a:lnTo>
                  <a:lnTo>
                    <a:pt x="10166398" y="4112307"/>
                  </a:lnTo>
                  <a:lnTo>
                    <a:pt x="10128278" y="4131367"/>
                  </a:lnTo>
                  <a:lnTo>
                    <a:pt x="10090156" y="4126600"/>
                  </a:lnTo>
                  <a:lnTo>
                    <a:pt x="10066331" y="4140895"/>
                  </a:lnTo>
                  <a:lnTo>
                    <a:pt x="10032975" y="4140895"/>
                  </a:lnTo>
                  <a:lnTo>
                    <a:pt x="9932907" y="4164723"/>
                  </a:lnTo>
                  <a:lnTo>
                    <a:pt x="9880491" y="4164723"/>
                  </a:lnTo>
                  <a:lnTo>
                    <a:pt x="9842370" y="4150427"/>
                  </a:lnTo>
                  <a:lnTo>
                    <a:pt x="9799484" y="4145660"/>
                  </a:lnTo>
                  <a:lnTo>
                    <a:pt x="9747067" y="4150427"/>
                  </a:lnTo>
                  <a:lnTo>
                    <a:pt x="9751832" y="4164723"/>
                  </a:lnTo>
                  <a:lnTo>
                    <a:pt x="9775658" y="4169488"/>
                  </a:lnTo>
                  <a:lnTo>
                    <a:pt x="9804249" y="4198077"/>
                  </a:lnTo>
                  <a:lnTo>
                    <a:pt x="9832840" y="4240965"/>
                  </a:lnTo>
                  <a:lnTo>
                    <a:pt x="9856665" y="4260025"/>
                  </a:lnTo>
                  <a:lnTo>
                    <a:pt x="9885256" y="4250494"/>
                  </a:lnTo>
                  <a:lnTo>
                    <a:pt x="9913847" y="4231433"/>
                  </a:lnTo>
                  <a:lnTo>
                    <a:pt x="10023444" y="4198077"/>
                  </a:lnTo>
                  <a:lnTo>
                    <a:pt x="10071096" y="4193312"/>
                  </a:lnTo>
                  <a:lnTo>
                    <a:pt x="10109217" y="4207608"/>
                  </a:lnTo>
                  <a:lnTo>
                    <a:pt x="10137808" y="4221904"/>
                  </a:lnTo>
                  <a:lnTo>
                    <a:pt x="10156868" y="4245729"/>
                  </a:lnTo>
                  <a:lnTo>
                    <a:pt x="10185461" y="4302910"/>
                  </a:lnTo>
                  <a:lnTo>
                    <a:pt x="10247405" y="4307676"/>
                  </a:lnTo>
                  <a:lnTo>
                    <a:pt x="10290293" y="4326735"/>
                  </a:lnTo>
                  <a:lnTo>
                    <a:pt x="10366533" y="4407743"/>
                  </a:lnTo>
                  <a:lnTo>
                    <a:pt x="10385593" y="4412508"/>
                  </a:lnTo>
                  <a:lnTo>
                    <a:pt x="10395125" y="4436336"/>
                  </a:lnTo>
                  <a:lnTo>
                    <a:pt x="10380829" y="4483985"/>
                  </a:lnTo>
                  <a:lnTo>
                    <a:pt x="10380829" y="4517341"/>
                  </a:lnTo>
                  <a:lnTo>
                    <a:pt x="10328413" y="4574522"/>
                  </a:lnTo>
                  <a:lnTo>
                    <a:pt x="10247405" y="4593582"/>
                  </a:lnTo>
                  <a:lnTo>
                    <a:pt x="10156868" y="4588818"/>
                  </a:lnTo>
                  <a:lnTo>
                    <a:pt x="10094922" y="4593582"/>
                  </a:lnTo>
                  <a:lnTo>
                    <a:pt x="10085391" y="4603114"/>
                  </a:lnTo>
                  <a:lnTo>
                    <a:pt x="10128278" y="4617411"/>
                  </a:lnTo>
                  <a:lnTo>
                    <a:pt x="10233109" y="4688888"/>
                  </a:lnTo>
                  <a:lnTo>
                    <a:pt x="10271233" y="4722240"/>
                  </a:lnTo>
                  <a:lnTo>
                    <a:pt x="10275997" y="4746069"/>
                  </a:lnTo>
                  <a:lnTo>
                    <a:pt x="10223581" y="4827074"/>
                  </a:lnTo>
                  <a:lnTo>
                    <a:pt x="10171164" y="4989089"/>
                  </a:lnTo>
                  <a:lnTo>
                    <a:pt x="10156868" y="4998621"/>
                  </a:lnTo>
                  <a:lnTo>
                    <a:pt x="10137808" y="5003385"/>
                  </a:lnTo>
                  <a:lnTo>
                    <a:pt x="10094922" y="5003385"/>
                  </a:lnTo>
                  <a:lnTo>
                    <a:pt x="10042505" y="5041505"/>
                  </a:lnTo>
                  <a:lnTo>
                    <a:pt x="9999619" y="5051038"/>
                  </a:lnTo>
                  <a:lnTo>
                    <a:pt x="9923377" y="5036741"/>
                  </a:lnTo>
                  <a:lnTo>
                    <a:pt x="9837605" y="5036741"/>
                  </a:lnTo>
                  <a:lnTo>
                    <a:pt x="9828074" y="5060566"/>
                  </a:lnTo>
                  <a:lnTo>
                    <a:pt x="9828074" y="5108218"/>
                  </a:lnTo>
                  <a:lnTo>
                    <a:pt x="9828074" y="5184460"/>
                  </a:lnTo>
                  <a:lnTo>
                    <a:pt x="9832840" y="5279761"/>
                  </a:lnTo>
                  <a:lnTo>
                    <a:pt x="9828074" y="5351238"/>
                  </a:lnTo>
                  <a:lnTo>
                    <a:pt x="9813779" y="5394123"/>
                  </a:lnTo>
                  <a:lnTo>
                    <a:pt x="9794718" y="5427480"/>
                  </a:lnTo>
                  <a:lnTo>
                    <a:pt x="9761363" y="5456072"/>
                  </a:lnTo>
                  <a:lnTo>
                    <a:pt x="9728007" y="5475132"/>
                  </a:lnTo>
                  <a:lnTo>
                    <a:pt x="9704181" y="5484664"/>
                  </a:lnTo>
                  <a:lnTo>
                    <a:pt x="9661295" y="5484664"/>
                  </a:lnTo>
                  <a:lnTo>
                    <a:pt x="9542167" y="5508489"/>
                  </a:lnTo>
                  <a:lnTo>
                    <a:pt x="9484985" y="5503722"/>
                  </a:lnTo>
                  <a:lnTo>
                    <a:pt x="9437334" y="5494193"/>
                  </a:lnTo>
                  <a:lnTo>
                    <a:pt x="9389683" y="5465600"/>
                  </a:lnTo>
                  <a:lnTo>
                    <a:pt x="9313441" y="5375065"/>
                  </a:lnTo>
                  <a:lnTo>
                    <a:pt x="9289615" y="5356003"/>
                  </a:lnTo>
                  <a:lnTo>
                    <a:pt x="9265789" y="5346474"/>
                  </a:lnTo>
                  <a:lnTo>
                    <a:pt x="9270554" y="5365535"/>
                  </a:lnTo>
                  <a:lnTo>
                    <a:pt x="9289615" y="5413187"/>
                  </a:lnTo>
                  <a:lnTo>
                    <a:pt x="9313441" y="5446541"/>
                  </a:lnTo>
                  <a:lnTo>
                    <a:pt x="9327736" y="5460836"/>
                  </a:lnTo>
                  <a:lnTo>
                    <a:pt x="9322971" y="5475132"/>
                  </a:lnTo>
                  <a:lnTo>
                    <a:pt x="9289615" y="5498959"/>
                  </a:lnTo>
                  <a:lnTo>
                    <a:pt x="9251494" y="5508489"/>
                  </a:lnTo>
                  <a:lnTo>
                    <a:pt x="9203843" y="5508489"/>
                  </a:lnTo>
                  <a:lnTo>
                    <a:pt x="9203843" y="5518018"/>
                  </a:lnTo>
                  <a:lnTo>
                    <a:pt x="9218138" y="5541845"/>
                  </a:lnTo>
                  <a:lnTo>
                    <a:pt x="9237198" y="5565670"/>
                  </a:lnTo>
                  <a:lnTo>
                    <a:pt x="9251494" y="5575202"/>
                  </a:lnTo>
                  <a:lnTo>
                    <a:pt x="9284850" y="5565670"/>
                  </a:lnTo>
                  <a:lnTo>
                    <a:pt x="9327736" y="5537077"/>
                  </a:lnTo>
                  <a:lnTo>
                    <a:pt x="9351562" y="5527549"/>
                  </a:lnTo>
                  <a:lnTo>
                    <a:pt x="9403978" y="5537077"/>
                  </a:lnTo>
                  <a:lnTo>
                    <a:pt x="9423038" y="5546608"/>
                  </a:lnTo>
                  <a:lnTo>
                    <a:pt x="9484985" y="5613322"/>
                  </a:lnTo>
                  <a:lnTo>
                    <a:pt x="9494516" y="5613322"/>
                  </a:lnTo>
                  <a:lnTo>
                    <a:pt x="9537402" y="5579966"/>
                  </a:lnTo>
                  <a:lnTo>
                    <a:pt x="9604113" y="5579966"/>
                  </a:lnTo>
                  <a:lnTo>
                    <a:pt x="9627939" y="5608555"/>
                  </a:lnTo>
                  <a:lnTo>
                    <a:pt x="9637469" y="5656207"/>
                  </a:lnTo>
                  <a:lnTo>
                    <a:pt x="9642234" y="5699092"/>
                  </a:lnTo>
                  <a:lnTo>
                    <a:pt x="9632704" y="5732447"/>
                  </a:lnTo>
                  <a:lnTo>
                    <a:pt x="9647000" y="5761041"/>
                  </a:lnTo>
                  <a:lnTo>
                    <a:pt x="9685120" y="5789628"/>
                  </a:lnTo>
                  <a:lnTo>
                    <a:pt x="9713711" y="5799160"/>
                  </a:lnTo>
                  <a:lnTo>
                    <a:pt x="9737537" y="5780101"/>
                  </a:lnTo>
                  <a:lnTo>
                    <a:pt x="9766128" y="5741980"/>
                  </a:lnTo>
                  <a:lnTo>
                    <a:pt x="9780423" y="5732447"/>
                  </a:lnTo>
                  <a:lnTo>
                    <a:pt x="9794718" y="5732447"/>
                  </a:lnTo>
                  <a:lnTo>
                    <a:pt x="9813779" y="5761041"/>
                  </a:lnTo>
                  <a:lnTo>
                    <a:pt x="9837605" y="5818221"/>
                  </a:lnTo>
                  <a:lnTo>
                    <a:pt x="9842370" y="5884931"/>
                  </a:lnTo>
                  <a:lnTo>
                    <a:pt x="9818544" y="5961176"/>
                  </a:lnTo>
                  <a:lnTo>
                    <a:pt x="9794718" y="6008828"/>
                  </a:lnTo>
                  <a:lnTo>
                    <a:pt x="9694651" y="6089834"/>
                  </a:lnTo>
                  <a:lnTo>
                    <a:pt x="9661295" y="6123190"/>
                  </a:lnTo>
                  <a:lnTo>
                    <a:pt x="9637469" y="6156547"/>
                  </a:lnTo>
                  <a:lnTo>
                    <a:pt x="9604113" y="6185136"/>
                  </a:lnTo>
                  <a:lnTo>
                    <a:pt x="9532636" y="6223255"/>
                  </a:lnTo>
                  <a:lnTo>
                    <a:pt x="9499281" y="6228023"/>
                  </a:lnTo>
                  <a:lnTo>
                    <a:pt x="9418273" y="6270909"/>
                  </a:lnTo>
                  <a:lnTo>
                    <a:pt x="9403978" y="6275673"/>
                  </a:lnTo>
                  <a:lnTo>
                    <a:pt x="9375387" y="6266144"/>
                  </a:lnTo>
                  <a:lnTo>
                    <a:pt x="9370622" y="6247084"/>
                  </a:lnTo>
                  <a:lnTo>
                    <a:pt x="9375387" y="6208961"/>
                  </a:lnTo>
                  <a:lnTo>
                    <a:pt x="9384918" y="6175606"/>
                  </a:lnTo>
                  <a:lnTo>
                    <a:pt x="9394448" y="6147015"/>
                  </a:lnTo>
                  <a:lnTo>
                    <a:pt x="9399213" y="6118426"/>
                  </a:lnTo>
                  <a:lnTo>
                    <a:pt x="9375387" y="6080303"/>
                  </a:lnTo>
                  <a:lnTo>
                    <a:pt x="9361092" y="6061242"/>
                  </a:lnTo>
                  <a:lnTo>
                    <a:pt x="9342031" y="6051713"/>
                  </a:lnTo>
                  <a:lnTo>
                    <a:pt x="9313441" y="6056477"/>
                  </a:lnTo>
                  <a:lnTo>
                    <a:pt x="9294380" y="6066009"/>
                  </a:lnTo>
                  <a:lnTo>
                    <a:pt x="9280085" y="6070773"/>
                  </a:lnTo>
                  <a:lnTo>
                    <a:pt x="9261024" y="6061242"/>
                  </a:lnTo>
                  <a:lnTo>
                    <a:pt x="9241964" y="6042184"/>
                  </a:lnTo>
                  <a:lnTo>
                    <a:pt x="9208608" y="5970705"/>
                  </a:lnTo>
                  <a:lnTo>
                    <a:pt x="9194312" y="5961176"/>
                  </a:lnTo>
                  <a:lnTo>
                    <a:pt x="9180017" y="5965940"/>
                  </a:lnTo>
                  <a:lnTo>
                    <a:pt x="9165722" y="5951644"/>
                  </a:lnTo>
                  <a:lnTo>
                    <a:pt x="9151426" y="5932584"/>
                  </a:lnTo>
                  <a:lnTo>
                    <a:pt x="9132366" y="5908759"/>
                  </a:lnTo>
                  <a:lnTo>
                    <a:pt x="9137131" y="5923054"/>
                  </a:lnTo>
                  <a:lnTo>
                    <a:pt x="9156191" y="5965940"/>
                  </a:lnTo>
                  <a:lnTo>
                    <a:pt x="9175252" y="6008828"/>
                  </a:lnTo>
                  <a:lnTo>
                    <a:pt x="9180017" y="6046948"/>
                  </a:lnTo>
                  <a:lnTo>
                    <a:pt x="9180017" y="6080303"/>
                  </a:lnTo>
                  <a:lnTo>
                    <a:pt x="8998942" y="6099363"/>
                  </a:lnTo>
                  <a:lnTo>
                    <a:pt x="8917935" y="6089834"/>
                  </a:lnTo>
                  <a:lnTo>
                    <a:pt x="8903640" y="6061242"/>
                  </a:lnTo>
                  <a:lnTo>
                    <a:pt x="8865519" y="5942115"/>
                  </a:lnTo>
                  <a:lnTo>
                    <a:pt x="8860754" y="6151779"/>
                  </a:lnTo>
                  <a:lnTo>
                    <a:pt x="8722565" y="6189900"/>
                  </a:lnTo>
                  <a:lnTo>
                    <a:pt x="8693974" y="6180371"/>
                  </a:lnTo>
                  <a:lnTo>
                    <a:pt x="8641558" y="6156547"/>
                  </a:lnTo>
                  <a:lnTo>
                    <a:pt x="8572463" y="6104129"/>
                  </a:lnTo>
                  <a:lnTo>
                    <a:pt x="8543872" y="6066009"/>
                  </a:lnTo>
                  <a:lnTo>
                    <a:pt x="8534342" y="6027886"/>
                  </a:lnTo>
                  <a:lnTo>
                    <a:pt x="8524812" y="6004061"/>
                  </a:lnTo>
                  <a:lnTo>
                    <a:pt x="8520047" y="5999296"/>
                  </a:lnTo>
                  <a:lnTo>
                    <a:pt x="8505751" y="6046948"/>
                  </a:lnTo>
                  <a:lnTo>
                    <a:pt x="8486691" y="6142250"/>
                  </a:lnTo>
                  <a:lnTo>
                    <a:pt x="8439040" y="6118426"/>
                  </a:lnTo>
                  <a:lnTo>
                    <a:pt x="8381858" y="6094598"/>
                  </a:lnTo>
                  <a:lnTo>
                    <a:pt x="8358032" y="5999296"/>
                  </a:lnTo>
                  <a:lnTo>
                    <a:pt x="8358032" y="6132719"/>
                  </a:lnTo>
                  <a:lnTo>
                    <a:pt x="8262730" y="6118426"/>
                  </a:lnTo>
                  <a:lnTo>
                    <a:pt x="8219844" y="6123190"/>
                  </a:lnTo>
                  <a:lnTo>
                    <a:pt x="8205548" y="6004061"/>
                  </a:lnTo>
                  <a:lnTo>
                    <a:pt x="8200783" y="5875403"/>
                  </a:lnTo>
                  <a:lnTo>
                    <a:pt x="8181723" y="5956409"/>
                  </a:lnTo>
                  <a:lnTo>
                    <a:pt x="8191253" y="6027886"/>
                  </a:lnTo>
                  <a:lnTo>
                    <a:pt x="8196018" y="6108893"/>
                  </a:lnTo>
                  <a:lnTo>
                    <a:pt x="8153132" y="6085069"/>
                  </a:lnTo>
                  <a:lnTo>
                    <a:pt x="8067360" y="6075538"/>
                  </a:lnTo>
                  <a:lnTo>
                    <a:pt x="8034004" y="6066009"/>
                  </a:lnTo>
                  <a:lnTo>
                    <a:pt x="8038769" y="5951644"/>
                  </a:lnTo>
                  <a:lnTo>
                    <a:pt x="8043534" y="5837282"/>
                  </a:lnTo>
                  <a:lnTo>
                    <a:pt x="8157897" y="5722920"/>
                  </a:lnTo>
                  <a:lnTo>
                    <a:pt x="8191253" y="5665736"/>
                  </a:lnTo>
                  <a:lnTo>
                    <a:pt x="8215079" y="5646679"/>
                  </a:lnTo>
                  <a:lnTo>
                    <a:pt x="8257965" y="5632380"/>
                  </a:lnTo>
                  <a:lnTo>
                    <a:pt x="8305616" y="5622850"/>
                  </a:lnTo>
                  <a:lnTo>
                    <a:pt x="8338972" y="5627616"/>
                  </a:lnTo>
                  <a:lnTo>
                    <a:pt x="8381858" y="5622850"/>
                  </a:lnTo>
                  <a:lnTo>
                    <a:pt x="8424744" y="5603790"/>
                  </a:lnTo>
                  <a:lnTo>
                    <a:pt x="8458100" y="5594262"/>
                  </a:lnTo>
                  <a:lnTo>
                    <a:pt x="8462865" y="5589494"/>
                  </a:lnTo>
                  <a:lnTo>
                    <a:pt x="8453335" y="5575202"/>
                  </a:lnTo>
                  <a:lnTo>
                    <a:pt x="8419979" y="5498959"/>
                  </a:lnTo>
                  <a:lnTo>
                    <a:pt x="8405684" y="5484664"/>
                  </a:lnTo>
                  <a:lnTo>
                    <a:pt x="8396154" y="5475132"/>
                  </a:lnTo>
                  <a:lnTo>
                    <a:pt x="8367563" y="5475132"/>
                  </a:lnTo>
                  <a:lnTo>
                    <a:pt x="8343737" y="5437012"/>
                  </a:lnTo>
                  <a:lnTo>
                    <a:pt x="8329442" y="5408419"/>
                  </a:lnTo>
                  <a:lnTo>
                    <a:pt x="8315146" y="5370299"/>
                  </a:lnTo>
                  <a:lnTo>
                    <a:pt x="8291321" y="5289293"/>
                  </a:lnTo>
                  <a:lnTo>
                    <a:pt x="8262730" y="5203520"/>
                  </a:lnTo>
                  <a:lnTo>
                    <a:pt x="8277025" y="5155867"/>
                  </a:lnTo>
                  <a:lnTo>
                    <a:pt x="8315146" y="5117747"/>
                  </a:lnTo>
                  <a:lnTo>
                    <a:pt x="8358032" y="5089158"/>
                  </a:lnTo>
                  <a:lnTo>
                    <a:pt x="8400919" y="5074862"/>
                  </a:lnTo>
                  <a:lnTo>
                    <a:pt x="8434275" y="5074862"/>
                  </a:lnTo>
                  <a:lnTo>
                    <a:pt x="8472396" y="5098686"/>
                  </a:lnTo>
                  <a:lnTo>
                    <a:pt x="8529577" y="5136807"/>
                  </a:lnTo>
                  <a:lnTo>
                    <a:pt x="8562933" y="5184460"/>
                  </a:lnTo>
                  <a:lnTo>
                    <a:pt x="8603437" y="5279761"/>
                  </a:lnTo>
                  <a:lnTo>
                    <a:pt x="8632027" y="5356003"/>
                  </a:lnTo>
                  <a:lnTo>
                    <a:pt x="8655853" y="5389359"/>
                  </a:lnTo>
                  <a:lnTo>
                    <a:pt x="8755921" y="5451308"/>
                  </a:lnTo>
                  <a:lnTo>
                    <a:pt x="8789276" y="5465600"/>
                  </a:lnTo>
                  <a:lnTo>
                    <a:pt x="8827398" y="5460836"/>
                  </a:lnTo>
                  <a:lnTo>
                    <a:pt x="8908405" y="5441776"/>
                  </a:lnTo>
                  <a:lnTo>
                    <a:pt x="8946526" y="5427480"/>
                  </a:lnTo>
                  <a:lnTo>
                    <a:pt x="8960821" y="5403655"/>
                  </a:lnTo>
                  <a:lnTo>
                    <a:pt x="8970351" y="5375065"/>
                  </a:lnTo>
                  <a:lnTo>
                    <a:pt x="8984647" y="5351238"/>
                  </a:lnTo>
                  <a:lnTo>
                    <a:pt x="9018003" y="5303590"/>
                  </a:lnTo>
                  <a:lnTo>
                    <a:pt x="9075184" y="5193989"/>
                  </a:lnTo>
                  <a:lnTo>
                    <a:pt x="9103775" y="5108218"/>
                  </a:lnTo>
                  <a:lnTo>
                    <a:pt x="9108540" y="5079626"/>
                  </a:lnTo>
                  <a:lnTo>
                    <a:pt x="9118070" y="5041505"/>
                  </a:lnTo>
                  <a:lnTo>
                    <a:pt x="9122836" y="5003385"/>
                  </a:lnTo>
                  <a:lnTo>
                    <a:pt x="9103775" y="5022445"/>
                  </a:lnTo>
                  <a:lnTo>
                    <a:pt x="9008472" y="5236877"/>
                  </a:lnTo>
                  <a:lnTo>
                    <a:pt x="8989412" y="5274997"/>
                  </a:lnTo>
                  <a:lnTo>
                    <a:pt x="8936996" y="5341710"/>
                  </a:lnTo>
                  <a:lnTo>
                    <a:pt x="8913170" y="5351238"/>
                  </a:lnTo>
                  <a:lnTo>
                    <a:pt x="8875049" y="5346474"/>
                  </a:lnTo>
                  <a:lnTo>
                    <a:pt x="8827398" y="5317882"/>
                  </a:lnTo>
                  <a:lnTo>
                    <a:pt x="8770216" y="5365535"/>
                  </a:lnTo>
                  <a:lnTo>
                    <a:pt x="8732095" y="5351238"/>
                  </a:lnTo>
                  <a:lnTo>
                    <a:pt x="8698739" y="5322646"/>
                  </a:lnTo>
                  <a:lnTo>
                    <a:pt x="8698739" y="5170164"/>
                  </a:lnTo>
                  <a:lnTo>
                    <a:pt x="8660618" y="5051038"/>
                  </a:lnTo>
                  <a:lnTo>
                    <a:pt x="8703504" y="4989089"/>
                  </a:lnTo>
                  <a:lnTo>
                    <a:pt x="8741625" y="4950968"/>
                  </a:lnTo>
                  <a:lnTo>
                    <a:pt x="8803572" y="4846135"/>
                  </a:lnTo>
                  <a:lnTo>
                    <a:pt x="8817867" y="4846135"/>
                  </a:lnTo>
                  <a:lnTo>
                    <a:pt x="8865519" y="4860431"/>
                  </a:lnTo>
                  <a:lnTo>
                    <a:pt x="8841693" y="4841370"/>
                  </a:lnTo>
                  <a:lnTo>
                    <a:pt x="8817867" y="4803250"/>
                  </a:lnTo>
                  <a:lnTo>
                    <a:pt x="8760686" y="4812778"/>
                  </a:lnTo>
                  <a:lnTo>
                    <a:pt x="8779746" y="4588818"/>
                  </a:lnTo>
                  <a:lnTo>
                    <a:pt x="8741625" y="4755597"/>
                  </a:lnTo>
                  <a:lnTo>
                    <a:pt x="8703504" y="4846135"/>
                  </a:lnTo>
                  <a:lnTo>
                    <a:pt x="8679679" y="4889023"/>
                  </a:lnTo>
                  <a:lnTo>
                    <a:pt x="8655853" y="4912847"/>
                  </a:lnTo>
                  <a:lnTo>
                    <a:pt x="8558168" y="4931908"/>
                  </a:lnTo>
                  <a:lnTo>
                    <a:pt x="8579611" y="4855666"/>
                  </a:lnTo>
                  <a:lnTo>
                    <a:pt x="8603437" y="4736537"/>
                  </a:lnTo>
                  <a:lnTo>
                    <a:pt x="8579611" y="4779424"/>
                  </a:lnTo>
                  <a:lnTo>
                    <a:pt x="8524812" y="4846135"/>
                  </a:lnTo>
                  <a:lnTo>
                    <a:pt x="8481926" y="4879491"/>
                  </a:lnTo>
                  <a:lnTo>
                    <a:pt x="8448570" y="4898551"/>
                  </a:lnTo>
                  <a:lnTo>
                    <a:pt x="8381858" y="4893787"/>
                  </a:lnTo>
                  <a:lnTo>
                    <a:pt x="8348502" y="4860431"/>
                  </a:lnTo>
                  <a:lnTo>
                    <a:pt x="8358032" y="4779424"/>
                  </a:lnTo>
                  <a:lnTo>
                    <a:pt x="8358032" y="4674592"/>
                  </a:lnTo>
                  <a:lnTo>
                    <a:pt x="8381858" y="4626939"/>
                  </a:lnTo>
                  <a:lnTo>
                    <a:pt x="8410449" y="4564994"/>
                  </a:lnTo>
                  <a:lnTo>
                    <a:pt x="8443805" y="4483985"/>
                  </a:lnTo>
                  <a:lnTo>
                    <a:pt x="8467630" y="4393447"/>
                  </a:lnTo>
                  <a:lnTo>
                    <a:pt x="8553403" y="4355327"/>
                  </a:lnTo>
                  <a:lnTo>
                    <a:pt x="8636792" y="4336266"/>
                  </a:lnTo>
                  <a:lnTo>
                    <a:pt x="8708269" y="4293381"/>
                  </a:lnTo>
                  <a:lnTo>
                    <a:pt x="8746390" y="4283849"/>
                  </a:lnTo>
                  <a:lnTo>
                    <a:pt x="8779746" y="4307676"/>
                  </a:lnTo>
                  <a:lnTo>
                    <a:pt x="8917935" y="4341031"/>
                  </a:lnTo>
                  <a:lnTo>
                    <a:pt x="8970351" y="4369623"/>
                  </a:lnTo>
                  <a:lnTo>
                    <a:pt x="8998942" y="4388683"/>
                  </a:lnTo>
                  <a:lnTo>
                    <a:pt x="9013238" y="4398212"/>
                  </a:lnTo>
                  <a:lnTo>
                    <a:pt x="9037063" y="4369623"/>
                  </a:lnTo>
                  <a:lnTo>
                    <a:pt x="9060889" y="4336266"/>
                  </a:lnTo>
                  <a:lnTo>
                    <a:pt x="9146661" y="4341031"/>
                  </a:lnTo>
                  <a:lnTo>
                    <a:pt x="9170487" y="4336266"/>
                  </a:lnTo>
                  <a:lnTo>
                    <a:pt x="9189547" y="4321971"/>
                  </a:lnTo>
                  <a:lnTo>
                    <a:pt x="9218138" y="4293381"/>
                  </a:lnTo>
                  <a:lnTo>
                    <a:pt x="9246729" y="4250494"/>
                  </a:lnTo>
                  <a:lnTo>
                    <a:pt x="9251494" y="4231433"/>
                  </a:lnTo>
                  <a:lnTo>
                    <a:pt x="9232433" y="4231433"/>
                  </a:lnTo>
                  <a:lnTo>
                    <a:pt x="9208608" y="4240965"/>
                  </a:lnTo>
                  <a:lnTo>
                    <a:pt x="9175252" y="4274320"/>
                  </a:lnTo>
                  <a:lnTo>
                    <a:pt x="9146661" y="4288614"/>
                  </a:lnTo>
                  <a:lnTo>
                    <a:pt x="9113305" y="4288614"/>
                  </a:lnTo>
                  <a:lnTo>
                    <a:pt x="9051359" y="4260025"/>
                  </a:lnTo>
                  <a:lnTo>
                    <a:pt x="8936996" y="4255258"/>
                  </a:lnTo>
                  <a:lnTo>
                    <a:pt x="8879814" y="4245729"/>
                  </a:lnTo>
                  <a:lnTo>
                    <a:pt x="8851223" y="4231433"/>
                  </a:lnTo>
                  <a:lnTo>
                    <a:pt x="8836928" y="4212372"/>
                  </a:lnTo>
                  <a:lnTo>
                    <a:pt x="8822632" y="4188548"/>
                  </a:lnTo>
                  <a:lnTo>
                    <a:pt x="8813102" y="4155191"/>
                  </a:lnTo>
                  <a:lnTo>
                    <a:pt x="8817867" y="4126600"/>
                  </a:lnTo>
                  <a:lnTo>
                    <a:pt x="8841693" y="4112307"/>
                  </a:lnTo>
                  <a:lnTo>
                    <a:pt x="8860754" y="4112307"/>
                  </a:lnTo>
                  <a:lnTo>
                    <a:pt x="8894109" y="4131367"/>
                  </a:lnTo>
                  <a:lnTo>
                    <a:pt x="8927465" y="4164723"/>
                  </a:lnTo>
                  <a:lnTo>
                    <a:pt x="8970351" y="4169488"/>
                  </a:lnTo>
                  <a:lnTo>
                    <a:pt x="8956056" y="4136131"/>
                  </a:lnTo>
                  <a:lnTo>
                    <a:pt x="8903640" y="4078950"/>
                  </a:lnTo>
                  <a:lnTo>
                    <a:pt x="8870284" y="4026533"/>
                  </a:lnTo>
                  <a:lnTo>
                    <a:pt x="8841693" y="3959821"/>
                  </a:lnTo>
                  <a:lnTo>
                    <a:pt x="8817867" y="3897875"/>
                  </a:lnTo>
                  <a:lnTo>
                    <a:pt x="8770216" y="3797806"/>
                  </a:lnTo>
                  <a:lnTo>
                    <a:pt x="8732095" y="3697740"/>
                  </a:lnTo>
                  <a:lnTo>
                    <a:pt x="8703504" y="3650088"/>
                  </a:lnTo>
                  <a:lnTo>
                    <a:pt x="8674914" y="3626263"/>
                  </a:lnTo>
                  <a:lnTo>
                    <a:pt x="8584376" y="3602437"/>
                  </a:lnTo>
                  <a:lnTo>
                    <a:pt x="8567698" y="3583375"/>
                  </a:lnTo>
                  <a:lnTo>
                    <a:pt x="8524812" y="3492839"/>
                  </a:lnTo>
                  <a:lnTo>
                    <a:pt x="8515282" y="3335591"/>
                  </a:lnTo>
                  <a:lnTo>
                    <a:pt x="8496221" y="3240287"/>
                  </a:lnTo>
                  <a:lnTo>
                    <a:pt x="8515282" y="3116394"/>
                  </a:lnTo>
                  <a:lnTo>
                    <a:pt x="8543872" y="3063978"/>
                  </a:lnTo>
                  <a:lnTo>
                    <a:pt x="8722565" y="3106865"/>
                  </a:lnTo>
                  <a:lnTo>
                    <a:pt x="8798807" y="3097334"/>
                  </a:lnTo>
                  <a:lnTo>
                    <a:pt x="8894109" y="3116394"/>
                  </a:lnTo>
                  <a:lnTo>
                    <a:pt x="8946526" y="3144984"/>
                  </a:lnTo>
                  <a:lnTo>
                    <a:pt x="9003707" y="3221227"/>
                  </a:lnTo>
                  <a:lnTo>
                    <a:pt x="9056124" y="3306998"/>
                  </a:lnTo>
                  <a:lnTo>
                    <a:pt x="9108540" y="3359415"/>
                  </a:lnTo>
                  <a:lnTo>
                    <a:pt x="9156191" y="3435656"/>
                  </a:lnTo>
                  <a:lnTo>
                    <a:pt x="9208608" y="3545254"/>
                  </a:lnTo>
                  <a:lnTo>
                    <a:pt x="9237198" y="3602437"/>
                  </a:lnTo>
                  <a:lnTo>
                    <a:pt x="9261024" y="3631027"/>
                  </a:lnTo>
                  <a:lnTo>
                    <a:pt x="9299145" y="3659619"/>
                  </a:lnTo>
                  <a:lnTo>
                    <a:pt x="9365857" y="3692975"/>
                  </a:lnTo>
                  <a:lnTo>
                    <a:pt x="9423038" y="3707271"/>
                  </a:lnTo>
                  <a:lnTo>
                    <a:pt x="9451629" y="3702504"/>
                  </a:lnTo>
                  <a:lnTo>
                    <a:pt x="9484985" y="3678680"/>
                  </a:lnTo>
                  <a:lnTo>
                    <a:pt x="9508811" y="3645323"/>
                  </a:lnTo>
                  <a:lnTo>
                    <a:pt x="9480220" y="3640559"/>
                  </a:lnTo>
                  <a:lnTo>
                    <a:pt x="9413508" y="3640559"/>
                  </a:lnTo>
                  <a:lnTo>
                    <a:pt x="9370622" y="3626263"/>
                  </a:lnTo>
                  <a:lnTo>
                    <a:pt x="9342031" y="3588142"/>
                  </a:lnTo>
                  <a:lnTo>
                    <a:pt x="9313441" y="3540490"/>
                  </a:lnTo>
                  <a:lnTo>
                    <a:pt x="9270554" y="3449953"/>
                  </a:lnTo>
                  <a:lnTo>
                    <a:pt x="9237198" y="3392772"/>
                  </a:lnTo>
                  <a:lnTo>
                    <a:pt x="9160956" y="3292704"/>
                  </a:lnTo>
                  <a:lnTo>
                    <a:pt x="9108540" y="3192636"/>
                  </a:lnTo>
                  <a:lnTo>
                    <a:pt x="9065654" y="3102099"/>
                  </a:lnTo>
                  <a:lnTo>
                    <a:pt x="9060889" y="3059213"/>
                  </a:lnTo>
                  <a:lnTo>
                    <a:pt x="9089480" y="3030622"/>
                  </a:lnTo>
                  <a:lnTo>
                    <a:pt x="9132366" y="3011562"/>
                  </a:lnTo>
                  <a:lnTo>
                    <a:pt x="9375387" y="2944849"/>
                  </a:lnTo>
                  <a:lnTo>
                    <a:pt x="9518341" y="2863841"/>
                  </a:lnTo>
                  <a:lnTo>
                    <a:pt x="9575523" y="2773306"/>
                  </a:lnTo>
                  <a:lnTo>
                    <a:pt x="9585053" y="2749476"/>
                  </a:lnTo>
                  <a:lnTo>
                    <a:pt x="9780423" y="2620819"/>
                  </a:lnTo>
                  <a:lnTo>
                    <a:pt x="9913847" y="2568402"/>
                  </a:lnTo>
                  <a:lnTo>
                    <a:pt x="9971028" y="2563638"/>
                  </a:lnTo>
                  <a:lnTo>
                    <a:pt x="10018680" y="2539814"/>
                  </a:lnTo>
                  <a:lnTo>
                    <a:pt x="10018680" y="2525520"/>
                  </a:lnTo>
                  <a:lnTo>
                    <a:pt x="9975793" y="2511220"/>
                  </a:lnTo>
                  <a:lnTo>
                    <a:pt x="9932907" y="2501693"/>
                  </a:lnTo>
                  <a:lnTo>
                    <a:pt x="9837605" y="2501693"/>
                  </a:lnTo>
                  <a:lnTo>
                    <a:pt x="9751832" y="2482631"/>
                  </a:lnTo>
                  <a:lnTo>
                    <a:pt x="9728007" y="2454043"/>
                  </a:lnTo>
                  <a:lnTo>
                    <a:pt x="9732772" y="2406390"/>
                  </a:lnTo>
                  <a:lnTo>
                    <a:pt x="9742302" y="2363505"/>
                  </a:lnTo>
                  <a:lnTo>
                    <a:pt x="9766128" y="2292027"/>
                  </a:lnTo>
                  <a:lnTo>
                    <a:pt x="9794718" y="2239610"/>
                  </a:lnTo>
                  <a:lnTo>
                    <a:pt x="9913847" y="2082361"/>
                  </a:lnTo>
                  <a:lnTo>
                    <a:pt x="9990089" y="2010884"/>
                  </a:lnTo>
                  <a:lnTo>
                    <a:pt x="10013914" y="1967998"/>
                  </a:lnTo>
                  <a:lnTo>
                    <a:pt x="9842370" y="2068066"/>
                  </a:lnTo>
                  <a:lnTo>
                    <a:pt x="9785188" y="2144308"/>
                  </a:lnTo>
                  <a:lnTo>
                    <a:pt x="9723242" y="2253906"/>
                  </a:lnTo>
                  <a:lnTo>
                    <a:pt x="9694651" y="2287262"/>
                  </a:lnTo>
                  <a:lnTo>
                    <a:pt x="9670825" y="2277731"/>
                  </a:lnTo>
                  <a:lnTo>
                    <a:pt x="9651765" y="2287262"/>
                  </a:lnTo>
                  <a:lnTo>
                    <a:pt x="9632704" y="2315853"/>
                  </a:lnTo>
                  <a:lnTo>
                    <a:pt x="9618409" y="2368270"/>
                  </a:lnTo>
                  <a:lnTo>
                    <a:pt x="9608878" y="2444511"/>
                  </a:lnTo>
                  <a:lnTo>
                    <a:pt x="9599348" y="2496928"/>
                  </a:lnTo>
                  <a:lnTo>
                    <a:pt x="9589818" y="2525520"/>
                  </a:lnTo>
                  <a:lnTo>
                    <a:pt x="9565992" y="2563638"/>
                  </a:lnTo>
                  <a:lnTo>
                    <a:pt x="9504046" y="2639880"/>
                  </a:lnTo>
                  <a:lnTo>
                    <a:pt x="9370622" y="2744713"/>
                  </a:lnTo>
                  <a:lnTo>
                    <a:pt x="9322971" y="2773306"/>
                  </a:lnTo>
                  <a:lnTo>
                    <a:pt x="9284850" y="2778070"/>
                  </a:lnTo>
                  <a:lnTo>
                    <a:pt x="9156191" y="2835251"/>
                  </a:lnTo>
                  <a:lnTo>
                    <a:pt x="9118070" y="2835251"/>
                  </a:lnTo>
                  <a:lnTo>
                    <a:pt x="9075184" y="2820955"/>
                  </a:lnTo>
                  <a:lnTo>
                    <a:pt x="9094245" y="2768540"/>
                  </a:lnTo>
                  <a:lnTo>
                    <a:pt x="9160956" y="2673238"/>
                  </a:lnTo>
                  <a:lnTo>
                    <a:pt x="9180017" y="2630351"/>
                  </a:lnTo>
                  <a:lnTo>
                    <a:pt x="9137131" y="2639880"/>
                  </a:lnTo>
                  <a:lnTo>
                    <a:pt x="9094245" y="2668474"/>
                  </a:lnTo>
                  <a:lnTo>
                    <a:pt x="8994177" y="2687532"/>
                  </a:lnTo>
                  <a:lnTo>
                    <a:pt x="8956056" y="2725655"/>
                  </a:lnTo>
                  <a:lnTo>
                    <a:pt x="8917935" y="2797132"/>
                  </a:lnTo>
                  <a:lnTo>
                    <a:pt x="8889344" y="2840015"/>
                  </a:lnTo>
                  <a:lnTo>
                    <a:pt x="8865519" y="2859077"/>
                  </a:lnTo>
                  <a:lnTo>
                    <a:pt x="8836928" y="2868609"/>
                  </a:lnTo>
                  <a:lnTo>
                    <a:pt x="8722565" y="2873370"/>
                  </a:lnTo>
                  <a:lnTo>
                    <a:pt x="8698739" y="2868609"/>
                  </a:lnTo>
                  <a:lnTo>
                    <a:pt x="8632027" y="2816189"/>
                  </a:lnTo>
                  <a:lnTo>
                    <a:pt x="8574846" y="2835251"/>
                  </a:lnTo>
                  <a:lnTo>
                    <a:pt x="8553403" y="2830487"/>
                  </a:lnTo>
                  <a:lnTo>
                    <a:pt x="8510517" y="2792366"/>
                  </a:lnTo>
                  <a:lnTo>
                    <a:pt x="8496221" y="2768540"/>
                  </a:lnTo>
                  <a:lnTo>
                    <a:pt x="8496221" y="2735183"/>
                  </a:lnTo>
                  <a:lnTo>
                    <a:pt x="8524812" y="2673238"/>
                  </a:lnTo>
                  <a:lnTo>
                    <a:pt x="8553403" y="2616057"/>
                  </a:lnTo>
                  <a:lnTo>
                    <a:pt x="8646323" y="2482631"/>
                  </a:lnTo>
                  <a:lnTo>
                    <a:pt x="8708269" y="2420686"/>
                  </a:lnTo>
                  <a:lnTo>
                    <a:pt x="8794042" y="2363505"/>
                  </a:lnTo>
                  <a:lnTo>
                    <a:pt x="9003707" y="2301558"/>
                  </a:lnTo>
                  <a:lnTo>
                    <a:pt x="9013238" y="2258671"/>
                  </a:lnTo>
                  <a:lnTo>
                    <a:pt x="8803572" y="2306322"/>
                  </a:lnTo>
                  <a:lnTo>
                    <a:pt x="8622497" y="2373034"/>
                  </a:lnTo>
                  <a:lnTo>
                    <a:pt x="8593906" y="2396862"/>
                  </a:lnTo>
                  <a:lnTo>
                    <a:pt x="8558168" y="2454043"/>
                  </a:lnTo>
                  <a:lnTo>
                    <a:pt x="8424744" y="2673238"/>
                  </a:lnTo>
                  <a:lnTo>
                    <a:pt x="8386623" y="2730419"/>
                  </a:lnTo>
                  <a:lnTo>
                    <a:pt x="8324677" y="2744713"/>
                  </a:lnTo>
                  <a:lnTo>
                    <a:pt x="8277025" y="2725655"/>
                  </a:lnTo>
                  <a:lnTo>
                    <a:pt x="8243669" y="2697063"/>
                  </a:lnTo>
                  <a:lnTo>
                    <a:pt x="8181723" y="2635114"/>
                  </a:lnTo>
                  <a:lnTo>
                    <a:pt x="8134072" y="2596997"/>
                  </a:lnTo>
                  <a:lnTo>
                    <a:pt x="8115011" y="2573169"/>
                  </a:lnTo>
                  <a:lnTo>
                    <a:pt x="8100716" y="2549344"/>
                  </a:lnTo>
                  <a:lnTo>
                    <a:pt x="8091185" y="2525520"/>
                  </a:lnTo>
                  <a:lnTo>
                    <a:pt x="8081655" y="2492161"/>
                  </a:lnTo>
                  <a:lnTo>
                    <a:pt x="8095950" y="2463571"/>
                  </a:lnTo>
                  <a:lnTo>
                    <a:pt x="8215079" y="2406390"/>
                  </a:lnTo>
                  <a:lnTo>
                    <a:pt x="8377093" y="2415922"/>
                  </a:lnTo>
                  <a:lnTo>
                    <a:pt x="8448570" y="2406390"/>
                  </a:lnTo>
                  <a:lnTo>
                    <a:pt x="8520047" y="2373034"/>
                  </a:lnTo>
                  <a:lnTo>
                    <a:pt x="8617732" y="2282496"/>
                  </a:lnTo>
                  <a:lnTo>
                    <a:pt x="8732095" y="2158603"/>
                  </a:lnTo>
                  <a:lnTo>
                    <a:pt x="8755921" y="2115717"/>
                  </a:lnTo>
                  <a:lnTo>
                    <a:pt x="8713034" y="2106187"/>
                  </a:lnTo>
                  <a:lnTo>
                    <a:pt x="8684444" y="2115717"/>
                  </a:lnTo>
                  <a:lnTo>
                    <a:pt x="8608202" y="2163368"/>
                  </a:lnTo>
                  <a:lnTo>
                    <a:pt x="8496221" y="2282496"/>
                  </a:lnTo>
                  <a:lnTo>
                    <a:pt x="8391388" y="2325382"/>
                  </a:lnTo>
                  <a:lnTo>
                    <a:pt x="8138837" y="2349209"/>
                  </a:lnTo>
                  <a:lnTo>
                    <a:pt x="8062595" y="2382563"/>
                  </a:lnTo>
                  <a:lnTo>
                    <a:pt x="8024474" y="2373034"/>
                  </a:lnTo>
                  <a:lnTo>
                    <a:pt x="8000648" y="2339677"/>
                  </a:lnTo>
                  <a:lnTo>
                    <a:pt x="7972057" y="2282496"/>
                  </a:lnTo>
                  <a:lnTo>
                    <a:pt x="7976822" y="2234845"/>
                  </a:lnTo>
                  <a:lnTo>
                    <a:pt x="8034004" y="2177664"/>
                  </a:lnTo>
                  <a:lnTo>
                    <a:pt x="8081655" y="2163368"/>
                  </a:lnTo>
                  <a:lnTo>
                    <a:pt x="8091185" y="2153838"/>
                  </a:lnTo>
                  <a:lnTo>
                    <a:pt x="8024474" y="2101423"/>
                  </a:lnTo>
                  <a:lnTo>
                    <a:pt x="8019708" y="2072831"/>
                  </a:lnTo>
                  <a:lnTo>
                    <a:pt x="8057829" y="2010884"/>
                  </a:lnTo>
                  <a:lnTo>
                    <a:pt x="8138837" y="1920348"/>
                  </a:lnTo>
                  <a:lnTo>
                    <a:pt x="8181723" y="1891756"/>
                  </a:lnTo>
                  <a:lnTo>
                    <a:pt x="8257965" y="1872696"/>
                  </a:lnTo>
                  <a:lnTo>
                    <a:pt x="8338972" y="1882226"/>
                  </a:lnTo>
                  <a:lnTo>
                    <a:pt x="8343737" y="1867931"/>
                  </a:lnTo>
                  <a:lnTo>
                    <a:pt x="8262730" y="1829809"/>
                  </a:lnTo>
                  <a:lnTo>
                    <a:pt x="8205548" y="1825044"/>
                  </a:lnTo>
                  <a:lnTo>
                    <a:pt x="8129306" y="1848871"/>
                  </a:lnTo>
                  <a:lnTo>
                    <a:pt x="7919641" y="1996589"/>
                  </a:lnTo>
                  <a:lnTo>
                    <a:pt x="7900580" y="1991825"/>
                  </a:lnTo>
                  <a:lnTo>
                    <a:pt x="7871989" y="1967998"/>
                  </a:lnTo>
                  <a:lnTo>
                    <a:pt x="7881520" y="1929878"/>
                  </a:lnTo>
                  <a:lnTo>
                    <a:pt x="7991118" y="1772628"/>
                  </a:lnTo>
                  <a:lnTo>
                    <a:pt x="7995883" y="1748802"/>
                  </a:lnTo>
                  <a:lnTo>
                    <a:pt x="7914876" y="1753567"/>
                  </a:lnTo>
                  <a:lnTo>
                    <a:pt x="7891050" y="1744037"/>
                  </a:lnTo>
                  <a:lnTo>
                    <a:pt x="7871989" y="1724977"/>
                  </a:lnTo>
                  <a:lnTo>
                    <a:pt x="7838634" y="1744037"/>
                  </a:lnTo>
                  <a:lnTo>
                    <a:pt x="7795747" y="1796454"/>
                  </a:lnTo>
                  <a:lnTo>
                    <a:pt x="7767157" y="1815514"/>
                  </a:lnTo>
                  <a:lnTo>
                    <a:pt x="7748096" y="1810748"/>
                  </a:lnTo>
                  <a:lnTo>
                    <a:pt x="7705210" y="1748802"/>
                  </a:lnTo>
                  <a:lnTo>
                    <a:pt x="7709975" y="1696386"/>
                  </a:lnTo>
                  <a:lnTo>
                    <a:pt x="7743331" y="1629674"/>
                  </a:lnTo>
                  <a:lnTo>
                    <a:pt x="7776687" y="1582023"/>
                  </a:lnTo>
                  <a:lnTo>
                    <a:pt x="7819573" y="1539138"/>
                  </a:lnTo>
                  <a:lnTo>
                    <a:pt x="7891050" y="1486721"/>
                  </a:lnTo>
                  <a:lnTo>
                    <a:pt x="7943466" y="1467660"/>
                  </a:lnTo>
                  <a:lnTo>
                    <a:pt x="8024474" y="1467660"/>
                  </a:lnTo>
                  <a:lnTo>
                    <a:pt x="8062595" y="1443834"/>
                  </a:lnTo>
                  <a:lnTo>
                    <a:pt x="8100716" y="1396183"/>
                  </a:lnTo>
                  <a:lnTo>
                    <a:pt x="8143602" y="1329471"/>
                  </a:lnTo>
                  <a:lnTo>
                    <a:pt x="8191253" y="1281820"/>
                  </a:lnTo>
                  <a:lnTo>
                    <a:pt x="8267495" y="1238934"/>
                  </a:lnTo>
                  <a:lnTo>
                    <a:pt x="8334207" y="1253229"/>
                  </a:lnTo>
                  <a:lnTo>
                    <a:pt x="8372328" y="1286586"/>
                  </a:lnTo>
                  <a:lnTo>
                    <a:pt x="8400919" y="1348531"/>
                  </a:lnTo>
                  <a:lnTo>
                    <a:pt x="8434275" y="1396183"/>
                  </a:lnTo>
                  <a:lnTo>
                    <a:pt x="8434275" y="1358061"/>
                  </a:lnTo>
                  <a:lnTo>
                    <a:pt x="8462865" y="1310411"/>
                  </a:lnTo>
                  <a:lnTo>
                    <a:pt x="8491456" y="1291350"/>
                  </a:lnTo>
                  <a:lnTo>
                    <a:pt x="8534342" y="1296115"/>
                  </a:lnTo>
                  <a:lnTo>
                    <a:pt x="8567698" y="1319941"/>
                  </a:lnTo>
                  <a:lnTo>
                    <a:pt x="8608202" y="1377122"/>
                  </a:lnTo>
                  <a:lnTo>
                    <a:pt x="8646323" y="1400948"/>
                  </a:lnTo>
                  <a:lnTo>
                    <a:pt x="8660618" y="1400948"/>
                  </a:lnTo>
                  <a:lnTo>
                    <a:pt x="8684444" y="1367592"/>
                  </a:lnTo>
                  <a:lnTo>
                    <a:pt x="8736860" y="1367592"/>
                  </a:lnTo>
                  <a:lnTo>
                    <a:pt x="8736860" y="1353297"/>
                  </a:lnTo>
                  <a:lnTo>
                    <a:pt x="8717800" y="1319941"/>
                  </a:lnTo>
                  <a:lnTo>
                    <a:pt x="8698739" y="1300880"/>
                  </a:lnTo>
                  <a:lnTo>
                    <a:pt x="8500986" y="1134101"/>
                  </a:lnTo>
                  <a:lnTo>
                    <a:pt x="8496221" y="1100745"/>
                  </a:lnTo>
                  <a:lnTo>
                    <a:pt x="8562933" y="1067389"/>
                  </a:lnTo>
                  <a:lnTo>
                    <a:pt x="8603437" y="1024503"/>
                  </a:lnTo>
                  <a:lnTo>
                    <a:pt x="8622497" y="1014973"/>
                  </a:lnTo>
                  <a:lnTo>
                    <a:pt x="8670148" y="929200"/>
                  </a:lnTo>
                  <a:lnTo>
                    <a:pt x="8703504" y="881550"/>
                  </a:lnTo>
                  <a:lnTo>
                    <a:pt x="8760686" y="829133"/>
                  </a:lnTo>
                  <a:lnTo>
                    <a:pt x="8784511" y="843428"/>
                  </a:lnTo>
                  <a:lnTo>
                    <a:pt x="8817867" y="891079"/>
                  </a:lnTo>
                  <a:lnTo>
                    <a:pt x="8846458" y="919670"/>
                  </a:lnTo>
                  <a:lnTo>
                    <a:pt x="8927465" y="948261"/>
                  </a:lnTo>
                  <a:lnTo>
                    <a:pt x="8965586" y="976853"/>
                  </a:lnTo>
                  <a:lnTo>
                    <a:pt x="9032298" y="1134101"/>
                  </a:lnTo>
                  <a:lnTo>
                    <a:pt x="9056124" y="1186517"/>
                  </a:lnTo>
                  <a:lnTo>
                    <a:pt x="9094245" y="1238934"/>
                  </a:lnTo>
                  <a:lnTo>
                    <a:pt x="9113305" y="1262759"/>
                  </a:lnTo>
                  <a:lnTo>
                    <a:pt x="9156191" y="1272290"/>
                  </a:lnTo>
                  <a:lnTo>
                    <a:pt x="9165722" y="1243699"/>
                  </a:lnTo>
                  <a:lnTo>
                    <a:pt x="9113305" y="1167457"/>
                  </a:lnTo>
                  <a:lnTo>
                    <a:pt x="9099010" y="1124571"/>
                  </a:lnTo>
                  <a:lnTo>
                    <a:pt x="9103775" y="1086450"/>
                  </a:lnTo>
                  <a:lnTo>
                    <a:pt x="9113305" y="1067389"/>
                  </a:lnTo>
                  <a:lnTo>
                    <a:pt x="9132366" y="1067389"/>
                  </a:lnTo>
                  <a:lnTo>
                    <a:pt x="9170487" y="1100745"/>
                  </a:lnTo>
                  <a:lnTo>
                    <a:pt x="9280085" y="1210343"/>
                  </a:lnTo>
                  <a:lnTo>
                    <a:pt x="9442099" y="1343766"/>
                  </a:lnTo>
                  <a:lnTo>
                    <a:pt x="9504046" y="1372357"/>
                  </a:lnTo>
                  <a:lnTo>
                    <a:pt x="9542167" y="1420008"/>
                  </a:lnTo>
                  <a:lnTo>
                    <a:pt x="9575523" y="1477191"/>
                  </a:lnTo>
                  <a:lnTo>
                    <a:pt x="9608878" y="1515311"/>
                  </a:lnTo>
                  <a:lnTo>
                    <a:pt x="9618409" y="1510546"/>
                  </a:lnTo>
                  <a:lnTo>
                    <a:pt x="9585053" y="1424774"/>
                  </a:lnTo>
                  <a:lnTo>
                    <a:pt x="9504046" y="1315175"/>
                  </a:lnTo>
                  <a:lnTo>
                    <a:pt x="9299145" y="1129336"/>
                  </a:lnTo>
                  <a:lnTo>
                    <a:pt x="9213373" y="1029268"/>
                  </a:lnTo>
                  <a:lnTo>
                    <a:pt x="9175252" y="962556"/>
                  </a:lnTo>
                  <a:lnTo>
                    <a:pt x="9146661" y="895844"/>
                  </a:lnTo>
                  <a:lnTo>
                    <a:pt x="9141896" y="857723"/>
                  </a:lnTo>
                  <a:lnTo>
                    <a:pt x="9170487" y="810072"/>
                  </a:lnTo>
                  <a:lnTo>
                    <a:pt x="9208608" y="776716"/>
                  </a:lnTo>
                  <a:lnTo>
                    <a:pt x="9261024" y="762421"/>
                  </a:lnTo>
                  <a:lnTo>
                    <a:pt x="9265789" y="748126"/>
                  </a:lnTo>
                  <a:lnTo>
                    <a:pt x="9222903" y="690944"/>
                  </a:lnTo>
                  <a:lnTo>
                    <a:pt x="9194312" y="648058"/>
                  </a:lnTo>
                  <a:lnTo>
                    <a:pt x="9194312" y="614703"/>
                  </a:lnTo>
                  <a:lnTo>
                    <a:pt x="9246729" y="590876"/>
                  </a:lnTo>
                  <a:lnTo>
                    <a:pt x="9280085" y="595643"/>
                  </a:lnTo>
                  <a:lnTo>
                    <a:pt x="9342031" y="657588"/>
                  </a:lnTo>
                  <a:lnTo>
                    <a:pt x="9389683" y="681416"/>
                  </a:lnTo>
                  <a:lnTo>
                    <a:pt x="9399213" y="667120"/>
                  </a:lnTo>
                  <a:lnTo>
                    <a:pt x="9346796" y="509869"/>
                  </a:lnTo>
                  <a:lnTo>
                    <a:pt x="9342031" y="471749"/>
                  </a:lnTo>
                  <a:lnTo>
                    <a:pt x="9351562" y="452688"/>
                  </a:lnTo>
                  <a:lnTo>
                    <a:pt x="9370622" y="428862"/>
                  </a:lnTo>
                  <a:lnTo>
                    <a:pt x="9423038" y="443157"/>
                  </a:lnTo>
                  <a:lnTo>
                    <a:pt x="9513576" y="519399"/>
                  </a:lnTo>
                  <a:lnTo>
                    <a:pt x="9675590" y="557520"/>
                  </a:lnTo>
                  <a:lnTo>
                    <a:pt x="9723242" y="552755"/>
                  </a:lnTo>
                  <a:lnTo>
                    <a:pt x="9713711" y="533695"/>
                  </a:lnTo>
                  <a:lnTo>
                    <a:pt x="9651765" y="486045"/>
                  </a:lnTo>
                  <a:lnTo>
                    <a:pt x="9580288" y="419332"/>
                  </a:lnTo>
                  <a:lnTo>
                    <a:pt x="9551697" y="381211"/>
                  </a:lnTo>
                  <a:lnTo>
                    <a:pt x="9532636" y="328794"/>
                  </a:lnTo>
                  <a:lnTo>
                    <a:pt x="9504046" y="285908"/>
                  </a:lnTo>
                  <a:lnTo>
                    <a:pt x="9504046" y="262082"/>
                  </a:lnTo>
                  <a:lnTo>
                    <a:pt x="9542167" y="228727"/>
                  </a:lnTo>
                  <a:lnTo>
                    <a:pt x="9656530" y="233493"/>
                  </a:lnTo>
                  <a:lnTo>
                    <a:pt x="9756598" y="290674"/>
                  </a:lnTo>
                  <a:lnTo>
                    <a:pt x="9842370" y="266848"/>
                  </a:lnTo>
                  <a:lnTo>
                    <a:pt x="9899551" y="281143"/>
                  </a:lnTo>
                  <a:lnTo>
                    <a:pt x="9918612" y="300204"/>
                  </a:lnTo>
                  <a:lnTo>
                    <a:pt x="9961498" y="357387"/>
                  </a:lnTo>
                  <a:lnTo>
                    <a:pt x="10085391" y="562286"/>
                  </a:lnTo>
                  <a:lnTo>
                    <a:pt x="10099687" y="595643"/>
                  </a:lnTo>
                  <a:lnTo>
                    <a:pt x="10113982" y="643293"/>
                  </a:lnTo>
                  <a:lnTo>
                    <a:pt x="10128278" y="710005"/>
                  </a:lnTo>
                  <a:lnTo>
                    <a:pt x="10152103" y="729065"/>
                  </a:lnTo>
                  <a:lnTo>
                    <a:pt x="10190225" y="681416"/>
                  </a:lnTo>
                  <a:lnTo>
                    <a:pt x="10218813" y="638528"/>
                  </a:lnTo>
                  <a:lnTo>
                    <a:pt x="10209285" y="595643"/>
                  </a:lnTo>
                  <a:lnTo>
                    <a:pt x="10137808" y="495574"/>
                  </a:lnTo>
                  <a:lnTo>
                    <a:pt x="10123512" y="457453"/>
                  </a:lnTo>
                  <a:lnTo>
                    <a:pt x="10085391" y="381211"/>
                  </a:lnTo>
                  <a:lnTo>
                    <a:pt x="10009149" y="252552"/>
                  </a:lnTo>
                  <a:lnTo>
                    <a:pt x="9990089" y="190606"/>
                  </a:lnTo>
                  <a:lnTo>
                    <a:pt x="9975793" y="138189"/>
                  </a:lnTo>
                  <a:lnTo>
                    <a:pt x="10190225" y="90537"/>
                  </a:lnTo>
                  <a:lnTo>
                    <a:pt x="10399889" y="133423"/>
                  </a:lnTo>
                  <a:lnTo>
                    <a:pt x="10433245" y="162015"/>
                  </a:lnTo>
                  <a:lnTo>
                    <a:pt x="10457073" y="204900"/>
                  </a:lnTo>
                  <a:lnTo>
                    <a:pt x="10476133" y="271613"/>
                  </a:lnTo>
                  <a:lnTo>
                    <a:pt x="10509489" y="338325"/>
                  </a:lnTo>
                  <a:lnTo>
                    <a:pt x="10576201" y="438392"/>
                  </a:lnTo>
                  <a:lnTo>
                    <a:pt x="10671501" y="500339"/>
                  </a:lnTo>
                  <a:lnTo>
                    <a:pt x="10657205" y="457453"/>
                  </a:lnTo>
                  <a:lnTo>
                    <a:pt x="10580965" y="347855"/>
                  </a:lnTo>
                  <a:lnTo>
                    <a:pt x="10552373" y="271613"/>
                  </a:lnTo>
                  <a:lnTo>
                    <a:pt x="10552373" y="219197"/>
                  </a:lnTo>
                  <a:lnTo>
                    <a:pt x="10557141" y="181075"/>
                  </a:lnTo>
                  <a:lnTo>
                    <a:pt x="10566669" y="152485"/>
                  </a:lnTo>
                  <a:lnTo>
                    <a:pt x="10647677" y="47650"/>
                  </a:lnTo>
                  <a:lnTo>
                    <a:pt x="10766805" y="14296"/>
                  </a:lnTo>
                  <a:lnTo>
                    <a:pt x="10776333" y="19060"/>
                  </a:lnTo>
                  <a:lnTo>
                    <a:pt x="10866873" y="181075"/>
                  </a:lnTo>
                  <a:lnTo>
                    <a:pt x="10909757" y="247787"/>
                  </a:lnTo>
                  <a:lnTo>
                    <a:pt x="10943113" y="276378"/>
                  </a:lnTo>
                  <a:lnTo>
                    <a:pt x="10943113" y="262082"/>
                  </a:lnTo>
                  <a:lnTo>
                    <a:pt x="10900229" y="190606"/>
                  </a:lnTo>
                  <a:lnTo>
                    <a:pt x="10871637" y="147719"/>
                  </a:lnTo>
                  <a:lnTo>
                    <a:pt x="10866873" y="123894"/>
                  </a:lnTo>
                  <a:lnTo>
                    <a:pt x="10919289" y="42885"/>
                  </a:lnTo>
                  <a:lnTo>
                    <a:pt x="10952645" y="2382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1" name="Google Shape;4528;p64">
              <a:extLst>
                <a:ext uri="{FF2B5EF4-FFF2-40B4-BE49-F238E27FC236}">
                  <a16:creationId xmlns:a16="http://schemas.microsoft.com/office/drawing/2014/main" id="{1AC80983-F865-3C33-493F-B39EB04B857B}"/>
                </a:ext>
              </a:extLst>
            </p:cNvPr>
            <p:cNvSpPr/>
            <p:nvPr/>
          </p:nvSpPr>
          <p:spPr>
            <a:xfrm>
              <a:off x="4653604" y="3816616"/>
              <a:ext cx="96479" cy="61038"/>
            </a:xfrm>
            <a:custGeom>
              <a:avLst/>
              <a:gdLst/>
              <a:ahLst/>
              <a:cxnLst/>
              <a:rect l="l" t="t" r="r" b="b"/>
              <a:pathLst>
                <a:path w="294" h="186" extrusionOk="0">
                  <a:moveTo>
                    <a:pt x="210" y="10"/>
                  </a:moveTo>
                  <a:lnTo>
                    <a:pt x="206" y="10"/>
                  </a:lnTo>
                  <a:lnTo>
                    <a:pt x="190" y="12"/>
                  </a:lnTo>
                  <a:lnTo>
                    <a:pt x="190" y="12"/>
                  </a:lnTo>
                  <a:lnTo>
                    <a:pt x="188" y="8"/>
                  </a:lnTo>
                  <a:lnTo>
                    <a:pt x="184" y="6"/>
                  </a:lnTo>
                  <a:lnTo>
                    <a:pt x="184" y="6"/>
                  </a:lnTo>
                  <a:lnTo>
                    <a:pt x="182" y="8"/>
                  </a:lnTo>
                  <a:lnTo>
                    <a:pt x="180" y="8"/>
                  </a:lnTo>
                  <a:lnTo>
                    <a:pt x="174" y="0"/>
                  </a:lnTo>
                  <a:lnTo>
                    <a:pt x="170" y="0"/>
                  </a:lnTo>
                  <a:lnTo>
                    <a:pt x="166" y="0"/>
                  </a:lnTo>
                  <a:lnTo>
                    <a:pt x="162" y="4"/>
                  </a:lnTo>
                  <a:lnTo>
                    <a:pt x="158" y="8"/>
                  </a:lnTo>
                  <a:lnTo>
                    <a:pt x="160" y="12"/>
                  </a:lnTo>
                  <a:lnTo>
                    <a:pt x="162" y="12"/>
                  </a:lnTo>
                  <a:lnTo>
                    <a:pt x="168" y="12"/>
                  </a:lnTo>
                  <a:lnTo>
                    <a:pt x="170" y="12"/>
                  </a:lnTo>
                  <a:lnTo>
                    <a:pt x="170" y="14"/>
                  </a:lnTo>
                  <a:lnTo>
                    <a:pt x="170" y="14"/>
                  </a:lnTo>
                  <a:lnTo>
                    <a:pt x="164" y="16"/>
                  </a:lnTo>
                  <a:lnTo>
                    <a:pt x="162" y="18"/>
                  </a:lnTo>
                  <a:lnTo>
                    <a:pt x="160" y="18"/>
                  </a:lnTo>
                  <a:lnTo>
                    <a:pt x="160" y="18"/>
                  </a:lnTo>
                  <a:lnTo>
                    <a:pt x="154" y="16"/>
                  </a:lnTo>
                  <a:lnTo>
                    <a:pt x="146" y="16"/>
                  </a:lnTo>
                  <a:lnTo>
                    <a:pt x="138" y="20"/>
                  </a:lnTo>
                  <a:lnTo>
                    <a:pt x="128" y="20"/>
                  </a:lnTo>
                  <a:lnTo>
                    <a:pt x="112" y="20"/>
                  </a:lnTo>
                  <a:lnTo>
                    <a:pt x="108" y="18"/>
                  </a:lnTo>
                  <a:lnTo>
                    <a:pt x="100" y="22"/>
                  </a:lnTo>
                  <a:lnTo>
                    <a:pt x="98" y="26"/>
                  </a:lnTo>
                  <a:lnTo>
                    <a:pt x="94" y="32"/>
                  </a:lnTo>
                  <a:lnTo>
                    <a:pt x="90" y="34"/>
                  </a:lnTo>
                  <a:lnTo>
                    <a:pt x="84" y="34"/>
                  </a:lnTo>
                  <a:lnTo>
                    <a:pt x="80" y="34"/>
                  </a:lnTo>
                  <a:lnTo>
                    <a:pt x="78" y="32"/>
                  </a:lnTo>
                  <a:lnTo>
                    <a:pt x="78" y="30"/>
                  </a:lnTo>
                  <a:lnTo>
                    <a:pt x="76" y="28"/>
                  </a:lnTo>
                  <a:lnTo>
                    <a:pt x="70" y="28"/>
                  </a:lnTo>
                  <a:lnTo>
                    <a:pt x="66" y="32"/>
                  </a:lnTo>
                  <a:lnTo>
                    <a:pt x="60" y="38"/>
                  </a:lnTo>
                  <a:lnTo>
                    <a:pt x="62" y="40"/>
                  </a:lnTo>
                  <a:lnTo>
                    <a:pt x="66" y="42"/>
                  </a:lnTo>
                  <a:lnTo>
                    <a:pt x="68" y="42"/>
                  </a:lnTo>
                  <a:lnTo>
                    <a:pt x="68" y="44"/>
                  </a:lnTo>
                  <a:lnTo>
                    <a:pt x="66" y="46"/>
                  </a:lnTo>
                  <a:lnTo>
                    <a:pt x="64" y="50"/>
                  </a:lnTo>
                  <a:lnTo>
                    <a:pt x="56" y="60"/>
                  </a:lnTo>
                  <a:lnTo>
                    <a:pt x="46" y="70"/>
                  </a:lnTo>
                  <a:lnTo>
                    <a:pt x="46" y="72"/>
                  </a:lnTo>
                  <a:lnTo>
                    <a:pt x="42" y="74"/>
                  </a:lnTo>
                  <a:lnTo>
                    <a:pt x="32" y="80"/>
                  </a:lnTo>
                  <a:lnTo>
                    <a:pt x="30" y="82"/>
                  </a:lnTo>
                  <a:lnTo>
                    <a:pt x="30" y="92"/>
                  </a:lnTo>
                  <a:lnTo>
                    <a:pt x="28" y="98"/>
                  </a:lnTo>
                  <a:lnTo>
                    <a:pt x="20" y="106"/>
                  </a:lnTo>
                  <a:lnTo>
                    <a:pt x="12" y="112"/>
                  </a:lnTo>
                  <a:lnTo>
                    <a:pt x="10" y="116"/>
                  </a:lnTo>
                  <a:lnTo>
                    <a:pt x="8" y="122"/>
                  </a:lnTo>
                  <a:lnTo>
                    <a:pt x="6" y="128"/>
                  </a:lnTo>
                  <a:lnTo>
                    <a:pt x="6" y="130"/>
                  </a:lnTo>
                  <a:lnTo>
                    <a:pt x="10" y="134"/>
                  </a:lnTo>
                  <a:lnTo>
                    <a:pt x="10" y="138"/>
                  </a:lnTo>
                  <a:lnTo>
                    <a:pt x="8" y="144"/>
                  </a:lnTo>
                  <a:lnTo>
                    <a:pt x="4" y="148"/>
                  </a:lnTo>
                  <a:lnTo>
                    <a:pt x="0" y="150"/>
                  </a:lnTo>
                  <a:lnTo>
                    <a:pt x="0" y="156"/>
                  </a:lnTo>
                  <a:lnTo>
                    <a:pt x="2" y="158"/>
                  </a:lnTo>
                  <a:lnTo>
                    <a:pt x="8" y="156"/>
                  </a:lnTo>
                  <a:lnTo>
                    <a:pt x="14" y="152"/>
                  </a:lnTo>
                  <a:lnTo>
                    <a:pt x="20" y="146"/>
                  </a:lnTo>
                  <a:lnTo>
                    <a:pt x="16" y="142"/>
                  </a:lnTo>
                  <a:lnTo>
                    <a:pt x="16" y="140"/>
                  </a:lnTo>
                  <a:lnTo>
                    <a:pt x="16" y="138"/>
                  </a:lnTo>
                  <a:lnTo>
                    <a:pt x="22" y="132"/>
                  </a:lnTo>
                  <a:lnTo>
                    <a:pt x="30" y="130"/>
                  </a:lnTo>
                  <a:lnTo>
                    <a:pt x="40" y="128"/>
                  </a:lnTo>
                  <a:lnTo>
                    <a:pt x="52" y="130"/>
                  </a:lnTo>
                  <a:lnTo>
                    <a:pt x="52" y="132"/>
                  </a:lnTo>
                  <a:lnTo>
                    <a:pt x="52" y="136"/>
                  </a:lnTo>
                  <a:lnTo>
                    <a:pt x="52" y="140"/>
                  </a:lnTo>
                  <a:lnTo>
                    <a:pt x="56" y="144"/>
                  </a:lnTo>
                  <a:lnTo>
                    <a:pt x="52" y="154"/>
                  </a:lnTo>
                  <a:lnTo>
                    <a:pt x="54" y="158"/>
                  </a:lnTo>
                  <a:lnTo>
                    <a:pt x="58" y="162"/>
                  </a:lnTo>
                  <a:lnTo>
                    <a:pt x="60" y="166"/>
                  </a:lnTo>
                  <a:lnTo>
                    <a:pt x="64" y="168"/>
                  </a:lnTo>
                  <a:lnTo>
                    <a:pt x="68" y="174"/>
                  </a:lnTo>
                  <a:lnTo>
                    <a:pt x="68" y="178"/>
                  </a:lnTo>
                  <a:lnTo>
                    <a:pt x="70" y="180"/>
                  </a:lnTo>
                  <a:lnTo>
                    <a:pt x="76" y="182"/>
                  </a:lnTo>
                  <a:lnTo>
                    <a:pt x="88" y="178"/>
                  </a:lnTo>
                  <a:lnTo>
                    <a:pt x="96" y="176"/>
                  </a:lnTo>
                  <a:lnTo>
                    <a:pt x="102" y="172"/>
                  </a:lnTo>
                  <a:lnTo>
                    <a:pt x="106" y="172"/>
                  </a:lnTo>
                  <a:lnTo>
                    <a:pt x="118" y="178"/>
                  </a:lnTo>
                  <a:lnTo>
                    <a:pt x="122" y="176"/>
                  </a:lnTo>
                  <a:lnTo>
                    <a:pt x="132" y="168"/>
                  </a:lnTo>
                  <a:lnTo>
                    <a:pt x="134" y="166"/>
                  </a:lnTo>
                  <a:lnTo>
                    <a:pt x="140" y="156"/>
                  </a:lnTo>
                  <a:lnTo>
                    <a:pt x="140" y="152"/>
                  </a:lnTo>
                  <a:lnTo>
                    <a:pt x="138" y="146"/>
                  </a:lnTo>
                  <a:lnTo>
                    <a:pt x="138" y="144"/>
                  </a:lnTo>
                  <a:lnTo>
                    <a:pt x="148" y="138"/>
                  </a:lnTo>
                  <a:lnTo>
                    <a:pt x="152" y="132"/>
                  </a:lnTo>
                  <a:lnTo>
                    <a:pt x="156" y="128"/>
                  </a:lnTo>
                  <a:lnTo>
                    <a:pt x="160" y="128"/>
                  </a:lnTo>
                  <a:lnTo>
                    <a:pt x="162" y="130"/>
                  </a:lnTo>
                  <a:lnTo>
                    <a:pt x="162" y="132"/>
                  </a:lnTo>
                  <a:lnTo>
                    <a:pt x="162" y="144"/>
                  </a:lnTo>
                  <a:lnTo>
                    <a:pt x="162" y="148"/>
                  </a:lnTo>
                  <a:lnTo>
                    <a:pt x="170" y="156"/>
                  </a:lnTo>
                  <a:lnTo>
                    <a:pt x="174" y="160"/>
                  </a:lnTo>
                  <a:lnTo>
                    <a:pt x="186" y="164"/>
                  </a:lnTo>
                  <a:lnTo>
                    <a:pt x="186" y="164"/>
                  </a:lnTo>
                  <a:lnTo>
                    <a:pt x="184" y="170"/>
                  </a:lnTo>
                  <a:lnTo>
                    <a:pt x="190" y="178"/>
                  </a:lnTo>
                  <a:lnTo>
                    <a:pt x="192" y="184"/>
                  </a:lnTo>
                  <a:lnTo>
                    <a:pt x="194" y="186"/>
                  </a:lnTo>
                  <a:lnTo>
                    <a:pt x="200" y="186"/>
                  </a:lnTo>
                  <a:lnTo>
                    <a:pt x="202" y="182"/>
                  </a:lnTo>
                  <a:lnTo>
                    <a:pt x="200" y="178"/>
                  </a:lnTo>
                  <a:lnTo>
                    <a:pt x="198" y="172"/>
                  </a:lnTo>
                  <a:lnTo>
                    <a:pt x="198" y="170"/>
                  </a:lnTo>
                  <a:lnTo>
                    <a:pt x="200" y="166"/>
                  </a:lnTo>
                  <a:lnTo>
                    <a:pt x="202" y="160"/>
                  </a:lnTo>
                  <a:lnTo>
                    <a:pt x="212" y="150"/>
                  </a:lnTo>
                  <a:lnTo>
                    <a:pt x="214" y="144"/>
                  </a:lnTo>
                  <a:lnTo>
                    <a:pt x="216" y="134"/>
                  </a:lnTo>
                  <a:lnTo>
                    <a:pt x="216" y="126"/>
                  </a:lnTo>
                  <a:lnTo>
                    <a:pt x="218" y="124"/>
                  </a:lnTo>
                  <a:lnTo>
                    <a:pt x="224" y="124"/>
                  </a:lnTo>
                  <a:lnTo>
                    <a:pt x="226" y="124"/>
                  </a:lnTo>
                  <a:lnTo>
                    <a:pt x="226" y="130"/>
                  </a:lnTo>
                  <a:lnTo>
                    <a:pt x="230" y="138"/>
                  </a:lnTo>
                  <a:lnTo>
                    <a:pt x="232" y="142"/>
                  </a:lnTo>
                  <a:lnTo>
                    <a:pt x="236" y="142"/>
                  </a:lnTo>
                  <a:lnTo>
                    <a:pt x="240" y="142"/>
                  </a:lnTo>
                  <a:lnTo>
                    <a:pt x="250" y="138"/>
                  </a:lnTo>
                  <a:lnTo>
                    <a:pt x="256" y="136"/>
                  </a:lnTo>
                  <a:lnTo>
                    <a:pt x="260" y="136"/>
                  </a:lnTo>
                  <a:lnTo>
                    <a:pt x="262" y="140"/>
                  </a:lnTo>
                  <a:lnTo>
                    <a:pt x="266" y="148"/>
                  </a:lnTo>
                  <a:lnTo>
                    <a:pt x="270" y="148"/>
                  </a:lnTo>
                  <a:lnTo>
                    <a:pt x="272" y="148"/>
                  </a:lnTo>
                  <a:lnTo>
                    <a:pt x="274" y="146"/>
                  </a:lnTo>
                  <a:lnTo>
                    <a:pt x="272" y="144"/>
                  </a:lnTo>
                  <a:lnTo>
                    <a:pt x="270" y="136"/>
                  </a:lnTo>
                  <a:lnTo>
                    <a:pt x="270" y="130"/>
                  </a:lnTo>
                  <a:lnTo>
                    <a:pt x="266" y="128"/>
                  </a:lnTo>
                  <a:lnTo>
                    <a:pt x="266" y="124"/>
                  </a:lnTo>
                  <a:lnTo>
                    <a:pt x="268" y="118"/>
                  </a:lnTo>
                  <a:lnTo>
                    <a:pt x="270" y="114"/>
                  </a:lnTo>
                  <a:lnTo>
                    <a:pt x="272" y="112"/>
                  </a:lnTo>
                  <a:lnTo>
                    <a:pt x="276" y="112"/>
                  </a:lnTo>
                  <a:lnTo>
                    <a:pt x="282" y="116"/>
                  </a:lnTo>
                  <a:lnTo>
                    <a:pt x="288" y="118"/>
                  </a:lnTo>
                  <a:lnTo>
                    <a:pt x="292" y="118"/>
                  </a:lnTo>
                  <a:lnTo>
                    <a:pt x="292" y="116"/>
                  </a:lnTo>
                  <a:lnTo>
                    <a:pt x="292" y="112"/>
                  </a:lnTo>
                  <a:lnTo>
                    <a:pt x="290" y="108"/>
                  </a:lnTo>
                  <a:lnTo>
                    <a:pt x="290" y="100"/>
                  </a:lnTo>
                  <a:lnTo>
                    <a:pt x="294" y="88"/>
                  </a:lnTo>
                  <a:lnTo>
                    <a:pt x="294" y="84"/>
                  </a:lnTo>
                  <a:lnTo>
                    <a:pt x="290" y="78"/>
                  </a:lnTo>
                  <a:lnTo>
                    <a:pt x="286" y="76"/>
                  </a:lnTo>
                  <a:lnTo>
                    <a:pt x="276" y="88"/>
                  </a:lnTo>
                  <a:lnTo>
                    <a:pt x="272" y="90"/>
                  </a:lnTo>
                  <a:lnTo>
                    <a:pt x="264" y="86"/>
                  </a:lnTo>
                  <a:lnTo>
                    <a:pt x="256" y="82"/>
                  </a:lnTo>
                  <a:lnTo>
                    <a:pt x="254" y="78"/>
                  </a:lnTo>
                  <a:lnTo>
                    <a:pt x="254" y="74"/>
                  </a:lnTo>
                  <a:lnTo>
                    <a:pt x="246" y="72"/>
                  </a:lnTo>
                  <a:lnTo>
                    <a:pt x="238" y="70"/>
                  </a:lnTo>
                  <a:lnTo>
                    <a:pt x="236" y="70"/>
                  </a:lnTo>
                  <a:lnTo>
                    <a:pt x="232" y="70"/>
                  </a:lnTo>
                  <a:lnTo>
                    <a:pt x="230" y="70"/>
                  </a:lnTo>
                  <a:lnTo>
                    <a:pt x="230" y="66"/>
                  </a:lnTo>
                  <a:lnTo>
                    <a:pt x="230" y="58"/>
                  </a:lnTo>
                  <a:lnTo>
                    <a:pt x="232" y="50"/>
                  </a:lnTo>
                  <a:lnTo>
                    <a:pt x="238" y="38"/>
                  </a:lnTo>
                  <a:lnTo>
                    <a:pt x="240" y="30"/>
                  </a:lnTo>
                  <a:lnTo>
                    <a:pt x="234" y="26"/>
                  </a:lnTo>
                  <a:lnTo>
                    <a:pt x="228" y="26"/>
                  </a:lnTo>
                  <a:lnTo>
                    <a:pt x="214" y="18"/>
                  </a:lnTo>
                  <a:lnTo>
                    <a:pt x="210"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2" name="Google Shape;4529;p64">
              <a:extLst>
                <a:ext uri="{FF2B5EF4-FFF2-40B4-BE49-F238E27FC236}">
                  <a16:creationId xmlns:a16="http://schemas.microsoft.com/office/drawing/2014/main" id="{ABFAD11F-845D-4D52-7352-ECB4CB44B107}"/>
                </a:ext>
              </a:extLst>
            </p:cNvPr>
            <p:cNvSpPr/>
            <p:nvPr/>
          </p:nvSpPr>
          <p:spPr>
            <a:xfrm>
              <a:off x="2825767" y="5371753"/>
              <a:ext cx="269745" cy="1074387"/>
            </a:xfrm>
            <a:custGeom>
              <a:avLst/>
              <a:gdLst/>
              <a:ahLst/>
              <a:cxnLst/>
              <a:rect l="l" t="t" r="r" b="b"/>
              <a:pathLst>
                <a:path w="1958467" h="7800512" extrusionOk="0">
                  <a:moveTo>
                    <a:pt x="1753567" y="7776688"/>
                  </a:moveTo>
                  <a:lnTo>
                    <a:pt x="1786921" y="7781452"/>
                  </a:lnTo>
                  <a:lnTo>
                    <a:pt x="1791687" y="7781452"/>
                  </a:lnTo>
                  <a:lnTo>
                    <a:pt x="1791687" y="7786216"/>
                  </a:lnTo>
                  <a:lnTo>
                    <a:pt x="1786921" y="7795748"/>
                  </a:lnTo>
                  <a:lnTo>
                    <a:pt x="1782157" y="7795748"/>
                  </a:lnTo>
                  <a:lnTo>
                    <a:pt x="1777391" y="7800512"/>
                  </a:lnTo>
                  <a:lnTo>
                    <a:pt x="1763097" y="7790980"/>
                  </a:lnTo>
                  <a:lnTo>
                    <a:pt x="1744037" y="7790980"/>
                  </a:lnTo>
                  <a:lnTo>
                    <a:pt x="1739271" y="7790980"/>
                  </a:lnTo>
                  <a:lnTo>
                    <a:pt x="1739271" y="7786216"/>
                  </a:lnTo>
                  <a:lnTo>
                    <a:pt x="1744037" y="7781452"/>
                  </a:lnTo>
                  <a:close/>
                  <a:moveTo>
                    <a:pt x="1810749" y="7714740"/>
                  </a:moveTo>
                  <a:lnTo>
                    <a:pt x="1815513" y="7714740"/>
                  </a:lnTo>
                  <a:lnTo>
                    <a:pt x="1815513" y="7719504"/>
                  </a:lnTo>
                  <a:lnTo>
                    <a:pt x="1825043" y="7743328"/>
                  </a:lnTo>
                  <a:lnTo>
                    <a:pt x="1829809" y="7757624"/>
                  </a:lnTo>
                  <a:lnTo>
                    <a:pt x="1829809" y="7762388"/>
                  </a:lnTo>
                  <a:lnTo>
                    <a:pt x="1825043" y="7767156"/>
                  </a:lnTo>
                  <a:lnTo>
                    <a:pt x="1820279" y="7767156"/>
                  </a:lnTo>
                  <a:lnTo>
                    <a:pt x="1815513" y="7762388"/>
                  </a:lnTo>
                  <a:lnTo>
                    <a:pt x="1810749" y="7757624"/>
                  </a:lnTo>
                  <a:lnTo>
                    <a:pt x="1786923" y="7752860"/>
                  </a:lnTo>
                  <a:lnTo>
                    <a:pt x="1782159" y="7748096"/>
                  </a:lnTo>
                  <a:lnTo>
                    <a:pt x="1786923" y="7738564"/>
                  </a:lnTo>
                  <a:lnTo>
                    <a:pt x="1791689" y="7733800"/>
                  </a:lnTo>
                  <a:lnTo>
                    <a:pt x="1801219" y="7729036"/>
                  </a:lnTo>
                  <a:close/>
                  <a:moveTo>
                    <a:pt x="1948937" y="7595612"/>
                  </a:moveTo>
                  <a:lnTo>
                    <a:pt x="1958467" y="7605140"/>
                  </a:lnTo>
                  <a:lnTo>
                    <a:pt x="1953701" y="7614672"/>
                  </a:lnTo>
                  <a:lnTo>
                    <a:pt x="1944171" y="7628968"/>
                  </a:lnTo>
                  <a:lnTo>
                    <a:pt x="1934641" y="7624200"/>
                  </a:lnTo>
                  <a:lnTo>
                    <a:pt x="1929875" y="7624200"/>
                  </a:lnTo>
                  <a:lnTo>
                    <a:pt x="1929875" y="7614672"/>
                  </a:lnTo>
                  <a:lnTo>
                    <a:pt x="1929875" y="7609908"/>
                  </a:lnTo>
                  <a:lnTo>
                    <a:pt x="1934641" y="7605140"/>
                  </a:lnTo>
                  <a:lnTo>
                    <a:pt x="1944171" y="7600376"/>
                  </a:lnTo>
                  <a:close/>
                  <a:moveTo>
                    <a:pt x="1701149" y="7533664"/>
                  </a:moveTo>
                  <a:lnTo>
                    <a:pt x="1734505" y="7533664"/>
                  </a:lnTo>
                  <a:lnTo>
                    <a:pt x="1805983" y="7543196"/>
                  </a:lnTo>
                  <a:lnTo>
                    <a:pt x="1834573" y="7547960"/>
                  </a:lnTo>
                  <a:lnTo>
                    <a:pt x="1853633" y="7571784"/>
                  </a:lnTo>
                  <a:lnTo>
                    <a:pt x="1858399" y="7586080"/>
                  </a:lnTo>
                  <a:lnTo>
                    <a:pt x="1858399" y="7595612"/>
                  </a:lnTo>
                  <a:lnTo>
                    <a:pt x="1853633" y="7605140"/>
                  </a:lnTo>
                  <a:lnTo>
                    <a:pt x="1844103" y="7619436"/>
                  </a:lnTo>
                  <a:lnTo>
                    <a:pt x="1829809" y="7628968"/>
                  </a:lnTo>
                  <a:lnTo>
                    <a:pt x="1820279" y="7633732"/>
                  </a:lnTo>
                  <a:lnTo>
                    <a:pt x="1810747" y="7628968"/>
                  </a:lnTo>
                  <a:lnTo>
                    <a:pt x="1805983" y="7619436"/>
                  </a:lnTo>
                  <a:lnTo>
                    <a:pt x="1801217" y="7605140"/>
                  </a:lnTo>
                  <a:lnTo>
                    <a:pt x="1801217" y="7600376"/>
                  </a:lnTo>
                  <a:lnTo>
                    <a:pt x="1796453" y="7600376"/>
                  </a:lnTo>
                  <a:lnTo>
                    <a:pt x="1786923" y="7600376"/>
                  </a:lnTo>
                  <a:lnTo>
                    <a:pt x="1782157" y="7605140"/>
                  </a:lnTo>
                  <a:lnTo>
                    <a:pt x="1763097" y="7619436"/>
                  </a:lnTo>
                  <a:lnTo>
                    <a:pt x="1758331" y="7624200"/>
                  </a:lnTo>
                  <a:lnTo>
                    <a:pt x="1753567" y="7624200"/>
                  </a:lnTo>
                  <a:lnTo>
                    <a:pt x="1705915" y="7614672"/>
                  </a:lnTo>
                  <a:lnTo>
                    <a:pt x="1701149" y="7609908"/>
                  </a:lnTo>
                  <a:lnTo>
                    <a:pt x="1696385" y="7600376"/>
                  </a:lnTo>
                  <a:lnTo>
                    <a:pt x="1686855" y="7571784"/>
                  </a:lnTo>
                  <a:lnTo>
                    <a:pt x="1667795" y="7547960"/>
                  </a:lnTo>
                  <a:close/>
                  <a:moveTo>
                    <a:pt x="1420007" y="7519368"/>
                  </a:moveTo>
                  <a:lnTo>
                    <a:pt x="1448599" y="7528900"/>
                  </a:lnTo>
                  <a:lnTo>
                    <a:pt x="1577257" y="7557492"/>
                  </a:lnTo>
                  <a:lnTo>
                    <a:pt x="1615377" y="7543196"/>
                  </a:lnTo>
                  <a:lnTo>
                    <a:pt x="1643969" y="7543196"/>
                  </a:lnTo>
                  <a:lnTo>
                    <a:pt x="1653499" y="7562256"/>
                  </a:lnTo>
                  <a:lnTo>
                    <a:pt x="1620143" y="7586080"/>
                  </a:lnTo>
                  <a:lnTo>
                    <a:pt x="1620143" y="7595612"/>
                  </a:lnTo>
                  <a:lnTo>
                    <a:pt x="1624907" y="7600376"/>
                  </a:lnTo>
                  <a:lnTo>
                    <a:pt x="1658263" y="7605140"/>
                  </a:lnTo>
                  <a:lnTo>
                    <a:pt x="1663029" y="7614672"/>
                  </a:lnTo>
                  <a:lnTo>
                    <a:pt x="1672559" y="7624200"/>
                  </a:lnTo>
                  <a:lnTo>
                    <a:pt x="1667793" y="7638496"/>
                  </a:lnTo>
                  <a:lnTo>
                    <a:pt x="1663029" y="7643264"/>
                  </a:lnTo>
                  <a:lnTo>
                    <a:pt x="1667793" y="7652792"/>
                  </a:lnTo>
                  <a:lnTo>
                    <a:pt x="1691619" y="7671852"/>
                  </a:lnTo>
                  <a:lnTo>
                    <a:pt x="1701149" y="7681384"/>
                  </a:lnTo>
                  <a:lnTo>
                    <a:pt x="1705915" y="7695680"/>
                  </a:lnTo>
                  <a:lnTo>
                    <a:pt x="1710679" y="7714740"/>
                  </a:lnTo>
                  <a:lnTo>
                    <a:pt x="1710679" y="7729036"/>
                  </a:lnTo>
                  <a:lnTo>
                    <a:pt x="1701149" y="7733800"/>
                  </a:lnTo>
                  <a:lnTo>
                    <a:pt x="1691619" y="7729036"/>
                  </a:lnTo>
                  <a:lnTo>
                    <a:pt x="1682089" y="7719504"/>
                  </a:lnTo>
                  <a:lnTo>
                    <a:pt x="1672559" y="7695680"/>
                  </a:lnTo>
                  <a:lnTo>
                    <a:pt x="1663029" y="7690912"/>
                  </a:lnTo>
                  <a:lnTo>
                    <a:pt x="1643969" y="7686148"/>
                  </a:lnTo>
                  <a:lnTo>
                    <a:pt x="1624907" y="7676620"/>
                  </a:lnTo>
                  <a:lnTo>
                    <a:pt x="1605847" y="7676620"/>
                  </a:lnTo>
                  <a:lnTo>
                    <a:pt x="1591551" y="7671852"/>
                  </a:lnTo>
                  <a:lnTo>
                    <a:pt x="1582021" y="7676620"/>
                  </a:lnTo>
                  <a:lnTo>
                    <a:pt x="1577257" y="7667088"/>
                  </a:lnTo>
                  <a:lnTo>
                    <a:pt x="1572491" y="7652792"/>
                  </a:lnTo>
                  <a:lnTo>
                    <a:pt x="1572491" y="7648028"/>
                  </a:lnTo>
                  <a:lnTo>
                    <a:pt x="1577257" y="7624200"/>
                  </a:lnTo>
                  <a:lnTo>
                    <a:pt x="1577257" y="7619436"/>
                  </a:lnTo>
                  <a:lnTo>
                    <a:pt x="1572491" y="7619436"/>
                  </a:lnTo>
                  <a:lnTo>
                    <a:pt x="1558195" y="7624200"/>
                  </a:lnTo>
                  <a:lnTo>
                    <a:pt x="1553431" y="7619436"/>
                  </a:lnTo>
                  <a:lnTo>
                    <a:pt x="1534371" y="7600376"/>
                  </a:lnTo>
                  <a:lnTo>
                    <a:pt x="1529605" y="7600376"/>
                  </a:lnTo>
                  <a:lnTo>
                    <a:pt x="1515309" y="7600376"/>
                  </a:lnTo>
                  <a:lnTo>
                    <a:pt x="1505779" y="7628968"/>
                  </a:lnTo>
                  <a:lnTo>
                    <a:pt x="1505779" y="7633732"/>
                  </a:lnTo>
                  <a:lnTo>
                    <a:pt x="1515309" y="7652792"/>
                  </a:lnTo>
                  <a:lnTo>
                    <a:pt x="1529605" y="7681384"/>
                  </a:lnTo>
                  <a:lnTo>
                    <a:pt x="1520075" y="7681384"/>
                  </a:lnTo>
                  <a:lnTo>
                    <a:pt x="1496249" y="7676620"/>
                  </a:lnTo>
                  <a:lnTo>
                    <a:pt x="1486719" y="7667088"/>
                  </a:lnTo>
                  <a:lnTo>
                    <a:pt x="1481955" y="7652792"/>
                  </a:lnTo>
                  <a:lnTo>
                    <a:pt x="1462893" y="7643264"/>
                  </a:lnTo>
                  <a:lnTo>
                    <a:pt x="1458129" y="7638496"/>
                  </a:lnTo>
                  <a:lnTo>
                    <a:pt x="1458129" y="7633732"/>
                  </a:lnTo>
                  <a:lnTo>
                    <a:pt x="1458129" y="7614672"/>
                  </a:lnTo>
                  <a:lnTo>
                    <a:pt x="1453363" y="7614672"/>
                  </a:lnTo>
                  <a:lnTo>
                    <a:pt x="1429537" y="7619436"/>
                  </a:lnTo>
                  <a:lnTo>
                    <a:pt x="1424773" y="7614672"/>
                  </a:lnTo>
                  <a:lnTo>
                    <a:pt x="1424773" y="7605140"/>
                  </a:lnTo>
                  <a:lnTo>
                    <a:pt x="1420007" y="7600376"/>
                  </a:lnTo>
                  <a:lnTo>
                    <a:pt x="1405711" y="7590848"/>
                  </a:lnTo>
                  <a:lnTo>
                    <a:pt x="1405711" y="7586080"/>
                  </a:lnTo>
                  <a:lnTo>
                    <a:pt x="1410477" y="7581316"/>
                  </a:lnTo>
                  <a:lnTo>
                    <a:pt x="1415243" y="7571784"/>
                  </a:lnTo>
                  <a:close/>
                  <a:moveTo>
                    <a:pt x="1181751" y="7509840"/>
                  </a:moveTo>
                  <a:lnTo>
                    <a:pt x="1186517" y="7509840"/>
                  </a:lnTo>
                  <a:lnTo>
                    <a:pt x="1215107" y="7509840"/>
                  </a:lnTo>
                  <a:lnTo>
                    <a:pt x="1234167" y="7514604"/>
                  </a:lnTo>
                  <a:lnTo>
                    <a:pt x="1248463" y="7514604"/>
                  </a:lnTo>
                  <a:lnTo>
                    <a:pt x="1257993" y="7533664"/>
                  </a:lnTo>
                  <a:lnTo>
                    <a:pt x="1257993" y="7538428"/>
                  </a:lnTo>
                  <a:lnTo>
                    <a:pt x="1277053" y="7543196"/>
                  </a:lnTo>
                  <a:lnTo>
                    <a:pt x="1286585" y="7538428"/>
                  </a:lnTo>
                  <a:lnTo>
                    <a:pt x="1305645" y="7538428"/>
                  </a:lnTo>
                  <a:lnTo>
                    <a:pt x="1319939" y="7533664"/>
                  </a:lnTo>
                  <a:lnTo>
                    <a:pt x="1339001" y="7528900"/>
                  </a:lnTo>
                  <a:lnTo>
                    <a:pt x="1358061" y="7571784"/>
                  </a:lnTo>
                  <a:lnTo>
                    <a:pt x="1358061" y="7581316"/>
                  </a:lnTo>
                  <a:lnTo>
                    <a:pt x="1339001" y="7595612"/>
                  </a:lnTo>
                  <a:lnTo>
                    <a:pt x="1329471" y="7600376"/>
                  </a:lnTo>
                  <a:lnTo>
                    <a:pt x="1319939" y="7595612"/>
                  </a:lnTo>
                  <a:lnTo>
                    <a:pt x="1319939" y="7590844"/>
                  </a:lnTo>
                  <a:lnTo>
                    <a:pt x="1319939" y="7581316"/>
                  </a:lnTo>
                  <a:lnTo>
                    <a:pt x="1310409" y="7576552"/>
                  </a:lnTo>
                  <a:lnTo>
                    <a:pt x="1305645" y="7576552"/>
                  </a:lnTo>
                  <a:lnTo>
                    <a:pt x="1291349" y="7581316"/>
                  </a:lnTo>
                  <a:lnTo>
                    <a:pt x="1286585" y="7581316"/>
                  </a:lnTo>
                  <a:lnTo>
                    <a:pt x="1277053" y="7576552"/>
                  </a:lnTo>
                  <a:lnTo>
                    <a:pt x="1257993" y="7571784"/>
                  </a:lnTo>
                  <a:lnTo>
                    <a:pt x="1253229" y="7562256"/>
                  </a:lnTo>
                  <a:lnTo>
                    <a:pt x="1253229" y="7552724"/>
                  </a:lnTo>
                  <a:lnTo>
                    <a:pt x="1248463" y="7547960"/>
                  </a:lnTo>
                  <a:lnTo>
                    <a:pt x="1229403" y="7533664"/>
                  </a:lnTo>
                  <a:lnTo>
                    <a:pt x="1215107" y="7524136"/>
                  </a:lnTo>
                  <a:lnTo>
                    <a:pt x="1205577" y="7524136"/>
                  </a:lnTo>
                  <a:lnTo>
                    <a:pt x="1200811" y="7524136"/>
                  </a:lnTo>
                  <a:lnTo>
                    <a:pt x="1196047" y="7528900"/>
                  </a:lnTo>
                  <a:lnTo>
                    <a:pt x="1186517" y="7533664"/>
                  </a:lnTo>
                  <a:lnTo>
                    <a:pt x="1181751" y="7533664"/>
                  </a:lnTo>
                  <a:lnTo>
                    <a:pt x="1181751" y="7528900"/>
                  </a:lnTo>
                  <a:lnTo>
                    <a:pt x="1176987" y="7524136"/>
                  </a:lnTo>
                  <a:close/>
                  <a:moveTo>
                    <a:pt x="1091213" y="7252520"/>
                  </a:moveTo>
                  <a:lnTo>
                    <a:pt x="1138865" y="7262052"/>
                  </a:lnTo>
                  <a:lnTo>
                    <a:pt x="1162691" y="7271584"/>
                  </a:lnTo>
                  <a:lnTo>
                    <a:pt x="1186517" y="7290644"/>
                  </a:lnTo>
                  <a:lnTo>
                    <a:pt x="1219873" y="7314468"/>
                  </a:lnTo>
                  <a:lnTo>
                    <a:pt x="1243697" y="7314468"/>
                  </a:lnTo>
                  <a:lnTo>
                    <a:pt x="1243697" y="7328764"/>
                  </a:lnTo>
                  <a:lnTo>
                    <a:pt x="1248463" y="7347824"/>
                  </a:lnTo>
                  <a:lnTo>
                    <a:pt x="1243697" y="7357356"/>
                  </a:lnTo>
                  <a:lnTo>
                    <a:pt x="1234167" y="7366884"/>
                  </a:lnTo>
                  <a:lnTo>
                    <a:pt x="1229403" y="7381180"/>
                  </a:lnTo>
                  <a:lnTo>
                    <a:pt x="1224637" y="7385944"/>
                  </a:lnTo>
                  <a:lnTo>
                    <a:pt x="1200811" y="7366884"/>
                  </a:lnTo>
                  <a:lnTo>
                    <a:pt x="1172221" y="7343060"/>
                  </a:lnTo>
                  <a:lnTo>
                    <a:pt x="1162691" y="7347824"/>
                  </a:lnTo>
                  <a:lnTo>
                    <a:pt x="1143631" y="7343060"/>
                  </a:lnTo>
                  <a:lnTo>
                    <a:pt x="1129335" y="7343060"/>
                  </a:lnTo>
                  <a:lnTo>
                    <a:pt x="1119805" y="7357356"/>
                  </a:lnTo>
                  <a:lnTo>
                    <a:pt x="1100745" y="7362120"/>
                  </a:lnTo>
                  <a:lnTo>
                    <a:pt x="1095979" y="7338296"/>
                  </a:lnTo>
                  <a:lnTo>
                    <a:pt x="1076919" y="7314468"/>
                  </a:lnTo>
                  <a:lnTo>
                    <a:pt x="1057859" y="7295408"/>
                  </a:lnTo>
                  <a:lnTo>
                    <a:pt x="1067389" y="7266816"/>
                  </a:lnTo>
                  <a:lnTo>
                    <a:pt x="1081683" y="7262052"/>
                  </a:lnTo>
                  <a:close/>
                  <a:moveTo>
                    <a:pt x="924435" y="7123864"/>
                  </a:moveTo>
                  <a:lnTo>
                    <a:pt x="929199" y="7128628"/>
                  </a:lnTo>
                  <a:lnTo>
                    <a:pt x="938729" y="7133396"/>
                  </a:lnTo>
                  <a:lnTo>
                    <a:pt x="943495" y="7138160"/>
                  </a:lnTo>
                  <a:lnTo>
                    <a:pt x="948261" y="7147688"/>
                  </a:lnTo>
                  <a:lnTo>
                    <a:pt x="953025" y="7166752"/>
                  </a:lnTo>
                  <a:lnTo>
                    <a:pt x="953025" y="7171516"/>
                  </a:lnTo>
                  <a:lnTo>
                    <a:pt x="962555" y="7166752"/>
                  </a:lnTo>
                  <a:lnTo>
                    <a:pt x="986381" y="7166752"/>
                  </a:lnTo>
                  <a:lnTo>
                    <a:pt x="1014971" y="7176280"/>
                  </a:lnTo>
                  <a:lnTo>
                    <a:pt x="1019737" y="7176280"/>
                  </a:lnTo>
                  <a:lnTo>
                    <a:pt x="1034033" y="7200104"/>
                  </a:lnTo>
                  <a:lnTo>
                    <a:pt x="1043563" y="7209636"/>
                  </a:lnTo>
                  <a:lnTo>
                    <a:pt x="1057859" y="7233460"/>
                  </a:lnTo>
                  <a:lnTo>
                    <a:pt x="1043563" y="7247756"/>
                  </a:lnTo>
                  <a:lnTo>
                    <a:pt x="1034033" y="7266816"/>
                  </a:lnTo>
                  <a:lnTo>
                    <a:pt x="1034033" y="7276348"/>
                  </a:lnTo>
                  <a:lnTo>
                    <a:pt x="1029267" y="7285880"/>
                  </a:lnTo>
                  <a:lnTo>
                    <a:pt x="1019737" y="7290644"/>
                  </a:lnTo>
                  <a:lnTo>
                    <a:pt x="1005441" y="7304940"/>
                  </a:lnTo>
                  <a:lnTo>
                    <a:pt x="986381" y="7304940"/>
                  </a:lnTo>
                  <a:lnTo>
                    <a:pt x="967321" y="7309704"/>
                  </a:lnTo>
                  <a:lnTo>
                    <a:pt x="962555" y="7314468"/>
                  </a:lnTo>
                  <a:lnTo>
                    <a:pt x="953025" y="7319232"/>
                  </a:lnTo>
                  <a:lnTo>
                    <a:pt x="948261" y="7314468"/>
                  </a:lnTo>
                  <a:lnTo>
                    <a:pt x="943495" y="7309704"/>
                  </a:lnTo>
                  <a:lnTo>
                    <a:pt x="943495" y="7300172"/>
                  </a:lnTo>
                  <a:lnTo>
                    <a:pt x="953025" y="7295408"/>
                  </a:lnTo>
                  <a:lnTo>
                    <a:pt x="967321" y="7271584"/>
                  </a:lnTo>
                  <a:lnTo>
                    <a:pt x="972085" y="7247756"/>
                  </a:lnTo>
                  <a:lnTo>
                    <a:pt x="953025" y="7242992"/>
                  </a:lnTo>
                  <a:lnTo>
                    <a:pt x="943495" y="7247756"/>
                  </a:lnTo>
                  <a:lnTo>
                    <a:pt x="938729" y="7247756"/>
                  </a:lnTo>
                  <a:lnTo>
                    <a:pt x="929199" y="7238228"/>
                  </a:lnTo>
                  <a:lnTo>
                    <a:pt x="924435" y="7252524"/>
                  </a:lnTo>
                  <a:lnTo>
                    <a:pt x="919669" y="7262052"/>
                  </a:lnTo>
                  <a:lnTo>
                    <a:pt x="924435" y="7276348"/>
                  </a:lnTo>
                  <a:lnTo>
                    <a:pt x="924435" y="7281112"/>
                  </a:lnTo>
                  <a:lnTo>
                    <a:pt x="914905" y="7285880"/>
                  </a:lnTo>
                  <a:lnTo>
                    <a:pt x="900609" y="7281112"/>
                  </a:lnTo>
                  <a:lnTo>
                    <a:pt x="886313" y="7266816"/>
                  </a:lnTo>
                  <a:lnTo>
                    <a:pt x="886313" y="7262052"/>
                  </a:lnTo>
                  <a:lnTo>
                    <a:pt x="891079" y="7238228"/>
                  </a:lnTo>
                  <a:lnTo>
                    <a:pt x="891079" y="7228696"/>
                  </a:lnTo>
                  <a:lnTo>
                    <a:pt x="886313" y="7209636"/>
                  </a:lnTo>
                  <a:lnTo>
                    <a:pt x="876783" y="7209636"/>
                  </a:lnTo>
                  <a:lnTo>
                    <a:pt x="862487" y="7214400"/>
                  </a:lnTo>
                  <a:lnTo>
                    <a:pt x="843427" y="7190576"/>
                  </a:lnTo>
                  <a:lnTo>
                    <a:pt x="833897" y="7171516"/>
                  </a:lnTo>
                  <a:lnTo>
                    <a:pt x="800541" y="7161984"/>
                  </a:lnTo>
                  <a:lnTo>
                    <a:pt x="829131" y="7133396"/>
                  </a:lnTo>
                  <a:lnTo>
                    <a:pt x="867253" y="7128628"/>
                  </a:lnTo>
                  <a:lnTo>
                    <a:pt x="876783" y="7142924"/>
                  </a:lnTo>
                  <a:lnTo>
                    <a:pt x="919669" y="7152456"/>
                  </a:lnTo>
                  <a:lnTo>
                    <a:pt x="914905" y="7138160"/>
                  </a:lnTo>
                  <a:lnTo>
                    <a:pt x="919669" y="7133396"/>
                  </a:lnTo>
                  <a:close/>
                  <a:moveTo>
                    <a:pt x="671883" y="6952320"/>
                  </a:moveTo>
                  <a:lnTo>
                    <a:pt x="690943" y="6961848"/>
                  </a:lnTo>
                  <a:lnTo>
                    <a:pt x="705239" y="6976144"/>
                  </a:lnTo>
                  <a:lnTo>
                    <a:pt x="714769" y="6985676"/>
                  </a:lnTo>
                  <a:lnTo>
                    <a:pt x="719535" y="6999972"/>
                  </a:lnTo>
                  <a:lnTo>
                    <a:pt x="719535" y="7004736"/>
                  </a:lnTo>
                  <a:lnTo>
                    <a:pt x="729065" y="7004736"/>
                  </a:lnTo>
                  <a:lnTo>
                    <a:pt x="733829" y="7009500"/>
                  </a:lnTo>
                  <a:lnTo>
                    <a:pt x="767185" y="7014264"/>
                  </a:lnTo>
                  <a:lnTo>
                    <a:pt x="795777" y="7023796"/>
                  </a:lnTo>
                  <a:lnTo>
                    <a:pt x="814837" y="7033328"/>
                  </a:lnTo>
                  <a:lnTo>
                    <a:pt x="833897" y="7038092"/>
                  </a:lnTo>
                  <a:lnTo>
                    <a:pt x="848193" y="7052388"/>
                  </a:lnTo>
                  <a:lnTo>
                    <a:pt x="857723" y="7057152"/>
                  </a:lnTo>
                  <a:lnTo>
                    <a:pt x="862489" y="7057152"/>
                  </a:lnTo>
                  <a:lnTo>
                    <a:pt x="886315" y="7085744"/>
                  </a:lnTo>
                  <a:lnTo>
                    <a:pt x="886315" y="7090508"/>
                  </a:lnTo>
                  <a:lnTo>
                    <a:pt x="914905" y="7109568"/>
                  </a:lnTo>
                  <a:lnTo>
                    <a:pt x="914905" y="7114332"/>
                  </a:lnTo>
                  <a:lnTo>
                    <a:pt x="900609" y="7114332"/>
                  </a:lnTo>
                  <a:lnTo>
                    <a:pt x="872019" y="7104804"/>
                  </a:lnTo>
                  <a:lnTo>
                    <a:pt x="857723" y="7104804"/>
                  </a:lnTo>
                  <a:lnTo>
                    <a:pt x="848193" y="7100036"/>
                  </a:lnTo>
                  <a:lnTo>
                    <a:pt x="843427" y="7100036"/>
                  </a:lnTo>
                  <a:lnTo>
                    <a:pt x="843427" y="7085744"/>
                  </a:lnTo>
                  <a:lnTo>
                    <a:pt x="838663" y="7080976"/>
                  </a:lnTo>
                  <a:lnTo>
                    <a:pt x="810073" y="7052388"/>
                  </a:lnTo>
                  <a:lnTo>
                    <a:pt x="800541" y="7047620"/>
                  </a:lnTo>
                  <a:lnTo>
                    <a:pt x="781481" y="7042856"/>
                  </a:lnTo>
                  <a:lnTo>
                    <a:pt x="757655" y="7042856"/>
                  </a:lnTo>
                  <a:lnTo>
                    <a:pt x="743361" y="7042856"/>
                  </a:lnTo>
                  <a:lnTo>
                    <a:pt x="738595" y="7042856"/>
                  </a:lnTo>
                  <a:lnTo>
                    <a:pt x="714769" y="7019032"/>
                  </a:lnTo>
                  <a:lnTo>
                    <a:pt x="690943" y="6999972"/>
                  </a:lnTo>
                  <a:lnTo>
                    <a:pt x="681413" y="6976144"/>
                  </a:lnTo>
                  <a:lnTo>
                    <a:pt x="667119" y="6961848"/>
                  </a:lnTo>
                  <a:lnTo>
                    <a:pt x="667119" y="6957084"/>
                  </a:lnTo>
                  <a:close/>
                  <a:moveTo>
                    <a:pt x="1481955" y="6890372"/>
                  </a:moveTo>
                  <a:lnTo>
                    <a:pt x="1496249" y="6890372"/>
                  </a:lnTo>
                  <a:lnTo>
                    <a:pt x="1534371" y="6933260"/>
                  </a:lnTo>
                  <a:lnTo>
                    <a:pt x="1548667" y="6938024"/>
                  </a:lnTo>
                  <a:lnTo>
                    <a:pt x="1591553" y="6914196"/>
                  </a:lnTo>
                  <a:lnTo>
                    <a:pt x="1596317" y="6914196"/>
                  </a:lnTo>
                  <a:lnTo>
                    <a:pt x="1615379" y="6928492"/>
                  </a:lnTo>
                  <a:lnTo>
                    <a:pt x="1615379" y="6933260"/>
                  </a:lnTo>
                  <a:lnTo>
                    <a:pt x="1615379" y="7009500"/>
                  </a:lnTo>
                  <a:lnTo>
                    <a:pt x="1615379" y="7085744"/>
                  </a:lnTo>
                  <a:lnTo>
                    <a:pt x="1615379" y="7228696"/>
                  </a:lnTo>
                  <a:lnTo>
                    <a:pt x="1615379" y="7300172"/>
                  </a:lnTo>
                  <a:lnTo>
                    <a:pt x="1615379" y="7371648"/>
                  </a:lnTo>
                  <a:lnTo>
                    <a:pt x="1615379" y="7452656"/>
                  </a:lnTo>
                  <a:lnTo>
                    <a:pt x="1615379" y="7514604"/>
                  </a:lnTo>
                  <a:lnTo>
                    <a:pt x="1591553" y="7514604"/>
                  </a:lnTo>
                  <a:lnTo>
                    <a:pt x="1586787" y="7519368"/>
                  </a:lnTo>
                  <a:lnTo>
                    <a:pt x="1548667" y="7528900"/>
                  </a:lnTo>
                  <a:lnTo>
                    <a:pt x="1481955" y="7514604"/>
                  </a:lnTo>
                  <a:lnTo>
                    <a:pt x="1467659" y="7500308"/>
                  </a:lnTo>
                  <a:lnTo>
                    <a:pt x="1448599" y="7476484"/>
                  </a:lnTo>
                  <a:lnTo>
                    <a:pt x="1439069" y="7481248"/>
                  </a:lnTo>
                  <a:lnTo>
                    <a:pt x="1420007" y="7495544"/>
                  </a:lnTo>
                  <a:lnTo>
                    <a:pt x="1400947" y="7500308"/>
                  </a:lnTo>
                  <a:lnTo>
                    <a:pt x="1381887" y="7505072"/>
                  </a:lnTo>
                  <a:lnTo>
                    <a:pt x="1367591" y="7490776"/>
                  </a:lnTo>
                  <a:lnTo>
                    <a:pt x="1362827" y="7486012"/>
                  </a:lnTo>
                  <a:lnTo>
                    <a:pt x="1358061" y="7486012"/>
                  </a:lnTo>
                  <a:lnTo>
                    <a:pt x="1324705" y="7500308"/>
                  </a:lnTo>
                  <a:lnTo>
                    <a:pt x="1286585" y="7486012"/>
                  </a:lnTo>
                  <a:lnTo>
                    <a:pt x="1257993" y="7476484"/>
                  </a:lnTo>
                  <a:lnTo>
                    <a:pt x="1210341" y="7471716"/>
                  </a:lnTo>
                  <a:lnTo>
                    <a:pt x="1176987" y="7447892"/>
                  </a:lnTo>
                  <a:lnTo>
                    <a:pt x="1119805" y="7452656"/>
                  </a:lnTo>
                  <a:lnTo>
                    <a:pt x="1105509" y="7443128"/>
                  </a:lnTo>
                  <a:lnTo>
                    <a:pt x="1100743" y="7424068"/>
                  </a:lnTo>
                  <a:lnTo>
                    <a:pt x="1105509" y="7414536"/>
                  </a:lnTo>
                  <a:lnTo>
                    <a:pt x="1119805" y="7409772"/>
                  </a:lnTo>
                  <a:lnTo>
                    <a:pt x="1124569" y="7400240"/>
                  </a:lnTo>
                  <a:lnTo>
                    <a:pt x="1134099" y="7400240"/>
                  </a:lnTo>
                  <a:lnTo>
                    <a:pt x="1153161" y="7414536"/>
                  </a:lnTo>
                  <a:lnTo>
                    <a:pt x="1157925" y="7414536"/>
                  </a:lnTo>
                  <a:lnTo>
                    <a:pt x="1167455" y="7405004"/>
                  </a:lnTo>
                  <a:lnTo>
                    <a:pt x="1186517" y="7390712"/>
                  </a:lnTo>
                  <a:lnTo>
                    <a:pt x="1191281" y="7390712"/>
                  </a:lnTo>
                  <a:lnTo>
                    <a:pt x="1224637" y="7405004"/>
                  </a:lnTo>
                  <a:lnTo>
                    <a:pt x="1234167" y="7400240"/>
                  </a:lnTo>
                  <a:lnTo>
                    <a:pt x="1253229" y="7395476"/>
                  </a:lnTo>
                  <a:lnTo>
                    <a:pt x="1257993" y="7390712"/>
                  </a:lnTo>
                  <a:lnTo>
                    <a:pt x="1257993" y="7381180"/>
                  </a:lnTo>
                  <a:lnTo>
                    <a:pt x="1262759" y="7376416"/>
                  </a:lnTo>
                  <a:lnTo>
                    <a:pt x="1277053" y="7371648"/>
                  </a:lnTo>
                  <a:lnTo>
                    <a:pt x="1296115" y="7376416"/>
                  </a:lnTo>
                  <a:lnTo>
                    <a:pt x="1296115" y="7395476"/>
                  </a:lnTo>
                  <a:lnTo>
                    <a:pt x="1291349" y="7414536"/>
                  </a:lnTo>
                  <a:lnTo>
                    <a:pt x="1315175" y="7419300"/>
                  </a:lnTo>
                  <a:lnTo>
                    <a:pt x="1339001" y="7419300"/>
                  </a:lnTo>
                  <a:lnTo>
                    <a:pt x="1353295" y="7424068"/>
                  </a:lnTo>
                  <a:lnTo>
                    <a:pt x="1358061" y="7414536"/>
                  </a:lnTo>
                  <a:lnTo>
                    <a:pt x="1329471" y="7381180"/>
                  </a:lnTo>
                  <a:lnTo>
                    <a:pt x="1319939" y="7366884"/>
                  </a:lnTo>
                  <a:lnTo>
                    <a:pt x="1305645" y="7352588"/>
                  </a:lnTo>
                  <a:lnTo>
                    <a:pt x="1286585" y="7347824"/>
                  </a:lnTo>
                  <a:lnTo>
                    <a:pt x="1267523" y="7314468"/>
                  </a:lnTo>
                  <a:lnTo>
                    <a:pt x="1267523" y="7281112"/>
                  </a:lnTo>
                  <a:lnTo>
                    <a:pt x="1267523" y="7252520"/>
                  </a:lnTo>
                  <a:lnTo>
                    <a:pt x="1300879" y="7238228"/>
                  </a:lnTo>
                  <a:lnTo>
                    <a:pt x="1296115" y="7209636"/>
                  </a:lnTo>
                  <a:lnTo>
                    <a:pt x="1305645" y="7190576"/>
                  </a:lnTo>
                  <a:lnTo>
                    <a:pt x="1319939" y="7185808"/>
                  </a:lnTo>
                  <a:lnTo>
                    <a:pt x="1334235" y="7257288"/>
                  </a:lnTo>
                  <a:lnTo>
                    <a:pt x="1343765" y="7281112"/>
                  </a:lnTo>
                  <a:lnTo>
                    <a:pt x="1329471" y="7285876"/>
                  </a:lnTo>
                  <a:lnTo>
                    <a:pt x="1305645" y="7285876"/>
                  </a:lnTo>
                  <a:lnTo>
                    <a:pt x="1319939" y="7319232"/>
                  </a:lnTo>
                  <a:lnTo>
                    <a:pt x="1343765" y="7333528"/>
                  </a:lnTo>
                  <a:lnTo>
                    <a:pt x="1362827" y="7357356"/>
                  </a:lnTo>
                  <a:lnTo>
                    <a:pt x="1367591" y="7376416"/>
                  </a:lnTo>
                  <a:lnTo>
                    <a:pt x="1377121" y="7385944"/>
                  </a:lnTo>
                  <a:lnTo>
                    <a:pt x="1405713" y="7385944"/>
                  </a:lnTo>
                  <a:lnTo>
                    <a:pt x="1424773" y="7381180"/>
                  </a:lnTo>
                  <a:lnTo>
                    <a:pt x="1434303" y="7366884"/>
                  </a:lnTo>
                  <a:lnTo>
                    <a:pt x="1443833" y="7366884"/>
                  </a:lnTo>
                  <a:lnTo>
                    <a:pt x="1462893" y="7381180"/>
                  </a:lnTo>
                  <a:lnTo>
                    <a:pt x="1496249" y="7390712"/>
                  </a:lnTo>
                  <a:lnTo>
                    <a:pt x="1501015" y="7400240"/>
                  </a:lnTo>
                  <a:lnTo>
                    <a:pt x="1510545" y="7414536"/>
                  </a:lnTo>
                  <a:lnTo>
                    <a:pt x="1510545" y="7428832"/>
                  </a:lnTo>
                  <a:lnTo>
                    <a:pt x="1510545" y="7438360"/>
                  </a:lnTo>
                  <a:lnTo>
                    <a:pt x="1520075" y="7433596"/>
                  </a:lnTo>
                  <a:lnTo>
                    <a:pt x="1534371" y="7414536"/>
                  </a:lnTo>
                  <a:lnTo>
                    <a:pt x="1539135" y="7405004"/>
                  </a:lnTo>
                  <a:lnTo>
                    <a:pt x="1548667" y="7405004"/>
                  </a:lnTo>
                  <a:lnTo>
                    <a:pt x="1553431" y="7400240"/>
                  </a:lnTo>
                  <a:lnTo>
                    <a:pt x="1553431" y="7390712"/>
                  </a:lnTo>
                  <a:lnTo>
                    <a:pt x="1529605" y="7376416"/>
                  </a:lnTo>
                  <a:lnTo>
                    <a:pt x="1405713" y="7314468"/>
                  </a:lnTo>
                  <a:lnTo>
                    <a:pt x="1391417" y="7285876"/>
                  </a:lnTo>
                  <a:lnTo>
                    <a:pt x="1381887" y="7252520"/>
                  </a:lnTo>
                  <a:lnTo>
                    <a:pt x="1381887" y="7219164"/>
                  </a:lnTo>
                  <a:lnTo>
                    <a:pt x="1391417" y="7209636"/>
                  </a:lnTo>
                  <a:lnTo>
                    <a:pt x="1410477" y="7195340"/>
                  </a:lnTo>
                  <a:lnTo>
                    <a:pt x="1453363" y="7176280"/>
                  </a:lnTo>
                  <a:lnTo>
                    <a:pt x="1501015" y="7152452"/>
                  </a:lnTo>
                  <a:lnTo>
                    <a:pt x="1505781" y="7147688"/>
                  </a:lnTo>
                  <a:lnTo>
                    <a:pt x="1505781" y="7128628"/>
                  </a:lnTo>
                  <a:lnTo>
                    <a:pt x="1496249" y="7119100"/>
                  </a:lnTo>
                  <a:lnTo>
                    <a:pt x="1481955" y="7109568"/>
                  </a:lnTo>
                  <a:lnTo>
                    <a:pt x="1458129" y="7109568"/>
                  </a:lnTo>
                  <a:lnTo>
                    <a:pt x="1443833" y="7109568"/>
                  </a:lnTo>
                  <a:lnTo>
                    <a:pt x="1424773" y="7114332"/>
                  </a:lnTo>
                  <a:lnTo>
                    <a:pt x="1391417" y="7128628"/>
                  </a:lnTo>
                  <a:lnTo>
                    <a:pt x="1372357" y="7128628"/>
                  </a:lnTo>
                  <a:lnTo>
                    <a:pt x="1353295" y="7119100"/>
                  </a:lnTo>
                  <a:lnTo>
                    <a:pt x="1339001" y="7100036"/>
                  </a:lnTo>
                  <a:lnTo>
                    <a:pt x="1329471" y="7076212"/>
                  </a:lnTo>
                  <a:lnTo>
                    <a:pt x="1329471" y="7057152"/>
                  </a:lnTo>
                  <a:lnTo>
                    <a:pt x="1334235" y="7042856"/>
                  </a:lnTo>
                  <a:lnTo>
                    <a:pt x="1343765" y="7028560"/>
                  </a:lnTo>
                  <a:lnTo>
                    <a:pt x="1353295" y="7023796"/>
                  </a:lnTo>
                  <a:lnTo>
                    <a:pt x="1362827" y="7023796"/>
                  </a:lnTo>
                  <a:lnTo>
                    <a:pt x="1372357" y="7019032"/>
                  </a:lnTo>
                  <a:lnTo>
                    <a:pt x="1377121" y="7014264"/>
                  </a:lnTo>
                  <a:lnTo>
                    <a:pt x="1381887" y="7004736"/>
                  </a:lnTo>
                  <a:lnTo>
                    <a:pt x="1381887" y="6999968"/>
                  </a:lnTo>
                  <a:lnTo>
                    <a:pt x="1377121" y="6995204"/>
                  </a:lnTo>
                  <a:lnTo>
                    <a:pt x="1362827" y="6985676"/>
                  </a:lnTo>
                  <a:lnTo>
                    <a:pt x="1358061" y="6971380"/>
                  </a:lnTo>
                  <a:lnTo>
                    <a:pt x="1343765" y="6957084"/>
                  </a:lnTo>
                  <a:lnTo>
                    <a:pt x="1353295" y="6952320"/>
                  </a:lnTo>
                  <a:lnTo>
                    <a:pt x="1372357" y="6947552"/>
                  </a:lnTo>
                  <a:lnTo>
                    <a:pt x="1391417" y="6961848"/>
                  </a:lnTo>
                  <a:lnTo>
                    <a:pt x="1405713" y="6976144"/>
                  </a:lnTo>
                  <a:lnTo>
                    <a:pt x="1415243" y="6976144"/>
                  </a:lnTo>
                  <a:lnTo>
                    <a:pt x="1420007" y="6971380"/>
                  </a:lnTo>
                  <a:lnTo>
                    <a:pt x="1439069" y="6952320"/>
                  </a:lnTo>
                  <a:lnTo>
                    <a:pt x="1458129" y="6928492"/>
                  </a:lnTo>
                  <a:lnTo>
                    <a:pt x="1472425" y="6904668"/>
                  </a:lnTo>
                  <a:close/>
                  <a:moveTo>
                    <a:pt x="705239" y="6695000"/>
                  </a:moveTo>
                  <a:lnTo>
                    <a:pt x="710005" y="6695000"/>
                  </a:lnTo>
                  <a:lnTo>
                    <a:pt x="724299" y="6699768"/>
                  </a:lnTo>
                  <a:lnTo>
                    <a:pt x="729065" y="6704532"/>
                  </a:lnTo>
                  <a:lnTo>
                    <a:pt x="733831" y="6718828"/>
                  </a:lnTo>
                  <a:lnTo>
                    <a:pt x="757655" y="6733124"/>
                  </a:lnTo>
                  <a:lnTo>
                    <a:pt x="762421" y="6737888"/>
                  </a:lnTo>
                  <a:lnTo>
                    <a:pt x="757655" y="6742652"/>
                  </a:lnTo>
                  <a:lnTo>
                    <a:pt x="757655" y="6747420"/>
                  </a:lnTo>
                  <a:lnTo>
                    <a:pt x="752891" y="6752184"/>
                  </a:lnTo>
                  <a:lnTo>
                    <a:pt x="733831" y="6742652"/>
                  </a:lnTo>
                  <a:lnTo>
                    <a:pt x="724299" y="6737888"/>
                  </a:lnTo>
                  <a:lnTo>
                    <a:pt x="714769" y="6723592"/>
                  </a:lnTo>
                  <a:lnTo>
                    <a:pt x="710005" y="6714064"/>
                  </a:lnTo>
                  <a:close/>
                  <a:moveTo>
                    <a:pt x="652823" y="6671176"/>
                  </a:moveTo>
                  <a:lnTo>
                    <a:pt x="657587" y="6718828"/>
                  </a:lnTo>
                  <a:lnTo>
                    <a:pt x="662353" y="6728360"/>
                  </a:lnTo>
                  <a:lnTo>
                    <a:pt x="676647" y="6733124"/>
                  </a:lnTo>
                  <a:lnTo>
                    <a:pt x="695707" y="6756948"/>
                  </a:lnTo>
                  <a:lnTo>
                    <a:pt x="695707" y="6761716"/>
                  </a:lnTo>
                  <a:lnTo>
                    <a:pt x="676647" y="6804600"/>
                  </a:lnTo>
                  <a:lnTo>
                    <a:pt x="671883" y="6837956"/>
                  </a:lnTo>
                  <a:lnTo>
                    <a:pt x="643291" y="6833192"/>
                  </a:lnTo>
                  <a:lnTo>
                    <a:pt x="633761" y="6804600"/>
                  </a:lnTo>
                  <a:lnTo>
                    <a:pt x="619467" y="6776008"/>
                  </a:lnTo>
                  <a:lnTo>
                    <a:pt x="614701" y="6737888"/>
                  </a:lnTo>
                  <a:lnTo>
                    <a:pt x="605171" y="6709296"/>
                  </a:lnTo>
                  <a:lnTo>
                    <a:pt x="619467" y="6695004"/>
                  </a:lnTo>
                  <a:lnTo>
                    <a:pt x="633761" y="6699768"/>
                  </a:lnTo>
                  <a:lnTo>
                    <a:pt x="638527" y="6675944"/>
                  </a:lnTo>
                  <a:close/>
                  <a:moveTo>
                    <a:pt x="662353" y="6566344"/>
                  </a:moveTo>
                  <a:lnTo>
                    <a:pt x="681413" y="6566344"/>
                  </a:lnTo>
                  <a:lnTo>
                    <a:pt x="690943" y="6575876"/>
                  </a:lnTo>
                  <a:lnTo>
                    <a:pt x="690943" y="6580640"/>
                  </a:lnTo>
                  <a:lnTo>
                    <a:pt x="690943" y="6604464"/>
                  </a:lnTo>
                  <a:lnTo>
                    <a:pt x="686177" y="6609232"/>
                  </a:lnTo>
                  <a:lnTo>
                    <a:pt x="681413" y="6613996"/>
                  </a:lnTo>
                  <a:lnTo>
                    <a:pt x="671883" y="6604464"/>
                  </a:lnTo>
                  <a:lnTo>
                    <a:pt x="662353" y="6604464"/>
                  </a:lnTo>
                  <a:lnTo>
                    <a:pt x="652823" y="6618760"/>
                  </a:lnTo>
                  <a:lnTo>
                    <a:pt x="643291" y="6623524"/>
                  </a:lnTo>
                  <a:lnTo>
                    <a:pt x="633761" y="6618760"/>
                  </a:lnTo>
                  <a:lnTo>
                    <a:pt x="614701" y="6613996"/>
                  </a:lnTo>
                  <a:lnTo>
                    <a:pt x="600405" y="6642588"/>
                  </a:lnTo>
                  <a:lnTo>
                    <a:pt x="590875" y="6656880"/>
                  </a:lnTo>
                  <a:lnTo>
                    <a:pt x="576579" y="6671176"/>
                  </a:lnTo>
                  <a:lnTo>
                    <a:pt x="576579" y="6652116"/>
                  </a:lnTo>
                  <a:lnTo>
                    <a:pt x="586111" y="6628292"/>
                  </a:lnTo>
                  <a:lnTo>
                    <a:pt x="590875" y="6609232"/>
                  </a:lnTo>
                  <a:lnTo>
                    <a:pt x="600405" y="6580640"/>
                  </a:lnTo>
                  <a:lnTo>
                    <a:pt x="614701" y="6594936"/>
                  </a:lnTo>
                  <a:lnTo>
                    <a:pt x="643291" y="6585404"/>
                  </a:lnTo>
                  <a:close/>
                  <a:moveTo>
                    <a:pt x="557521" y="6385268"/>
                  </a:moveTo>
                  <a:lnTo>
                    <a:pt x="576581" y="6385268"/>
                  </a:lnTo>
                  <a:lnTo>
                    <a:pt x="600407" y="6390036"/>
                  </a:lnTo>
                  <a:lnTo>
                    <a:pt x="605171" y="6394800"/>
                  </a:lnTo>
                  <a:lnTo>
                    <a:pt x="595641" y="6404328"/>
                  </a:lnTo>
                  <a:lnTo>
                    <a:pt x="590877" y="6409096"/>
                  </a:lnTo>
                  <a:lnTo>
                    <a:pt x="576581" y="6413860"/>
                  </a:lnTo>
                  <a:lnTo>
                    <a:pt x="576581" y="6432920"/>
                  </a:lnTo>
                  <a:lnTo>
                    <a:pt x="571815" y="6456744"/>
                  </a:lnTo>
                  <a:lnTo>
                    <a:pt x="557521" y="6456744"/>
                  </a:lnTo>
                  <a:lnTo>
                    <a:pt x="552755" y="6447216"/>
                  </a:lnTo>
                  <a:lnTo>
                    <a:pt x="552755" y="6437684"/>
                  </a:lnTo>
                  <a:lnTo>
                    <a:pt x="547991" y="6428156"/>
                  </a:lnTo>
                  <a:lnTo>
                    <a:pt x="552755" y="6413860"/>
                  </a:lnTo>
                  <a:lnTo>
                    <a:pt x="557521" y="6399564"/>
                  </a:lnTo>
                  <a:close/>
                  <a:moveTo>
                    <a:pt x="571815" y="6270904"/>
                  </a:moveTo>
                  <a:lnTo>
                    <a:pt x="590877" y="6280436"/>
                  </a:lnTo>
                  <a:lnTo>
                    <a:pt x="605171" y="6280436"/>
                  </a:lnTo>
                  <a:lnTo>
                    <a:pt x="619467" y="6289968"/>
                  </a:lnTo>
                  <a:lnTo>
                    <a:pt x="643293" y="6294732"/>
                  </a:lnTo>
                  <a:lnTo>
                    <a:pt x="648059" y="6313792"/>
                  </a:lnTo>
                  <a:lnTo>
                    <a:pt x="628997" y="6328088"/>
                  </a:lnTo>
                  <a:lnTo>
                    <a:pt x="614701" y="6342384"/>
                  </a:lnTo>
                  <a:lnTo>
                    <a:pt x="581345" y="6361444"/>
                  </a:lnTo>
                  <a:lnTo>
                    <a:pt x="576581" y="6351912"/>
                  </a:lnTo>
                  <a:lnTo>
                    <a:pt x="552755" y="6351912"/>
                  </a:lnTo>
                  <a:lnTo>
                    <a:pt x="557521" y="6332852"/>
                  </a:lnTo>
                  <a:lnTo>
                    <a:pt x="562285" y="6313792"/>
                  </a:lnTo>
                  <a:lnTo>
                    <a:pt x="562285" y="6309028"/>
                  </a:lnTo>
                  <a:lnTo>
                    <a:pt x="567051" y="6294732"/>
                  </a:lnTo>
                  <a:close/>
                  <a:moveTo>
                    <a:pt x="586111" y="5975468"/>
                  </a:moveTo>
                  <a:lnTo>
                    <a:pt x="605171" y="5975468"/>
                  </a:lnTo>
                  <a:lnTo>
                    <a:pt x="605171" y="5989764"/>
                  </a:lnTo>
                  <a:lnTo>
                    <a:pt x="605171" y="6008824"/>
                  </a:lnTo>
                  <a:lnTo>
                    <a:pt x="581345" y="6042180"/>
                  </a:lnTo>
                  <a:lnTo>
                    <a:pt x="562285" y="6066004"/>
                  </a:lnTo>
                  <a:lnTo>
                    <a:pt x="543225" y="6080300"/>
                  </a:lnTo>
                  <a:lnTo>
                    <a:pt x="533695" y="6080300"/>
                  </a:lnTo>
                  <a:lnTo>
                    <a:pt x="524163" y="6075536"/>
                  </a:lnTo>
                  <a:lnTo>
                    <a:pt x="533695" y="6061240"/>
                  </a:lnTo>
                  <a:lnTo>
                    <a:pt x="547989" y="6046944"/>
                  </a:lnTo>
                  <a:lnTo>
                    <a:pt x="543225" y="6027884"/>
                  </a:lnTo>
                  <a:lnTo>
                    <a:pt x="538459" y="6023120"/>
                  </a:lnTo>
                  <a:lnTo>
                    <a:pt x="533695" y="6023120"/>
                  </a:lnTo>
                  <a:lnTo>
                    <a:pt x="524163" y="6013588"/>
                  </a:lnTo>
                  <a:lnTo>
                    <a:pt x="524163" y="5999292"/>
                  </a:lnTo>
                  <a:lnTo>
                    <a:pt x="533695" y="5994528"/>
                  </a:lnTo>
                  <a:lnTo>
                    <a:pt x="538459" y="5989764"/>
                  </a:lnTo>
                  <a:lnTo>
                    <a:pt x="547989" y="5989764"/>
                  </a:lnTo>
                  <a:lnTo>
                    <a:pt x="576581" y="5980232"/>
                  </a:lnTo>
                  <a:close/>
                  <a:moveTo>
                    <a:pt x="652823" y="5956408"/>
                  </a:moveTo>
                  <a:lnTo>
                    <a:pt x="662353" y="5956408"/>
                  </a:lnTo>
                  <a:lnTo>
                    <a:pt x="676649" y="5970704"/>
                  </a:lnTo>
                  <a:lnTo>
                    <a:pt x="690943" y="5970704"/>
                  </a:lnTo>
                  <a:lnTo>
                    <a:pt x="695709" y="5970704"/>
                  </a:lnTo>
                  <a:lnTo>
                    <a:pt x="695709" y="5984996"/>
                  </a:lnTo>
                  <a:lnTo>
                    <a:pt x="705239" y="6061240"/>
                  </a:lnTo>
                  <a:lnTo>
                    <a:pt x="705239" y="6099360"/>
                  </a:lnTo>
                  <a:lnTo>
                    <a:pt x="705239" y="6132716"/>
                  </a:lnTo>
                  <a:lnTo>
                    <a:pt x="695709" y="6175604"/>
                  </a:lnTo>
                  <a:lnTo>
                    <a:pt x="700473" y="6185132"/>
                  </a:lnTo>
                  <a:lnTo>
                    <a:pt x="705239" y="6189896"/>
                  </a:lnTo>
                  <a:lnTo>
                    <a:pt x="705239" y="6194664"/>
                  </a:lnTo>
                  <a:lnTo>
                    <a:pt x="705239" y="6213724"/>
                  </a:lnTo>
                  <a:lnTo>
                    <a:pt x="700473" y="6232784"/>
                  </a:lnTo>
                  <a:lnTo>
                    <a:pt x="695709" y="6247080"/>
                  </a:lnTo>
                  <a:lnTo>
                    <a:pt x="690943" y="6266140"/>
                  </a:lnTo>
                  <a:lnTo>
                    <a:pt x="686179" y="6270904"/>
                  </a:lnTo>
                  <a:lnTo>
                    <a:pt x="667117" y="6270904"/>
                  </a:lnTo>
                  <a:lnTo>
                    <a:pt x="657587" y="6270904"/>
                  </a:lnTo>
                  <a:lnTo>
                    <a:pt x="652823" y="6251844"/>
                  </a:lnTo>
                  <a:lnTo>
                    <a:pt x="648057" y="6237548"/>
                  </a:lnTo>
                  <a:lnTo>
                    <a:pt x="652823" y="6223252"/>
                  </a:lnTo>
                  <a:lnTo>
                    <a:pt x="643293" y="6204192"/>
                  </a:lnTo>
                  <a:lnTo>
                    <a:pt x="638527" y="6194664"/>
                  </a:lnTo>
                  <a:lnTo>
                    <a:pt x="643293" y="6180368"/>
                  </a:lnTo>
                  <a:lnTo>
                    <a:pt x="652823" y="6170836"/>
                  </a:lnTo>
                  <a:lnTo>
                    <a:pt x="652823" y="6151776"/>
                  </a:lnTo>
                  <a:lnTo>
                    <a:pt x="657587" y="6147012"/>
                  </a:lnTo>
                  <a:lnTo>
                    <a:pt x="667117" y="6137480"/>
                  </a:lnTo>
                  <a:lnTo>
                    <a:pt x="667117" y="6132716"/>
                  </a:lnTo>
                  <a:lnTo>
                    <a:pt x="667117" y="6127952"/>
                  </a:lnTo>
                  <a:lnTo>
                    <a:pt x="662353" y="6127952"/>
                  </a:lnTo>
                  <a:lnTo>
                    <a:pt x="628997" y="6156544"/>
                  </a:lnTo>
                  <a:lnTo>
                    <a:pt x="624231" y="6161308"/>
                  </a:lnTo>
                  <a:lnTo>
                    <a:pt x="624231" y="6170836"/>
                  </a:lnTo>
                  <a:lnTo>
                    <a:pt x="624231" y="6208960"/>
                  </a:lnTo>
                  <a:lnTo>
                    <a:pt x="619467" y="6228020"/>
                  </a:lnTo>
                  <a:lnTo>
                    <a:pt x="614701" y="6232784"/>
                  </a:lnTo>
                  <a:lnTo>
                    <a:pt x="595641" y="6232784"/>
                  </a:lnTo>
                  <a:lnTo>
                    <a:pt x="576581" y="6232784"/>
                  </a:lnTo>
                  <a:lnTo>
                    <a:pt x="552755" y="6213724"/>
                  </a:lnTo>
                  <a:lnTo>
                    <a:pt x="538459" y="6218488"/>
                  </a:lnTo>
                  <a:lnTo>
                    <a:pt x="533695" y="6194664"/>
                  </a:lnTo>
                  <a:lnTo>
                    <a:pt x="543225" y="6175604"/>
                  </a:lnTo>
                  <a:lnTo>
                    <a:pt x="571815" y="6175604"/>
                  </a:lnTo>
                  <a:lnTo>
                    <a:pt x="576581" y="6147012"/>
                  </a:lnTo>
                  <a:lnTo>
                    <a:pt x="567049" y="6137480"/>
                  </a:lnTo>
                  <a:lnTo>
                    <a:pt x="557519" y="6123188"/>
                  </a:lnTo>
                  <a:lnTo>
                    <a:pt x="547989" y="6113656"/>
                  </a:lnTo>
                  <a:lnTo>
                    <a:pt x="552755" y="6104124"/>
                  </a:lnTo>
                  <a:lnTo>
                    <a:pt x="571815" y="6089832"/>
                  </a:lnTo>
                  <a:lnTo>
                    <a:pt x="581345" y="6089832"/>
                  </a:lnTo>
                  <a:lnTo>
                    <a:pt x="590875" y="6099360"/>
                  </a:lnTo>
                  <a:lnTo>
                    <a:pt x="609937" y="6089832"/>
                  </a:lnTo>
                  <a:lnTo>
                    <a:pt x="609937" y="6070768"/>
                  </a:lnTo>
                  <a:lnTo>
                    <a:pt x="590875" y="6061240"/>
                  </a:lnTo>
                  <a:lnTo>
                    <a:pt x="595641" y="6046944"/>
                  </a:lnTo>
                  <a:lnTo>
                    <a:pt x="614701" y="6032648"/>
                  </a:lnTo>
                  <a:lnTo>
                    <a:pt x="628997" y="6018352"/>
                  </a:lnTo>
                  <a:lnTo>
                    <a:pt x="628997" y="5999292"/>
                  </a:lnTo>
                  <a:lnTo>
                    <a:pt x="624231" y="5984996"/>
                  </a:lnTo>
                  <a:lnTo>
                    <a:pt x="628997" y="5980232"/>
                  </a:lnTo>
                  <a:lnTo>
                    <a:pt x="638527" y="5965936"/>
                  </a:lnTo>
                  <a:close/>
                  <a:moveTo>
                    <a:pt x="562285" y="5794392"/>
                  </a:moveTo>
                  <a:lnTo>
                    <a:pt x="571815" y="5808688"/>
                  </a:lnTo>
                  <a:lnTo>
                    <a:pt x="581345" y="5842044"/>
                  </a:lnTo>
                  <a:lnTo>
                    <a:pt x="600407" y="5889696"/>
                  </a:lnTo>
                  <a:lnTo>
                    <a:pt x="595641" y="5937348"/>
                  </a:lnTo>
                  <a:lnTo>
                    <a:pt x="586111" y="5951644"/>
                  </a:lnTo>
                  <a:lnTo>
                    <a:pt x="552755" y="5961172"/>
                  </a:lnTo>
                  <a:lnTo>
                    <a:pt x="543225" y="5970704"/>
                  </a:lnTo>
                  <a:lnTo>
                    <a:pt x="524165" y="5970704"/>
                  </a:lnTo>
                  <a:lnTo>
                    <a:pt x="519399" y="5927816"/>
                  </a:lnTo>
                  <a:lnTo>
                    <a:pt x="543225" y="5870636"/>
                  </a:lnTo>
                  <a:lnTo>
                    <a:pt x="543225" y="5846808"/>
                  </a:lnTo>
                  <a:lnTo>
                    <a:pt x="538459" y="5827748"/>
                  </a:lnTo>
                  <a:lnTo>
                    <a:pt x="533695" y="5813452"/>
                  </a:lnTo>
                  <a:lnTo>
                    <a:pt x="533695" y="5808688"/>
                  </a:lnTo>
                  <a:close/>
                  <a:moveTo>
                    <a:pt x="638527" y="5756272"/>
                  </a:moveTo>
                  <a:lnTo>
                    <a:pt x="648057" y="5756272"/>
                  </a:lnTo>
                  <a:lnTo>
                    <a:pt x="648057" y="5794392"/>
                  </a:lnTo>
                  <a:lnTo>
                    <a:pt x="652823" y="5808688"/>
                  </a:lnTo>
                  <a:lnTo>
                    <a:pt x="662353" y="5822984"/>
                  </a:lnTo>
                  <a:lnTo>
                    <a:pt x="667119" y="5827748"/>
                  </a:lnTo>
                  <a:lnTo>
                    <a:pt x="667119" y="5842044"/>
                  </a:lnTo>
                  <a:lnTo>
                    <a:pt x="676649" y="5861104"/>
                  </a:lnTo>
                  <a:lnTo>
                    <a:pt x="681413" y="5870636"/>
                  </a:lnTo>
                  <a:lnTo>
                    <a:pt x="686179" y="5880164"/>
                  </a:lnTo>
                  <a:lnTo>
                    <a:pt x="686179" y="5884932"/>
                  </a:lnTo>
                  <a:lnTo>
                    <a:pt x="681413" y="5889696"/>
                  </a:lnTo>
                  <a:lnTo>
                    <a:pt x="690943" y="5932580"/>
                  </a:lnTo>
                  <a:lnTo>
                    <a:pt x="686179" y="5937348"/>
                  </a:lnTo>
                  <a:lnTo>
                    <a:pt x="667119" y="5932580"/>
                  </a:lnTo>
                  <a:lnTo>
                    <a:pt x="633763" y="5937348"/>
                  </a:lnTo>
                  <a:lnTo>
                    <a:pt x="619467" y="5918288"/>
                  </a:lnTo>
                  <a:lnTo>
                    <a:pt x="614701" y="5884932"/>
                  </a:lnTo>
                  <a:lnTo>
                    <a:pt x="609937" y="5875400"/>
                  </a:lnTo>
                  <a:lnTo>
                    <a:pt x="600407" y="5856340"/>
                  </a:lnTo>
                  <a:lnTo>
                    <a:pt x="595641" y="5842044"/>
                  </a:lnTo>
                  <a:lnTo>
                    <a:pt x="590877" y="5822984"/>
                  </a:lnTo>
                  <a:lnTo>
                    <a:pt x="586111" y="5803924"/>
                  </a:lnTo>
                  <a:lnTo>
                    <a:pt x="586111" y="5799160"/>
                  </a:lnTo>
                  <a:lnTo>
                    <a:pt x="590877" y="5784864"/>
                  </a:lnTo>
                  <a:lnTo>
                    <a:pt x="624233" y="5775332"/>
                  </a:lnTo>
                  <a:close/>
                  <a:moveTo>
                    <a:pt x="609935" y="5718152"/>
                  </a:moveTo>
                  <a:lnTo>
                    <a:pt x="619465" y="5722916"/>
                  </a:lnTo>
                  <a:lnTo>
                    <a:pt x="633761" y="5727680"/>
                  </a:lnTo>
                  <a:lnTo>
                    <a:pt x="633761" y="5737212"/>
                  </a:lnTo>
                  <a:lnTo>
                    <a:pt x="614701" y="5746740"/>
                  </a:lnTo>
                  <a:lnTo>
                    <a:pt x="609935" y="5751508"/>
                  </a:lnTo>
                  <a:lnTo>
                    <a:pt x="605171" y="5756272"/>
                  </a:lnTo>
                  <a:lnTo>
                    <a:pt x="595641" y="5756272"/>
                  </a:lnTo>
                  <a:lnTo>
                    <a:pt x="590875" y="5746740"/>
                  </a:lnTo>
                  <a:lnTo>
                    <a:pt x="581345" y="5737212"/>
                  </a:lnTo>
                  <a:lnTo>
                    <a:pt x="590875" y="5727680"/>
                  </a:lnTo>
                  <a:close/>
                  <a:moveTo>
                    <a:pt x="729065" y="5151100"/>
                  </a:moveTo>
                  <a:lnTo>
                    <a:pt x="733829" y="5170160"/>
                  </a:lnTo>
                  <a:lnTo>
                    <a:pt x="729065" y="5213048"/>
                  </a:lnTo>
                  <a:lnTo>
                    <a:pt x="743359" y="5236872"/>
                  </a:lnTo>
                  <a:lnTo>
                    <a:pt x="743359" y="5246404"/>
                  </a:lnTo>
                  <a:lnTo>
                    <a:pt x="738595" y="5255932"/>
                  </a:lnTo>
                  <a:lnTo>
                    <a:pt x="729065" y="5265464"/>
                  </a:lnTo>
                  <a:lnTo>
                    <a:pt x="719535" y="5274992"/>
                  </a:lnTo>
                  <a:lnTo>
                    <a:pt x="705239" y="5279760"/>
                  </a:lnTo>
                  <a:lnTo>
                    <a:pt x="690943" y="5270228"/>
                  </a:lnTo>
                  <a:lnTo>
                    <a:pt x="671883" y="5274992"/>
                  </a:lnTo>
                  <a:lnTo>
                    <a:pt x="671883" y="5255932"/>
                  </a:lnTo>
                  <a:lnTo>
                    <a:pt x="676649" y="5246404"/>
                  </a:lnTo>
                  <a:lnTo>
                    <a:pt x="690943" y="5227344"/>
                  </a:lnTo>
                  <a:lnTo>
                    <a:pt x="700473" y="5203516"/>
                  </a:lnTo>
                  <a:lnTo>
                    <a:pt x="700473" y="5174928"/>
                  </a:lnTo>
                  <a:lnTo>
                    <a:pt x="710005" y="5165396"/>
                  </a:lnTo>
                  <a:lnTo>
                    <a:pt x="714769" y="5155868"/>
                  </a:lnTo>
                  <a:close/>
                  <a:moveTo>
                    <a:pt x="605171" y="5065328"/>
                  </a:moveTo>
                  <a:lnTo>
                    <a:pt x="609937" y="5065328"/>
                  </a:lnTo>
                  <a:lnTo>
                    <a:pt x="614701" y="5070096"/>
                  </a:lnTo>
                  <a:lnTo>
                    <a:pt x="619467" y="5084388"/>
                  </a:lnTo>
                  <a:lnTo>
                    <a:pt x="614701" y="5089156"/>
                  </a:lnTo>
                  <a:lnTo>
                    <a:pt x="609937" y="5089156"/>
                  </a:lnTo>
                  <a:lnTo>
                    <a:pt x="605171" y="5089156"/>
                  </a:lnTo>
                  <a:lnTo>
                    <a:pt x="605171" y="5079624"/>
                  </a:lnTo>
                  <a:lnTo>
                    <a:pt x="600407" y="5070096"/>
                  </a:lnTo>
                  <a:close/>
                  <a:moveTo>
                    <a:pt x="814837" y="5012912"/>
                  </a:moveTo>
                  <a:lnTo>
                    <a:pt x="819601" y="5012912"/>
                  </a:lnTo>
                  <a:lnTo>
                    <a:pt x="829131" y="5012912"/>
                  </a:lnTo>
                  <a:lnTo>
                    <a:pt x="833897" y="5027208"/>
                  </a:lnTo>
                  <a:lnTo>
                    <a:pt x="838663" y="5041504"/>
                  </a:lnTo>
                  <a:lnTo>
                    <a:pt x="838663" y="5055800"/>
                  </a:lnTo>
                  <a:lnTo>
                    <a:pt x="833897" y="5070092"/>
                  </a:lnTo>
                  <a:lnTo>
                    <a:pt x="829131" y="5074860"/>
                  </a:lnTo>
                  <a:lnTo>
                    <a:pt x="824367" y="5074860"/>
                  </a:lnTo>
                  <a:lnTo>
                    <a:pt x="819601" y="5065328"/>
                  </a:lnTo>
                  <a:lnTo>
                    <a:pt x="819601" y="5055800"/>
                  </a:lnTo>
                  <a:lnTo>
                    <a:pt x="810071" y="5041504"/>
                  </a:lnTo>
                  <a:lnTo>
                    <a:pt x="805307" y="5031972"/>
                  </a:lnTo>
                  <a:lnTo>
                    <a:pt x="805307" y="5027208"/>
                  </a:lnTo>
                  <a:close/>
                  <a:moveTo>
                    <a:pt x="900609" y="4965260"/>
                  </a:moveTo>
                  <a:lnTo>
                    <a:pt x="929199" y="4974792"/>
                  </a:lnTo>
                  <a:lnTo>
                    <a:pt x="957791" y="4993852"/>
                  </a:lnTo>
                  <a:lnTo>
                    <a:pt x="972087" y="5003384"/>
                  </a:lnTo>
                  <a:lnTo>
                    <a:pt x="972087" y="5012912"/>
                  </a:lnTo>
                  <a:lnTo>
                    <a:pt x="957791" y="5031972"/>
                  </a:lnTo>
                  <a:lnTo>
                    <a:pt x="953025" y="5046268"/>
                  </a:lnTo>
                  <a:lnTo>
                    <a:pt x="938731" y="5060564"/>
                  </a:lnTo>
                  <a:lnTo>
                    <a:pt x="900609" y="5079624"/>
                  </a:lnTo>
                  <a:lnTo>
                    <a:pt x="881549" y="5074860"/>
                  </a:lnTo>
                  <a:lnTo>
                    <a:pt x="872019" y="5060564"/>
                  </a:lnTo>
                  <a:lnTo>
                    <a:pt x="867253" y="5051032"/>
                  </a:lnTo>
                  <a:lnTo>
                    <a:pt x="867253" y="5031972"/>
                  </a:lnTo>
                  <a:lnTo>
                    <a:pt x="872019" y="5022444"/>
                  </a:lnTo>
                  <a:lnTo>
                    <a:pt x="886313" y="5008148"/>
                  </a:lnTo>
                  <a:lnTo>
                    <a:pt x="891079" y="4998616"/>
                  </a:lnTo>
                  <a:lnTo>
                    <a:pt x="891079" y="4989088"/>
                  </a:lnTo>
                  <a:lnTo>
                    <a:pt x="891079" y="4979556"/>
                  </a:lnTo>
                  <a:lnTo>
                    <a:pt x="895843" y="4970028"/>
                  </a:lnTo>
                  <a:close/>
                  <a:moveTo>
                    <a:pt x="781481" y="4922376"/>
                  </a:moveTo>
                  <a:lnTo>
                    <a:pt x="795777" y="4922376"/>
                  </a:lnTo>
                  <a:lnTo>
                    <a:pt x="800541" y="4931904"/>
                  </a:lnTo>
                  <a:lnTo>
                    <a:pt x="805307" y="4941436"/>
                  </a:lnTo>
                  <a:lnTo>
                    <a:pt x="824367" y="4950964"/>
                  </a:lnTo>
                  <a:lnTo>
                    <a:pt x="824367" y="4960496"/>
                  </a:lnTo>
                  <a:lnTo>
                    <a:pt x="819601" y="4979556"/>
                  </a:lnTo>
                  <a:lnTo>
                    <a:pt x="814837" y="4989088"/>
                  </a:lnTo>
                  <a:lnTo>
                    <a:pt x="800541" y="4989088"/>
                  </a:lnTo>
                  <a:lnTo>
                    <a:pt x="781481" y="4998616"/>
                  </a:lnTo>
                  <a:lnTo>
                    <a:pt x="781481" y="5008148"/>
                  </a:lnTo>
                  <a:lnTo>
                    <a:pt x="776715" y="5022444"/>
                  </a:lnTo>
                  <a:lnTo>
                    <a:pt x="791011" y="5036736"/>
                  </a:lnTo>
                  <a:lnTo>
                    <a:pt x="795777" y="5051032"/>
                  </a:lnTo>
                  <a:lnTo>
                    <a:pt x="805307" y="5074860"/>
                  </a:lnTo>
                  <a:lnTo>
                    <a:pt x="810071" y="5098684"/>
                  </a:lnTo>
                  <a:lnTo>
                    <a:pt x="810071" y="5103448"/>
                  </a:lnTo>
                  <a:lnTo>
                    <a:pt x="810071" y="5117744"/>
                  </a:lnTo>
                  <a:lnTo>
                    <a:pt x="819601" y="5136804"/>
                  </a:lnTo>
                  <a:lnTo>
                    <a:pt x="819601" y="5146336"/>
                  </a:lnTo>
                  <a:lnTo>
                    <a:pt x="819601" y="5155868"/>
                  </a:lnTo>
                  <a:lnTo>
                    <a:pt x="819601" y="5170160"/>
                  </a:lnTo>
                  <a:lnTo>
                    <a:pt x="814837" y="5170160"/>
                  </a:lnTo>
                  <a:lnTo>
                    <a:pt x="805307" y="5174928"/>
                  </a:lnTo>
                  <a:lnTo>
                    <a:pt x="805307" y="5184456"/>
                  </a:lnTo>
                  <a:lnTo>
                    <a:pt x="800541" y="5184456"/>
                  </a:lnTo>
                  <a:lnTo>
                    <a:pt x="776715" y="5189224"/>
                  </a:lnTo>
                  <a:lnTo>
                    <a:pt x="762421" y="5184456"/>
                  </a:lnTo>
                  <a:lnTo>
                    <a:pt x="767185" y="5155868"/>
                  </a:lnTo>
                  <a:lnTo>
                    <a:pt x="748125" y="5141572"/>
                  </a:lnTo>
                  <a:lnTo>
                    <a:pt x="738595" y="5122512"/>
                  </a:lnTo>
                  <a:lnTo>
                    <a:pt x="724299" y="5089156"/>
                  </a:lnTo>
                  <a:lnTo>
                    <a:pt x="714769" y="5079624"/>
                  </a:lnTo>
                  <a:lnTo>
                    <a:pt x="700473" y="5055800"/>
                  </a:lnTo>
                  <a:lnTo>
                    <a:pt x="681413" y="5031972"/>
                  </a:lnTo>
                  <a:lnTo>
                    <a:pt x="705239" y="5017676"/>
                  </a:lnTo>
                  <a:lnTo>
                    <a:pt x="700473" y="4993852"/>
                  </a:lnTo>
                  <a:lnTo>
                    <a:pt x="714769" y="4984320"/>
                  </a:lnTo>
                  <a:lnTo>
                    <a:pt x="733829" y="4979556"/>
                  </a:lnTo>
                  <a:lnTo>
                    <a:pt x="748125" y="4984320"/>
                  </a:lnTo>
                  <a:lnTo>
                    <a:pt x="757655" y="4984320"/>
                  </a:lnTo>
                  <a:lnTo>
                    <a:pt x="762421" y="4974792"/>
                  </a:lnTo>
                  <a:lnTo>
                    <a:pt x="762421" y="4950964"/>
                  </a:lnTo>
                  <a:lnTo>
                    <a:pt x="767185" y="4931904"/>
                  </a:lnTo>
                  <a:close/>
                  <a:moveTo>
                    <a:pt x="800541" y="4846132"/>
                  </a:moveTo>
                  <a:lnTo>
                    <a:pt x="805305" y="4846132"/>
                  </a:lnTo>
                  <a:lnTo>
                    <a:pt x="810071" y="4855664"/>
                  </a:lnTo>
                  <a:lnTo>
                    <a:pt x="810071" y="4865192"/>
                  </a:lnTo>
                  <a:lnTo>
                    <a:pt x="805305" y="4865192"/>
                  </a:lnTo>
                  <a:lnTo>
                    <a:pt x="795775" y="4865192"/>
                  </a:lnTo>
                  <a:lnTo>
                    <a:pt x="786245" y="4874724"/>
                  </a:lnTo>
                  <a:lnTo>
                    <a:pt x="762421" y="4865192"/>
                  </a:lnTo>
                  <a:lnTo>
                    <a:pt x="757655" y="4865192"/>
                  </a:lnTo>
                  <a:lnTo>
                    <a:pt x="757655" y="4850900"/>
                  </a:lnTo>
                  <a:lnTo>
                    <a:pt x="781481" y="4850900"/>
                  </a:lnTo>
                  <a:close/>
                  <a:moveTo>
                    <a:pt x="662353" y="4788952"/>
                  </a:moveTo>
                  <a:lnTo>
                    <a:pt x="671883" y="4793716"/>
                  </a:lnTo>
                  <a:lnTo>
                    <a:pt x="671883" y="4798480"/>
                  </a:lnTo>
                  <a:lnTo>
                    <a:pt x="676647" y="4803248"/>
                  </a:lnTo>
                  <a:lnTo>
                    <a:pt x="676647" y="4808012"/>
                  </a:lnTo>
                  <a:lnTo>
                    <a:pt x="652823" y="4812776"/>
                  </a:lnTo>
                  <a:lnTo>
                    <a:pt x="648057" y="4803248"/>
                  </a:lnTo>
                  <a:lnTo>
                    <a:pt x="648057" y="4798480"/>
                  </a:lnTo>
                  <a:lnTo>
                    <a:pt x="652823" y="4793716"/>
                  </a:lnTo>
                  <a:close/>
                  <a:moveTo>
                    <a:pt x="771951" y="4422036"/>
                  </a:moveTo>
                  <a:lnTo>
                    <a:pt x="819601" y="4436332"/>
                  </a:lnTo>
                  <a:lnTo>
                    <a:pt x="852957" y="4441096"/>
                  </a:lnTo>
                  <a:lnTo>
                    <a:pt x="852957" y="4460160"/>
                  </a:lnTo>
                  <a:lnTo>
                    <a:pt x="857723" y="4474452"/>
                  </a:lnTo>
                  <a:lnTo>
                    <a:pt x="862487" y="4498280"/>
                  </a:lnTo>
                  <a:lnTo>
                    <a:pt x="867253" y="4503044"/>
                  </a:lnTo>
                  <a:lnTo>
                    <a:pt x="867253" y="4522104"/>
                  </a:lnTo>
                  <a:lnTo>
                    <a:pt x="852957" y="4531636"/>
                  </a:lnTo>
                  <a:lnTo>
                    <a:pt x="852957" y="4545932"/>
                  </a:lnTo>
                  <a:lnTo>
                    <a:pt x="862487" y="4564992"/>
                  </a:lnTo>
                  <a:lnTo>
                    <a:pt x="848193" y="4569756"/>
                  </a:lnTo>
                  <a:lnTo>
                    <a:pt x="833897" y="4569756"/>
                  </a:lnTo>
                  <a:lnTo>
                    <a:pt x="833897" y="4574520"/>
                  </a:lnTo>
                  <a:lnTo>
                    <a:pt x="824367" y="4579288"/>
                  </a:lnTo>
                  <a:lnTo>
                    <a:pt x="810071" y="4588816"/>
                  </a:lnTo>
                  <a:lnTo>
                    <a:pt x="814837" y="4593580"/>
                  </a:lnTo>
                  <a:lnTo>
                    <a:pt x="829131" y="4612644"/>
                  </a:lnTo>
                  <a:lnTo>
                    <a:pt x="848193" y="4626936"/>
                  </a:lnTo>
                  <a:lnTo>
                    <a:pt x="852957" y="4646000"/>
                  </a:lnTo>
                  <a:lnTo>
                    <a:pt x="867253" y="4665060"/>
                  </a:lnTo>
                  <a:lnTo>
                    <a:pt x="862487" y="4674588"/>
                  </a:lnTo>
                  <a:lnTo>
                    <a:pt x="848193" y="4693648"/>
                  </a:lnTo>
                  <a:lnTo>
                    <a:pt x="833897" y="4703180"/>
                  </a:lnTo>
                  <a:lnTo>
                    <a:pt x="819601" y="4707944"/>
                  </a:lnTo>
                  <a:lnTo>
                    <a:pt x="819601" y="4741300"/>
                  </a:lnTo>
                  <a:lnTo>
                    <a:pt x="814837" y="4750832"/>
                  </a:lnTo>
                  <a:lnTo>
                    <a:pt x="800541" y="4755596"/>
                  </a:lnTo>
                  <a:lnTo>
                    <a:pt x="791011" y="4755596"/>
                  </a:lnTo>
                  <a:lnTo>
                    <a:pt x="781481" y="4750832"/>
                  </a:lnTo>
                  <a:lnTo>
                    <a:pt x="762421" y="4750832"/>
                  </a:lnTo>
                  <a:lnTo>
                    <a:pt x="743359" y="4746064"/>
                  </a:lnTo>
                  <a:lnTo>
                    <a:pt x="724299" y="4731772"/>
                  </a:lnTo>
                  <a:lnTo>
                    <a:pt x="719535" y="4727004"/>
                  </a:lnTo>
                  <a:lnTo>
                    <a:pt x="719535" y="4717476"/>
                  </a:lnTo>
                  <a:lnTo>
                    <a:pt x="733829" y="4693648"/>
                  </a:lnTo>
                  <a:lnTo>
                    <a:pt x="748125" y="4650764"/>
                  </a:lnTo>
                  <a:lnTo>
                    <a:pt x="752889" y="4588816"/>
                  </a:lnTo>
                  <a:lnTo>
                    <a:pt x="748125" y="4564992"/>
                  </a:lnTo>
                  <a:lnTo>
                    <a:pt x="748125" y="4555460"/>
                  </a:lnTo>
                  <a:lnTo>
                    <a:pt x="752889" y="4545932"/>
                  </a:lnTo>
                  <a:lnTo>
                    <a:pt x="752889" y="4531636"/>
                  </a:lnTo>
                  <a:lnTo>
                    <a:pt x="752889" y="4522104"/>
                  </a:lnTo>
                  <a:lnTo>
                    <a:pt x="752889" y="4507808"/>
                  </a:lnTo>
                  <a:lnTo>
                    <a:pt x="767185" y="4488748"/>
                  </a:lnTo>
                  <a:lnTo>
                    <a:pt x="771951" y="4474452"/>
                  </a:lnTo>
                  <a:lnTo>
                    <a:pt x="771951" y="4464924"/>
                  </a:lnTo>
                  <a:lnTo>
                    <a:pt x="776715" y="4441096"/>
                  </a:lnTo>
                  <a:lnTo>
                    <a:pt x="771951" y="4431568"/>
                  </a:lnTo>
                  <a:lnTo>
                    <a:pt x="767185" y="4426804"/>
                  </a:lnTo>
                  <a:close/>
                  <a:moveTo>
                    <a:pt x="14295" y="2797128"/>
                  </a:moveTo>
                  <a:lnTo>
                    <a:pt x="19061" y="2797128"/>
                  </a:lnTo>
                  <a:lnTo>
                    <a:pt x="33356" y="2801892"/>
                  </a:lnTo>
                  <a:lnTo>
                    <a:pt x="33356" y="2806658"/>
                  </a:lnTo>
                  <a:lnTo>
                    <a:pt x="28591" y="2811424"/>
                  </a:lnTo>
                  <a:lnTo>
                    <a:pt x="0" y="2811424"/>
                  </a:lnTo>
                  <a:lnTo>
                    <a:pt x="9530" y="2801892"/>
                  </a:lnTo>
                  <a:close/>
                  <a:moveTo>
                    <a:pt x="1481955" y="0"/>
                  </a:moveTo>
                  <a:lnTo>
                    <a:pt x="1481955" y="19060"/>
                  </a:lnTo>
                  <a:lnTo>
                    <a:pt x="1505781" y="42886"/>
                  </a:lnTo>
                  <a:lnTo>
                    <a:pt x="1510545" y="71476"/>
                  </a:lnTo>
                  <a:lnTo>
                    <a:pt x="1515311" y="76242"/>
                  </a:lnTo>
                  <a:lnTo>
                    <a:pt x="1543901" y="90536"/>
                  </a:lnTo>
                  <a:lnTo>
                    <a:pt x="1543901" y="95302"/>
                  </a:lnTo>
                  <a:lnTo>
                    <a:pt x="1539137" y="100066"/>
                  </a:lnTo>
                  <a:lnTo>
                    <a:pt x="1539137" y="104832"/>
                  </a:lnTo>
                  <a:lnTo>
                    <a:pt x="1539137" y="114362"/>
                  </a:lnTo>
                  <a:lnTo>
                    <a:pt x="1543901" y="128658"/>
                  </a:lnTo>
                  <a:lnTo>
                    <a:pt x="1548667" y="142952"/>
                  </a:lnTo>
                  <a:lnTo>
                    <a:pt x="1548667" y="152484"/>
                  </a:lnTo>
                  <a:lnTo>
                    <a:pt x="1553431" y="171544"/>
                  </a:lnTo>
                  <a:lnTo>
                    <a:pt x="1553431" y="190604"/>
                  </a:lnTo>
                  <a:lnTo>
                    <a:pt x="1562961" y="214430"/>
                  </a:lnTo>
                  <a:lnTo>
                    <a:pt x="1562961" y="233490"/>
                  </a:lnTo>
                  <a:lnTo>
                    <a:pt x="1562961" y="243020"/>
                  </a:lnTo>
                  <a:lnTo>
                    <a:pt x="1572491" y="252550"/>
                  </a:lnTo>
                  <a:lnTo>
                    <a:pt x="1582023" y="262080"/>
                  </a:lnTo>
                  <a:lnTo>
                    <a:pt x="1596317" y="271612"/>
                  </a:lnTo>
                  <a:lnTo>
                    <a:pt x="1610613" y="285906"/>
                  </a:lnTo>
                  <a:lnTo>
                    <a:pt x="1620143" y="295436"/>
                  </a:lnTo>
                  <a:lnTo>
                    <a:pt x="1629673" y="304968"/>
                  </a:lnTo>
                  <a:lnTo>
                    <a:pt x="1639203" y="309732"/>
                  </a:lnTo>
                  <a:lnTo>
                    <a:pt x="1643969" y="314498"/>
                  </a:lnTo>
                  <a:lnTo>
                    <a:pt x="1643969" y="319262"/>
                  </a:lnTo>
                  <a:lnTo>
                    <a:pt x="1639203" y="324028"/>
                  </a:lnTo>
                  <a:lnTo>
                    <a:pt x="1624909" y="338324"/>
                  </a:lnTo>
                  <a:lnTo>
                    <a:pt x="1605847" y="366914"/>
                  </a:lnTo>
                  <a:lnTo>
                    <a:pt x="1624909" y="390740"/>
                  </a:lnTo>
                  <a:lnTo>
                    <a:pt x="1629673" y="395504"/>
                  </a:lnTo>
                  <a:lnTo>
                    <a:pt x="1629673" y="405034"/>
                  </a:lnTo>
                  <a:lnTo>
                    <a:pt x="1620143" y="419330"/>
                  </a:lnTo>
                  <a:lnTo>
                    <a:pt x="1601083" y="424096"/>
                  </a:lnTo>
                  <a:lnTo>
                    <a:pt x="1596317" y="428860"/>
                  </a:lnTo>
                  <a:lnTo>
                    <a:pt x="1596317" y="433626"/>
                  </a:lnTo>
                  <a:lnTo>
                    <a:pt x="1601083" y="438390"/>
                  </a:lnTo>
                  <a:lnTo>
                    <a:pt x="1601083" y="447920"/>
                  </a:lnTo>
                  <a:lnTo>
                    <a:pt x="1610613" y="462216"/>
                  </a:lnTo>
                  <a:lnTo>
                    <a:pt x="1605847" y="466982"/>
                  </a:lnTo>
                  <a:lnTo>
                    <a:pt x="1596317" y="476512"/>
                  </a:lnTo>
                  <a:lnTo>
                    <a:pt x="1596317" y="481276"/>
                  </a:lnTo>
                  <a:lnTo>
                    <a:pt x="1601083" y="490808"/>
                  </a:lnTo>
                  <a:lnTo>
                    <a:pt x="1605847" y="495572"/>
                  </a:lnTo>
                  <a:lnTo>
                    <a:pt x="1639203" y="514632"/>
                  </a:lnTo>
                  <a:lnTo>
                    <a:pt x="1639203" y="519398"/>
                  </a:lnTo>
                  <a:lnTo>
                    <a:pt x="1629673" y="533694"/>
                  </a:lnTo>
                  <a:lnTo>
                    <a:pt x="1624909" y="538458"/>
                  </a:lnTo>
                  <a:lnTo>
                    <a:pt x="1629673" y="552754"/>
                  </a:lnTo>
                  <a:lnTo>
                    <a:pt x="1629673" y="562284"/>
                  </a:lnTo>
                  <a:lnTo>
                    <a:pt x="1634439" y="567050"/>
                  </a:lnTo>
                  <a:lnTo>
                    <a:pt x="1648735" y="571814"/>
                  </a:lnTo>
                  <a:lnTo>
                    <a:pt x="1667795" y="600404"/>
                  </a:lnTo>
                  <a:lnTo>
                    <a:pt x="1686855" y="628996"/>
                  </a:lnTo>
                  <a:lnTo>
                    <a:pt x="1686855" y="652822"/>
                  </a:lnTo>
                  <a:lnTo>
                    <a:pt x="1686855" y="681412"/>
                  </a:lnTo>
                  <a:lnTo>
                    <a:pt x="1696385" y="705238"/>
                  </a:lnTo>
                  <a:lnTo>
                    <a:pt x="1701151" y="724298"/>
                  </a:lnTo>
                  <a:lnTo>
                    <a:pt x="1705915" y="743358"/>
                  </a:lnTo>
                  <a:lnTo>
                    <a:pt x="1715445" y="757654"/>
                  </a:lnTo>
                  <a:lnTo>
                    <a:pt x="1724977" y="781480"/>
                  </a:lnTo>
                  <a:lnTo>
                    <a:pt x="1724977" y="795776"/>
                  </a:lnTo>
                  <a:lnTo>
                    <a:pt x="1724977" y="805306"/>
                  </a:lnTo>
                  <a:lnTo>
                    <a:pt x="1734507" y="829132"/>
                  </a:lnTo>
                  <a:lnTo>
                    <a:pt x="1734507" y="852956"/>
                  </a:lnTo>
                  <a:lnTo>
                    <a:pt x="1734507" y="872018"/>
                  </a:lnTo>
                  <a:lnTo>
                    <a:pt x="1734507" y="881548"/>
                  </a:lnTo>
                  <a:lnTo>
                    <a:pt x="1734507" y="886312"/>
                  </a:lnTo>
                  <a:lnTo>
                    <a:pt x="1744037" y="891078"/>
                  </a:lnTo>
                  <a:lnTo>
                    <a:pt x="1748801" y="895842"/>
                  </a:lnTo>
                  <a:lnTo>
                    <a:pt x="1763097" y="895842"/>
                  </a:lnTo>
                  <a:lnTo>
                    <a:pt x="1782157" y="895842"/>
                  </a:lnTo>
                  <a:lnTo>
                    <a:pt x="1815513" y="891078"/>
                  </a:lnTo>
                  <a:lnTo>
                    <a:pt x="1839339" y="886312"/>
                  </a:lnTo>
                  <a:lnTo>
                    <a:pt x="1872695" y="914904"/>
                  </a:lnTo>
                  <a:lnTo>
                    <a:pt x="1858399" y="957790"/>
                  </a:lnTo>
                  <a:lnTo>
                    <a:pt x="1839339" y="1024502"/>
                  </a:lnTo>
                  <a:lnTo>
                    <a:pt x="1820279" y="1076918"/>
                  </a:lnTo>
                  <a:lnTo>
                    <a:pt x="1820279" y="1081682"/>
                  </a:lnTo>
                  <a:lnTo>
                    <a:pt x="1815513" y="1091212"/>
                  </a:lnTo>
                  <a:lnTo>
                    <a:pt x="1782157" y="1105508"/>
                  </a:lnTo>
                  <a:lnTo>
                    <a:pt x="1734507" y="1129334"/>
                  </a:lnTo>
                  <a:lnTo>
                    <a:pt x="1677325" y="1153160"/>
                  </a:lnTo>
                  <a:lnTo>
                    <a:pt x="1667795" y="1167456"/>
                  </a:lnTo>
                  <a:lnTo>
                    <a:pt x="1658265" y="1172220"/>
                  </a:lnTo>
                  <a:lnTo>
                    <a:pt x="1648735" y="1181750"/>
                  </a:lnTo>
                  <a:lnTo>
                    <a:pt x="1643969" y="1186516"/>
                  </a:lnTo>
                  <a:lnTo>
                    <a:pt x="1634439" y="1196046"/>
                  </a:lnTo>
                  <a:lnTo>
                    <a:pt x="1629673" y="1215106"/>
                  </a:lnTo>
                  <a:lnTo>
                    <a:pt x="1629673" y="1229402"/>
                  </a:lnTo>
                  <a:lnTo>
                    <a:pt x="1634439" y="1238932"/>
                  </a:lnTo>
                  <a:lnTo>
                    <a:pt x="1643969" y="1243698"/>
                  </a:lnTo>
                  <a:lnTo>
                    <a:pt x="1643969" y="1257992"/>
                  </a:lnTo>
                  <a:lnTo>
                    <a:pt x="1648735" y="1267522"/>
                  </a:lnTo>
                  <a:lnTo>
                    <a:pt x="1658265" y="1272288"/>
                  </a:lnTo>
                  <a:lnTo>
                    <a:pt x="1653499" y="1281818"/>
                  </a:lnTo>
                  <a:lnTo>
                    <a:pt x="1648735" y="1281818"/>
                  </a:lnTo>
                  <a:lnTo>
                    <a:pt x="1639203" y="1286584"/>
                  </a:lnTo>
                  <a:lnTo>
                    <a:pt x="1629673" y="1300878"/>
                  </a:lnTo>
                  <a:lnTo>
                    <a:pt x="1624909" y="1329470"/>
                  </a:lnTo>
                  <a:lnTo>
                    <a:pt x="1620143" y="1343764"/>
                  </a:lnTo>
                  <a:lnTo>
                    <a:pt x="1629673" y="1372356"/>
                  </a:lnTo>
                  <a:lnTo>
                    <a:pt x="1634439" y="1386650"/>
                  </a:lnTo>
                  <a:lnTo>
                    <a:pt x="1648735" y="1443832"/>
                  </a:lnTo>
                  <a:lnTo>
                    <a:pt x="1653499" y="1458128"/>
                  </a:lnTo>
                  <a:lnTo>
                    <a:pt x="1634439" y="1477188"/>
                  </a:lnTo>
                  <a:lnTo>
                    <a:pt x="1624909" y="1491484"/>
                  </a:lnTo>
                  <a:lnTo>
                    <a:pt x="1624909" y="1505780"/>
                  </a:lnTo>
                  <a:lnTo>
                    <a:pt x="1624909" y="1515310"/>
                  </a:lnTo>
                  <a:lnTo>
                    <a:pt x="1624909" y="1520074"/>
                  </a:lnTo>
                  <a:lnTo>
                    <a:pt x="1639203" y="1548666"/>
                  </a:lnTo>
                  <a:lnTo>
                    <a:pt x="1658265" y="1572490"/>
                  </a:lnTo>
                  <a:lnTo>
                    <a:pt x="1667795" y="1582022"/>
                  </a:lnTo>
                  <a:lnTo>
                    <a:pt x="1667795" y="1601082"/>
                  </a:lnTo>
                  <a:lnTo>
                    <a:pt x="1663029" y="1610612"/>
                  </a:lnTo>
                  <a:lnTo>
                    <a:pt x="1653499" y="1615376"/>
                  </a:lnTo>
                  <a:lnTo>
                    <a:pt x="1634439" y="1620142"/>
                  </a:lnTo>
                  <a:lnTo>
                    <a:pt x="1624909" y="1629672"/>
                  </a:lnTo>
                  <a:lnTo>
                    <a:pt x="1615379" y="1629672"/>
                  </a:lnTo>
                  <a:lnTo>
                    <a:pt x="1605847" y="1624908"/>
                  </a:lnTo>
                  <a:lnTo>
                    <a:pt x="1596317" y="1624908"/>
                  </a:lnTo>
                  <a:lnTo>
                    <a:pt x="1582023" y="1634438"/>
                  </a:lnTo>
                  <a:lnTo>
                    <a:pt x="1577257" y="1648732"/>
                  </a:lnTo>
                  <a:lnTo>
                    <a:pt x="1567727" y="1677324"/>
                  </a:lnTo>
                  <a:lnTo>
                    <a:pt x="1558197" y="1686854"/>
                  </a:lnTo>
                  <a:lnTo>
                    <a:pt x="1553431" y="1705914"/>
                  </a:lnTo>
                  <a:lnTo>
                    <a:pt x="1539137" y="1734506"/>
                  </a:lnTo>
                  <a:lnTo>
                    <a:pt x="1534371" y="1753566"/>
                  </a:lnTo>
                  <a:lnTo>
                    <a:pt x="1534371" y="1767860"/>
                  </a:lnTo>
                  <a:lnTo>
                    <a:pt x="1520075" y="1777392"/>
                  </a:lnTo>
                  <a:lnTo>
                    <a:pt x="1505781" y="1796452"/>
                  </a:lnTo>
                  <a:lnTo>
                    <a:pt x="1496251" y="1810748"/>
                  </a:lnTo>
                  <a:lnTo>
                    <a:pt x="1491485" y="1815512"/>
                  </a:lnTo>
                  <a:lnTo>
                    <a:pt x="1481955" y="1815512"/>
                  </a:lnTo>
                  <a:lnTo>
                    <a:pt x="1477189" y="1834572"/>
                  </a:lnTo>
                  <a:lnTo>
                    <a:pt x="1458129" y="1853634"/>
                  </a:lnTo>
                  <a:lnTo>
                    <a:pt x="1453363" y="1882224"/>
                  </a:lnTo>
                  <a:lnTo>
                    <a:pt x="1443833" y="1896520"/>
                  </a:lnTo>
                  <a:lnTo>
                    <a:pt x="1443833" y="1920346"/>
                  </a:lnTo>
                  <a:lnTo>
                    <a:pt x="1434303" y="1967996"/>
                  </a:lnTo>
                  <a:lnTo>
                    <a:pt x="1429539" y="1977526"/>
                  </a:lnTo>
                  <a:lnTo>
                    <a:pt x="1420007" y="1987056"/>
                  </a:lnTo>
                  <a:lnTo>
                    <a:pt x="1405713" y="2006118"/>
                  </a:lnTo>
                  <a:lnTo>
                    <a:pt x="1400947" y="2015648"/>
                  </a:lnTo>
                  <a:lnTo>
                    <a:pt x="1405713" y="2058534"/>
                  </a:lnTo>
                  <a:lnTo>
                    <a:pt x="1415243" y="2096654"/>
                  </a:lnTo>
                  <a:lnTo>
                    <a:pt x="1415243" y="2115716"/>
                  </a:lnTo>
                  <a:lnTo>
                    <a:pt x="1410477" y="2144306"/>
                  </a:lnTo>
                  <a:lnTo>
                    <a:pt x="1410477" y="2153836"/>
                  </a:lnTo>
                  <a:lnTo>
                    <a:pt x="1415243" y="2158602"/>
                  </a:lnTo>
                  <a:lnTo>
                    <a:pt x="1424773" y="2158602"/>
                  </a:lnTo>
                  <a:lnTo>
                    <a:pt x="1429539" y="2172896"/>
                  </a:lnTo>
                  <a:lnTo>
                    <a:pt x="1420007" y="2177662"/>
                  </a:lnTo>
                  <a:lnTo>
                    <a:pt x="1420007" y="2191958"/>
                  </a:lnTo>
                  <a:lnTo>
                    <a:pt x="1410477" y="2201488"/>
                  </a:lnTo>
                  <a:lnTo>
                    <a:pt x="1386653" y="2211018"/>
                  </a:lnTo>
                  <a:lnTo>
                    <a:pt x="1381887" y="2206252"/>
                  </a:lnTo>
                  <a:lnTo>
                    <a:pt x="1377121" y="2206252"/>
                  </a:lnTo>
                  <a:lnTo>
                    <a:pt x="1377121" y="2220548"/>
                  </a:lnTo>
                  <a:lnTo>
                    <a:pt x="1372357" y="2230078"/>
                  </a:lnTo>
                  <a:lnTo>
                    <a:pt x="1362827" y="2263434"/>
                  </a:lnTo>
                  <a:lnTo>
                    <a:pt x="1353297" y="2292024"/>
                  </a:lnTo>
                  <a:lnTo>
                    <a:pt x="1348531" y="2301556"/>
                  </a:lnTo>
                  <a:lnTo>
                    <a:pt x="1353297" y="2311086"/>
                  </a:lnTo>
                  <a:lnTo>
                    <a:pt x="1353297" y="2320616"/>
                  </a:lnTo>
                  <a:lnTo>
                    <a:pt x="1353297" y="2325380"/>
                  </a:lnTo>
                  <a:lnTo>
                    <a:pt x="1348531" y="2330146"/>
                  </a:lnTo>
                  <a:lnTo>
                    <a:pt x="1343767" y="2344442"/>
                  </a:lnTo>
                  <a:lnTo>
                    <a:pt x="1339001" y="2344442"/>
                  </a:lnTo>
                  <a:lnTo>
                    <a:pt x="1329471" y="2339676"/>
                  </a:lnTo>
                  <a:lnTo>
                    <a:pt x="1324705" y="2349206"/>
                  </a:lnTo>
                  <a:lnTo>
                    <a:pt x="1319941" y="2358736"/>
                  </a:lnTo>
                  <a:lnTo>
                    <a:pt x="1315175" y="2377798"/>
                  </a:lnTo>
                  <a:lnTo>
                    <a:pt x="1315175" y="2396858"/>
                  </a:lnTo>
                  <a:lnTo>
                    <a:pt x="1310411" y="2425448"/>
                  </a:lnTo>
                  <a:lnTo>
                    <a:pt x="1319941" y="2439744"/>
                  </a:lnTo>
                  <a:lnTo>
                    <a:pt x="1334235" y="2473100"/>
                  </a:lnTo>
                  <a:lnTo>
                    <a:pt x="1343767" y="2482630"/>
                  </a:lnTo>
                  <a:lnTo>
                    <a:pt x="1353297" y="2482630"/>
                  </a:lnTo>
                  <a:lnTo>
                    <a:pt x="1358061" y="2487396"/>
                  </a:lnTo>
                  <a:lnTo>
                    <a:pt x="1362827" y="2496926"/>
                  </a:lnTo>
                  <a:lnTo>
                    <a:pt x="1358061" y="2511220"/>
                  </a:lnTo>
                  <a:lnTo>
                    <a:pt x="1348531" y="2511220"/>
                  </a:lnTo>
                  <a:lnTo>
                    <a:pt x="1348531" y="2520752"/>
                  </a:lnTo>
                  <a:lnTo>
                    <a:pt x="1348531" y="2535046"/>
                  </a:lnTo>
                  <a:lnTo>
                    <a:pt x="1353297" y="2554108"/>
                  </a:lnTo>
                  <a:lnTo>
                    <a:pt x="1362827" y="2558872"/>
                  </a:lnTo>
                  <a:lnTo>
                    <a:pt x="1367591" y="2582698"/>
                  </a:lnTo>
                  <a:lnTo>
                    <a:pt x="1377121" y="2592228"/>
                  </a:lnTo>
                  <a:lnTo>
                    <a:pt x="1377121" y="2620818"/>
                  </a:lnTo>
                  <a:lnTo>
                    <a:pt x="1386653" y="2654174"/>
                  </a:lnTo>
                  <a:lnTo>
                    <a:pt x="1396183" y="2663704"/>
                  </a:lnTo>
                  <a:lnTo>
                    <a:pt x="1400947" y="2668470"/>
                  </a:lnTo>
                  <a:lnTo>
                    <a:pt x="1396183" y="2682766"/>
                  </a:lnTo>
                  <a:lnTo>
                    <a:pt x="1391417" y="2692296"/>
                  </a:lnTo>
                  <a:lnTo>
                    <a:pt x="1386653" y="2711356"/>
                  </a:lnTo>
                  <a:lnTo>
                    <a:pt x="1391417" y="2725652"/>
                  </a:lnTo>
                  <a:lnTo>
                    <a:pt x="1400947" y="2739948"/>
                  </a:lnTo>
                  <a:lnTo>
                    <a:pt x="1410477" y="2739948"/>
                  </a:lnTo>
                  <a:lnTo>
                    <a:pt x="1420007" y="2735182"/>
                  </a:lnTo>
                  <a:lnTo>
                    <a:pt x="1434303" y="2739948"/>
                  </a:lnTo>
                  <a:lnTo>
                    <a:pt x="1434303" y="2754242"/>
                  </a:lnTo>
                  <a:lnTo>
                    <a:pt x="1434303" y="2763772"/>
                  </a:lnTo>
                  <a:lnTo>
                    <a:pt x="1429539" y="2778068"/>
                  </a:lnTo>
                  <a:lnTo>
                    <a:pt x="1420007" y="2801894"/>
                  </a:lnTo>
                  <a:lnTo>
                    <a:pt x="1420007" y="2825720"/>
                  </a:lnTo>
                  <a:lnTo>
                    <a:pt x="1420007" y="2863840"/>
                  </a:lnTo>
                  <a:lnTo>
                    <a:pt x="1424773" y="2892432"/>
                  </a:lnTo>
                  <a:lnTo>
                    <a:pt x="1424773" y="2911492"/>
                  </a:lnTo>
                  <a:lnTo>
                    <a:pt x="1424773" y="2916256"/>
                  </a:lnTo>
                  <a:lnTo>
                    <a:pt x="1420007" y="2925786"/>
                  </a:lnTo>
                  <a:lnTo>
                    <a:pt x="1410477" y="2925786"/>
                  </a:lnTo>
                  <a:lnTo>
                    <a:pt x="1400947" y="2925786"/>
                  </a:lnTo>
                  <a:lnTo>
                    <a:pt x="1396183" y="2930552"/>
                  </a:lnTo>
                  <a:lnTo>
                    <a:pt x="1396183" y="2940082"/>
                  </a:lnTo>
                  <a:lnTo>
                    <a:pt x="1386653" y="2959142"/>
                  </a:lnTo>
                  <a:lnTo>
                    <a:pt x="1381887" y="2968672"/>
                  </a:lnTo>
                  <a:lnTo>
                    <a:pt x="1372357" y="2987734"/>
                  </a:lnTo>
                  <a:lnTo>
                    <a:pt x="1362827" y="3002028"/>
                  </a:lnTo>
                  <a:lnTo>
                    <a:pt x="1358061" y="3016324"/>
                  </a:lnTo>
                  <a:lnTo>
                    <a:pt x="1358061" y="3021090"/>
                  </a:lnTo>
                  <a:lnTo>
                    <a:pt x="1353297" y="3040150"/>
                  </a:lnTo>
                  <a:lnTo>
                    <a:pt x="1353297" y="3049680"/>
                  </a:lnTo>
                  <a:lnTo>
                    <a:pt x="1343767" y="3092566"/>
                  </a:lnTo>
                  <a:lnTo>
                    <a:pt x="1329471" y="3102096"/>
                  </a:lnTo>
                  <a:lnTo>
                    <a:pt x="1319941" y="3106862"/>
                  </a:lnTo>
                  <a:lnTo>
                    <a:pt x="1315175" y="3111626"/>
                  </a:lnTo>
                  <a:lnTo>
                    <a:pt x="1319941" y="3125922"/>
                  </a:lnTo>
                  <a:lnTo>
                    <a:pt x="1329471" y="3125922"/>
                  </a:lnTo>
                  <a:lnTo>
                    <a:pt x="1334235" y="3135452"/>
                  </a:lnTo>
                  <a:lnTo>
                    <a:pt x="1334235" y="3154512"/>
                  </a:lnTo>
                  <a:lnTo>
                    <a:pt x="1339001" y="3164044"/>
                  </a:lnTo>
                  <a:lnTo>
                    <a:pt x="1339001" y="3183104"/>
                  </a:lnTo>
                  <a:lnTo>
                    <a:pt x="1343767" y="3211694"/>
                  </a:lnTo>
                  <a:lnTo>
                    <a:pt x="1339001" y="3235520"/>
                  </a:lnTo>
                  <a:lnTo>
                    <a:pt x="1339001" y="3249816"/>
                  </a:lnTo>
                  <a:lnTo>
                    <a:pt x="1339001" y="3268876"/>
                  </a:lnTo>
                  <a:lnTo>
                    <a:pt x="1334235" y="3283172"/>
                  </a:lnTo>
                  <a:lnTo>
                    <a:pt x="1315175" y="3283172"/>
                  </a:lnTo>
                  <a:lnTo>
                    <a:pt x="1305645" y="3297466"/>
                  </a:lnTo>
                  <a:lnTo>
                    <a:pt x="1291349" y="3311762"/>
                  </a:lnTo>
                  <a:lnTo>
                    <a:pt x="1286585" y="3321292"/>
                  </a:lnTo>
                  <a:lnTo>
                    <a:pt x="1286585" y="3335588"/>
                  </a:lnTo>
                  <a:lnTo>
                    <a:pt x="1281819" y="3335588"/>
                  </a:lnTo>
                  <a:lnTo>
                    <a:pt x="1272289" y="3335588"/>
                  </a:lnTo>
                  <a:lnTo>
                    <a:pt x="1262759" y="3340352"/>
                  </a:lnTo>
                  <a:lnTo>
                    <a:pt x="1248463" y="3349884"/>
                  </a:lnTo>
                  <a:lnTo>
                    <a:pt x="1238933" y="3359414"/>
                  </a:lnTo>
                  <a:lnTo>
                    <a:pt x="1234169" y="3368944"/>
                  </a:lnTo>
                  <a:lnTo>
                    <a:pt x="1238933" y="3383240"/>
                  </a:lnTo>
                  <a:lnTo>
                    <a:pt x="1229403" y="3388004"/>
                  </a:lnTo>
                  <a:lnTo>
                    <a:pt x="1224637" y="3407064"/>
                  </a:lnTo>
                  <a:lnTo>
                    <a:pt x="1219873" y="3421360"/>
                  </a:lnTo>
                  <a:lnTo>
                    <a:pt x="1224637" y="3435656"/>
                  </a:lnTo>
                  <a:lnTo>
                    <a:pt x="1229403" y="3464246"/>
                  </a:lnTo>
                  <a:lnTo>
                    <a:pt x="1229403" y="3473776"/>
                  </a:lnTo>
                  <a:lnTo>
                    <a:pt x="1219873" y="3497602"/>
                  </a:lnTo>
                  <a:lnTo>
                    <a:pt x="1215107" y="3511898"/>
                  </a:lnTo>
                  <a:lnTo>
                    <a:pt x="1219873" y="3530958"/>
                  </a:lnTo>
                  <a:lnTo>
                    <a:pt x="1224637" y="3540488"/>
                  </a:lnTo>
                  <a:lnTo>
                    <a:pt x="1219873" y="3559548"/>
                  </a:lnTo>
                  <a:lnTo>
                    <a:pt x="1219873" y="3573844"/>
                  </a:lnTo>
                  <a:lnTo>
                    <a:pt x="1219873" y="3602434"/>
                  </a:lnTo>
                  <a:lnTo>
                    <a:pt x="1234169" y="3631026"/>
                  </a:lnTo>
                  <a:lnTo>
                    <a:pt x="1243699" y="3654852"/>
                  </a:lnTo>
                  <a:lnTo>
                    <a:pt x="1243699" y="3688208"/>
                  </a:lnTo>
                  <a:lnTo>
                    <a:pt x="1248463" y="3712032"/>
                  </a:lnTo>
                  <a:lnTo>
                    <a:pt x="1253229" y="3735858"/>
                  </a:lnTo>
                  <a:lnTo>
                    <a:pt x="1262759" y="3745388"/>
                  </a:lnTo>
                  <a:lnTo>
                    <a:pt x="1272289" y="3754920"/>
                  </a:lnTo>
                  <a:lnTo>
                    <a:pt x="1267523" y="3769216"/>
                  </a:lnTo>
                  <a:lnTo>
                    <a:pt x="1262759" y="3783508"/>
                  </a:lnTo>
                  <a:lnTo>
                    <a:pt x="1253229" y="3797804"/>
                  </a:lnTo>
                  <a:lnTo>
                    <a:pt x="1234169" y="3797804"/>
                  </a:lnTo>
                  <a:lnTo>
                    <a:pt x="1215107" y="3812100"/>
                  </a:lnTo>
                  <a:lnTo>
                    <a:pt x="1200813" y="3816864"/>
                  </a:lnTo>
                  <a:lnTo>
                    <a:pt x="1191281" y="3826396"/>
                  </a:lnTo>
                  <a:lnTo>
                    <a:pt x="1186517" y="3835928"/>
                  </a:lnTo>
                  <a:lnTo>
                    <a:pt x="1181751" y="3845456"/>
                  </a:lnTo>
                  <a:lnTo>
                    <a:pt x="1181751" y="3888344"/>
                  </a:lnTo>
                  <a:lnTo>
                    <a:pt x="1181751" y="3907404"/>
                  </a:lnTo>
                  <a:lnTo>
                    <a:pt x="1172221" y="3931228"/>
                  </a:lnTo>
                  <a:lnTo>
                    <a:pt x="1167457" y="3945524"/>
                  </a:lnTo>
                  <a:lnTo>
                    <a:pt x="1167457" y="3955056"/>
                  </a:lnTo>
                  <a:lnTo>
                    <a:pt x="1162691" y="3959820"/>
                  </a:lnTo>
                  <a:lnTo>
                    <a:pt x="1162691" y="3969348"/>
                  </a:lnTo>
                  <a:lnTo>
                    <a:pt x="1157927" y="3974116"/>
                  </a:lnTo>
                  <a:lnTo>
                    <a:pt x="1143631" y="3969348"/>
                  </a:lnTo>
                  <a:lnTo>
                    <a:pt x="1138865" y="3969348"/>
                  </a:lnTo>
                  <a:lnTo>
                    <a:pt x="1134101" y="3978880"/>
                  </a:lnTo>
                  <a:lnTo>
                    <a:pt x="1138865" y="3993176"/>
                  </a:lnTo>
                  <a:lnTo>
                    <a:pt x="1143631" y="4017000"/>
                  </a:lnTo>
                  <a:lnTo>
                    <a:pt x="1148395" y="4026532"/>
                  </a:lnTo>
                  <a:lnTo>
                    <a:pt x="1148395" y="4036060"/>
                  </a:lnTo>
                  <a:lnTo>
                    <a:pt x="1143631" y="4055120"/>
                  </a:lnTo>
                  <a:lnTo>
                    <a:pt x="1138865" y="4069416"/>
                  </a:lnTo>
                  <a:lnTo>
                    <a:pt x="1129335" y="4069416"/>
                  </a:lnTo>
                  <a:lnTo>
                    <a:pt x="1124571" y="4074184"/>
                  </a:lnTo>
                  <a:lnTo>
                    <a:pt x="1119805" y="4088476"/>
                  </a:lnTo>
                  <a:lnTo>
                    <a:pt x="1124571" y="4102772"/>
                  </a:lnTo>
                  <a:lnTo>
                    <a:pt x="1134101" y="4112304"/>
                  </a:lnTo>
                  <a:lnTo>
                    <a:pt x="1138865" y="4117068"/>
                  </a:lnTo>
                  <a:lnTo>
                    <a:pt x="1134101" y="4126600"/>
                  </a:lnTo>
                  <a:lnTo>
                    <a:pt x="1129335" y="4131364"/>
                  </a:lnTo>
                  <a:lnTo>
                    <a:pt x="1119805" y="4140896"/>
                  </a:lnTo>
                  <a:lnTo>
                    <a:pt x="1115039" y="4159956"/>
                  </a:lnTo>
                  <a:lnTo>
                    <a:pt x="1110275" y="4179016"/>
                  </a:lnTo>
                  <a:lnTo>
                    <a:pt x="1100745" y="4193312"/>
                  </a:lnTo>
                  <a:lnTo>
                    <a:pt x="1100745" y="4212372"/>
                  </a:lnTo>
                  <a:lnTo>
                    <a:pt x="1110275" y="4236196"/>
                  </a:lnTo>
                  <a:lnTo>
                    <a:pt x="1110275" y="4255256"/>
                  </a:lnTo>
                  <a:lnTo>
                    <a:pt x="1110275" y="4317204"/>
                  </a:lnTo>
                  <a:lnTo>
                    <a:pt x="1110275" y="4336264"/>
                  </a:lnTo>
                  <a:lnTo>
                    <a:pt x="1110275" y="4374384"/>
                  </a:lnTo>
                  <a:lnTo>
                    <a:pt x="1105509" y="4383916"/>
                  </a:lnTo>
                  <a:lnTo>
                    <a:pt x="1105509" y="4393448"/>
                  </a:lnTo>
                  <a:lnTo>
                    <a:pt x="1115039" y="4417272"/>
                  </a:lnTo>
                  <a:lnTo>
                    <a:pt x="1129335" y="4455392"/>
                  </a:lnTo>
                  <a:lnTo>
                    <a:pt x="1129335" y="4474452"/>
                  </a:lnTo>
                  <a:lnTo>
                    <a:pt x="1129335" y="4483984"/>
                  </a:lnTo>
                  <a:lnTo>
                    <a:pt x="1115039" y="4493512"/>
                  </a:lnTo>
                  <a:lnTo>
                    <a:pt x="1100745" y="4498280"/>
                  </a:lnTo>
                  <a:lnTo>
                    <a:pt x="1091215" y="4493512"/>
                  </a:lnTo>
                  <a:lnTo>
                    <a:pt x="1086449" y="4493512"/>
                  </a:lnTo>
                  <a:lnTo>
                    <a:pt x="1081685" y="4507808"/>
                  </a:lnTo>
                  <a:lnTo>
                    <a:pt x="1072153" y="4517340"/>
                  </a:lnTo>
                  <a:lnTo>
                    <a:pt x="1072153" y="4526868"/>
                  </a:lnTo>
                  <a:lnTo>
                    <a:pt x="1076919" y="4541164"/>
                  </a:lnTo>
                  <a:lnTo>
                    <a:pt x="1081685" y="4564992"/>
                  </a:lnTo>
                  <a:lnTo>
                    <a:pt x="1072153" y="4574520"/>
                  </a:lnTo>
                  <a:lnTo>
                    <a:pt x="1067389" y="4588816"/>
                  </a:lnTo>
                  <a:lnTo>
                    <a:pt x="1072153" y="4603112"/>
                  </a:lnTo>
                  <a:lnTo>
                    <a:pt x="1072153" y="4626936"/>
                  </a:lnTo>
                  <a:lnTo>
                    <a:pt x="1067389" y="4674588"/>
                  </a:lnTo>
                  <a:lnTo>
                    <a:pt x="1076919" y="4688884"/>
                  </a:lnTo>
                  <a:lnTo>
                    <a:pt x="1081685" y="4698416"/>
                  </a:lnTo>
                  <a:lnTo>
                    <a:pt x="1105509" y="4707944"/>
                  </a:lnTo>
                  <a:lnTo>
                    <a:pt x="1124571" y="4712708"/>
                  </a:lnTo>
                  <a:lnTo>
                    <a:pt x="1129335" y="4727004"/>
                  </a:lnTo>
                  <a:lnTo>
                    <a:pt x="1129335" y="4741300"/>
                  </a:lnTo>
                  <a:lnTo>
                    <a:pt x="1119805" y="4746064"/>
                  </a:lnTo>
                  <a:lnTo>
                    <a:pt x="1105509" y="4750832"/>
                  </a:lnTo>
                  <a:lnTo>
                    <a:pt x="1105509" y="4769892"/>
                  </a:lnTo>
                  <a:lnTo>
                    <a:pt x="1119805" y="4788952"/>
                  </a:lnTo>
                  <a:lnTo>
                    <a:pt x="1129335" y="4803248"/>
                  </a:lnTo>
                  <a:lnTo>
                    <a:pt x="1134101" y="4817544"/>
                  </a:lnTo>
                  <a:lnTo>
                    <a:pt x="1134101" y="4827072"/>
                  </a:lnTo>
                  <a:lnTo>
                    <a:pt x="1124571" y="4836604"/>
                  </a:lnTo>
                  <a:lnTo>
                    <a:pt x="1134101" y="4860428"/>
                  </a:lnTo>
                  <a:lnTo>
                    <a:pt x="1143631" y="4874724"/>
                  </a:lnTo>
                  <a:lnTo>
                    <a:pt x="1134101" y="4889020"/>
                  </a:lnTo>
                  <a:lnTo>
                    <a:pt x="1129335" y="4908080"/>
                  </a:lnTo>
                  <a:lnTo>
                    <a:pt x="1119805" y="4912844"/>
                  </a:lnTo>
                  <a:lnTo>
                    <a:pt x="1119805" y="4922376"/>
                  </a:lnTo>
                  <a:lnTo>
                    <a:pt x="1119805" y="4946200"/>
                  </a:lnTo>
                  <a:lnTo>
                    <a:pt x="1115039" y="4965260"/>
                  </a:lnTo>
                  <a:lnTo>
                    <a:pt x="1119805" y="4974792"/>
                  </a:lnTo>
                  <a:lnTo>
                    <a:pt x="1196047" y="4984320"/>
                  </a:lnTo>
                  <a:lnTo>
                    <a:pt x="1215107" y="4989088"/>
                  </a:lnTo>
                  <a:lnTo>
                    <a:pt x="1224637" y="4998616"/>
                  </a:lnTo>
                  <a:lnTo>
                    <a:pt x="1224637" y="5012912"/>
                  </a:lnTo>
                  <a:lnTo>
                    <a:pt x="1210343" y="5031972"/>
                  </a:lnTo>
                  <a:lnTo>
                    <a:pt x="1205577" y="5060564"/>
                  </a:lnTo>
                  <a:lnTo>
                    <a:pt x="1191281" y="5065328"/>
                  </a:lnTo>
                  <a:lnTo>
                    <a:pt x="1176987" y="5055800"/>
                  </a:lnTo>
                  <a:lnTo>
                    <a:pt x="1157927" y="5060564"/>
                  </a:lnTo>
                  <a:lnTo>
                    <a:pt x="1143631" y="5060564"/>
                  </a:lnTo>
                  <a:lnTo>
                    <a:pt x="1124571" y="5060564"/>
                  </a:lnTo>
                  <a:lnTo>
                    <a:pt x="1095979" y="5065328"/>
                  </a:lnTo>
                  <a:lnTo>
                    <a:pt x="1081685" y="5060564"/>
                  </a:lnTo>
                  <a:lnTo>
                    <a:pt x="1081685" y="5070096"/>
                  </a:lnTo>
                  <a:lnTo>
                    <a:pt x="1086449" y="5089156"/>
                  </a:lnTo>
                  <a:lnTo>
                    <a:pt x="1119805" y="5093920"/>
                  </a:lnTo>
                  <a:lnTo>
                    <a:pt x="1153161" y="5108216"/>
                  </a:lnTo>
                  <a:lnTo>
                    <a:pt x="1162691" y="5127276"/>
                  </a:lnTo>
                  <a:lnTo>
                    <a:pt x="1176987" y="5146336"/>
                  </a:lnTo>
                  <a:lnTo>
                    <a:pt x="1191281" y="5160632"/>
                  </a:lnTo>
                  <a:lnTo>
                    <a:pt x="1191281" y="5184456"/>
                  </a:lnTo>
                  <a:lnTo>
                    <a:pt x="1172221" y="5208284"/>
                  </a:lnTo>
                  <a:lnTo>
                    <a:pt x="1167457" y="5222576"/>
                  </a:lnTo>
                  <a:lnTo>
                    <a:pt x="1138865" y="5227344"/>
                  </a:lnTo>
                  <a:lnTo>
                    <a:pt x="1129335" y="5236872"/>
                  </a:lnTo>
                  <a:lnTo>
                    <a:pt x="1124571" y="5270228"/>
                  </a:lnTo>
                  <a:lnTo>
                    <a:pt x="1129335" y="5298820"/>
                  </a:lnTo>
                  <a:lnTo>
                    <a:pt x="1143631" y="5308352"/>
                  </a:lnTo>
                  <a:lnTo>
                    <a:pt x="1148395" y="5322644"/>
                  </a:lnTo>
                  <a:lnTo>
                    <a:pt x="1138865" y="5341704"/>
                  </a:lnTo>
                  <a:lnTo>
                    <a:pt x="1119805" y="5356000"/>
                  </a:lnTo>
                  <a:lnTo>
                    <a:pt x="1110275" y="5370296"/>
                  </a:lnTo>
                  <a:lnTo>
                    <a:pt x="1115039" y="5379828"/>
                  </a:lnTo>
                  <a:lnTo>
                    <a:pt x="1124571" y="5394124"/>
                  </a:lnTo>
                  <a:lnTo>
                    <a:pt x="1129335" y="5403652"/>
                  </a:lnTo>
                  <a:lnTo>
                    <a:pt x="1134101" y="5432244"/>
                  </a:lnTo>
                  <a:lnTo>
                    <a:pt x="1138865" y="5465600"/>
                  </a:lnTo>
                  <a:lnTo>
                    <a:pt x="1138865" y="5479896"/>
                  </a:lnTo>
                  <a:lnTo>
                    <a:pt x="1134101" y="5494192"/>
                  </a:lnTo>
                  <a:lnTo>
                    <a:pt x="1115039" y="5513252"/>
                  </a:lnTo>
                  <a:lnTo>
                    <a:pt x="1100745" y="5522780"/>
                  </a:lnTo>
                  <a:lnTo>
                    <a:pt x="1095979" y="5546608"/>
                  </a:lnTo>
                  <a:lnTo>
                    <a:pt x="1095979" y="5565668"/>
                  </a:lnTo>
                  <a:lnTo>
                    <a:pt x="1100745" y="5579964"/>
                  </a:lnTo>
                  <a:lnTo>
                    <a:pt x="1105509" y="5594256"/>
                  </a:lnTo>
                  <a:lnTo>
                    <a:pt x="1105509" y="5608552"/>
                  </a:lnTo>
                  <a:lnTo>
                    <a:pt x="1095979" y="5608552"/>
                  </a:lnTo>
                  <a:lnTo>
                    <a:pt x="1086449" y="5618084"/>
                  </a:lnTo>
                  <a:lnTo>
                    <a:pt x="1076919" y="5637144"/>
                  </a:lnTo>
                  <a:lnTo>
                    <a:pt x="1048329" y="5660968"/>
                  </a:lnTo>
                  <a:lnTo>
                    <a:pt x="1038797" y="5675264"/>
                  </a:lnTo>
                  <a:lnTo>
                    <a:pt x="1038797" y="5694324"/>
                  </a:lnTo>
                  <a:lnTo>
                    <a:pt x="1024503" y="5718152"/>
                  </a:lnTo>
                  <a:lnTo>
                    <a:pt x="1014973" y="5741976"/>
                  </a:lnTo>
                  <a:lnTo>
                    <a:pt x="1010207" y="5761036"/>
                  </a:lnTo>
                  <a:lnTo>
                    <a:pt x="1010207" y="5784864"/>
                  </a:lnTo>
                  <a:lnTo>
                    <a:pt x="1029267" y="5794392"/>
                  </a:lnTo>
                  <a:lnTo>
                    <a:pt x="1038797" y="5818220"/>
                  </a:lnTo>
                  <a:lnTo>
                    <a:pt x="1043563" y="5846808"/>
                  </a:lnTo>
                  <a:lnTo>
                    <a:pt x="1034033" y="5875400"/>
                  </a:lnTo>
                  <a:lnTo>
                    <a:pt x="1014973" y="5889696"/>
                  </a:lnTo>
                  <a:lnTo>
                    <a:pt x="1000677" y="5903992"/>
                  </a:lnTo>
                  <a:lnTo>
                    <a:pt x="995911" y="5913520"/>
                  </a:lnTo>
                  <a:lnTo>
                    <a:pt x="1000677" y="5946876"/>
                  </a:lnTo>
                  <a:lnTo>
                    <a:pt x="1000677" y="5961172"/>
                  </a:lnTo>
                  <a:lnTo>
                    <a:pt x="995911" y="5980232"/>
                  </a:lnTo>
                  <a:lnTo>
                    <a:pt x="991147" y="5989764"/>
                  </a:lnTo>
                  <a:lnTo>
                    <a:pt x="976851" y="6004060"/>
                  </a:lnTo>
                  <a:lnTo>
                    <a:pt x="957791" y="6013588"/>
                  </a:lnTo>
                  <a:lnTo>
                    <a:pt x="938731" y="6023120"/>
                  </a:lnTo>
                  <a:lnTo>
                    <a:pt x="929199" y="6032648"/>
                  </a:lnTo>
                  <a:lnTo>
                    <a:pt x="919669" y="6051712"/>
                  </a:lnTo>
                  <a:lnTo>
                    <a:pt x="910139" y="6070772"/>
                  </a:lnTo>
                  <a:lnTo>
                    <a:pt x="914905" y="6099360"/>
                  </a:lnTo>
                  <a:lnTo>
                    <a:pt x="862489" y="6104128"/>
                  </a:lnTo>
                  <a:lnTo>
                    <a:pt x="857723" y="6123188"/>
                  </a:lnTo>
                  <a:lnTo>
                    <a:pt x="848193" y="6137484"/>
                  </a:lnTo>
                  <a:lnTo>
                    <a:pt x="843427" y="6166072"/>
                  </a:lnTo>
                  <a:lnTo>
                    <a:pt x="857723" y="6194664"/>
                  </a:lnTo>
                  <a:lnTo>
                    <a:pt x="862489" y="6218488"/>
                  </a:lnTo>
                  <a:lnTo>
                    <a:pt x="852957" y="6247080"/>
                  </a:lnTo>
                  <a:lnTo>
                    <a:pt x="857723" y="6275672"/>
                  </a:lnTo>
                  <a:lnTo>
                    <a:pt x="857723" y="6299496"/>
                  </a:lnTo>
                  <a:lnTo>
                    <a:pt x="876783" y="6323324"/>
                  </a:lnTo>
                  <a:lnTo>
                    <a:pt x="886313" y="6356680"/>
                  </a:lnTo>
                  <a:lnTo>
                    <a:pt x="891079" y="6385268"/>
                  </a:lnTo>
                  <a:lnTo>
                    <a:pt x="895845" y="6404328"/>
                  </a:lnTo>
                  <a:lnTo>
                    <a:pt x="900609" y="6418624"/>
                  </a:lnTo>
                  <a:lnTo>
                    <a:pt x="910139" y="6432920"/>
                  </a:lnTo>
                  <a:lnTo>
                    <a:pt x="910139" y="6447216"/>
                  </a:lnTo>
                  <a:lnTo>
                    <a:pt x="924435" y="6451980"/>
                  </a:lnTo>
                  <a:lnTo>
                    <a:pt x="943495" y="6437684"/>
                  </a:lnTo>
                  <a:lnTo>
                    <a:pt x="957791" y="6428156"/>
                  </a:lnTo>
                  <a:lnTo>
                    <a:pt x="967321" y="6423392"/>
                  </a:lnTo>
                  <a:lnTo>
                    <a:pt x="995911" y="6428156"/>
                  </a:lnTo>
                  <a:lnTo>
                    <a:pt x="1010207" y="6413860"/>
                  </a:lnTo>
                  <a:lnTo>
                    <a:pt x="1019737" y="6418624"/>
                  </a:lnTo>
                  <a:lnTo>
                    <a:pt x="1029267" y="6423392"/>
                  </a:lnTo>
                  <a:lnTo>
                    <a:pt x="1038797" y="6432920"/>
                  </a:lnTo>
                  <a:lnTo>
                    <a:pt x="1043563" y="6461512"/>
                  </a:lnTo>
                  <a:lnTo>
                    <a:pt x="1048329" y="6490100"/>
                  </a:lnTo>
                  <a:lnTo>
                    <a:pt x="1043563" y="6523456"/>
                  </a:lnTo>
                  <a:lnTo>
                    <a:pt x="1034033" y="6528224"/>
                  </a:lnTo>
                  <a:lnTo>
                    <a:pt x="1034033" y="6537752"/>
                  </a:lnTo>
                  <a:lnTo>
                    <a:pt x="1034033" y="6556812"/>
                  </a:lnTo>
                  <a:lnTo>
                    <a:pt x="1043563" y="6571108"/>
                  </a:lnTo>
                  <a:lnTo>
                    <a:pt x="1043563" y="6590168"/>
                  </a:lnTo>
                  <a:lnTo>
                    <a:pt x="1034033" y="6633056"/>
                  </a:lnTo>
                  <a:lnTo>
                    <a:pt x="1029267" y="6647352"/>
                  </a:lnTo>
                  <a:lnTo>
                    <a:pt x="1038797" y="6671176"/>
                  </a:lnTo>
                  <a:lnTo>
                    <a:pt x="1048329" y="6685472"/>
                  </a:lnTo>
                  <a:lnTo>
                    <a:pt x="1067389" y="6699768"/>
                  </a:lnTo>
                  <a:lnTo>
                    <a:pt x="1086449" y="6718828"/>
                  </a:lnTo>
                  <a:lnTo>
                    <a:pt x="1100745" y="6733124"/>
                  </a:lnTo>
                  <a:lnTo>
                    <a:pt x="1095979" y="6756948"/>
                  </a:lnTo>
                  <a:lnTo>
                    <a:pt x="1105509" y="6761712"/>
                  </a:lnTo>
                  <a:lnTo>
                    <a:pt x="1134101" y="6761712"/>
                  </a:lnTo>
                  <a:lnTo>
                    <a:pt x="1181751" y="6761712"/>
                  </a:lnTo>
                  <a:lnTo>
                    <a:pt x="1257993" y="6761712"/>
                  </a:lnTo>
                  <a:lnTo>
                    <a:pt x="1329471" y="6766480"/>
                  </a:lnTo>
                  <a:lnTo>
                    <a:pt x="1410477" y="6766480"/>
                  </a:lnTo>
                  <a:lnTo>
                    <a:pt x="1448599" y="6785540"/>
                  </a:lnTo>
                  <a:lnTo>
                    <a:pt x="1481955" y="6799836"/>
                  </a:lnTo>
                  <a:lnTo>
                    <a:pt x="1524841" y="6799836"/>
                  </a:lnTo>
                  <a:lnTo>
                    <a:pt x="1572491" y="6818896"/>
                  </a:lnTo>
                  <a:lnTo>
                    <a:pt x="1605847" y="6828424"/>
                  </a:lnTo>
                  <a:lnTo>
                    <a:pt x="1624909" y="6833192"/>
                  </a:lnTo>
                  <a:lnTo>
                    <a:pt x="1643969" y="6837956"/>
                  </a:lnTo>
                  <a:lnTo>
                    <a:pt x="1643969" y="6857016"/>
                  </a:lnTo>
                  <a:lnTo>
                    <a:pt x="1558197" y="6833192"/>
                  </a:lnTo>
                  <a:lnTo>
                    <a:pt x="1539137" y="6818896"/>
                  </a:lnTo>
                  <a:lnTo>
                    <a:pt x="1520075" y="6818896"/>
                  </a:lnTo>
                  <a:lnTo>
                    <a:pt x="1491485" y="6833192"/>
                  </a:lnTo>
                  <a:lnTo>
                    <a:pt x="1472425" y="6871312"/>
                  </a:lnTo>
                  <a:lnTo>
                    <a:pt x="1462895" y="6880840"/>
                  </a:lnTo>
                  <a:lnTo>
                    <a:pt x="1439069" y="6895136"/>
                  </a:lnTo>
                  <a:lnTo>
                    <a:pt x="1420007" y="6895136"/>
                  </a:lnTo>
                  <a:lnTo>
                    <a:pt x="1343767" y="6933260"/>
                  </a:lnTo>
                  <a:lnTo>
                    <a:pt x="1315175" y="6938024"/>
                  </a:lnTo>
                  <a:lnTo>
                    <a:pt x="1296115" y="6947552"/>
                  </a:lnTo>
                  <a:lnTo>
                    <a:pt x="1281819" y="6961848"/>
                  </a:lnTo>
                  <a:lnTo>
                    <a:pt x="1272289" y="6990440"/>
                  </a:lnTo>
                  <a:lnTo>
                    <a:pt x="1277055" y="7009500"/>
                  </a:lnTo>
                  <a:lnTo>
                    <a:pt x="1253229" y="7080976"/>
                  </a:lnTo>
                  <a:lnTo>
                    <a:pt x="1248463" y="7119100"/>
                  </a:lnTo>
                  <a:lnTo>
                    <a:pt x="1248463" y="7138160"/>
                  </a:lnTo>
                  <a:lnTo>
                    <a:pt x="1257993" y="7171516"/>
                  </a:lnTo>
                  <a:lnTo>
                    <a:pt x="1248463" y="7223932"/>
                  </a:lnTo>
                  <a:lnTo>
                    <a:pt x="1234169" y="7238228"/>
                  </a:lnTo>
                  <a:lnTo>
                    <a:pt x="1200813" y="7252520"/>
                  </a:lnTo>
                  <a:lnTo>
                    <a:pt x="1176987" y="7242992"/>
                  </a:lnTo>
                  <a:lnTo>
                    <a:pt x="1138865" y="7233460"/>
                  </a:lnTo>
                  <a:lnTo>
                    <a:pt x="1110275" y="7209636"/>
                  </a:lnTo>
                  <a:lnTo>
                    <a:pt x="1076919" y="7195340"/>
                  </a:lnTo>
                  <a:lnTo>
                    <a:pt x="1062623" y="7185808"/>
                  </a:lnTo>
                  <a:lnTo>
                    <a:pt x="1034033" y="7142924"/>
                  </a:lnTo>
                  <a:lnTo>
                    <a:pt x="1029267" y="7128628"/>
                  </a:lnTo>
                  <a:lnTo>
                    <a:pt x="1024503" y="7114332"/>
                  </a:lnTo>
                  <a:lnTo>
                    <a:pt x="1043563" y="7085744"/>
                  </a:lnTo>
                  <a:lnTo>
                    <a:pt x="1053093" y="7085744"/>
                  </a:lnTo>
                  <a:lnTo>
                    <a:pt x="1076919" y="7085744"/>
                  </a:lnTo>
                  <a:lnTo>
                    <a:pt x="1100745" y="7080976"/>
                  </a:lnTo>
                  <a:lnTo>
                    <a:pt x="1115039" y="7095272"/>
                  </a:lnTo>
                  <a:lnTo>
                    <a:pt x="1119805" y="7123864"/>
                  </a:lnTo>
                  <a:lnTo>
                    <a:pt x="1110275" y="7142924"/>
                  </a:lnTo>
                  <a:lnTo>
                    <a:pt x="1105509" y="7152456"/>
                  </a:lnTo>
                  <a:lnTo>
                    <a:pt x="1110275" y="7157220"/>
                  </a:lnTo>
                  <a:lnTo>
                    <a:pt x="1124571" y="7147688"/>
                  </a:lnTo>
                  <a:lnTo>
                    <a:pt x="1129335" y="7080976"/>
                  </a:lnTo>
                  <a:lnTo>
                    <a:pt x="1186517" y="7047620"/>
                  </a:lnTo>
                  <a:lnTo>
                    <a:pt x="1200813" y="7028560"/>
                  </a:lnTo>
                  <a:lnTo>
                    <a:pt x="1219873" y="6999972"/>
                  </a:lnTo>
                  <a:lnTo>
                    <a:pt x="1219873" y="6990440"/>
                  </a:lnTo>
                  <a:lnTo>
                    <a:pt x="1224637" y="6980912"/>
                  </a:lnTo>
                  <a:lnTo>
                    <a:pt x="1210343" y="6971380"/>
                  </a:lnTo>
                  <a:lnTo>
                    <a:pt x="1186517" y="6961848"/>
                  </a:lnTo>
                  <a:lnTo>
                    <a:pt x="1105509" y="7023796"/>
                  </a:lnTo>
                  <a:lnTo>
                    <a:pt x="1072153" y="7038092"/>
                  </a:lnTo>
                  <a:lnTo>
                    <a:pt x="1048329" y="7057152"/>
                  </a:lnTo>
                  <a:lnTo>
                    <a:pt x="1019737" y="7085744"/>
                  </a:lnTo>
                  <a:lnTo>
                    <a:pt x="1014973" y="7095272"/>
                  </a:lnTo>
                  <a:lnTo>
                    <a:pt x="1010207" y="7119100"/>
                  </a:lnTo>
                  <a:lnTo>
                    <a:pt x="1005443" y="7142924"/>
                  </a:lnTo>
                  <a:lnTo>
                    <a:pt x="976851" y="7128628"/>
                  </a:lnTo>
                  <a:lnTo>
                    <a:pt x="933965" y="7095272"/>
                  </a:lnTo>
                  <a:lnTo>
                    <a:pt x="929199" y="7085744"/>
                  </a:lnTo>
                  <a:lnTo>
                    <a:pt x="933965" y="7066680"/>
                  </a:lnTo>
                  <a:lnTo>
                    <a:pt x="948261" y="7052388"/>
                  </a:lnTo>
                  <a:lnTo>
                    <a:pt x="948261" y="7004736"/>
                  </a:lnTo>
                  <a:lnTo>
                    <a:pt x="953025" y="6985676"/>
                  </a:lnTo>
                  <a:lnTo>
                    <a:pt x="962555" y="6976144"/>
                  </a:lnTo>
                  <a:lnTo>
                    <a:pt x="976851" y="6957084"/>
                  </a:lnTo>
                  <a:lnTo>
                    <a:pt x="986381" y="6957084"/>
                  </a:lnTo>
                  <a:lnTo>
                    <a:pt x="991147" y="6961848"/>
                  </a:lnTo>
                  <a:lnTo>
                    <a:pt x="991147" y="6976144"/>
                  </a:lnTo>
                  <a:lnTo>
                    <a:pt x="1019737" y="6971380"/>
                  </a:lnTo>
                  <a:lnTo>
                    <a:pt x="1072153" y="6928492"/>
                  </a:lnTo>
                  <a:lnTo>
                    <a:pt x="1095979" y="6928492"/>
                  </a:lnTo>
                  <a:lnTo>
                    <a:pt x="1124571" y="6938024"/>
                  </a:lnTo>
                  <a:lnTo>
                    <a:pt x="1153161" y="6933260"/>
                  </a:lnTo>
                  <a:lnTo>
                    <a:pt x="1162691" y="6928492"/>
                  </a:lnTo>
                  <a:lnTo>
                    <a:pt x="1167457" y="6918964"/>
                  </a:lnTo>
                  <a:lnTo>
                    <a:pt x="1143631" y="6909432"/>
                  </a:lnTo>
                  <a:lnTo>
                    <a:pt x="1119805" y="6899904"/>
                  </a:lnTo>
                  <a:lnTo>
                    <a:pt x="1057859" y="6895136"/>
                  </a:lnTo>
                  <a:lnTo>
                    <a:pt x="1043563" y="6899904"/>
                  </a:lnTo>
                  <a:lnTo>
                    <a:pt x="1024503" y="6923728"/>
                  </a:lnTo>
                  <a:lnTo>
                    <a:pt x="1014973" y="6918964"/>
                  </a:lnTo>
                  <a:lnTo>
                    <a:pt x="1010207" y="6909432"/>
                  </a:lnTo>
                  <a:lnTo>
                    <a:pt x="991147" y="6899904"/>
                  </a:lnTo>
                  <a:lnTo>
                    <a:pt x="981617" y="6899904"/>
                  </a:lnTo>
                  <a:lnTo>
                    <a:pt x="972087" y="6914200"/>
                  </a:lnTo>
                  <a:lnTo>
                    <a:pt x="972087" y="6928492"/>
                  </a:lnTo>
                  <a:lnTo>
                    <a:pt x="967321" y="6947552"/>
                  </a:lnTo>
                  <a:lnTo>
                    <a:pt x="943495" y="6961848"/>
                  </a:lnTo>
                  <a:lnTo>
                    <a:pt x="933965" y="6995204"/>
                  </a:lnTo>
                  <a:lnTo>
                    <a:pt x="933965" y="7014264"/>
                  </a:lnTo>
                  <a:lnTo>
                    <a:pt x="929199" y="7028560"/>
                  </a:lnTo>
                  <a:lnTo>
                    <a:pt x="924435" y="7033328"/>
                  </a:lnTo>
                  <a:lnTo>
                    <a:pt x="914905" y="7038092"/>
                  </a:lnTo>
                  <a:lnTo>
                    <a:pt x="881549" y="7033328"/>
                  </a:lnTo>
                  <a:lnTo>
                    <a:pt x="862489" y="7014264"/>
                  </a:lnTo>
                  <a:lnTo>
                    <a:pt x="857723" y="6995204"/>
                  </a:lnTo>
                  <a:lnTo>
                    <a:pt x="833897" y="6980912"/>
                  </a:lnTo>
                  <a:lnTo>
                    <a:pt x="881549" y="6957084"/>
                  </a:lnTo>
                  <a:lnTo>
                    <a:pt x="895845" y="6947552"/>
                  </a:lnTo>
                  <a:lnTo>
                    <a:pt x="910139" y="6918964"/>
                  </a:lnTo>
                  <a:lnTo>
                    <a:pt x="924435" y="6899904"/>
                  </a:lnTo>
                  <a:lnTo>
                    <a:pt x="914905" y="6890372"/>
                  </a:lnTo>
                  <a:lnTo>
                    <a:pt x="905375" y="6890372"/>
                  </a:lnTo>
                  <a:lnTo>
                    <a:pt x="905375" y="6909432"/>
                  </a:lnTo>
                  <a:lnTo>
                    <a:pt x="895845" y="6923728"/>
                  </a:lnTo>
                  <a:lnTo>
                    <a:pt x="876783" y="6914200"/>
                  </a:lnTo>
                  <a:lnTo>
                    <a:pt x="843427" y="6938024"/>
                  </a:lnTo>
                  <a:lnTo>
                    <a:pt x="824367" y="6933260"/>
                  </a:lnTo>
                  <a:lnTo>
                    <a:pt x="791011" y="6938024"/>
                  </a:lnTo>
                  <a:lnTo>
                    <a:pt x="776715" y="6928492"/>
                  </a:lnTo>
                  <a:lnTo>
                    <a:pt x="771951" y="6914200"/>
                  </a:lnTo>
                  <a:lnTo>
                    <a:pt x="776715" y="6895136"/>
                  </a:lnTo>
                  <a:lnTo>
                    <a:pt x="771951" y="6866548"/>
                  </a:lnTo>
                  <a:lnTo>
                    <a:pt x="762421" y="6861780"/>
                  </a:lnTo>
                  <a:lnTo>
                    <a:pt x="752891" y="6861780"/>
                  </a:lnTo>
                  <a:lnTo>
                    <a:pt x="752891" y="6842720"/>
                  </a:lnTo>
                  <a:lnTo>
                    <a:pt x="743361" y="6814132"/>
                  </a:lnTo>
                  <a:lnTo>
                    <a:pt x="738595" y="6809364"/>
                  </a:lnTo>
                  <a:lnTo>
                    <a:pt x="733829" y="6795072"/>
                  </a:lnTo>
                  <a:lnTo>
                    <a:pt x="738595" y="6790304"/>
                  </a:lnTo>
                  <a:lnTo>
                    <a:pt x="748125" y="6795072"/>
                  </a:lnTo>
                  <a:lnTo>
                    <a:pt x="757655" y="6804600"/>
                  </a:lnTo>
                  <a:lnTo>
                    <a:pt x="771951" y="6804600"/>
                  </a:lnTo>
                  <a:lnTo>
                    <a:pt x="805307" y="6823660"/>
                  </a:lnTo>
                  <a:lnTo>
                    <a:pt x="819603" y="6818896"/>
                  </a:lnTo>
                  <a:lnTo>
                    <a:pt x="824367" y="6814132"/>
                  </a:lnTo>
                  <a:lnTo>
                    <a:pt x="829133" y="6799836"/>
                  </a:lnTo>
                  <a:lnTo>
                    <a:pt x="829133" y="6785540"/>
                  </a:lnTo>
                  <a:lnTo>
                    <a:pt x="833897" y="6785540"/>
                  </a:lnTo>
                  <a:lnTo>
                    <a:pt x="852957" y="6804600"/>
                  </a:lnTo>
                  <a:lnTo>
                    <a:pt x="862489" y="6799836"/>
                  </a:lnTo>
                  <a:lnTo>
                    <a:pt x="886313" y="6804600"/>
                  </a:lnTo>
                  <a:lnTo>
                    <a:pt x="895845" y="6804600"/>
                  </a:lnTo>
                  <a:lnTo>
                    <a:pt x="914905" y="6799836"/>
                  </a:lnTo>
                  <a:lnTo>
                    <a:pt x="943495" y="6776008"/>
                  </a:lnTo>
                  <a:lnTo>
                    <a:pt x="957791" y="6756948"/>
                  </a:lnTo>
                  <a:lnTo>
                    <a:pt x="967321" y="6752184"/>
                  </a:lnTo>
                  <a:lnTo>
                    <a:pt x="976851" y="6756948"/>
                  </a:lnTo>
                  <a:lnTo>
                    <a:pt x="981617" y="6761712"/>
                  </a:lnTo>
                  <a:lnTo>
                    <a:pt x="981617" y="6776008"/>
                  </a:lnTo>
                  <a:lnTo>
                    <a:pt x="991147" y="6790304"/>
                  </a:lnTo>
                  <a:lnTo>
                    <a:pt x="1000677" y="6799836"/>
                  </a:lnTo>
                  <a:lnTo>
                    <a:pt x="1000677" y="6814132"/>
                  </a:lnTo>
                  <a:lnTo>
                    <a:pt x="1000677" y="6828424"/>
                  </a:lnTo>
                  <a:lnTo>
                    <a:pt x="981617" y="6847488"/>
                  </a:lnTo>
                  <a:lnTo>
                    <a:pt x="981617" y="6857016"/>
                  </a:lnTo>
                  <a:lnTo>
                    <a:pt x="986381" y="6861780"/>
                  </a:lnTo>
                  <a:lnTo>
                    <a:pt x="991147" y="6857016"/>
                  </a:lnTo>
                  <a:lnTo>
                    <a:pt x="1000677" y="6847488"/>
                  </a:lnTo>
                  <a:lnTo>
                    <a:pt x="1010207" y="6837956"/>
                  </a:lnTo>
                  <a:lnTo>
                    <a:pt x="1010207" y="6828424"/>
                  </a:lnTo>
                  <a:lnTo>
                    <a:pt x="1010207" y="6818896"/>
                  </a:lnTo>
                  <a:lnTo>
                    <a:pt x="1010207" y="6809364"/>
                  </a:lnTo>
                  <a:lnTo>
                    <a:pt x="995911" y="6776008"/>
                  </a:lnTo>
                  <a:lnTo>
                    <a:pt x="991147" y="6766480"/>
                  </a:lnTo>
                  <a:lnTo>
                    <a:pt x="991147" y="6752184"/>
                  </a:lnTo>
                  <a:lnTo>
                    <a:pt x="1010207" y="6737888"/>
                  </a:lnTo>
                  <a:lnTo>
                    <a:pt x="1014973" y="6723592"/>
                  </a:lnTo>
                  <a:lnTo>
                    <a:pt x="1014973" y="6704532"/>
                  </a:lnTo>
                  <a:lnTo>
                    <a:pt x="1005443" y="6690236"/>
                  </a:lnTo>
                  <a:lnTo>
                    <a:pt x="972087" y="6656880"/>
                  </a:lnTo>
                  <a:lnTo>
                    <a:pt x="914905" y="6623524"/>
                  </a:lnTo>
                  <a:lnTo>
                    <a:pt x="910139" y="6628292"/>
                  </a:lnTo>
                  <a:lnTo>
                    <a:pt x="905375" y="6633056"/>
                  </a:lnTo>
                  <a:lnTo>
                    <a:pt x="910139" y="6637820"/>
                  </a:lnTo>
                  <a:lnTo>
                    <a:pt x="914905" y="6637820"/>
                  </a:lnTo>
                  <a:lnTo>
                    <a:pt x="967321" y="6666412"/>
                  </a:lnTo>
                  <a:lnTo>
                    <a:pt x="981617" y="6680708"/>
                  </a:lnTo>
                  <a:lnTo>
                    <a:pt x="991147" y="6685472"/>
                  </a:lnTo>
                  <a:lnTo>
                    <a:pt x="1000677" y="6699768"/>
                  </a:lnTo>
                  <a:lnTo>
                    <a:pt x="995911" y="6714064"/>
                  </a:lnTo>
                  <a:lnTo>
                    <a:pt x="948261" y="6728360"/>
                  </a:lnTo>
                  <a:lnTo>
                    <a:pt x="905375" y="6761712"/>
                  </a:lnTo>
                  <a:lnTo>
                    <a:pt x="876783" y="6780776"/>
                  </a:lnTo>
                  <a:lnTo>
                    <a:pt x="852957" y="6776008"/>
                  </a:lnTo>
                  <a:lnTo>
                    <a:pt x="843427" y="6756948"/>
                  </a:lnTo>
                  <a:lnTo>
                    <a:pt x="833897" y="6728360"/>
                  </a:lnTo>
                  <a:lnTo>
                    <a:pt x="819603" y="6714064"/>
                  </a:lnTo>
                  <a:lnTo>
                    <a:pt x="810071" y="6714064"/>
                  </a:lnTo>
                  <a:lnTo>
                    <a:pt x="800541" y="6709296"/>
                  </a:lnTo>
                  <a:lnTo>
                    <a:pt x="795777" y="6704532"/>
                  </a:lnTo>
                  <a:lnTo>
                    <a:pt x="781481" y="6709296"/>
                  </a:lnTo>
                  <a:lnTo>
                    <a:pt x="757655" y="6690236"/>
                  </a:lnTo>
                  <a:lnTo>
                    <a:pt x="748125" y="6685472"/>
                  </a:lnTo>
                  <a:lnTo>
                    <a:pt x="767185" y="6656880"/>
                  </a:lnTo>
                  <a:lnTo>
                    <a:pt x="791011" y="6666412"/>
                  </a:lnTo>
                  <a:lnTo>
                    <a:pt x="795777" y="6594936"/>
                  </a:lnTo>
                  <a:lnTo>
                    <a:pt x="786247" y="6580640"/>
                  </a:lnTo>
                  <a:lnTo>
                    <a:pt x="757655" y="6561580"/>
                  </a:lnTo>
                  <a:lnTo>
                    <a:pt x="748125" y="6566344"/>
                  </a:lnTo>
                  <a:lnTo>
                    <a:pt x="729065" y="6561580"/>
                  </a:lnTo>
                  <a:lnTo>
                    <a:pt x="714769" y="6552048"/>
                  </a:lnTo>
                  <a:lnTo>
                    <a:pt x="700473" y="6552048"/>
                  </a:lnTo>
                  <a:lnTo>
                    <a:pt x="686179" y="6547284"/>
                  </a:lnTo>
                  <a:lnTo>
                    <a:pt x="671883" y="6537752"/>
                  </a:lnTo>
                  <a:lnTo>
                    <a:pt x="652823" y="6528224"/>
                  </a:lnTo>
                  <a:lnTo>
                    <a:pt x="624231" y="6485336"/>
                  </a:lnTo>
                  <a:lnTo>
                    <a:pt x="614701" y="6461512"/>
                  </a:lnTo>
                  <a:lnTo>
                    <a:pt x="605171" y="6432920"/>
                  </a:lnTo>
                  <a:lnTo>
                    <a:pt x="648057" y="6432920"/>
                  </a:lnTo>
                  <a:lnTo>
                    <a:pt x="671883" y="6428156"/>
                  </a:lnTo>
                  <a:lnTo>
                    <a:pt x="676649" y="6418624"/>
                  </a:lnTo>
                  <a:lnTo>
                    <a:pt x="667119" y="6399564"/>
                  </a:lnTo>
                  <a:lnTo>
                    <a:pt x="657587" y="6385268"/>
                  </a:lnTo>
                  <a:lnTo>
                    <a:pt x="667119" y="6366208"/>
                  </a:lnTo>
                  <a:lnTo>
                    <a:pt x="676649" y="6356680"/>
                  </a:lnTo>
                  <a:lnTo>
                    <a:pt x="690943" y="6361444"/>
                  </a:lnTo>
                  <a:lnTo>
                    <a:pt x="719535" y="6385268"/>
                  </a:lnTo>
                  <a:lnTo>
                    <a:pt x="729065" y="6404328"/>
                  </a:lnTo>
                  <a:lnTo>
                    <a:pt x="748125" y="6456744"/>
                  </a:lnTo>
                  <a:lnTo>
                    <a:pt x="752891" y="6461512"/>
                  </a:lnTo>
                  <a:lnTo>
                    <a:pt x="757655" y="6466276"/>
                  </a:lnTo>
                  <a:lnTo>
                    <a:pt x="800541" y="6499632"/>
                  </a:lnTo>
                  <a:lnTo>
                    <a:pt x="810071" y="6499632"/>
                  </a:lnTo>
                  <a:lnTo>
                    <a:pt x="805307" y="6471040"/>
                  </a:lnTo>
                  <a:lnTo>
                    <a:pt x="819603" y="6437684"/>
                  </a:lnTo>
                  <a:lnTo>
                    <a:pt x="833897" y="6428156"/>
                  </a:lnTo>
                  <a:lnTo>
                    <a:pt x="838663" y="6428156"/>
                  </a:lnTo>
                  <a:lnTo>
                    <a:pt x="838663" y="6423392"/>
                  </a:lnTo>
                  <a:lnTo>
                    <a:pt x="829133" y="6409096"/>
                  </a:lnTo>
                  <a:lnTo>
                    <a:pt x="833897" y="6390032"/>
                  </a:lnTo>
                  <a:lnTo>
                    <a:pt x="829133" y="6390032"/>
                  </a:lnTo>
                  <a:lnTo>
                    <a:pt x="819603" y="6399564"/>
                  </a:lnTo>
                  <a:lnTo>
                    <a:pt x="795777" y="6461512"/>
                  </a:lnTo>
                  <a:lnTo>
                    <a:pt x="781481" y="6471040"/>
                  </a:lnTo>
                  <a:lnTo>
                    <a:pt x="762421" y="6442452"/>
                  </a:lnTo>
                  <a:lnTo>
                    <a:pt x="752891" y="6423392"/>
                  </a:lnTo>
                  <a:lnTo>
                    <a:pt x="748125" y="6418624"/>
                  </a:lnTo>
                  <a:lnTo>
                    <a:pt x="748125" y="6385268"/>
                  </a:lnTo>
                  <a:lnTo>
                    <a:pt x="786247" y="6394800"/>
                  </a:lnTo>
                  <a:lnTo>
                    <a:pt x="771951" y="6385268"/>
                  </a:lnTo>
                  <a:lnTo>
                    <a:pt x="729065" y="6366208"/>
                  </a:lnTo>
                  <a:lnTo>
                    <a:pt x="719535" y="6356680"/>
                  </a:lnTo>
                  <a:lnTo>
                    <a:pt x="714769" y="6351912"/>
                  </a:lnTo>
                  <a:lnTo>
                    <a:pt x="695709" y="6332852"/>
                  </a:lnTo>
                  <a:lnTo>
                    <a:pt x="681413" y="6313792"/>
                  </a:lnTo>
                  <a:lnTo>
                    <a:pt x="710005" y="6285200"/>
                  </a:lnTo>
                  <a:lnTo>
                    <a:pt x="729065" y="6261376"/>
                  </a:lnTo>
                  <a:lnTo>
                    <a:pt x="776715" y="6275672"/>
                  </a:lnTo>
                  <a:lnTo>
                    <a:pt x="786247" y="6266140"/>
                  </a:lnTo>
                  <a:lnTo>
                    <a:pt x="776715" y="6251844"/>
                  </a:lnTo>
                  <a:lnTo>
                    <a:pt x="767185" y="6256612"/>
                  </a:lnTo>
                  <a:lnTo>
                    <a:pt x="752891" y="6247080"/>
                  </a:lnTo>
                  <a:lnTo>
                    <a:pt x="729065" y="6213724"/>
                  </a:lnTo>
                  <a:lnTo>
                    <a:pt x="729065" y="6199428"/>
                  </a:lnTo>
                  <a:lnTo>
                    <a:pt x="733829" y="6170840"/>
                  </a:lnTo>
                  <a:lnTo>
                    <a:pt x="743361" y="6166072"/>
                  </a:lnTo>
                  <a:lnTo>
                    <a:pt x="762421" y="6161308"/>
                  </a:lnTo>
                  <a:lnTo>
                    <a:pt x="786247" y="6170840"/>
                  </a:lnTo>
                  <a:lnTo>
                    <a:pt x="795777" y="6175604"/>
                  </a:lnTo>
                  <a:lnTo>
                    <a:pt x="805307" y="6175604"/>
                  </a:lnTo>
                  <a:lnTo>
                    <a:pt x="795777" y="6151776"/>
                  </a:lnTo>
                  <a:lnTo>
                    <a:pt x="781481" y="6147012"/>
                  </a:lnTo>
                  <a:lnTo>
                    <a:pt x="762421" y="6132716"/>
                  </a:lnTo>
                  <a:lnTo>
                    <a:pt x="767185" y="6113656"/>
                  </a:lnTo>
                  <a:lnTo>
                    <a:pt x="771951" y="6099360"/>
                  </a:lnTo>
                  <a:lnTo>
                    <a:pt x="776715" y="6085064"/>
                  </a:lnTo>
                  <a:lnTo>
                    <a:pt x="776715" y="6066004"/>
                  </a:lnTo>
                  <a:lnTo>
                    <a:pt x="776715" y="6051712"/>
                  </a:lnTo>
                  <a:lnTo>
                    <a:pt x="781481" y="6042180"/>
                  </a:lnTo>
                  <a:lnTo>
                    <a:pt x="791011" y="6037416"/>
                  </a:lnTo>
                  <a:lnTo>
                    <a:pt x="791011" y="6032648"/>
                  </a:lnTo>
                  <a:lnTo>
                    <a:pt x="776715" y="6032648"/>
                  </a:lnTo>
                  <a:lnTo>
                    <a:pt x="767185" y="6051712"/>
                  </a:lnTo>
                  <a:lnTo>
                    <a:pt x="767185" y="6070772"/>
                  </a:lnTo>
                  <a:lnTo>
                    <a:pt x="757655" y="6089832"/>
                  </a:lnTo>
                  <a:lnTo>
                    <a:pt x="752891" y="6104128"/>
                  </a:lnTo>
                  <a:lnTo>
                    <a:pt x="748125" y="6123188"/>
                  </a:lnTo>
                  <a:lnTo>
                    <a:pt x="743361" y="6147012"/>
                  </a:lnTo>
                  <a:lnTo>
                    <a:pt x="733829" y="6137484"/>
                  </a:lnTo>
                  <a:lnTo>
                    <a:pt x="724299" y="6127952"/>
                  </a:lnTo>
                  <a:lnTo>
                    <a:pt x="719535" y="6123188"/>
                  </a:lnTo>
                  <a:lnTo>
                    <a:pt x="724299" y="6113656"/>
                  </a:lnTo>
                  <a:lnTo>
                    <a:pt x="719535" y="6037416"/>
                  </a:lnTo>
                  <a:lnTo>
                    <a:pt x="719535" y="5980232"/>
                  </a:lnTo>
                  <a:lnTo>
                    <a:pt x="724299" y="5932584"/>
                  </a:lnTo>
                  <a:lnTo>
                    <a:pt x="743361" y="5913520"/>
                  </a:lnTo>
                  <a:lnTo>
                    <a:pt x="752891" y="5908756"/>
                  </a:lnTo>
                  <a:lnTo>
                    <a:pt x="757655" y="5908756"/>
                  </a:lnTo>
                  <a:lnTo>
                    <a:pt x="771951" y="5908756"/>
                  </a:lnTo>
                  <a:lnTo>
                    <a:pt x="776715" y="5903992"/>
                  </a:lnTo>
                  <a:lnTo>
                    <a:pt x="752891" y="5894460"/>
                  </a:lnTo>
                  <a:lnTo>
                    <a:pt x="738595" y="5899224"/>
                  </a:lnTo>
                  <a:lnTo>
                    <a:pt x="724299" y="5908756"/>
                  </a:lnTo>
                  <a:lnTo>
                    <a:pt x="705239" y="5899224"/>
                  </a:lnTo>
                  <a:lnTo>
                    <a:pt x="700473" y="5875400"/>
                  </a:lnTo>
                  <a:lnTo>
                    <a:pt x="690943" y="5856340"/>
                  </a:lnTo>
                  <a:lnTo>
                    <a:pt x="686179" y="5827748"/>
                  </a:lnTo>
                  <a:lnTo>
                    <a:pt x="686179" y="5789628"/>
                  </a:lnTo>
                  <a:lnTo>
                    <a:pt x="714769" y="5794392"/>
                  </a:lnTo>
                  <a:lnTo>
                    <a:pt x="738595" y="5803924"/>
                  </a:lnTo>
                  <a:lnTo>
                    <a:pt x="800541" y="5803924"/>
                  </a:lnTo>
                  <a:lnTo>
                    <a:pt x="852957" y="5837280"/>
                  </a:lnTo>
                  <a:lnTo>
                    <a:pt x="876783" y="5832512"/>
                  </a:lnTo>
                  <a:lnTo>
                    <a:pt x="872019" y="5827748"/>
                  </a:lnTo>
                  <a:lnTo>
                    <a:pt x="857723" y="5818220"/>
                  </a:lnTo>
                  <a:lnTo>
                    <a:pt x="848193" y="5794392"/>
                  </a:lnTo>
                  <a:lnTo>
                    <a:pt x="838663" y="5789628"/>
                  </a:lnTo>
                  <a:lnTo>
                    <a:pt x="838663" y="5780096"/>
                  </a:lnTo>
                  <a:lnTo>
                    <a:pt x="833897" y="5765804"/>
                  </a:lnTo>
                  <a:lnTo>
                    <a:pt x="824367" y="5713384"/>
                  </a:lnTo>
                  <a:lnTo>
                    <a:pt x="819603" y="5713384"/>
                  </a:lnTo>
                  <a:lnTo>
                    <a:pt x="814837" y="5732448"/>
                  </a:lnTo>
                  <a:lnTo>
                    <a:pt x="800541" y="5761036"/>
                  </a:lnTo>
                  <a:lnTo>
                    <a:pt x="786247" y="5775332"/>
                  </a:lnTo>
                  <a:lnTo>
                    <a:pt x="767185" y="5780096"/>
                  </a:lnTo>
                  <a:lnTo>
                    <a:pt x="743361" y="5784864"/>
                  </a:lnTo>
                  <a:lnTo>
                    <a:pt x="724299" y="5780096"/>
                  </a:lnTo>
                  <a:lnTo>
                    <a:pt x="719535" y="5765804"/>
                  </a:lnTo>
                  <a:lnTo>
                    <a:pt x="719535" y="5751508"/>
                  </a:lnTo>
                  <a:lnTo>
                    <a:pt x="710005" y="5746744"/>
                  </a:lnTo>
                  <a:lnTo>
                    <a:pt x="690943" y="5737212"/>
                  </a:lnTo>
                  <a:lnTo>
                    <a:pt x="681413" y="5737212"/>
                  </a:lnTo>
                  <a:lnTo>
                    <a:pt x="676649" y="5722916"/>
                  </a:lnTo>
                  <a:lnTo>
                    <a:pt x="686179" y="5703856"/>
                  </a:lnTo>
                  <a:lnTo>
                    <a:pt x="695709" y="5689560"/>
                  </a:lnTo>
                  <a:lnTo>
                    <a:pt x="705239" y="5694324"/>
                  </a:lnTo>
                  <a:lnTo>
                    <a:pt x="714769" y="5699092"/>
                  </a:lnTo>
                  <a:lnTo>
                    <a:pt x="729065" y="5713384"/>
                  </a:lnTo>
                  <a:lnTo>
                    <a:pt x="738595" y="5718152"/>
                  </a:lnTo>
                  <a:lnTo>
                    <a:pt x="752891" y="5703856"/>
                  </a:lnTo>
                  <a:lnTo>
                    <a:pt x="757655" y="5699092"/>
                  </a:lnTo>
                  <a:lnTo>
                    <a:pt x="748125" y="5689560"/>
                  </a:lnTo>
                  <a:lnTo>
                    <a:pt x="738595" y="5689560"/>
                  </a:lnTo>
                  <a:lnTo>
                    <a:pt x="729065" y="5684796"/>
                  </a:lnTo>
                  <a:lnTo>
                    <a:pt x="705239" y="5660968"/>
                  </a:lnTo>
                  <a:lnTo>
                    <a:pt x="714769" y="5637144"/>
                  </a:lnTo>
                  <a:lnTo>
                    <a:pt x="743361" y="5608552"/>
                  </a:lnTo>
                  <a:lnTo>
                    <a:pt x="752891" y="5603788"/>
                  </a:lnTo>
                  <a:lnTo>
                    <a:pt x="748125" y="5579964"/>
                  </a:lnTo>
                  <a:lnTo>
                    <a:pt x="752891" y="5556136"/>
                  </a:lnTo>
                  <a:lnTo>
                    <a:pt x="748125" y="5532312"/>
                  </a:lnTo>
                  <a:lnTo>
                    <a:pt x="729065" y="5513252"/>
                  </a:lnTo>
                  <a:lnTo>
                    <a:pt x="710005" y="5508484"/>
                  </a:lnTo>
                  <a:lnTo>
                    <a:pt x="705239" y="5513252"/>
                  </a:lnTo>
                  <a:lnTo>
                    <a:pt x="700473" y="5522780"/>
                  </a:lnTo>
                  <a:lnTo>
                    <a:pt x="705239" y="5527544"/>
                  </a:lnTo>
                  <a:lnTo>
                    <a:pt x="705239" y="5532312"/>
                  </a:lnTo>
                  <a:lnTo>
                    <a:pt x="700473" y="5532312"/>
                  </a:lnTo>
                  <a:lnTo>
                    <a:pt x="671883" y="5527544"/>
                  </a:lnTo>
                  <a:lnTo>
                    <a:pt x="652823" y="5513252"/>
                  </a:lnTo>
                  <a:lnTo>
                    <a:pt x="619467" y="5503720"/>
                  </a:lnTo>
                  <a:lnTo>
                    <a:pt x="619467" y="5489424"/>
                  </a:lnTo>
                  <a:lnTo>
                    <a:pt x="614701" y="5475128"/>
                  </a:lnTo>
                  <a:lnTo>
                    <a:pt x="624231" y="5451304"/>
                  </a:lnTo>
                  <a:lnTo>
                    <a:pt x="619467" y="5451304"/>
                  </a:lnTo>
                  <a:lnTo>
                    <a:pt x="600407" y="5470364"/>
                  </a:lnTo>
                  <a:lnTo>
                    <a:pt x="571815" y="5479896"/>
                  </a:lnTo>
                  <a:lnTo>
                    <a:pt x="547989" y="5484660"/>
                  </a:lnTo>
                  <a:lnTo>
                    <a:pt x="538459" y="5489424"/>
                  </a:lnTo>
                  <a:lnTo>
                    <a:pt x="533695" y="5498956"/>
                  </a:lnTo>
                  <a:lnTo>
                    <a:pt x="538459" y="5503720"/>
                  </a:lnTo>
                  <a:lnTo>
                    <a:pt x="552755" y="5503720"/>
                  </a:lnTo>
                  <a:lnTo>
                    <a:pt x="562285" y="5527544"/>
                  </a:lnTo>
                  <a:lnTo>
                    <a:pt x="557521" y="5537076"/>
                  </a:lnTo>
                  <a:lnTo>
                    <a:pt x="557521" y="5546608"/>
                  </a:lnTo>
                  <a:lnTo>
                    <a:pt x="543225" y="5546608"/>
                  </a:lnTo>
                  <a:lnTo>
                    <a:pt x="524165" y="5527544"/>
                  </a:lnTo>
                  <a:lnTo>
                    <a:pt x="514635" y="5508484"/>
                  </a:lnTo>
                  <a:lnTo>
                    <a:pt x="514635" y="5494192"/>
                  </a:lnTo>
                  <a:lnTo>
                    <a:pt x="519399" y="5470364"/>
                  </a:lnTo>
                  <a:lnTo>
                    <a:pt x="552755" y="5441776"/>
                  </a:lnTo>
                  <a:lnTo>
                    <a:pt x="562285" y="5432244"/>
                  </a:lnTo>
                  <a:lnTo>
                    <a:pt x="586111" y="5417948"/>
                  </a:lnTo>
                  <a:lnTo>
                    <a:pt x="609937" y="5384592"/>
                  </a:lnTo>
                  <a:lnTo>
                    <a:pt x="633763" y="5370296"/>
                  </a:lnTo>
                  <a:lnTo>
                    <a:pt x="624231" y="5356000"/>
                  </a:lnTo>
                  <a:lnTo>
                    <a:pt x="609937" y="5332176"/>
                  </a:lnTo>
                  <a:lnTo>
                    <a:pt x="614701" y="5303584"/>
                  </a:lnTo>
                  <a:lnTo>
                    <a:pt x="657587" y="5294056"/>
                  </a:lnTo>
                  <a:lnTo>
                    <a:pt x="681413" y="5298820"/>
                  </a:lnTo>
                  <a:lnTo>
                    <a:pt x="705239" y="5298820"/>
                  </a:lnTo>
                  <a:lnTo>
                    <a:pt x="719535" y="5289288"/>
                  </a:lnTo>
                  <a:lnTo>
                    <a:pt x="733829" y="5289288"/>
                  </a:lnTo>
                  <a:lnTo>
                    <a:pt x="752891" y="5279760"/>
                  </a:lnTo>
                  <a:lnTo>
                    <a:pt x="762421" y="5270228"/>
                  </a:lnTo>
                  <a:lnTo>
                    <a:pt x="767185" y="5260700"/>
                  </a:lnTo>
                  <a:lnTo>
                    <a:pt x="767185" y="5255936"/>
                  </a:lnTo>
                  <a:lnTo>
                    <a:pt x="762421" y="5246404"/>
                  </a:lnTo>
                  <a:lnTo>
                    <a:pt x="757655" y="5222576"/>
                  </a:lnTo>
                  <a:lnTo>
                    <a:pt x="762421" y="5213048"/>
                  </a:lnTo>
                  <a:lnTo>
                    <a:pt x="771951" y="5203516"/>
                  </a:lnTo>
                  <a:lnTo>
                    <a:pt x="786247" y="5198752"/>
                  </a:lnTo>
                  <a:lnTo>
                    <a:pt x="791011" y="5203516"/>
                  </a:lnTo>
                  <a:lnTo>
                    <a:pt x="805307" y="5208284"/>
                  </a:lnTo>
                  <a:lnTo>
                    <a:pt x="800541" y="5222576"/>
                  </a:lnTo>
                  <a:lnTo>
                    <a:pt x="795777" y="5236872"/>
                  </a:lnTo>
                  <a:lnTo>
                    <a:pt x="786247" y="5298820"/>
                  </a:lnTo>
                  <a:lnTo>
                    <a:pt x="776715" y="5308352"/>
                  </a:lnTo>
                  <a:lnTo>
                    <a:pt x="767185" y="5322644"/>
                  </a:lnTo>
                  <a:lnTo>
                    <a:pt x="776715" y="5346472"/>
                  </a:lnTo>
                  <a:lnTo>
                    <a:pt x="767185" y="5365532"/>
                  </a:lnTo>
                  <a:lnTo>
                    <a:pt x="724299" y="5379828"/>
                  </a:lnTo>
                  <a:lnTo>
                    <a:pt x="719535" y="5384592"/>
                  </a:lnTo>
                  <a:lnTo>
                    <a:pt x="719535" y="5389356"/>
                  </a:lnTo>
                  <a:lnTo>
                    <a:pt x="748125" y="5389356"/>
                  </a:lnTo>
                  <a:lnTo>
                    <a:pt x="767185" y="5384592"/>
                  </a:lnTo>
                  <a:lnTo>
                    <a:pt x="781481" y="5370296"/>
                  </a:lnTo>
                  <a:lnTo>
                    <a:pt x="791011" y="5346472"/>
                  </a:lnTo>
                  <a:lnTo>
                    <a:pt x="795777" y="5298820"/>
                  </a:lnTo>
                  <a:lnTo>
                    <a:pt x="810071" y="5294056"/>
                  </a:lnTo>
                  <a:lnTo>
                    <a:pt x="819603" y="5289288"/>
                  </a:lnTo>
                  <a:lnTo>
                    <a:pt x="824367" y="5303584"/>
                  </a:lnTo>
                  <a:lnTo>
                    <a:pt x="824367" y="5327412"/>
                  </a:lnTo>
                  <a:lnTo>
                    <a:pt x="824367" y="5351236"/>
                  </a:lnTo>
                  <a:lnTo>
                    <a:pt x="810071" y="5417948"/>
                  </a:lnTo>
                  <a:lnTo>
                    <a:pt x="791011" y="5446540"/>
                  </a:lnTo>
                  <a:lnTo>
                    <a:pt x="786247" y="5456068"/>
                  </a:lnTo>
                  <a:lnTo>
                    <a:pt x="786247" y="5460836"/>
                  </a:lnTo>
                  <a:lnTo>
                    <a:pt x="800541" y="5460836"/>
                  </a:lnTo>
                  <a:lnTo>
                    <a:pt x="814837" y="5446540"/>
                  </a:lnTo>
                  <a:lnTo>
                    <a:pt x="824367" y="5427480"/>
                  </a:lnTo>
                  <a:lnTo>
                    <a:pt x="833897" y="5398888"/>
                  </a:lnTo>
                  <a:lnTo>
                    <a:pt x="829133" y="5379828"/>
                  </a:lnTo>
                  <a:lnTo>
                    <a:pt x="833897" y="5370296"/>
                  </a:lnTo>
                  <a:lnTo>
                    <a:pt x="838663" y="5332176"/>
                  </a:lnTo>
                  <a:lnTo>
                    <a:pt x="843427" y="5313116"/>
                  </a:lnTo>
                  <a:lnTo>
                    <a:pt x="843427" y="5284524"/>
                  </a:lnTo>
                  <a:lnTo>
                    <a:pt x="833897" y="5274996"/>
                  </a:lnTo>
                  <a:lnTo>
                    <a:pt x="814837" y="5265464"/>
                  </a:lnTo>
                  <a:lnTo>
                    <a:pt x="814837" y="5251168"/>
                  </a:lnTo>
                  <a:lnTo>
                    <a:pt x="819603" y="5217812"/>
                  </a:lnTo>
                  <a:lnTo>
                    <a:pt x="848193" y="5217812"/>
                  </a:lnTo>
                  <a:lnTo>
                    <a:pt x="876783" y="5193988"/>
                  </a:lnTo>
                  <a:lnTo>
                    <a:pt x="891079" y="5189224"/>
                  </a:lnTo>
                  <a:lnTo>
                    <a:pt x="905375" y="5189224"/>
                  </a:lnTo>
                  <a:lnTo>
                    <a:pt x="938731" y="5213048"/>
                  </a:lnTo>
                  <a:lnTo>
                    <a:pt x="943495" y="5213048"/>
                  </a:lnTo>
                  <a:lnTo>
                    <a:pt x="943495" y="5203516"/>
                  </a:lnTo>
                  <a:lnTo>
                    <a:pt x="938731" y="5198752"/>
                  </a:lnTo>
                  <a:lnTo>
                    <a:pt x="924435" y="5189224"/>
                  </a:lnTo>
                  <a:lnTo>
                    <a:pt x="900609" y="5165396"/>
                  </a:lnTo>
                  <a:lnTo>
                    <a:pt x="867253" y="5165396"/>
                  </a:lnTo>
                  <a:lnTo>
                    <a:pt x="872019" y="5132040"/>
                  </a:lnTo>
                  <a:lnTo>
                    <a:pt x="876783" y="5103448"/>
                  </a:lnTo>
                  <a:lnTo>
                    <a:pt x="895845" y="5103448"/>
                  </a:lnTo>
                  <a:lnTo>
                    <a:pt x="924435" y="5093920"/>
                  </a:lnTo>
                  <a:lnTo>
                    <a:pt x="976851" y="5051032"/>
                  </a:lnTo>
                  <a:lnTo>
                    <a:pt x="986381" y="5022444"/>
                  </a:lnTo>
                  <a:lnTo>
                    <a:pt x="986381" y="4984320"/>
                  </a:lnTo>
                  <a:lnTo>
                    <a:pt x="962555" y="4979556"/>
                  </a:lnTo>
                  <a:lnTo>
                    <a:pt x="933965" y="4955732"/>
                  </a:lnTo>
                  <a:lnTo>
                    <a:pt x="914905" y="4941436"/>
                  </a:lnTo>
                  <a:lnTo>
                    <a:pt x="895845" y="4927140"/>
                  </a:lnTo>
                  <a:lnTo>
                    <a:pt x="895845" y="4908080"/>
                  </a:lnTo>
                  <a:lnTo>
                    <a:pt x="900609" y="4869960"/>
                  </a:lnTo>
                  <a:lnTo>
                    <a:pt x="924435" y="4860428"/>
                  </a:lnTo>
                  <a:lnTo>
                    <a:pt x="933965" y="4812776"/>
                  </a:lnTo>
                  <a:lnTo>
                    <a:pt x="919669" y="4774656"/>
                  </a:lnTo>
                  <a:lnTo>
                    <a:pt x="924435" y="4746064"/>
                  </a:lnTo>
                  <a:lnTo>
                    <a:pt x="943495" y="4722240"/>
                  </a:lnTo>
                  <a:lnTo>
                    <a:pt x="948261" y="4703180"/>
                  </a:lnTo>
                  <a:lnTo>
                    <a:pt x="953025" y="4688884"/>
                  </a:lnTo>
                  <a:lnTo>
                    <a:pt x="972087" y="4684120"/>
                  </a:lnTo>
                  <a:lnTo>
                    <a:pt x="972087" y="4674588"/>
                  </a:lnTo>
                  <a:lnTo>
                    <a:pt x="972087" y="4655528"/>
                  </a:lnTo>
                  <a:lnTo>
                    <a:pt x="957791" y="4636468"/>
                  </a:lnTo>
                  <a:lnTo>
                    <a:pt x="957791" y="4607876"/>
                  </a:lnTo>
                  <a:lnTo>
                    <a:pt x="972087" y="4569756"/>
                  </a:lnTo>
                  <a:lnTo>
                    <a:pt x="991147" y="4574520"/>
                  </a:lnTo>
                  <a:lnTo>
                    <a:pt x="991147" y="4569756"/>
                  </a:lnTo>
                  <a:lnTo>
                    <a:pt x="976851" y="4550696"/>
                  </a:lnTo>
                  <a:lnTo>
                    <a:pt x="967321" y="4526868"/>
                  </a:lnTo>
                  <a:lnTo>
                    <a:pt x="972087" y="4517340"/>
                  </a:lnTo>
                  <a:lnTo>
                    <a:pt x="981617" y="4512576"/>
                  </a:lnTo>
                  <a:lnTo>
                    <a:pt x="991147" y="4507808"/>
                  </a:lnTo>
                  <a:lnTo>
                    <a:pt x="1005443" y="4517340"/>
                  </a:lnTo>
                  <a:lnTo>
                    <a:pt x="1024503" y="4555460"/>
                  </a:lnTo>
                  <a:lnTo>
                    <a:pt x="1024503" y="4545928"/>
                  </a:lnTo>
                  <a:lnTo>
                    <a:pt x="1019737" y="4507808"/>
                  </a:lnTo>
                  <a:lnTo>
                    <a:pt x="1014973" y="4460156"/>
                  </a:lnTo>
                  <a:lnTo>
                    <a:pt x="995911" y="4464924"/>
                  </a:lnTo>
                  <a:lnTo>
                    <a:pt x="976851" y="4464924"/>
                  </a:lnTo>
                  <a:lnTo>
                    <a:pt x="967321" y="4455392"/>
                  </a:lnTo>
                  <a:lnTo>
                    <a:pt x="962555" y="4445864"/>
                  </a:lnTo>
                  <a:lnTo>
                    <a:pt x="967321" y="4431568"/>
                  </a:lnTo>
                  <a:lnTo>
                    <a:pt x="976851" y="4422036"/>
                  </a:lnTo>
                  <a:lnTo>
                    <a:pt x="986381" y="4412508"/>
                  </a:lnTo>
                  <a:lnTo>
                    <a:pt x="1014973" y="4407740"/>
                  </a:lnTo>
                  <a:lnTo>
                    <a:pt x="1034033" y="4393448"/>
                  </a:lnTo>
                  <a:lnTo>
                    <a:pt x="1043563" y="4360088"/>
                  </a:lnTo>
                  <a:lnTo>
                    <a:pt x="1034033" y="4364856"/>
                  </a:lnTo>
                  <a:lnTo>
                    <a:pt x="1024503" y="4388680"/>
                  </a:lnTo>
                  <a:lnTo>
                    <a:pt x="1005443" y="4398212"/>
                  </a:lnTo>
                  <a:lnTo>
                    <a:pt x="995911" y="4398212"/>
                  </a:lnTo>
                  <a:lnTo>
                    <a:pt x="986381" y="4393448"/>
                  </a:lnTo>
                  <a:lnTo>
                    <a:pt x="967321" y="4369620"/>
                  </a:lnTo>
                  <a:lnTo>
                    <a:pt x="953025" y="4364856"/>
                  </a:lnTo>
                  <a:lnTo>
                    <a:pt x="943495" y="4364856"/>
                  </a:lnTo>
                  <a:lnTo>
                    <a:pt x="933965" y="4369620"/>
                  </a:lnTo>
                  <a:lnTo>
                    <a:pt x="910139" y="4412508"/>
                  </a:lnTo>
                  <a:lnTo>
                    <a:pt x="895845" y="4417272"/>
                  </a:lnTo>
                  <a:lnTo>
                    <a:pt x="852957" y="4422036"/>
                  </a:lnTo>
                  <a:lnTo>
                    <a:pt x="838663" y="4417272"/>
                  </a:lnTo>
                  <a:lnTo>
                    <a:pt x="819603" y="4412508"/>
                  </a:lnTo>
                  <a:lnTo>
                    <a:pt x="819603" y="4398212"/>
                  </a:lnTo>
                  <a:lnTo>
                    <a:pt x="829133" y="4388680"/>
                  </a:lnTo>
                  <a:lnTo>
                    <a:pt x="838663" y="4383916"/>
                  </a:lnTo>
                  <a:lnTo>
                    <a:pt x="838663" y="4374384"/>
                  </a:lnTo>
                  <a:lnTo>
                    <a:pt x="824367" y="4374384"/>
                  </a:lnTo>
                  <a:lnTo>
                    <a:pt x="810071" y="4364856"/>
                  </a:lnTo>
                  <a:lnTo>
                    <a:pt x="800541" y="4350560"/>
                  </a:lnTo>
                  <a:lnTo>
                    <a:pt x="795777" y="4321968"/>
                  </a:lnTo>
                  <a:lnTo>
                    <a:pt x="781481" y="4279084"/>
                  </a:lnTo>
                  <a:lnTo>
                    <a:pt x="781481" y="4250492"/>
                  </a:lnTo>
                  <a:lnTo>
                    <a:pt x="791011" y="4231432"/>
                  </a:lnTo>
                  <a:lnTo>
                    <a:pt x="814837" y="4145660"/>
                  </a:lnTo>
                  <a:lnTo>
                    <a:pt x="819603" y="4102772"/>
                  </a:lnTo>
                  <a:lnTo>
                    <a:pt x="829133" y="4069416"/>
                  </a:lnTo>
                  <a:lnTo>
                    <a:pt x="829133" y="4040828"/>
                  </a:lnTo>
                  <a:lnTo>
                    <a:pt x="857723" y="4021768"/>
                  </a:lnTo>
                  <a:lnTo>
                    <a:pt x="872019" y="4007472"/>
                  </a:lnTo>
                  <a:lnTo>
                    <a:pt x="895845" y="3935992"/>
                  </a:lnTo>
                  <a:lnTo>
                    <a:pt x="900609" y="3893108"/>
                  </a:lnTo>
                  <a:lnTo>
                    <a:pt x="857723" y="3773980"/>
                  </a:lnTo>
                  <a:lnTo>
                    <a:pt x="852957" y="3750152"/>
                  </a:lnTo>
                  <a:lnTo>
                    <a:pt x="852957" y="3721564"/>
                  </a:lnTo>
                  <a:lnTo>
                    <a:pt x="862489" y="3673912"/>
                  </a:lnTo>
                  <a:lnTo>
                    <a:pt x="862489" y="3654852"/>
                  </a:lnTo>
                  <a:lnTo>
                    <a:pt x="852957" y="3631026"/>
                  </a:lnTo>
                  <a:lnTo>
                    <a:pt x="833897" y="3588140"/>
                  </a:lnTo>
                  <a:lnTo>
                    <a:pt x="829133" y="3569080"/>
                  </a:lnTo>
                  <a:lnTo>
                    <a:pt x="838663" y="3545254"/>
                  </a:lnTo>
                  <a:lnTo>
                    <a:pt x="833897" y="3516662"/>
                  </a:lnTo>
                  <a:lnTo>
                    <a:pt x="833897" y="3502368"/>
                  </a:lnTo>
                  <a:lnTo>
                    <a:pt x="838663" y="3488072"/>
                  </a:lnTo>
                  <a:lnTo>
                    <a:pt x="876783" y="3497602"/>
                  </a:lnTo>
                  <a:lnTo>
                    <a:pt x="891079" y="3492836"/>
                  </a:lnTo>
                  <a:lnTo>
                    <a:pt x="900609" y="3483306"/>
                  </a:lnTo>
                  <a:lnTo>
                    <a:pt x="910139" y="3464246"/>
                  </a:lnTo>
                  <a:lnTo>
                    <a:pt x="910139" y="3426126"/>
                  </a:lnTo>
                  <a:lnTo>
                    <a:pt x="914905" y="3411830"/>
                  </a:lnTo>
                  <a:lnTo>
                    <a:pt x="914905" y="3392770"/>
                  </a:lnTo>
                  <a:lnTo>
                    <a:pt x="933965" y="3383240"/>
                  </a:lnTo>
                  <a:lnTo>
                    <a:pt x="938731" y="3359414"/>
                  </a:lnTo>
                  <a:lnTo>
                    <a:pt x="953025" y="3330822"/>
                  </a:lnTo>
                  <a:lnTo>
                    <a:pt x="967321" y="3254580"/>
                  </a:lnTo>
                  <a:lnTo>
                    <a:pt x="986381" y="3235520"/>
                  </a:lnTo>
                  <a:lnTo>
                    <a:pt x="1000677" y="3211694"/>
                  </a:lnTo>
                  <a:lnTo>
                    <a:pt x="995911" y="3178338"/>
                  </a:lnTo>
                  <a:lnTo>
                    <a:pt x="1005443" y="3164044"/>
                  </a:lnTo>
                  <a:lnTo>
                    <a:pt x="1010207" y="3149748"/>
                  </a:lnTo>
                  <a:lnTo>
                    <a:pt x="1019737" y="3130688"/>
                  </a:lnTo>
                  <a:lnTo>
                    <a:pt x="1029267" y="3111626"/>
                  </a:lnTo>
                  <a:lnTo>
                    <a:pt x="1057859" y="3083036"/>
                  </a:lnTo>
                  <a:lnTo>
                    <a:pt x="1062623" y="3049680"/>
                  </a:lnTo>
                  <a:lnTo>
                    <a:pt x="1081685" y="2992498"/>
                  </a:lnTo>
                  <a:lnTo>
                    <a:pt x="1086449" y="2954378"/>
                  </a:lnTo>
                  <a:lnTo>
                    <a:pt x="1091215" y="2930552"/>
                  </a:lnTo>
                  <a:lnTo>
                    <a:pt x="1091215" y="2906726"/>
                  </a:lnTo>
                  <a:lnTo>
                    <a:pt x="1100745" y="2878136"/>
                  </a:lnTo>
                  <a:lnTo>
                    <a:pt x="1115039" y="2854310"/>
                  </a:lnTo>
                  <a:lnTo>
                    <a:pt x="1119805" y="2840014"/>
                  </a:lnTo>
                  <a:lnTo>
                    <a:pt x="1143631" y="2811424"/>
                  </a:lnTo>
                  <a:lnTo>
                    <a:pt x="1148395" y="2787598"/>
                  </a:lnTo>
                  <a:lnTo>
                    <a:pt x="1138865" y="2768538"/>
                  </a:lnTo>
                  <a:lnTo>
                    <a:pt x="1138865" y="2744712"/>
                  </a:lnTo>
                  <a:lnTo>
                    <a:pt x="1129335" y="2706592"/>
                  </a:lnTo>
                  <a:lnTo>
                    <a:pt x="1148395" y="2692296"/>
                  </a:lnTo>
                  <a:lnTo>
                    <a:pt x="1153161" y="2682766"/>
                  </a:lnTo>
                  <a:lnTo>
                    <a:pt x="1176987" y="2625584"/>
                  </a:lnTo>
                  <a:lnTo>
                    <a:pt x="1176987" y="2601758"/>
                  </a:lnTo>
                  <a:lnTo>
                    <a:pt x="1181751" y="2573168"/>
                  </a:lnTo>
                  <a:lnTo>
                    <a:pt x="1167457" y="2539812"/>
                  </a:lnTo>
                  <a:lnTo>
                    <a:pt x="1167457" y="2468334"/>
                  </a:lnTo>
                  <a:lnTo>
                    <a:pt x="1157927" y="2411154"/>
                  </a:lnTo>
                  <a:lnTo>
                    <a:pt x="1143631" y="2349206"/>
                  </a:lnTo>
                  <a:lnTo>
                    <a:pt x="1143631" y="2315850"/>
                  </a:lnTo>
                  <a:lnTo>
                    <a:pt x="1138865" y="2277730"/>
                  </a:lnTo>
                  <a:lnTo>
                    <a:pt x="1134101" y="2253904"/>
                  </a:lnTo>
                  <a:lnTo>
                    <a:pt x="1143631" y="2196722"/>
                  </a:lnTo>
                  <a:lnTo>
                    <a:pt x="1186517" y="2163366"/>
                  </a:lnTo>
                  <a:lnTo>
                    <a:pt x="1191281" y="2125246"/>
                  </a:lnTo>
                  <a:lnTo>
                    <a:pt x="1196047" y="2077594"/>
                  </a:lnTo>
                  <a:lnTo>
                    <a:pt x="1196047" y="2039474"/>
                  </a:lnTo>
                  <a:lnTo>
                    <a:pt x="1191281" y="2020412"/>
                  </a:lnTo>
                  <a:lnTo>
                    <a:pt x="1172221" y="1996588"/>
                  </a:lnTo>
                  <a:lnTo>
                    <a:pt x="1167457" y="1944170"/>
                  </a:lnTo>
                  <a:lnTo>
                    <a:pt x="1172221" y="1934640"/>
                  </a:lnTo>
                  <a:lnTo>
                    <a:pt x="1186517" y="1920346"/>
                  </a:lnTo>
                  <a:lnTo>
                    <a:pt x="1200813" y="1901284"/>
                  </a:lnTo>
                  <a:lnTo>
                    <a:pt x="1205577" y="1872694"/>
                  </a:lnTo>
                  <a:lnTo>
                    <a:pt x="1219873" y="1848868"/>
                  </a:lnTo>
                  <a:lnTo>
                    <a:pt x="1224637" y="1791686"/>
                  </a:lnTo>
                  <a:lnTo>
                    <a:pt x="1234169" y="1748800"/>
                  </a:lnTo>
                  <a:lnTo>
                    <a:pt x="1238933" y="1734506"/>
                  </a:lnTo>
                  <a:lnTo>
                    <a:pt x="1257993" y="1715444"/>
                  </a:lnTo>
                  <a:lnTo>
                    <a:pt x="1257993" y="1710680"/>
                  </a:lnTo>
                  <a:lnTo>
                    <a:pt x="1262759" y="1696384"/>
                  </a:lnTo>
                  <a:lnTo>
                    <a:pt x="1262759" y="1658264"/>
                  </a:lnTo>
                  <a:lnTo>
                    <a:pt x="1262759" y="1639202"/>
                  </a:lnTo>
                  <a:lnTo>
                    <a:pt x="1277055" y="1596316"/>
                  </a:lnTo>
                  <a:lnTo>
                    <a:pt x="1277055" y="1577256"/>
                  </a:lnTo>
                  <a:lnTo>
                    <a:pt x="1291349" y="1534370"/>
                  </a:lnTo>
                  <a:lnTo>
                    <a:pt x="1296115" y="1505780"/>
                  </a:lnTo>
                  <a:lnTo>
                    <a:pt x="1300879" y="1486718"/>
                  </a:lnTo>
                  <a:lnTo>
                    <a:pt x="1300879" y="1472424"/>
                  </a:lnTo>
                  <a:lnTo>
                    <a:pt x="1305645" y="1429536"/>
                  </a:lnTo>
                  <a:lnTo>
                    <a:pt x="1296115" y="1405712"/>
                  </a:lnTo>
                  <a:lnTo>
                    <a:pt x="1291349" y="1396182"/>
                  </a:lnTo>
                  <a:lnTo>
                    <a:pt x="1305645" y="1353296"/>
                  </a:lnTo>
                  <a:lnTo>
                    <a:pt x="1315175" y="1343764"/>
                  </a:lnTo>
                  <a:lnTo>
                    <a:pt x="1324705" y="1324704"/>
                  </a:lnTo>
                  <a:lnTo>
                    <a:pt x="1334235" y="1300878"/>
                  </a:lnTo>
                  <a:lnTo>
                    <a:pt x="1334235" y="1286584"/>
                  </a:lnTo>
                  <a:lnTo>
                    <a:pt x="1315175" y="1219872"/>
                  </a:lnTo>
                  <a:lnTo>
                    <a:pt x="1315175" y="1196046"/>
                  </a:lnTo>
                  <a:lnTo>
                    <a:pt x="1319941" y="1143630"/>
                  </a:lnTo>
                  <a:lnTo>
                    <a:pt x="1324705" y="1110274"/>
                  </a:lnTo>
                  <a:lnTo>
                    <a:pt x="1319941" y="1081682"/>
                  </a:lnTo>
                  <a:lnTo>
                    <a:pt x="1324705" y="1067388"/>
                  </a:lnTo>
                  <a:lnTo>
                    <a:pt x="1329471" y="1048326"/>
                  </a:lnTo>
                  <a:lnTo>
                    <a:pt x="1339001" y="1029266"/>
                  </a:lnTo>
                  <a:lnTo>
                    <a:pt x="1343767" y="1010206"/>
                  </a:lnTo>
                  <a:lnTo>
                    <a:pt x="1339001" y="1005440"/>
                  </a:lnTo>
                  <a:lnTo>
                    <a:pt x="1324705" y="1000676"/>
                  </a:lnTo>
                  <a:lnTo>
                    <a:pt x="1310411" y="976850"/>
                  </a:lnTo>
                  <a:lnTo>
                    <a:pt x="1310411" y="957790"/>
                  </a:lnTo>
                  <a:lnTo>
                    <a:pt x="1315175" y="943494"/>
                  </a:lnTo>
                  <a:lnTo>
                    <a:pt x="1315175" y="924434"/>
                  </a:lnTo>
                  <a:lnTo>
                    <a:pt x="1334235" y="924434"/>
                  </a:lnTo>
                  <a:lnTo>
                    <a:pt x="1343767" y="910138"/>
                  </a:lnTo>
                  <a:lnTo>
                    <a:pt x="1353297" y="891078"/>
                  </a:lnTo>
                  <a:lnTo>
                    <a:pt x="1362827" y="838662"/>
                  </a:lnTo>
                  <a:lnTo>
                    <a:pt x="1367591" y="781480"/>
                  </a:lnTo>
                  <a:lnTo>
                    <a:pt x="1377121" y="743358"/>
                  </a:lnTo>
                  <a:lnTo>
                    <a:pt x="1377121" y="724298"/>
                  </a:lnTo>
                  <a:lnTo>
                    <a:pt x="1381887" y="686178"/>
                  </a:lnTo>
                  <a:lnTo>
                    <a:pt x="1391417" y="662352"/>
                  </a:lnTo>
                  <a:lnTo>
                    <a:pt x="1391417" y="638526"/>
                  </a:lnTo>
                  <a:lnTo>
                    <a:pt x="1391417" y="619466"/>
                  </a:lnTo>
                  <a:lnTo>
                    <a:pt x="1372357" y="533694"/>
                  </a:lnTo>
                  <a:lnTo>
                    <a:pt x="1372357" y="500338"/>
                  </a:lnTo>
                  <a:lnTo>
                    <a:pt x="1381887" y="452686"/>
                  </a:lnTo>
                  <a:lnTo>
                    <a:pt x="1381887" y="381210"/>
                  </a:lnTo>
                  <a:lnTo>
                    <a:pt x="1377121" y="362148"/>
                  </a:lnTo>
                  <a:lnTo>
                    <a:pt x="1372357" y="347854"/>
                  </a:lnTo>
                  <a:lnTo>
                    <a:pt x="1372357" y="328792"/>
                  </a:lnTo>
                  <a:lnTo>
                    <a:pt x="1362827" y="290672"/>
                  </a:lnTo>
                  <a:lnTo>
                    <a:pt x="1353297" y="219194"/>
                  </a:lnTo>
                  <a:lnTo>
                    <a:pt x="1353297" y="181074"/>
                  </a:lnTo>
                  <a:lnTo>
                    <a:pt x="1348531" y="147718"/>
                  </a:lnTo>
                  <a:lnTo>
                    <a:pt x="1339001" y="138188"/>
                  </a:lnTo>
                  <a:lnTo>
                    <a:pt x="1343767" y="138188"/>
                  </a:lnTo>
                  <a:lnTo>
                    <a:pt x="1358061" y="138188"/>
                  </a:lnTo>
                  <a:lnTo>
                    <a:pt x="1377121" y="138188"/>
                  </a:lnTo>
                  <a:lnTo>
                    <a:pt x="1396183" y="128658"/>
                  </a:lnTo>
                  <a:lnTo>
                    <a:pt x="1415243" y="114362"/>
                  </a:lnTo>
                  <a:lnTo>
                    <a:pt x="1429539" y="100066"/>
                  </a:lnTo>
                  <a:lnTo>
                    <a:pt x="1434303" y="81006"/>
                  </a:lnTo>
                  <a:lnTo>
                    <a:pt x="1434303" y="66710"/>
                  </a:lnTo>
                  <a:lnTo>
                    <a:pt x="1429539" y="47650"/>
                  </a:lnTo>
                  <a:lnTo>
                    <a:pt x="1424773" y="33354"/>
                  </a:lnTo>
                  <a:lnTo>
                    <a:pt x="1434303" y="28590"/>
                  </a:lnTo>
                  <a:lnTo>
                    <a:pt x="1453363" y="23824"/>
                  </a:lnTo>
                  <a:lnTo>
                    <a:pt x="1467659" y="1429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3" name="Google Shape;4530;p64">
              <a:extLst>
                <a:ext uri="{FF2B5EF4-FFF2-40B4-BE49-F238E27FC236}">
                  <a16:creationId xmlns:a16="http://schemas.microsoft.com/office/drawing/2014/main" id="{8F92FE92-0136-4948-6391-A395EAF8C611}"/>
                </a:ext>
              </a:extLst>
            </p:cNvPr>
            <p:cNvSpPr/>
            <p:nvPr/>
          </p:nvSpPr>
          <p:spPr>
            <a:xfrm>
              <a:off x="4339886" y="4757770"/>
              <a:ext cx="131263" cy="138482"/>
            </a:xfrm>
            <a:custGeom>
              <a:avLst/>
              <a:gdLst/>
              <a:ahLst/>
              <a:cxnLst/>
              <a:rect l="l" t="t" r="r" b="b"/>
              <a:pathLst>
                <a:path w="953026" h="1005440" extrusionOk="0">
                  <a:moveTo>
                    <a:pt x="843430" y="876784"/>
                  </a:moveTo>
                  <a:lnTo>
                    <a:pt x="862490" y="881548"/>
                  </a:lnTo>
                  <a:lnTo>
                    <a:pt x="857724" y="886312"/>
                  </a:lnTo>
                  <a:lnTo>
                    <a:pt x="838664" y="881548"/>
                  </a:lnTo>
                  <a:close/>
                  <a:moveTo>
                    <a:pt x="366916" y="0"/>
                  </a:moveTo>
                  <a:lnTo>
                    <a:pt x="371680" y="19060"/>
                  </a:lnTo>
                  <a:lnTo>
                    <a:pt x="366916" y="23824"/>
                  </a:lnTo>
                  <a:lnTo>
                    <a:pt x="371680" y="38120"/>
                  </a:lnTo>
                  <a:lnTo>
                    <a:pt x="376446" y="47650"/>
                  </a:lnTo>
                  <a:lnTo>
                    <a:pt x="376446" y="52416"/>
                  </a:lnTo>
                  <a:lnTo>
                    <a:pt x="371680" y="61946"/>
                  </a:lnTo>
                  <a:lnTo>
                    <a:pt x="366916" y="66710"/>
                  </a:lnTo>
                  <a:lnTo>
                    <a:pt x="371680" y="71476"/>
                  </a:lnTo>
                  <a:lnTo>
                    <a:pt x="376446" y="76242"/>
                  </a:lnTo>
                  <a:lnTo>
                    <a:pt x="390742" y="81006"/>
                  </a:lnTo>
                  <a:lnTo>
                    <a:pt x="400272" y="81006"/>
                  </a:lnTo>
                  <a:lnTo>
                    <a:pt x="409802" y="76242"/>
                  </a:lnTo>
                  <a:lnTo>
                    <a:pt x="414566" y="71476"/>
                  </a:lnTo>
                  <a:lnTo>
                    <a:pt x="419332" y="66710"/>
                  </a:lnTo>
                  <a:lnTo>
                    <a:pt x="424098" y="57180"/>
                  </a:lnTo>
                  <a:lnTo>
                    <a:pt x="428862" y="52416"/>
                  </a:lnTo>
                  <a:lnTo>
                    <a:pt x="452688" y="42886"/>
                  </a:lnTo>
                  <a:lnTo>
                    <a:pt x="476514" y="42886"/>
                  </a:lnTo>
                  <a:lnTo>
                    <a:pt x="481278" y="47650"/>
                  </a:lnTo>
                  <a:lnTo>
                    <a:pt x="490808" y="57180"/>
                  </a:lnTo>
                  <a:lnTo>
                    <a:pt x="505104" y="61946"/>
                  </a:lnTo>
                  <a:lnTo>
                    <a:pt x="524164" y="61946"/>
                  </a:lnTo>
                  <a:lnTo>
                    <a:pt x="533696" y="66710"/>
                  </a:lnTo>
                  <a:lnTo>
                    <a:pt x="547990" y="76242"/>
                  </a:lnTo>
                  <a:lnTo>
                    <a:pt x="557520" y="90536"/>
                  </a:lnTo>
                  <a:lnTo>
                    <a:pt x="562286" y="104832"/>
                  </a:lnTo>
                  <a:lnTo>
                    <a:pt x="567050" y="123892"/>
                  </a:lnTo>
                  <a:lnTo>
                    <a:pt x="581346" y="133422"/>
                  </a:lnTo>
                  <a:lnTo>
                    <a:pt x="590876" y="138188"/>
                  </a:lnTo>
                  <a:lnTo>
                    <a:pt x="605172" y="152484"/>
                  </a:lnTo>
                  <a:lnTo>
                    <a:pt x="619468" y="157248"/>
                  </a:lnTo>
                  <a:lnTo>
                    <a:pt x="638528" y="157248"/>
                  </a:lnTo>
                  <a:lnTo>
                    <a:pt x="643292" y="162014"/>
                  </a:lnTo>
                  <a:lnTo>
                    <a:pt x="657588" y="166778"/>
                  </a:lnTo>
                  <a:lnTo>
                    <a:pt x="667118" y="171544"/>
                  </a:lnTo>
                  <a:lnTo>
                    <a:pt x="676648" y="152484"/>
                  </a:lnTo>
                  <a:lnTo>
                    <a:pt x="690944" y="147718"/>
                  </a:lnTo>
                  <a:lnTo>
                    <a:pt x="724300" y="138188"/>
                  </a:lnTo>
                  <a:lnTo>
                    <a:pt x="738596" y="128658"/>
                  </a:lnTo>
                  <a:lnTo>
                    <a:pt x="752890" y="128658"/>
                  </a:lnTo>
                  <a:lnTo>
                    <a:pt x="786246" y="123892"/>
                  </a:lnTo>
                  <a:lnTo>
                    <a:pt x="814838" y="128658"/>
                  </a:lnTo>
                  <a:lnTo>
                    <a:pt x="829132" y="133422"/>
                  </a:lnTo>
                  <a:lnTo>
                    <a:pt x="838664" y="128658"/>
                  </a:lnTo>
                  <a:lnTo>
                    <a:pt x="848194" y="138188"/>
                  </a:lnTo>
                  <a:lnTo>
                    <a:pt x="862488" y="152484"/>
                  </a:lnTo>
                  <a:lnTo>
                    <a:pt x="867254" y="157248"/>
                  </a:lnTo>
                  <a:lnTo>
                    <a:pt x="876784" y="162014"/>
                  </a:lnTo>
                  <a:lnTo>
                    <a:pt x="881550" y="176308"/>
                  </a:lnTo>
                  <a:lnTo>
                    <a:pt x="891080" y="185838"/>
                  </a:lnTo>
                  <a:lnTo>
                    <a:pt x="895844" y="190604"/>
                  </a:lnTo>
                  <a:lnTo>
                    <a:pt x="905374" y="204900"/>
                  </a:lnTo>
                  <a:lnTo>
                    <a:pt x="910140" y="204900"/>
                  </a:lnTo>
                  <a:lnTo>
                    <a:pt x="919670" y="200134"/>
                  </a:lnTo>
                  <a:lnTo>
                    <a:pt x="924436" y="195370"/>
                  </a:lnTo>
                  <a:lnTo>
                    <a:pt x="924436" y="204900"/>
                  </a:lnTo>
                  <a:lnTo>
                    <a:pt x="919670" y="214430"/>
                  </a:lnTo>
                  <a:lnTo>
                    <a:pt x="919670" y="223960"/>
                  </a:lnTo>
                  <a:lnTo>
                    <a:pt x="924436" y="228726"/>
                  </a:lnTo>
                  <a:lnTo>
                    <a:pt x="924436" y="238256"/>
                  </a:lnTo>
                  <a:lnTo>
                    <a:pt x="914904" y="252550"/>
                  </a:lnTo>
                  <a:lnTo>
                    <a:pt x="914904" y="266846"/>
                  </a:lnTo>
                  <a:lnTo>
                    <a:pt x="924436" y="266846"/>
                  </a:lnTo>
                  <a:lnTo>
                    <a:pt x="929200" y="276376"/>
                  </a:lnTo>
                  <a:lnTo>
                    <a:pt x="933966" y="295436"/>
                  </a:lnTo>
                  <a:lnTo>
                    <a:pt x="938730" y="304968"/>
                  </a:lnTo>
                  <a:lnTo>
                    <a:pt x="943496" y="352618"/>
                  </a:lnTo>
                  <a:lnTo>
                    <a:pt x="953026" y="395504"/>
                  </a:lnTo>
                  <a:lnTo>
                    <a:pt x="948260" y="400270"/>
                  </a:lnTo>
                  <a:lnTo>
                    <a:pt x="938730" y="405034"/>
                  </a:lnTo>
                  <a:lnTo>
                    <a:pt x="933966" y="405034"/>
                  </a:lnTo>
                  <a:lnTo>
                    <a:pt x="933966" y="409800"/>
                  </a:lnTo>
                  <a:lnTo>
                    <a:pt x="938730" y="414566"/>
                  </a:lnTo>
                  <a:lnTo>
                    <a:pt x="933966" y="424096"/>
                  </a:lnTo>
                  <a:lnTo>
                    <a:pt x="929200" y="424096"/>
                  </a:lnTo>
                  <a:lnTo>
                    <a:pt x="910140" y="438390"/>
                  </a:lnTo>
                  <a:lnTo>
                    <a:pt x="905374" y="447922"/>
                  </a:lnTo>
                  <a:lnTo>
                    <a:pt x="900610" y="457452"/>
                  </a:lnTo>
                  <a:lnTo>
                    <a:pt x="895844" y="466982"/>
                  </a:lnTo>
                  <a:lnTo>
                    <a:pt x="891080" y="481276"/>
                  </a:lnTo>
                  <a:lnTo>
                    <a:pt x="881550" y="514632"/>
                  </a:lnTo>
                  <a:lnTo>
                    <a:pt x="876784" y="543224"/>
                  </a:lnTo>
                  <a:lnTo>
                    <a:pt x="876784" y="552754"/>
                  </a:lnTo>
                  <a:lnTo>
                    <a:pt x="872018" y="562284"/>
                  </a:lnTo>
                  <a:lnTo>
                    <a:pt x="872018" y="571814"/>
                  </a:lnTo>
                  <a:lnTo>
                    <a:pt x="848194" y="595640"/>
                  </a:lnTo>
                  <a:lnTo>
                    <a:pt x="838664" y="619466"/>
                  </a:lnTo>
                  <a:lnTo>
                    <a:pt x="838664" y="628996"/>
                  </a:lnTo>
                  <a:lnTo>
                    <a:pt x="838664" y="633760"/>
                  </a:lnTo>
                  <a:lnTo>
                    <a:pt x="838664" y="643292"/>
                  </a:lnTo>
                  <a:lnTo>
                    <a:pt x="838664" y="662352"/>
                  </a:lnTo>
                  <a:lnTo>
                    <a:pt x="838664" y="676648"/>
                  </a:lnTo>
                  <a:lnTo>
                    <a:pt x="843428" y="690942"/>
                  </a:lnTo>
                  <a:lnTo>
                    <a:pt x="857724" y="729064"/>
                  </a:lnTo>
                  <a:lnTo>
                    <a:pt x="867254" y="757654"/>
                  </a:lnTo>
                  <a:lnTo>
                    <a:pt x="872018" y="776714"/>
                  </a:lnTo>
                  <a:lnTo>
                    <a:pt x="876784" y="791010"/>
                  </a:lnTo>
                  <a:lnTo>
                    <a:pt x="881550" y="795776"/>
                  </a:lnTo>
                  <a:lnTo>
                    <a:pt x="881550" y="800540"/>
                  </a:lnTo>
                  <a:lnTo>
                    <a:pt x="905374" y="805306"/>
                  </a:lnTo>
                  <a:lnTo>
                    <a:pt x="910140" y="805306"/>
                  </a:lnTo>
                  <a:lnTo>
                    <a:pt x="914904" y="833896"/>
                  </a:lnTo>
                  <a:lnTo>
                    <a:pt x="914904" y="843426"/>
                  </a:lnTo>
                  <a:lnTo>
                    <a:pt x="910140" y="848192"/>
                  </a:lnTo>
                  <a:lnTo>
                    <a:pt x="910140" y="862488"/>
                  </a:lnTo>
                  <a:lnTo>
                    <a:pt x="905374" y="872018"/>
                  </a:lnTo>
                  <a:lnTo>
                    <a:pt x="905374" y="876782"/>
                  </a:lnTo>
                  <a:lnTo>
                    <a:pt x="891080" y="876782"/>
                  </a:lnTo>
                  <a:lnTo>
                    <a:pt x="881550" y="881548"/>
                  </a:lnTo>
                  <a:lnTo>
                    <a:pt x="872018" y="881548"/>
                  </a:lnTo>
                  <a:lnTo>
                    <a:pt x="872018" y="876782"/>
                  </a:lnTo>
                  <a:lnTo>
                    <a:pt x="867254" y="876782"/>
                  </a:lnTo>
                  <a:lnTo>
                    <a:pt x="848194" y="867252"/>
                  </a:lnTo>
                  <a:lnTo>
                    <a:pt x="852958" y="848192"/>
                  </a:lnTo>
                  <a:lnTo>
                    <a:pt x="843428" y="848192"/>
                  </a:lnTo>
                  <a:lnTo>
                    <a:pt x="838664" y="848192"/>
                  </a:lnTo>
                  <a:lnTo>
                    <a:pt x="829132" y="876782"/>
                  </a:lnTo>
                  <a:lnTo>
                    <a:pt x="819602" y="881548"/>
                  </a:lnTo>
                  <a:lnTo>
                    <a:pt x="738596" y="867252"/>
                  </a:lnTo>
                  <a:lnTo>
                    <a:pt x="719534" y="852956"/>
                  </a:lnTo>
                  <a:lnTo>
                    <a:pt x="700474" y="852956"/>
                  </a:lnTo>
                  <a:lnTo>
                    <a:pt x="662354" y="852956"/>
                  </a:lnTo>
                  <a:lnTo>
                    <a:pt x="633762" y="857722"/>
                  </a:lnTo>
                  <a:lnTo>
                    <a:pt x="624232" y="862488"/>
                  </a:lnTo>
                  <a:lnTo>
                    <a:pt x="700474" y="862488"/>
                  </a:lnTo>
                  <a:lnTo>
                    <a:pt x="710004" y="862488"/>
                  </a:lnTo>
                  <a:lnTo>
                    <a:pt x="714770" y="867252"/>
                  </a:lnTo>
                  <a:lnTo>
                    <a:pt x="614702" y="872018"/>
                  </a:lnTo>
                  <a:lnTo>
                    <a:pt x="576582" y="881548"/>
                  </a:lnTo>
                  <a:lnTo>
                    <a:pt x="567050" y="876782"/>
                  </a:lnTo>
                  <a:lnTo>
                    <a:pt x="557520" y="867252"/>
                  </a:lnTo>
                  <a:lnTo>
                    <a:pt x="519400" y="867252"/>
                  </a:lnTo>
                  <a:lnTo>
                    <a:pt x="509870" y="872018"/>
                  </a:lnTo>
                  <a:lnTo>
                    <a:pt x="505104" y="876782"/>
                  </a:lnTo>
                  <a:lnTo>
                    <a:pt x="519400" y="876782"/>
                  </a:lnTo>
                  <a:lnTo>
                    <a:pt x="547990" y="876782"/>
                  </a:lnTo>
                  <a:lnTo>
                    <a:pt x="552756" y="881548"/>
                  </a:lnTo>
                  <a:lnTo>
                    <a:pt x="476514" y="886312"/>
                  </a:lnTo>
                  <a:lnTo>
                    <a:pt x="419332" y="900608"/>
                  </a:lnTo>
                  <a:lnTo>
                    <a:pt x="395506" y="910138"/>
                  </a:lnTo>
                  <a:lnTo>
                    <a:pt x="319264" y="938730"/>
                  </a:lnTo>
                  <a:lnTo>
                    <a:pt x="276378" y="953024"/>
                  </a:lnTo>
                  <a:lnTo>
                    <a:pt x="262082" y="957790"/>
                  </a:lnTo>
                  <a:lnTo>
                    <a:pt x="243022" y="972086"/>
                  </a:lnTo>
                  <a:lnTo>
                    <a:pt x="214432" y="981616"/>
                  </a:lnTo>
                  <a:lnTo>
                    <a:pt x="185840" y="1000676"/>
                  </a:lnTo>
                  <a:lnTo>
                    <a:pt x="166780" y="1005440"/>
                  </a:lnTo>
                  <a:lnTo>
                    <a:pt x="162016" y="995910"/>
                  </a:lnTo>
                  <a:lnTo>
                    <a:pt x="162016" y="967320"/>
                  </a:lnTo>
                  <a:lnTo>
                    <a:pt x="157250" y="929198"/>
                  </a:lnTo>
                  <a:lnTo>
                    <a:pt x="157250" y="914904"/>
                  </a:lnTo>
                  <a:lnTo>
                    <a:pt x="162016" y="900608"/>
                  </a:lnTo>
                  <a:lnTo>
                    <a:pt x="162016" y="891078"/>
                  </a:lnTo>
                  <a:lnTo>
                    <a:pt x="171546" y="886312"/>
                  </a:lnTo>
                  <a:lnTo>
                    <a:pt x="171546" y="881548"/>
                  </a:lnTo>
                  <a:lnTo>
                    <a:pt x="176310" y="862488"/>
                  </a:lnTo>
                  <a:lnTo>
                    <a:pt x="185840" y="848192"/>
                  </a:lnTo>
                  <a:lnTo>
                    <a:pt x="185840" y="824366"/>
                  </a:lnTo>
                  <a:lnTo>
                    <a:pt x="185840" y="819600"/>
                  </a:lnTo>
                  <a:lnTo>
                    <a:pt x="185840" y="814836"/>
                  </a:lnTo>
                  <a:lnTo>
                    <a:pt x="185840" y="800540"/>
                  </a:lnTo>
                  <a:lnTo>
                    <a:pt x="181076" y="767184"/>
                  </a:lnTo>
                  <a:lnTo>
                    <a:pt x="176310" y="767184"/>
                  </a:lnTo>
                  <a:lnTo>
                    <a:pt x="171546" y="767184"/>
                  </a:lnTo>
                  <a:lnTo>
                    <a:pt x="152484" y="757654"/>
                  </a:lnTo>
                  <a:lnTo>
                    <a:pt x="138190" y="757654"/>
                  </a:lnTo>
                  <a:lnTo>
                    <a:pt x="128660" y="748124"/>
                  </a:lnTo>
                  <a:lnTo>
                    <a:pt x="123894" y="738594"/>
                  </a:lnTo>
                  <a:lnTo>
                    <a:pt x="119130" y="733828"/>
                  </a:lnTo>
                  <a:lnTo>
                    <a:pt x="119130" y="719534"/>
                  </a:lnTo>
                  <a:lnTo>
                    <a:pt x="109598" y="710004"/>
                  </a:lnTo>
                  <a:lnTo>
                    <a:pt x="95304" y="700472"/>
                  </a:lnTo>
                  <a:lnTo>
                    <a:pt x="85774" y="695708"/>
                  </a:lnTo>
                  <a:lnTo>
                    <a:pt x="76244" y="700472"/>
                  </a:lnTo>
                  <a:lnTo>
                    <a:pt x="61948" y="700472"/>
                  </a:lnTo>
                  <a:lnTo>
                    <a:pt x="47652" y="695708"/>
                  </a:lnTo>
                  <a:lnTo>
                    <a:pt x="42888" y="690942"/>
                  </a:lnTo>
                  <a:lnTo>
                    <a:pt x="33356" y="681412"/>
                  </a:lnTo>
                  <a:lnTo>
                    <a:pt x="23826" y="671882"/>
                  </a:lnTo>
                  <a:lnTo>
                    <a:pt x="19062" y="671882"/>
                  </a:lnTo>
                  <a:lnTo>
                    <a:pt x="9532" y="671882"/>
                  </a:lnTo>
                  <a:lnTo>
                    <a:pt x="4766" y="667116"/>
                  </a:lnTo>
                  <a:lnTo>
                    <a:pt x="0" y="667116"/>
                  </a:lnTo>
                  <a:lnTo>
                    <a:pt x="33356" y="633760"/>
                  </a:lnTo>
                  <a:lnTo>
                    <a:pt x="42888" y="619466"/>
                  </a:lnTo>
                  <a:lnTo>
                    <a:pt x="42888" y="609936"/>
                  </a:lnTo>
                  <a:lnTo>
                    <a:pt x="42888" y="600406"/>
                  </a:lnTo>
                  <a:lnTo>
                    <a:pt x="47652" y="590874"/>
                  </a:lnTo>
                  <a:lnTo>
                    <a:pt x="47652" y="576580"/>
                  </a:lnTo>
                  <a:lnTo>
                    <a:pt x="28592" y="524164"/>
                  </a:lnTo>
                  <a:lnTo>
                    <a:pt x="28592" y="505102"/>
                  </a:lnTo>
                  <a:lnTo>
                    <a:pt x="19062" y="500338"/>
                  </a:lnTo>
                  <a:lnTo>
                    <a:pt x="28592" y="490808"/>
                  </a:lnTo>
                  <a:lnTo>
                    <a:pt x="38122" y="495572"/>
                  </a:lnTo>
                  <a:lnTo>
                    <a:pt x="57182" y="500338"/>
                  </a:lnTo>
                  <a:lnTo>
                    <a:pt x="61948" y="495572"/>
                  </a:lnTo>
                  <a:lnTo>
                    <a:pt x="76244" y="466982"/>
                  </a:lnTo>
                  <a:lnTo>
                    <a:pt x="76244" y="457452"/>
                  </a:lnTo>
                  <a:lnTo>
                    <a:pt x="76244" y="452686"/>
                  </a:lnTo>
                  <a:lnTo>
                    <a:pt x="81008" y="433626"/>
                  </a:lnTo>
                  <a:lnTo>
                    <a:pt x="90538" y="424096"/>
                  </a:lnTo>
                  <a:lnTo>
                    <a:pt x="90538" y="419330"/>
                  </a:lnTo>
                  <a:lnTo>
                    <a:pt x="90538" y="405034"/>
                  </a:lnTo>
                  <a:lnTo>
                    <a:pt x="85774" y="405034"/>
                  </a:lnTo>
                  <a:lnTo>
                    <a:pt x="81008" y="405034"/>
                  </a:lnTo>
                  <a:lnTo>
                    <a:pt x="71478" y="400270"/>
                  </a:lnTo>
                  <a:lnTo>
                    <a:pt x="61948" y="395504"/>
                  </a:lnTo>
                  <a:lnTo>
                    <a:pt x="52418" y="390740"/>
                  </a:lnTo>
                  <a:lnTo>
                    <a:pt x="57182" y="366914"/>
                  </a:lnTo>
                  <a:lnTo>
                    <a:pt x="57182" y="357384"/>
                  </a:lnTo>
                  <a:lnTo>
                    <a:pt x="61948" y="352618"/>
                  </a:lnTo>
                  <a:lnTo>
                    <a:pt x="66712" y="352618"/>
                  </a:lnTo>
                  <a:lnTo>
                    <a:pt x="85774" y="352618"/>
                  </a:lnTo>
                  <a:lnTo>
                    <a:pt x="100068" y="352618"/>
                  </a:lnTo>
                  <a:lnTo>
                    <a:pt x="114364" y="357384"/>
                  </a:lnTo>
                  <a:lnTo>
                    <a:pt x="123894" y="357384"/>
                  </a:lnTo>
                  <a:lnTo>
                    <a:pt x="128660" y="362148"/>
                  </a:lnTo>
                  <a:lnTo>
                    <a:pt x="133424" y="371678"/>
                  </a:lnTo>
                  <a:lnTo>
                    <a:pt x="142954" y="371678"/>
                  </a:lnTo>
                  <a:lnTo>
                    <a:pt x="142954" y="366914"/>
                  </a:lnTo>
                  <a:lnTo>
                    <a:pt x="142954" y="343088"/>
                  </a:lnTo>
                  <a:lnTo>
                    <a:pt x="138190" y="328792"/>
                  </a:lnTo>
                  <a:lnTo>
                    <a:pt x="128660" y="314498"/>
                  </a:lnTo>
                  <a:lnTo>
                    <a:pt x="100068" y="304968"/>
                  </a:lnTo>
                  <a:lnTo>
                    <a:pt x="100068" y="290672"/>
                  </a:lnTo>
                  <a:lnTo>
                    <a:pt x="104834" y="276376"/>
                  </a:lnTo>
                  <a:lnTo>
                    <a:pt x="109598" y="266846"/>
                  </a:lnTo>
                  <a:lnTo>
                    <a:pt x="128660" y="257316"/>
                  </a:lnTo>
                  <a:lnTo>
                    <a:pt x="123894" y="252550"/>
                  </a:lnTo>
                  <a:lnTo>
                    <a:pt x="119130" y="247786"/>
                  </a:lnTo>
                  <a:lnTo>
                    <a:pt x="109598" y="243020"/>
                  </a:lnTo>
                  <a:lnTo>
                    <a:pt x="109598" y="223960"/>
                  </a:lnTo>
                  <a:lnTo>
                    <a:pt x="109598" y="204900"/>
                  </a:lnTo>
                  <a:lnTo>
                    <a:pt x="100068" y="209664"/>
                  </a:lnTo>
                  <a:lnTo>
                    <a:pt x="90538" y="209664"/>
                  </a:lnTo>
                  <a:lnTo>
                    <a:pt x="81008" y="204900"/>
                  </a:lnTo>
                  <a:lnTo>
                    <a:pt x="71478" y="195370"/>
                  </a:lnTo>
                  <a:lnTo>
                    <a:pt x="71478" y="166778"/>
                  </a:lnTo>
                  <a:lnTo>
                    <a:pt x="71478" y="133422"/>
                  </a:lnTo>
                  <a:lnTo>
                    <a:pt x="71478" y="119128"/>
                  </a:lnTo>
                  <a:lnTo>
                    <a:pt x="71478" y="109596"/>
                  </a:lnTo>
                  <a:lnTo>
                    <a:pt x="81008" y="104832"/>
                  </a:lnTo>
                  <a:lnTo>
                    <a:pt x="90538" y="95302"/>
                  </a:lnTo>
                  <a:lnTo>
                    <a:pt x="95304" y="85772"/>
                  </a:lnTo>
                  <a:lnTo>
                    <a:pt x="100068" y="85772"/>
                  </a:lnTo>
                  <a:lnTo>
                    <a:pt x="114364" y="85772"/>
                  </a:lnTo>
                  <a:lnTo>
                    <a:pt x="123894" y="76242"/>
                  </a:lnTo>
                  <a:lnTo>
                    <a:pt x="133424" y="57180"/>
                  </a:lnTo>
                  <a:lnTo>
                    <a:pt x="147720" y="47650"/>
                  </a:lnTo>
                  <a:lnTo>
                    <a:pt x="162016" y="47650"/>
                  </a:lnTo>
                  <a:lnTo>
                    <a:pt x="166780" y="42886"/>
                  </a:lnTo>
                  <a:lnTo>
                    <a:pt x="171546" y="42886"/>
                  </a:lnTo>
                  <a:lnTo>
                    <a:pt x="181076" y="52416"/>
                  </a:lnTo>
                  <a:lnTo>
                    <a:pt x="185840" y="57180"/>
                  </a:lnTo>
                  <a:lnTo>
                    <a:pt x="190606" y="61946"/>
                  </a:lnTo>
                  <a:lnTo>
                    <a:pt x="195372" y="71476"/>
                  </a:lnTo>
                  <a:lnTo>
                    <a:pt x="223962" y="76242"/>
                  </a:lnTo>
                  <a:lnTo>
                    <a:pt x="233492" y="81006"/>
                  </a:lnTo>
                  <a:lnTo>
                    <a:pt x="243022" y="90536"/>
                  </a:lnTo>
                  <a:lnTo>
                    <a:pt x="247788" y="90536"/>
                  </a:lnTo>
                  <a:lnTo>
                    <a:pt x="252552" y="90536"/>
                  </a:lnTo>
                  <a:lnTo>
                    <a:pt x="257318" y="85772"/>
                  </a:lnTo>
                  <a:lnTo>
                    <a:pt x="257318" y="81006"/>
                  </a:lnTo>
                  <a:lnTo>
                    <a:pt x="252552" y="71476"/>
                  </a:lnTo>
                  <a:lnTo>
                    <a:pt x="252552" y="66710"/>
                  </a:lnTo>
                  <a:lnTo>
                    <a:pt x="257318" y="57180"/>
                  </a:lnTo>
                  <a:lnTo>
                    <a:pt x="266848" y="57180"/>
                  </a:lnTo>
                  <a:lnTo>
                    <a:pt x="276378" y="57180"/>
                  </a:lnTo>
                  <a:lnTo>
                    <a:pt x="290674" y="57180"/>
                  </a:lnTo>
                  <a:lnTo>
                    <a:pt x="300204" y="57180"/>
                  </a:lnTo>
                  <a:lnTo>
                    <a:pt x="300204" y="52416"/>
                  </a:lnTo>
                  <a:lnTo>
                    <a:pt x="300204" y="33354"/>
                  </a:lnTo>
                  <a:lnTo>
                    <a:pt x="300204" y="23824"/>
                  </a:lnTo>
                  <a:lnTo>
                    <a:pt x="300204" y="14294"/>
                  </a:lnTo>
                  <a:lnTo>
                    <a:pt x="304968" y="9530"/>
                  </a:lnTo>
                  <a:lnTo>
                    <a:pt x="319264" y="19060"/>
                  </a:lnTo>
                  <a:lnTo>
                    <a:pt x="333560" y="23824"/>
                  </a:lnTo>
                  <a:lnTo>
                    <a:pt x="343090" y="23824"/>
                  </a:lnTo>
                  <a:lnTo>
                    <a:pt x="338324" y="9530"/>
                  </a:lnTo>
                  <a:lnTo>
                    <a:pt x="338324" y="4764"/>
                  </a:lnTo>
                  <a:lnTo>
                    <a:pt x="343090" y="4764"/>
                  </a:lnTo>
                  <a:lnTo>
                    <a:pt x="347856"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4" name="Google Shape;4531;p64">
              <a:extLst>
                <a:ext uri="{FF2B5EF4-FFF2-40B4-BE49-F238E27FC236}">
                  <a16:creationId xmlns:a16="http://schemas.microsoft.com/office/drawing/2014/main" id="{19E7EC96-A8C6-4DE2-8BFF-0E05A95C2018}"/>
                </a:ext>
              </a:extLst>
            </p:cNvPr>
            <p:cNvSpPr/>
            <p:nvPr/>
          </p:nvSpPr>
          <p:spPr>
            <a:xfrm>
              <a:off x="4708735" y="4705922"/>
              <a:ext cx="164079" cy="247431"/>
            </a:xfrm>
            <a:custGeom>
              <a:avLst/>
              <a:gdLst/>
              <a:ahLst/>
              <a:cxnLst/>
              <a:rect l="l" t="t" r="r" b="b"/>
              <a:pathLst>
                <a:path w="500" h="754" extrusionOk="0">
                  <a:moveTo>
                    <a:pt x="456" y="370"/>
                  </a:moveTo>
                  <a:lnTo>
                    <a:pt x="458" y="364"/>
                  </a:lnTo>
                  <a:lnTo>
                    <a:pt x="460" y="360"/>
                  </a:lnTo>
                  <a:lnTo>
                    <a:pt x="460" y="356"/>
                  </a:lnTo>
                  <a:lnTo>
                    <a:pt x="460" y="352"/>
                  </a:lnTo>
                  <a:lnTo>
                    <a:pt x="456" y="350"/>
                  </a:lnTo>
                  <a:lnTo>
                    <a:pt x="452" y="348"/>
                  </a:lnTo>
                  <a:lnTo>
                    <a:pt x="446" y="332"/>
                  </a:lnTo>
                  <a:lnTo>
                    <a:pt x="440" y="318"/>
                  </a:lnTo>
                  <a:lnTo>
                    <a:pt x="432" y="302"/>
                  </a:lnTo>
                  <a:lnTo>
                    <a:pt x="422" y="292"/>
                  </a:lnTo>
                  <a:lnTo>
                    <a:pt x="414" y="286"/>
                  </a:lnTo>
                  <a:lnTo>
                    <a:pt x="412" y="284"/>
                  </a:lnTo>
                  <a:lnTo>
                    <a:pt x="408" y="282"/>
                  </a:lnTo>
                  <a:lnTo>
                    <a:pt x="406" y="282"/>
                  </a:lnTo>
                  <a:lnTo>
                    <a:pt x="394" y="270"/>
                  </a:lnTo>
                  <a:lnTo>
                    <a:pt x="380" y="258"/>
                  </a:lnTo>
                  <a:lnTo>
                    <a:pt x="376" y="254"/>
                  </a:lnTo>
                  <a:lnTo>
                    <a:pt x="370" y="246"/>
                  </a:lnTo>
                  <a:lnTo>
                    <a:pt x="362" y="236"/>
                  </a:lnTo>
                  <a:lnTo>
                    <a:pt x="358" y="234"/>
                  </a:lnTo>
                  <a:lnTo>
                    <a:pt x="356" y="226"/>
                  </a:lnTo>
                  <a:lnTo>
                    <a:pt x="362" y="220"/>
                  </a:lnTo>
                  <a:lnTo>
                    <a:pt x="368" y="212"/>
                  </a:lnTo>
                  <a:lnTo>
                    <a:pt x="374" y="206"/>
                  </a:lnTo>
                  <a:lnTo>
                    <a:pt x="382" y="206"/>
                  </a:lnTo>
                  <a:lnTo>
                    <a:pt x="398" y="208"/>
                  </a:lnTo>
                  <a:lnTo>
                    <a:pt x="412" y="210"/>
                  </a:lnTo>
                  <a:lnTo>
                    <a:pt x="428" y="208"/>
                  </a:lnTo>
                  <a:lnTo>
                    <a:pt x="432" y="206"/>
                  </a:lnTo>
                  <a:lnTo>
                    <a:pt x="436" y="206"/>
                  </a:lnTo>
                  <a:lnTo>
                    <a:pt x="444" y="208"/>
                  </a:lnTo>
                  <a:lnTo>
                    <a:pt x="458" y="208"/>
                  </a:lnTo>
                  <a:lnTo>
                    <a:pt x="466" y="204"/>
                  </a:lnTo>
                  <a:lnTo>
                    <a:pt x="458" y="200"/>
                  </a:lnTo>
                  <a:lnTo>
                    <a:pt x="450" y="190"/>
                  </a:lnTo>
                  <a:lnTo>
                    <a:pt x="442" y="182"/>
                  </a:lnTo>
                  <a:lnTo>
                    <a:pt x="436" y="174"/>
                  </a:lnTo>
                  <a:lnTo>
                    <a:pt x="432" y="162"/>
                  </a:lnTo>
                  <a:lnTo>
                    <a:pt x="428" y="150"/>
                  </a:lnTo>
                  <a:lnTo>
                    <a:pt x="426" y="132"/>
                  </a:lnTo>
                  <a:lnTo>
                    <a:pt x="426" y="122"/>
                  </a:lnTo>
                  <a:lnTo>
                    <a:pt x="428" y="114"/>
                  </a:lnTo>
                  <a:lnTo>
                    <a:pt x="432" y="102"/>
                  </a:lnTo>
                  <a:lnTo>
                    <a:pt x="428" y="96"/>
                  </a:lnTo>
                  <a:lnTo>
                    <a:pt x="430" y="90"/>
                  </a:lnTo>
                  <a:lnTo>
                    <a:pt x="428" y="82"/>
                  </a:lnTo>
                  <a:lnTo>
                    <a:pt x="428" y="78"/>
                  </a:lnTo>
                  <a:lnTo>
                    <a:pt x="422" y="64"/>
                  </a:lnTo>
                  <a:lnTo>
                    <a:pt x="420" y="64"/>
                  </a:lnTo>
                  <a:lnTo>
                    <a:pt x="416" y="54"/>
                  </a:lnTo>
                  <a:lnTo>
                    <a:pt x="414" y="38"/>
                  </a:lnTo>
                  <a:lnTo>
                    <a:pt x="408" y="28"/>
                  </a:lnTo>
                  <a:lnTo>
                    <a:pt x="398" y="22"/>
                  </a:lnTo>
                  <a:lnTo>
                    <a:pt x="394" y="18"/>
                  </a:lnTo>
                  <a:lnTo>
                    <a:pt x="392" y="6"/>
                  </a:lnTo>
                  <a:lnTo>
                    <a:pt x="388" y="4"/>
                  </a:lnTo>
                  <a:lnTo>
                    <a:pt x="374" y="0"/>
                  </a:lnTo>
                  <a:lnTo>
                    <a:pt x="362" y="0"/>
                  </a:lnTo>
                  <a:lnTo>
                    <a:pt x="368" y="30"/>
                  </a:lnTo>
                  <a:lnTo>
                    <a:pt x="370" y="36"/>
                  </a:lnTo>
                  <a:lnTo>
                    <a:pt x="370" y="40"/>
                  </a:lnTo>
                  <a:lnTo>
                    <a:pt x="370" y="42"/>
                  </a:lnTo>
                  <a:lnTo>
                    <a:pt x="370" y="46"/>
                  </a:lnTo>
                  <a:lnTo>
                    <a:pt x="376" y="48"/>
                  </a:lnTo>
                  <a:lnTo>
                    <a:pt x="386" y="48"/>
                  </a:lnTo>
                  <a:lnTo>
                    <a:pt x="392" y="52"/>
                  </a:lnTo>
                  <a:lnTo>
                    <a:pt x="396" y="58"/>
                  </a:lnTo>
                  <a:lnTo>
                    <a:pt x="396" y="58"/>
                  </a:lnTo>
                  <a:lnTo>
                    <a:pt x="398" y="62"/>
                  </a:lnTo>
                  <a:lnTo>
                    <a:pt x="400" y="64"/>
                  </a:lnTo>
                  <a:lnTo>
                    <a:pt x="398" y="72"/>
                  </a:lnTo>
                  <a:lnTo>
                    <a:pt x="398" y="84"/>
                  </a:lnTo>
                  <a:lnTo>
                    <a:pt x="394" y="90"/>
                  </a:lnTo>
                  <a:lnTo>
                    <a:pt x="396" y="100"/>
                  </a:lnTo>
                  <a:lnTo>
                    <a:pt x="396" y="104"/>
                  </a:lnTo>
                  <a:lnTo>
                    <a:pt x="394" y="106"/>
                  </a:lnTo>
                  <a:lnTo>
                    <a:pt x="390" y="110"/>
                  </a:lnTo>
                  <a:lnTo>
                    <a:pt x="384" y="112"/>
                  </a:lnTo>
                  <a:lnTo>
                    <a:pt x="372" y="120"/>
                  </a:lnTo>
                  <a:lnTo>
                    <a:pt x="368" y="122"/>
                  </a:lnTo>
                  <a:lnTo>
                    <a:pt x="362" y="122"/>
                  </a:lnTo>
                  <a:lnTo>
                    <a:pt x="356" y="124"/>
                  </a:lnTo>
                  <a:lnTo>
                    <a:pt x="350" y="130"/>
                  </a:lnTo>
                  <a:lnTo>
                    <a:pt x="338" y="148"/>
                  </a:lnTo>
                  <a:lnTo>
                    <a:pt x="328" y="166"/>
                  </a:lnTo>
                  <a:lnTo>
                    <a:pt x="324" y="180"/>
                  </a:lnTo>
                  <a:lnTo>
                    <a:pt x="320" y="194"/>
                  </a:lnTo>
                  <a:lnTo>
                    <a:pt x="310" y="204"/>
                  </a:lnTo>
                  <a:lnTo>
                    <a:pt x="308" y="208"/>
                  </a:lnTo>
                  <a:lnTo>
                    <a:pt x="308" y="212"/>
                  </a:lnTo>
                  <a:lnTo>
                    <a:pt x="308" y="218"/>
                  </a:lnTo>
                  <a:lnTo>
                    <a:pt x="306" y="230"/>
                  </a:lnTo>
                  <a:lnTo>
                    <a:pt x="306" y="234"/>
                  </a:lnTo>
                  <a:lnTo>
                    <a:pt x="304" y="236"/>
                  </a:lnTo>
                  <a:lnTo>
                    <a:pt x="294" y="240"/>
                  </a:lnTo>
                  <a:lnTo>
                    <a:pt x="288" y="244"/>
                  </a:lnTo>
                  <a:lnTo>
                    <a:pt x="284" y="252"/>
                  </a:lnTo>
                  <a:lnTo>
                    <a:pt x="282" y="260"/>
                  </a:lnTo>
                  <a:lnTo>
                    <a:pt x="280" y="270"/>
                  </a:lnTo>
                  <a:lnTo>
                    <a:pt x="280" y="280"/>
                  </a:lnTo>
                  <a:lnTo>
                    <a:pt x="278" y="284"/>
                  </a:lnTo>
                  <a:lnTo>
                    <a:pt x="274" y="288"/>
                  </a:lnTo>
                  <a:lnTo>
                    <a:pt x="270" y="294"/>
                  </a:lnTo>
                  <a:lnTo>
                    <a:pt x="264" y="298"/>
                  </a:lnTo>
                  <a:lnTo>
                    <a:pt x="254" y="298"/>
                  </a:lnTo>
                  <a:lnTo>
                    <a:pt x="248" y="310"/>
                  </a:lnTo>
                  <a:lnTo>
                    <a:pt x="242" y="320"/>
                  </a:lnTo>
                  <a:lnTo>
                    <a:pt x="242" y="324"/>
                  </a:lnTo>
                  <a:lnTo>
                    <a:pt x="236" y="342"/>
                  </a:lnTo>
                  <a:lnTo>
                    <a:pt x="228" y="356"/>
                  </a:lnTo>
                  <a:lnTo>
                    <a:pt x="228" y="362"/>
                  </a:lnTo>
                  <a:lnTo>
                    <a:pt x="228" y="366"/>
                  </a:lnTo>
                  <a:lnTo>
                    <a:pt x="218" y="378"/>
                  </a:lnTo>
                  <a:lnTo>
                    <a:pt x="214" y="382"/>
                  </a:lnTo>
                  <a:lnTo>
                    <a:pt x="212" y="386"/>
                  </a:lnTo>
                  <a:lnTo>
                    <a:pt x="214" y="392"/>
                  </a:lnTo>
                  <a:lnTo>
                    <a:pt x="218" y="396"/>
                  </a:lnTo>
                  <a:lnTo>
                    <a:pt x="218" y="396"/>
                  </a:lnTo>
                  <a:lnTo>
                    <a:pt x="212" y="400"/>
                  </a:lnTo>
                  <a:lnTo>
                    <a:pt x="204" y="408"/>
                  </a:lnTo>
                  <a:lnTo>
                    <a:pt x="200" y="412"/>
                  </a:lnTo>
                  <a:lnTo>
                    <a:pt x="198" y="414"/>
                  </a:lnTo>
                  <a:lnTo>
                    <a:pt x="198" y="424"/>
                  </a:lnTo>
                  <a:lnTo>
                    <a:pt x="196" y="428"/>
                  </a:lnTo>
                  <a:lnTo>
                    <a:pt x="192" y="432"/>
                  </a:lnTo>
                  <a:lnTo>
                    <a:pt x="188" y="436"/>
                  </a:lnTo>
                  <a:lnTo>
                    <a:pt x="182" y="438"/>
                  </a:lnTo>
                  <a:lnTo>
                    <a:pt x="176" y="440"/>
                  </a:lnTo>
                  <a:lnTo>
                    <a:pt x="172" y="442"/>
                  </a:lnTo>
                  <a:lnTo>
                    <a:pt x="168" y="440"/>
                  </a:lnTo>
                  <a:lnTo>
                    <a:pt x="166" y="438"/>
                  </a:lnTo>
                  <a:lnTo>
                    <a:pt x="164" y="424"/>
                  </a:lnTo>
                  <a:lnTo>
                    <a:pt x="162" y="422"/>
                  </a:lnTo>
                  <a:lnTo>
                    <a:pt x="158" y="420"/>
                  </a:lnTo>
                  <a:lnTo>
                    <a:pt x="152" y="412"/>
                  </a:lnTo>
                  <a:lnTo>
                    <a:pt x="144" y="406"/>
                  </a:lnTo>
                  <a:lnTo>
                    <a:pt x="136" y="400"/>
                  </a:lnTo>
                  <a:lnTo>
                    <a:pt x="134" y="400"/>
                  </a:lnTo>
                  <a:lnTo>
                    <a:pt x="132" y="402"/>
                  </a:lnTo>
                  <a:lnTo>
                    <a:pt x="130" y="410"/>
                  </a:lnTo>
                  <a:lnTo>
                    <a:pt x="128" y="412"/>
                  </a:lnTo>
                  <a:lnTo>
                    <a:pt x="122" y="412"/>
                  </a:lnTo>
                  <a:lnTo>
                    <a:pt x="114" y="412"/>
                  </a:lnTo>
                  <a:lnTo>
                    <a:pt x="108" y="412"/>
                  </a:lnTo>
                  <a:lnTo>
                    <a:pt x="108" y="410"/>
                  </a:lnTo>
                  <a:lnTo>
                    <a:pt x="106" y="408"/>
                  </a:lnTo>
                  <a:lnTo>
                    <a:pt x="106" y="404"/>
                  </a:lnTo>
                  <a:lnTo>
                    <a:pt x="98" y="410"/>
                  </a:lnTo>
                  <a:lnTo>
                    <a:pt x="88" y="418"/>
                  </a:lnTo>
                  <a:lnTo>
                    <a:pt x="84" y="418"/>
                  </a:lnTo>
                  <a:lnTo>
                    <a:pt x="82" y="420"/>
                  </a:lnTo>
                  <a:lnTo>
                    <a:pt x="78" y="428"/>
                  </a:lnTo>
                  <a:lnTo>
                    <a:pt x="74" y="436"/>
                  </a:lnTo>
                  <a:lnTo>
                    <a:pt x="68" y="440"/>
                  </a:lnTo>
                  <a:lnTo>
                    <a:pt x="62" y="442"/>
                  </a:lnTo>
                  <a:lnTo>
                    <a:pt x="58" y="446"/>
                  </a:lnTo>
                  <a:lnTo>
                    <a:pt x="54" y="450"/>
                  </a:lnTo>
                  <a:lnTo>
                    <a:pt x="34" y="470"/>
                  </a:lnTo>
                  <a:lnTo>
                    <a:pt x="30" y="476"/>
                  </a:lnTo>
                  <a:lnTo>
                    <a:pt x="26" y="484"/>
                  </a:lnTo>
                  <a:lnTo>
                    <a:pt x="24" y="494"/>
                  </a:lnTo>
                  <a:lnTo>
                    <a:pt x="20" y="506"/>
                  </a:lnTo>
                  <a:lnTo>
                    <a:pt x="16" y="524"/>
                  </a:lnTo>
                  <a:lnTo>
                    <a:pt x="12" y="534"/>
                  </a:lnTo>
                  <a:lnTo>
                    <a:pt x="6" y="542"/>
                  </a:lnTo>
                  <a:lnTo>
                    <a:pt x="4" y="548"/>
                  </a:lnTo>
                  <a:lnTo>
                    <a:pt x="0" y="552"/>
                  </a:lnTo>
                  <a:lnTo>
                    <a:pt x="2" y="552"/>
                  </a:lnTo>
                  <a:lnTo>
                    <a:pt x="0" y="562"/>
                  </a:lnTo>
                  <a:lnTo>
                    <a:pt x="0" y="564"/>
                  </a:lnTo>
                  <a:lnTo>
                    <a:pt x="2" y="568"/>
                  </a:lnTo>
                  <a:lnTo>
                    <a:pt x="8" y="568"/>
                  </a:lnTo>
                  <a:lnTo>
                    <a:pt x="10" y="566"/>
                  </a:lnTo>
                  <a:lnTo>
                    <a:pt x="8" y="558"/>
                  </a:lnTo>
                  <a:lnTo>
                    <a:pt x="10" y="560"/>
                  </a:lnTo>
                  <a:lnTo>
                    <a:pt x="14" y="564"/>
                  </a:lnTo>
                  <a:lnTo>
                    <a:pt x="18" y="564"/>
                  </a:lnTo>
                  <a:lnTo>
                    <a:pt x="20" y="564"/>
                  </a:lnTo>
                  <a:lnTo>
                    <a:pt x="22" y="564"/>
                  </a:lnTo>
                  <a:lnTo>
                    <a:pt x="24" y="566"/>
                  </a:lnTo>
                  <a:lnTo>
                    <a:pt x="24" y="574"/>
                  </a:lnTo>
                  <a:lnTo>
                    <a:pt x="24" y="578"/>
                  </a:lnTo>
                  <a:lnTo>
                    <a:pt x="26" y="582"/>
                  </a:lnTo>
                  <a:lnTo>
                    <a:pt x="28" y="586"/>
                  </a:lnTo>
                  <a:lnTo>
                    <a:pt x="30" y="596"/>
                  </a:lnTo>
                  <a:lnTo>
                    <a:pt x="38" y="600"/>
                  </a:lnTo>
                  <a:lnTo>
                    <a:pt x="46" y="602"/>
                  </a:lnTo>
                  <a:lnTo>
                    <a:pt x="50" y="604"/>
                  </a:lnTo>
                  <a:lnTo>
                    <a:pt x="50" y="606"/>
                  </a:lnTo>
                  <a:lnTo>
                    <a:pt x="54" y="606"/>
                  </a:lnTo>
                  <a:lnTo>
                    <a:pt x="58" y="608"/>
                  </a:lnTo>
                  <a:lnTo>
                    <a:pt x="60" y="606"/>
                  </a:lnTo>
                  <a:lnTo>
                    <a:pt x="62" y="602"/>
                  </a:lnTo>
                  <a:lnTo>
                    <a:pt x="62" y="598"/>
                  </a:lnTo>
                  <a:lnTo>
                    <a:pt x="64" y="598"/>
                  </a:lnTo>
                  <a:lnTo>
                    <a:pt x="66" y="600"/>
                  </a:lnTo>
                  <a:lnTo>
                    <a:pt x="70" y="600"/>
                  </a:lnTo>
                  <a:lnTo>
                    <a:pt x="74" y="598"/>
                  </a:lnTo>
                  <a:lnTo>
                    <a:pt x="76" y="598"/>
                  </a:lnTo>
                  <a:lnTo>
                    <a:pt x="72" y="602"/>
                  </a:lnTo>
                  <a:lnTo>
                    <a:pt x="72" y="604"/>
                  </a:lnTo>
                  <a:lnTo>
                    <a:pt x="78" y="610"/>
                  </a:lnTo>
                  <a:lnTo>
                    <a:pt x="78" y="612"/>
                  </a:lnTo>
                  <a:lnTo>
                    <a:pt x="72" y="610"/>
                  </a:lnTo>
                  <a:lnTo>
                    <a:pt x="70" y="614"/>
                  </a:lnTo>
                  <a:lnTo>
                    <a:pt x="66" y="616"/>
                  </a:lnTo>
                  <a:lnTo>
                    <a:pt x="70" y="622"/>
                  </a:lnTo>
                  <a:lnTo>
                    <a:pt x="72" y="628"/>
                  </a:lnTo>
                  <a:lnTo>
                    <a:pt x="80" y="626"/>
                  </a:lnTo>
                  <a:lnTo>
                    <a:pt x="74" y="632"/>
                  </a:lnTo>
                  <a:lnTo>
                    <a:pt x="88" y="648"/>
                  </a:lnTo>
                  <a:lnTo>
                    <a:pt x="90" y="652"/>
                  </a:lnTo>
                  <a:lnTo>
                    <a:pt x="92" y="662"/>
                  </a:lnTo>
                  <a:lnTo>
                    <a:pt x="88" y="674"/>
                  </a:lnTo>
                  <a:lnTo>
                    <a:pt x="88" y="686"/>
                  </a:lnTo>
                  <a:lnTo>
                    <a:pt x="84" y="698"/>
                  </a:lnTo>
                  <a:lnTo>
                    <a:pt x="82" y="714"/>
                  </a:lnTo>
                  <a:lnTo>
                    <a:pt x="84" y="714"/>
                  </a:lnTo>
                  <a:lnTo>
                    <a:pt x="84" y="716"/>
                  </a:lnTo>
                  <a:lnTo>
                    <a:pt x="86" y="718"/>
                  </a:lnTo>
                  <a:lnTo>
                    <a:pt x="88" y="720"/>
                  </a:lnTo>
                  <a:lnTo>
                    <a:pt x="94" y="722"/>
                  </a:lnTo>
                  <a:lnTo>
                    <a:pt x="182" y="722"/>
                  </a:lnTo>
                  <a:lnTo>
                    <a:pt x="184" y="718"/>
                  </a:lnTo>
                  <a:lnTo>
                    <a:pt x="184" y="716"/>
                  </a:lnTo>
                  <a:lnTo>
                    <a:pt x="184" y="714"/>
                  </a:lnTo>
                  <a:lnTo>
                    <a:pt x="198" y="714"/>
                  </a:lnTo>
                  <a:lnTo>
                    <a:pt x="222" y="714"/>
                  </a:lnTo>
                  <a:lnTo>
                    <a:pt x="234" y="714"/>
                  </a:lnTo>
                  <a:lnTo>
                    <a:pt x="236" y="714"/>
                  </a:lnTo>
                  <a:lnTo>
                    <a:pt x="250" y="714"/>
                  </a:lnTo>
                  <a:lnTo>
                    <a:pt x="262" y="716"/>
                  </a:lnTo>
                  <a:lnTo>
                    <a:pt x="266" y="716"/>
                  </a:lnTo>
                  <a:lnTo>
                    <a:pt x="270" y="716"/>
                  </a:lnTo>
                  <a:lnTo>
                    <a:pt x="284" y="718"/>
                  </a:lnTo>
                  <a:lnTo>
                    <a:pt x="300" y="716"/>
                  </a:lnTo>
                  <a:lnTo>
                    <a:pt x="306" y="716"/>
                  </a:lnTo>
                  <a:lnTo>
                    <a:pt x="310" y="718"/>
                  </a:lnTo>
                  <a:lnTo>
                    <a:pt x="312" y="722"/>
                  </a:lnTo>
                  <a:lnTo>
                    <a:pt x="328" y="722"/>
                  </a:lnTo>
                  <a:lnTo>
                    <a:pt x="376" y="722"/>
                  </a:lnTo>
                  <a:lnTo>
                    <a:pt x="390" y="724"/>
                  </a:lnTo>
                  <a:lnTo>
                    <a:pt x="396" y="720"/>
                  </a:lnTo>
                  <a:lnTo>
                    <a:pt x="402" y="724"/>
                  </a:lnTo>
                  <a:lnTo>
                    <a:pt x="404" y="726"/>
                  </a:lnTo>
                  <a:lnTo>
                    <a:pt x="406" y="726"/>
                  </a:lnTo>
                  <a:lnTo>
                    <a:pt x="408" y="728"/>
                  </a:lnTo>
                  <a:lnTo>
                    <a:pt x="416" y="728"/>
                  </a:lnTo>
                  <a:lnTo>
                    <a:pt x="416" y="728"/>
                  </a:lnTo>
                  <a:lnTo>
                    <a:pt x="418" y="732"/>
                  </a:lnTo>
                  <a:lnTo>
                    <a:pt x="424" y="732"/>
                  </a:lnTo>
                  <a:lnTo>
                    <a:pt x="428" y="734"/>
                  </a:lnTo>
                  <a:lnTo>
                    <a:pt x="430" y="734"/>
                  </a:lnTo>
                  <a:lnTo>
                    <a:pt x="434" y="730"/>
                  </a:lnTo>
                  <a:lnTo>
                    <a:pt x="436" y="732"/>
                  </a:lnTo>
                  <a:lnTo>
                    <a:pt x="442" y="734"/>
                  </a:lnTo>
                  <a:lnTo>
                    <a:pt x="446" y="736"/>
                  </a:lnTo>
                  <a:lnTo>
                    <a:pt x="450" y="736"/>
                  </a:lnTo>
                  <a:lnTo>
                    <a:pt x="462" y="736"/>
                  </a:lnTo>
                  <a:lnTo>
                    <a:pt x="472" y="738"/>
                  </a:lnTo>
                  <a:lnTo>
                    <a:pt x="482" y="746"/>
                  </a:lnTo>
                  <a:lnTo>
                    <a:pt x="488" y="750"/>
                  </a:lnTo>
                  <a:lnTo>
                    <a:pt x="492" y="754"/>
                  </a:lnTo>
                  <a:lnTo>
                    <a:pt x="494" y="754"/>
                  </a:lnTo>
                  <a:lnTo>
                    <a:pt x="496" y="752"/>
                  </a:lnTo>
                  <a:lnTo>
                    <a:pt x="498" y="752"/>
                  </a:lnTo>
                  <a:lnTo>
                    <a:pt x="498" y="746"/>
                  </a:lnTo>
                  <a:lnTo>
                    <a:pt x="494" y="738"/>
                  </a:lnTo>
                  <a:lnTo>
                    <a:pt x="494" y="732"/>
                  </a:lnTo>
                  <a:lnTo>
                    <a:pt x="494" y="726"/>
                  </a:lnTo>
                  <a:lnTo>
                    <a:pt x="496" y="722"/>
                  </a:lnTo>
                  <a:lnTo>
                    <a:pt x="500" y="720"/>
                  </a:lnTo>
                  <a:lnTo>
                    <a:pt x="500" y="716"/>
                  </a:lnTo>
                  <a:lnTo>
                    <a:pt x="500" y="716"/>
                  </a:lnTo>
                  <a:lnTo>
                    <a:pt x="498" y="710"/>
                  </a:lnTo>
                  <a:lnTo>
                    <a:pt x="496" y="702"/>
                  </a:lnTo>
                  <a:lnTo>
                    <a:pt x="496" y="694"/>
                  </a:lnTo>
                  <a:lnTo>
                    <a:pt x="496" y="692"/>
                  </a:lnTo>
                  <a:lnTo>
                    <a:pt x="494" y="690"/>
                  </a:lnTo>
                  <a:lnTo>
                    <a:pt x="494" y="688"/>
                  </a:lnTo>
                  <a:lnTo>
                    <a:pt x="492" y="682"/>
                  </a:lnTo>
                  <a:lnTo>
                    <a:pt x="494" y="678"/>
                  </a:lnTo>
                  <a:lnTo>
                    <a:pt x="494" y="674"/>
                  </a:lnTo>
                  <a:lnTo>
                    <a:pt x="490" y="670"/>
                  </a:lnTo>
                  <a:lnTo>
                    <a:pt x="486" y="666"/>
                  </a:lnTo>
                  <a:lnTo>
                    <a:pt x="484" y="662"/>
                  </a:lnTo>
                  <a:lnTo>
                    <a:pt x="482" y="662"/>
                  </a:lnTo>
                  <a:lnTo>
                    <a:pt x="478" y="662"/>
                  </a:lnTo>
                  <a:lnTo>
                    <a:pt x="474" y="660"/>
                  </a:lnTo>
                  <a:lnTo>
                    <a:pt x="468" y="652"/>
                  </a:lnTo>
                  <a:lnTo>
                    <a:pt x="462" y="646"/>
                  </a:lnTo>
                  <a:lnTo>
                    <a:pt x="454" y="638"/>
                  </a:lnTo>
                  <a:lnTo>
                    <a:pt x="448" y="630"/>
                  </a:lnTo>
                  <a:lnTo>
                    <a:pt x="440" y="622"/>
                  </a:lnTo>
                  <a:lnTo>
                    <a:pt x="432" y="614"/>
                  </a:lnTo>
                  <a:lnTo>
                    <a:pt x="428" y="606"/>
                  </a:lnTo>
                  <a:lnTo>
                    <a:pt x="426" y="602"/>
                  </a:lnTo>
                  <a:lnTo>
                    <a:pt x="428" y="600"/>
                  </a:lnTo>
                  <a:lnTo>
                    <a:pt x="432" y="600"/>
                  </a:lnTo>
                  <a:lnTo>
                    <a:pt x="432" y="600"/>
                  </a:lnTo>
                  <a:lnTo>
                    <a:pt x="432" y="598"/>
                  </a:lnTo>
                  <a:lnTo>
                    <a:pt x="430" y="592"/>
                  </a:lnTo>
                  <a:lnTo>
                    <a:pt x="428" y="584"/>
                  </a:lnTo>
                  <a:lnTo>
                    <a:pt x="424" y="578"/>
                  </a:lnTo>
                  <a:lnTo>
                    <a:pt x="416" y="572"/>
                  </a:lnTo>
                  <a:lnTo>
                    <a:pt x="408" y="566"/>
                  </a:lnTo>
                  <a:lnTo>
                    <a:pt x="406" y="562"/>
                  </a:lnTo>
                  <a:lnTo>
                    <a:pt x="404" y="558"/>
                  </a:lnTo>
                  <a:lnTo>
                    <a:pt x="402" y="532"/>
                  </a:lnTo>
                  <a:lnTo>
                    <a:pt x="400" y="524"/>
                  </a:lnTo>
                  <a:lnTo>
                    <a:pt x="398" y="522"/>
                  </a:lnTo>
                  <a:lnTo>
                    <a:pt x="396" y="520"/>
                  </a:lnTo>
                  <a:lnTo>
                    <a:pt x="394" y="518"/>
                  </a:lnTo>
                  <a:lnTo>
                    <a:pt x="396" y="514"/>
                  </a:lnTo>
                  <a:lnTo>
                    <a:pt x="396" y="508"/>
                  </a:lnTo>
                  <a:lnTo>
                    <a:pt x="396" y="508"/>
                  </a:lnTo>
                  <a:lnTo>
                    <a:pt x="398" y="504"/>
                  </a:lnTo>
                  <a:lnTo>
                    <a:pt x="398" y="480"/>
                  </a:lnTo>
                  <a:lnTo>
                    <a:pt x="398" y="478"/>
                  </a:lnTo>
                  <a:lnTo>
                    <a:pt x="396" y="476"/>
                  </a:lnTo>
                  <a:lnTo>
                    <a:pt x="394" y="476"/>
                  </a:lnTo>
                  <a:lnTo>
                    <a:pt x="390" y="476"/>
                  </a:lnTo>
                  <a:lnTo>
                    <a:pt x="388" y="472"/>
                  </a:lnTo>
                  <a:lnTo>
                    <a:pt x="386" y="468"/>
                  </a:lnTo>
                  <a:lnTo>
                    <a:pt x="386" y="464"/>
                  </a:lnTo>
                  <a:lnTo>
                    <a:pt x="390" y="462"/>
                  </a:lnTo>
                  <a:lnTo>
                    <a:pt x="392" y="460"/>
                  </a:lnTo>
                  <a:lnTo>
                    <a:pt x="394" y="458"/>
                  </a:lnTo>
                  <a:lnTo>
                    <a:pt x="404" y="454"/>
                  </a:lnTo>
                  <a:lnTo>
                    <a:pt x="406" y="452"/>
                  </a:lnTo>
                  <a:lnTo>
                    <a:pt x="408" y="450"/>
                  </a:lnTo>
                  <a:lnTo>
                    <a:pt x="410" y="446"/>
                  </a:lnTo>
                  <a:lnTo>
                    <a:pt x="414" y="434"/>
                  </a:lnTo>
                  <a:lnTo>
                    <a:pt x="422" y="422"/>
                  </a:lnTo>
                  <a:lnTo>
                    <a:pt x="426" y="418"/>
                  </a:lnTo>
                  <a:lnTo>
                    <a:pt x="428" y="410"/>
                  </a:lnTo>
                  <a:lnTo>
                    <a:pt x="434" y="400"/>
                  </a:lnTo>
                  <a:lnTo>
                    <a:pt x="436" y="396"/>
                  </a:lnTo>
                  <a:lnTo>
                    <a:pt x="438" y="390"/>
                  </a:lnTo>
                  <a:lnTo>
                    <a:pt x="440" y="386"/>
                  </a:lnTo>
                  <a:lnTo>
                    <a:pt x="448" y="380"/>
                  </a:lnTo>
                  <a:lnTo>
                    <a:pt x="456" y="37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5" name="Google Shape;4532;p64">
              <a:extLst>
                <a:ext uri="{FF2B5EF4-FFF2-40B4-BE49-F238E27FC236}">
                  <a16:creationId xmlns:a16="http://schemas.microsoft.com/office/drawing/2014/main" id="{CBB7EF82-C45A-28D8-C1F4-975DEC983076}"/>
                </a:ext>
              </a:extLst>
            </p:cNvPr>
            <p:cNvSpPr/>
            <p:nvPr/>
          </p:nvSpPr>
          <p:spPr>
            <a:xfrm>
              <a:off x="4787492" y="4875251"/>
              <a:ext cx="410197" cy="405931"/>
            </a:xfrm>
            <a:custGeom>
              <a:avLst/>
              <a:gdLst/>
              <a:ahLst/>
              <a:cxnLst/>
              <a:rect l="l" t="t" r="r" b="b"/>
              <a:pathLst>
                <a:path w="1250" h="1237" extrusionOk="0">
                  <a:moveTo>
                    <a:pt x="996" y="14"/>
                  </a:moveTo>
                  <a:lnTo>
                    <a:pt x="978" y="8"/>
                  </a:lnTo>
                  <a:lnTo>
                    <a:pt x="974" y="8"/>
                  </a:lnTo>
                  <a:lnTo>
                    <a:pt x="972" y="8"/>
                  </a:lnTo>
                  <a:lnTo>
                    <a:pt x="962" y="16"/>
                  </a:lnTo>
                  <a:lnTo>
                    <a:pt x="958" y="16"/>
                  </a:lnTo>
                  <a:lnTo>
                    <a:pt x="954" y="16"/>
                  </a:lnTo>
                  <a:lnTo>
                    <a:pt x="946" y="14"/>
                  </a:lnTo>
                  <a:lnTo>
                    <a:pt x="916" y="8"/>
                  </a:lnTo>
                  <a:lnTo>
                    <a:pt x="892" y="4"/>
                  </a:lnTo>
                  <a:lnTo>
                    <a:pt x="886" y="2"/>
                  </a:lnTo>
                  <a:lnTo>
                    <a:pt x="874" y="0"/>
                  </a:lnTo>
                  <a:lnTo>
                    <a:pt x="866" y="4"/>
                  </a:lnTo>
                  <a:lnTo>
                    <a:pt x="858" y="16"/>
                  </a:lnTo>
                  <a:lnTo>
                    <a:pt x="856" y="18"/>
                  </a:lnTo>
                  <a:lnTo>
                    <a:pt x="844" y="22"/>
                  </a:lnTo>
                  <a:lnTo>
                    <a:pt x="838" y="22"/>
                  </a:lnTo>
                  <a:lnTo>
                    <a:pt x="824" y="24"/>
                  </a:lnTo>
                  <a:lnTo>
                    <a:pt x="802" y="20"/>
                  </a:lnTo>
                  <a:lnTo>
                    <a:pt x="794" y="20"/>
                  </a:lnTo>
                  <a:lnTo>
                    <a:pt x="788" y="24"/>
                  </a:lnTo>
                  <a:lnTo>
                    <a:pt x="774" y="30"/>
                  </a:lnTo>
                  <a:lnTo>
                    <a:pt x="764" y="32"/>
                  </a:lnTo>
                  <a:lnTo>
                    <a:pt x="752" y="36"/>
                  </a:lnTo>
                  <a:lnTo>
                    <a:pt x="742" y="40"/>
                  </a:lnTo>
                  <a:lnTo>
                    <a:pt x="736" y="42"/>
                  </a:lnTo>
                  <a:lnTo>
                    <a:pt x="728" y="42"/>
                  </a:lnTo>
                  <a:lnTo>
                    <a:pt x="722" y="40"/>
                  </a:lnTo>
                  <a:lnTo>
                    <a:pt x="716" y="38"/>
                  </a:lnTo>
                  <a:lnTo>
                    <a:pt x="708" y="38"/>
                  </a:lnTo>
                  <a:lnTo>
                    <a:pt x="700" y="38"/>
                  </a:lnTo>
                  <a:lnTo>
                    <a:pt x="692" y="44"/>
                  </a:lnTo>
                  <a:lnTo>
                    <a:pt x="688" y="48"/>
                  </a:lnTo>
                  <a:lnTo>
                    <a:pt x="682" y="56"/>
                  </a:lnTo>
                  <a:lnTo>
                    <a:pt x="676" y="72"/>
                  </a:lnTo>
                  <a:lnTo>
                    <a:pt x="672" y="76"/>
                  </a:lnTo>
                  <a:lnTo>
                    <a:pt x="672" y="76"/>
                  </a:lnTo>
                  <a:lnTo>
                    <a:pt x="670" y="78"/>
                  </a:lnTo>
                  <a:lnTo>
                    <a:pt x="636" y="70"/>
                  </a:lnTo>
                  <a:lnTo>
                    <a:pt x="622" y="68"/>
                  </a:lnTo>
                  <a:lnTo>
                    <a:pt x="612" y="70"/>
                  </a:lnTo>
                  <a:lnTo>
                    <a:pt x="600" y="66"/>
                  </a:lnTo>
                  <a:lnTo>
                    <a:pt x="594" y="64"/>
                  </a:lnTo>
                  <a:lnTo>
                    <a:pt x="592" y="66"/>
                  </a:lnTo>
                  <a:lnTo>
                    <a:pt x="586" y="64"/>
                  </a:lnTo>
                  <a:lnTo>
                    <a:pt x="574" y="58"/>
                  </a:lnTo>
                  <a:lnTo>
                    <a:pt x="564" y="56"/>
                  </a:lnTo>
                  <a:lnTo>
                    <a:pt x="554" y="58"/>
                  </a:lnTo>
                  <a:lnTo>
                    <a:pt x="548" y="56"/>
                  </a:lnTo>
                  <a:lnTo>
                    <a:pt x="544" y="50"/>
                  </a:lnTo>
                  <a:lnTo>
                    <a:pt x="538" y="40"/>
                  </a:lnTo>
                  <a:lnTo>
                    <a:pt x="526" y="32"/>
                  </a:lnTo>
                  <a:lnTo>
                    <a:pt x="512" y="24"/>
                  </a:lnTo>
                  <a:lnTo>
                    <a:pt x="502" y="18"/>
                  </a:lnTo>
                  <a:lnTo>
                    <a:pt x="498" y="14"/>
                  </a:lnTo>
                  <a:lnTo>
                    <a:pt x="490" y="12"/>
                  </a:lnTo>
                  <a:lnTo>
                    <a:pt x="478" y="12"/>
                  </a:lnTo>
                  <a:lnTo>
                    <a:pt x="466" y="16"/>
                  </a:lnTo>
                  <a:lnTo>
                    <a:pt x="450" y="28"/>
                  </a:lnTo>
                  <a:lnTo>
                    <a:pt x="434" y="52"/>
                  </a:lnTo>
                  <a:lnTo>
                    <a:pt x="426" y="62"/>
                  </a:lnTo>
                  <a:lnTo>
                    <a:pt x="418" y="64"/>
                  </a:lnTo>
                  <a:lnTo>
                    <a:pt x="418" y="70"/>
                  </a:lnTo>
                  <a:lnTo>
                    <a:pt x="420" y="78"/>
                  </a:lnTo>
                  <a:lnTo>
                    <a:pt x="422" y="90"/>
                  </a:lnTo>
                  <a:lnTo>
                    <a:pt x="420" y="108"/>
                  </a:lnTo>
                  <a:lnTo>
                    <a:pt x="420" y="120"/>
                  </a:lnTo>
                  <a:lnTo>
                    <a:pt x="420" y="132"/>
                  </a:lnTo>
                  <a:lnTo>
                    <a:pt x="416" y="146"/>
                  </a:lnTo>
                  <a:lnTo>
                    <a:pt x="412" y="156"/>
                  </a:lnTo>
                  <a:lnTo>
                    <a:pt x="402" y="174"/>
                  </a:lnTo>
                  <a:lnTo>
                    <a:pt x="394" y="190"/>
                  </a:lnTo>
                  <a:lnTo>
                    <a:pt x="384" y="216"/>
                  </a:lnTo>
                  <a:lnTo>
                    <a:pt x="384" y="236"/>
                  </a:lnTo>
                  <a:lnTo>
                    <a:pt x="384" y="248"/>
                  </a:lnTo>
                  <a:lnTo>
                    <a:pt x="380" y="256"/>
                  </a:lnTo>
                  <a:lnTo>
                    <a:pt x="374" y="276"/>
                  </a:lnTo>
                  <a:lnTo>
                    <a:pt x="372" y="292"/>
                  </a:lnTo>
                  <a:lnTo>
                    <a:pt x="376" y="314"/>
                  </a:lnTo>
                  <a:lnTo>
                    <a:pt x="372" y="334"/>
                  </a:lnTo>
                  <a:lnTo>
                    <a:pt x="366" y="352"/>
                  </a:lnTo>
                  <a:lnTo>
                    <a:pt x="362" y="366"/>
                  </a:lnTo>
                  <a:lnTo>
                    <a:pt x="364" y="384"/>
                  </a:lnTo>
                  <a:lnTo>
                    <a:pt x="350" y="400"/>
                  </a:lnTo>
                  <a:lnTo>
                    <a:pt x="332" y="414"/>
                  </a:lnTo>
                  <a:lnTo>
                    <a:pt x="322" y="418"/>
                  </a:lnTo>
                  <a:lnTo>
                    <a:pt x="314" y="424"/>
                  </a:lnTo>
                  <a:lnTo>
                    <a:pt x="306" y="430"/>
                  </a:lnTo>
                  <a:lnTo>
                    <a:pt x="304" y="432"/>
                  </a:lnTo>
                  <a:lnTo>
                    <a:pt x="300" y="438"/>
                  </a:lnTo>
                  <a:lnTo>
                    <a:pt x="290" y="460"/>
                  </a:lnTo>
                  <a:lnTo>
                    <a:pt x="284" y="470"/>
                  </a:lnTo>
                  <a:lnTo>
                    <a:pt x="278" y="478"/>
                  </a:lnTo>
                  <a:lnTo>
                    <a:pt x="266" y="486"/>
                  </a:lnTo>
                  <a:lnTo>
                    <a:pt x="264" y="492"/>
                  </a:lnTo>
                  <a:lnTo>
                    <a:pt x="262" y="498"/>
                  </a:lnTo>
                  <a:lnTo>
                    <a:pt x="262" y="510"/>
                  </a:lnTo>
                  <a:lnTo>
                    <a:pt x="264" y="548"/>
                  </a:lnTo>
                  <a:lnTo>
                    <a:pt x="258" y="576"/>
                  </a:lnTo>
                  <a:lnTo>
                    <a:pt x="248" y="596"/>
                  </a:lnTo>
                  <a:lnTo>
                    <a:pt x="240" y="606"/>
                  </a:lnTo>
                  <a:lnTo>
                    <a:pt x="232" y="610"/>
                  </a:lnTo>
                  <a:lnTo>
                    <a:pt x="222" y="614"/>
                  </a:lnTo>
                  <a:lnTo>
                    <a:pt x="218" y="616"/>
                  </a:lnTo>
                  <a:lnTo>
                    <a:pt x="216" y="622"/>
                  </a:lnTo>
                  <a:lnTo>
                    <a:pt x="210" y="628"/>
                  </a:lnTo>
                  <a:lnTo>
                    <a:pt x="200" y="632"/>
                  </a:lnTo>
                  <a:lnTo>
                    <a:pt x="190" y="642"/>
                  </a:lnTo>
                  <a:lnTo>
                    <a:pt x="178" y="658"/>
                  </a:lnTo>
                  <a:lnTo>
                    <a:pt x="168" y="666"/>
                  </a:lnTo>
                  <a:lnTo>
                    <a:pt x="164" y="670"/>
                  </a:lnTo>
                  <a:lnTo>
                    <a:pt x="160" y="670"/>
                  </a:lnTo>
                  <a:lnTo>
                    <a:pt x="154" y="668"/>
                  </a:lnTo>
                  <a:lnTo>
                    <a:pt x="150" y="666"/>
                  </a:lnTo>
                  <a:lnTo>
                    <a:pt x="148" y="668"/>
                  </a:lnTo>
                  <a:lnTo>
                    <a:pt x="146" y="668"/>
                  </a:lnTo>
                  <a:lnTo>
                    <a:pt x="144" y="666"/>
                  </a:lnTo>
                  <a:lnTo>
                    <a:pt x="144" y="662"/>
                  </a:lnTo>
                  <a:lnTo>
                    <a:pt x="144" y="656"/>
                  </a:lnTo>
                  <a:lnTo>
                    <a:pt x="142" y="650"/>
                  </a:lnTo>
                  <a:lnTo>
                    <a:pt x="144" y="644"/>
                  </a:lnTo>
                  <a:lnTo>
                    <a:pt x="148" y="640"/>
                  </a:lnTo>
                  <a:lnTo>
                    <a:pt x="146" y="638"/>
                  </a:lnTo>
                  <a:lnTo>
                    <a:pt x="144" y="636"/>
                  </a:lnTo>
                  <a:lnTo>
                    <a:pt x="142" y="630"/>
                  </a:lnTo>
                  <a:lnTo>
                    <a:pt x="138" y="630"/>
                  </a:lnTo>
                  <a:lnTo>
                    <a:pt x="132" y="634"/>
                  </a:lnTo>
                  <a:lnTo>
                    <a:pt x="126" y="638"/>
                  </a:lnTo>
                  <a:lnTo>
                    <a:pt x="120" y="638"/>
                  </a:lnTo>
                  <a:lnTo>
                    <a:pt x="116" y="642"/>
                  </a:lnTo>
                  <a:lnTo>
                    <a:pt x="114" y="642"/>
                  </a:lnTo>
                  <a:lnTo>
                    <a:pt x="110" y="642"/>
                  </a:lnTo>
                  <a:lnTo>
                    <a:pt x="108" y="642"/>
                  </a:lnTo>
                  <a:lnTo>
                    <a:pt x="104" y="640"/>
                  </a:lnTo>
                  <a:lnTo>
                    <a:pt x="100" y="640"/>
                  </a:lnTo>
                  <a:lnTo>
                    <a:pt x="100" y="640"/>
                  </a:lnTo>
                  <a:lnTo>
                    <a:pt x="98" y="646"/>
                  </a:lnTo>
                  <a:lnTo>
                    <a:pt x="98" y="652"/>
                  </a:lnTo>
                  <a:lnTo>
                    <a:pt x="98" y="656"/>
                  </a:lnTo>
                  <a:lnTo>
                    <a:pt x="96" y="658"/>
                  </a:lnTo>
                  <a:lnTo>
                    <a:pt x="88" y="660"/>
                  </a:lnTo>
                  <a:lnTo>
                    <a:pt x="84" y="664"/>
                  </a:lnTo>
                  <a:lnTo>
                    <a:pt x="80" y="666"/>
                  </a:lnTo>
                  <a:lnTo>
                    <a:pt x="78" y="666"/>
                  </a:lnTo>
                  <a:lnTo>
                    <a:pt x="72" y="662"/>
                  </a:lnTo>
                  <a:lnTo>
                    <a:pt x="66" y="658"/>
                  </a:lnTo>
                  <a:lnTo>
                    <a:pt x="64" y="654"/>
                  </a:lnTo>
                  <a:lnTo>
                    <a:pt x="62" y="652"/>
                  </a:lnTo>
                  <a:lnTo>
                    <a:pt x="62" y="650"/>
                  </a:lnTo>
                  <a:lnTo>
                    <a:pt x="58" y="650"/>
                  </a:lnTo>
                  <a:lnTo>
                    <a:pt x="56" y="652"/>
                  </a:lnTo>
                  <a:lnTo>
                    <a:pt x="56" y="654"/>
                  </a:lnTo>
                  <a:lnTo>
                    <a:pt x="48" y="656"/>
                  </a:lnTo>
                  <a:lnTo>
                    <a:pt x="42" y="660"/>
                  </a:lnTo>
                  <a:lnTo>
                    <a:pt x="30" y="670"/>
                  </a:lnTo>
                  <a:lnTo>
                    <a:pt x="26" y="676"/>
                  </a:lnTo>
                  <a:lnTo>
                    <a:pt x="24" y="676"/>
                  </a:lnTo>
                  <a:lnTo>
                    <a:pt x="20" y="680"/>
                  </a:lnTo>
                  <a:lnTo>
                    <a:pt x="16" y="682"/>
                  </a:lnTo>
                  <a:lnTo>
                    <a:pt x="16" y="682"/>
                  </a:lnTo>
                  <a:lnTo>
                    <a:pt x="18" y="684"/>
                  </a:lnTo>
                  <a:lnTo>
                    <a:pt x="22" y="686"/>
                  </a:lnTo>
                  <a:lnTo>
                    <a:pt x="20" y="704"/>
                  </a:lnTo>
                  <a:lnTo>
                    <a:pt x="20" y="722"/>
                  </a:lnTo>
                  <a:lnTo>
                    <a:pt x="18" y="724"/>
                  </a:lnTo>
                  <a:lnTo>
                    <a:pt x="12" y="724"/>
                  </a:lnTo>
                  <a:lnTo>
                    <a:pt x="4" y="726"/>
                  </a:lnTo>
                  <a:lnTo>
                    <a:pt x="0" y="726"/>
                  </a:lnTo>
                  <a:lnTo>
                    <a:pt x="2" y="730"/>
                  </a:lnTo>
                  <a:lnTo>
                    <a:pt x="8" y="736"/>
                  </a:lnTo>
                  <a:lnTo>
                    <a:pt x="14" y="742"/>
                  </a:lnTo>
                  <a:lnTo>
                    <a:pt x="16" y="742"/>
                  </a:lnTo>
                  <a:lnTo>
                    <a:pt x="20" y="742"/>
                  </a:lnTo>
                  <a:lnTo>
                    <a:pt x="32" y="740"/>
                  </a:lnTo>
                  <a:lnTo>
                    <a:pt x="38" y="734"/>
                  </a:lnTo>
                  <a:lnTo>
                    <a:pt x="44" y="732"/>
                  </a:lnTo>
                  <a:lnTo>
                    <a:pt x="52" y="732"/>
                  </a:lnTo>
                  <a:lnTo>
                    <a:pt x="56" y="734"/>
                  </a:lnTo>
                  <a:lnTo>
                    <a:pt x="64" y="732"/>
                  </a:lnTo>
                  <a:lnTo>
                    <a:pt x="72" y="734"/>
                  </a:lnTo>
                  <a:lnTo>
                    <a:pt x="76" y="734"/>
                  </a:lnTo>
                  <a:lnTo>
                    <a:pt x="94" y="734"/>
                  </a:lnTo>
                  <a:lnTo>
                    <a:pt x="102" y="732"/>
                  </a:lnTo>
                  <a:lnTo>
                    <a:pt x="116" y="734"/>
                  </a:lnTo>
                  <a:lnTo>
                    <a:pt x="126" y="734"/>
                  </a:lnTo>
                  <a:lnTo>
                    <a:pt x="130" y="734"/>
                  </a:lnTo>
                  <a:lnTo>
                    <a:pt x="144" y="736"/>
                  </a:lnTo>
                  <a:lnTo>
                    <a:pt x="162" y="736"/>
                  </a:lnTo>
                  <a:lnTo>
                    <a:pt x="168" y="734"/>
                  </a:lnTo>
                  <a:lnTo>
                    <a:pt x="190" y="734"/>
                  </a:lnTo>
                  <a:lnTo>
                    <a:pt x="212" y="734"/>
                  </a:lnTo>
                  <a:lnTo>
                    <a:pt x="232" y="734"/>
                  </a:lnTo>
                  <a:lnTo>
                    <a:pt x="252" y="734"/>
                  </a:lnTo>
                  <a:lnTo>
                    <a:pt x="270" y="734"/>
                  </a:lnTo>
                  <a:lnTo>
                    <a:pt x="278" y="736"/>
                  </a:lnTo>
                  <a:lnTo>
                    <a:pt x="284" y="740"/>
                  </a:lnTo>
                  <a:lnTo>
                    <a:pt x="288" y="744"/>
                  </a:lnTo>
                  <a:lnTo>
                    <a:pt x="288" y="746"/>
                  </a:lnTo>
                  <a:lnTo>
                    <a:pt x="290" y="750"/>
                  </a:lnTo>
                  <a:lnTo>
                    <a:pt x="294" y="754"/>
                  </a:lnTo>
                  <a:lnTo>
                    <a:pt x="296" y="758"/>
                  </a:lnTo>
                  <a:lnTo>
                    <a:pt x="294" y="766"/>
                  </a:lnTo>
                  <a:lnTo>
                    <a:pt x="296" y="774"/>
                  </a:lnTo>
                  <a:lnTo>
                    <a:pt x="298" y="784"/>
                  </a:lnTo>
                  <a:lnTo>
                    <a:pt x="302" y="794"/>
                  </a:lnTo>
                  <a:lnTo>
                    <a:pt x="310" y="804"/>
                  </a:lnTo>
                  <a:lnTo>
                    <a:pt x="312" y="812"/>
                  </a:lnTo>
                  <a:lnTo>
                    <a:pt x="312" y="818"/>
                  </a:lnTo>
                  <a:lnTo>
                    <a:pt x="314" y="826"/>
                  </a:lnTo>
                  <a:lnTo>
                    <a:pt x="318" y="832"/>
                  </a:lnTo>
                  <a:lnTo>
                    <a:pt x="322" y="836"/>
                  </a:lnTo>
                  <a:lnTo>
                    <a:pt x="324" y="838"/>
                  </a:lnTo>
                  <a:lnTo>
                    <a:pt x="330" y="850"/>
                  </a:lnTo>
                  <a:lnTo>
                    <a:pt x="342" y="866"/>
                  </a:lnTo>
                  <a:lnTo>
                    <a:pt x="350" y="880"/>
                  </a:lnTo>
                  <a:lnTo>
                    <a:pt x="352" y="882"/>
                  </a:lnTo>
                  <a:lnTo>
                    <a:pt x="356" y="880"/>
                  </a:lnTo>
                  <a:lnTo>
                    <a:pt x="366" y="880"/>
                  </a:lnTo>
                  <a:lnTo>
                    <a:pt x="374" y="880"/>
                  </a:lnTo>
                  <a:lnTo>
                    <a:pt x="380" y="882"/>
                  </a:lnTo>
                  <a:lnTo>
                    <a:pt x="384" y="882"/>
                  </a:lnTo>
                  <a:lnTo>
                    <a:pt x="392" y="876"/>
                  </a:lnTo>
                  <a:lnTo>
                    <a:pt x="402" y="874"/>
                  </a:lnTo>
                  <a:lnTo>
                    <a:pt x="412" y="872"/>
                  </a:lnTo>
                  <a:lnTo>
                    <a:pt x="416" y="870"/>
                  </a:lnTo>
                  <a:lnTo>
                    <a:pt x="422" y="870"/>
                  </a:lnTo>
                  <a:lnTo>
                    <a:pt x="440" y="874"/>
                  </a:lnTo>
                  <a:lnTo>
                    <a:pt x="442" y="874"/>
                  </a:lnTo>
                  <a:lnTo>
                    <a:pt x="456" y="874"/>
                  </a:lnTo>
                  <a:lnTo>
                    <a:pt x="468" y="872"/>
                  </a:lnTo>
                  <a:lnTo>
                    <a:pt x="470" y="856"/>
                  </a:lnTo>
                  <a:lnTo>
                    <a:pt x="470" y="852"/>
                  </a:lnTo>
                  <a:lnTo>
                    <a:pt x="474" y="846"/>
                  </a:lnTo>
                  <a:lnTo>
                    <a:pt x="478" y="840"/>
                  </a:lnTo>
                  <a:lnTo>
                    <a:pt x="478" y="834"/>
                  </a:lnTo>
                  <a:lnTo>
                    <a:pt x="478" y="828"/>
                  </a:lnTo>
                  <a:lnTo>
                    <a:pt x="480" y="818"/>
                  </a:lnTo>
                  <a:lnTo>
                    <a:pt x="488" y="812"/>
                  </a:lnTo>
                  <a:lnTo>
                    <a:pt x="504" y="808"/>
                  </a:lnTo>
                  <a:lnTo>
                    <a:pt x="512" y="806"/>
                  </a:lnTo>
                  <a:lnTo>
                    <a:pt x="524" y="804"/>
                  </a:lnTo>
                  <a:lnTo>
                    <a:pt x="542" y="804"/>
                  </a:lnTo>
                  <a:lnTo>
                    <a:pt x="550" y="804"/>
                  </a:lnTo>
                  <a:lnTo>
                    <a:pt x="550" y="804"/>
                  </a:lnTo>
                  <a:lnTo>
                    <a:pt x="546" y="816"/>
                  </a:lnTo>
                  <a:lnTo>
                    <a:pt x="546" y="820"/>
                  </a:lnTo>
                  <a:lnTo>
                    <a:pt x="548" y="824"/>
                  </a:lnTo>
                  <a:lnTo>
                    <a:pt x="550" y="826"/>
                  </a:lnTo>
                  <a:lnTo>
                    <a:pt x="570" y="828"/>
                  </a:lnTo>
                  <a:lnTo>
                    <a:pt x="590" y="828"/>
                  </a:lnTo>
                  <a:lnTo>
                    <a:pt x="610" y="828"/>
                  </a:lnTo>
                  <a:lnTo>
                    <a:pt x="626" y="828"/>
                  </a:lnTo>
                  <a:lnTo>
                    <a:pt x="628" y="830"/>
                  </a:lnTo>
                  <a:lnTo>
                    <a:pt x="630" y="830"/>
                  </a:lnTo>
                  <a:lnTo>
                    <a:pt x="632" y="836"/>
                  </a:lnTo>
                  <a:lnTo>
                    <a:pt x="632" y="848"/>
                  </a:lnTo>
                  <a:lnTo>
                    <a:pt x="628" y="866"/>
                  </a:lnTo>
                  <a:lnTo>
                    <a:pt x="630" y="882"/>
                  </a:lnTo>
                  <a:lnTo>
                    <a:pt x="636" y="898"/>
                  </a:lnTo>
                  <a:lnTo>
                    <a:pt x="636" y="920"/>
                  </a:lnTo>
                  <a:lnTo>
                    <a:pt x="634" y="934"/>
                  </a:lnTo>
                  <a:lnTo>
                    <a:pt x="632" y="952"/>
                  </a:lnTo>
                  <a:lnTo>
                    <a:pt x="630" y="972"/>
                  </a:lnTo>
                  <a:lnTo>
                    <a:pt x="632" y="980"/>
                  </a:lnTo>
                  <a:lnTo>
                    <a:pt x="638" y="990"/>
                  </a:lnTo>
                  <a:lnTo>
                    <a:pt x="648" y="998"/>
                  </a:lnTo>
                  <a:lnTo>
                    <a:pt x="656" y="1010"/>
                  </a:lnTo>
                  <a:lnTo>
                    <a:pt x="660" y="1024"/>
                  </a:lnTo>
                  <a:lnTo>
                    <a:pt x="662" y="1034"/>
                  </a:lnTo>
                  <a:lnTo>
                    <a:pt x="660" y="1038"/>
                  </a:lnTo>
                  <a:lnTo>
                    <a:pt x="660" y="1044"/>
                  </a:lnTo>
                  <a:lnTo>
                    <a:pt x="662" y="1054"/>
                  </a:lnTo>
                  <a:lnTo>
                    <a:pt x="660" y="1060"/>
                  </a:lnTo>
                  <a:lnTo>
                    <a:pt x="656" y="1062"/>
                  </a:lnTo>
                  <a:lnTo>
                    <a:pt x="654" y="1066"/>
                  </a:lnTo>
                  <a:lnTo>
                    <a:pt x="656" y="1074"/>
                  </a:lnTo>
                  <a:lnTo>
                    <a:pt x="658" y="1082"/>
                  </a:lnTo>
                  <a:lnTo>
                    <a:pt x="660" y="1084"/>
                  </a:lnTo>
                  <a:lnTo>
                    <a:pt x="660" y="1088"/>
                  </a:lnTo>
                  <a:lnTo>
                    <a:pt x="662" y="1088"/>
                  </a:lnTo>
                  <a:lnTo>
                    <a:pt x="668" y="1084"/>
                  </a:lnTo>
                  <a:lnTo>
                    <a:pt x="674" y="1080"/>
                  </a:lnTo>
                  <a:lnTo>
                    <a:pt x="680" y="1078"/>
                  </a:lnTo>
                  <a:lnTo>
                    <a:pt x="686" y="1078"/>
                  </a:lnTo>
                  <a:lnTo>
                    <a:pt x="696" y="1080"/>
                  </a:lnTo>
                  <a:lnTo>
                    <a:pt x="712" y="1080"/>
                  </a:lnTo>
                  <a:lnTo>
                    <a:pt x="718" y="1080"/>
                  </a:lnTo>
                  <a:lnTo>
                    <a:pt x="734" y="1072"/>
                  </a:lnTo>
                  <a:lnTo>
                    <a:pt x="738" y="1072"/>
                  </a:lnTo>
                  <a:lnTo>
                    <a:pt x="744" y="1072"/>
                  </a:lnTo>
                  <a:lnTo>
                    <a:pt x="754" y="1074"/>
                  </a:lnTo>
                  <a:lnTo>
                    <a:pt x="762" y="1076"/>
                  </a:lnTo>
                  <a:lnTo>
                    <a:pt x="768" y="1074"/>
                  </a:lnTo>
                  <a:lnTo>
                    <a:pt x="768" y="1070"/>
                  </a:lnTo>
                  <a:lnTo>
                    <a:pt x="768" y="1066"/>
                  </a:lnTo>
                  <a:lnTo>
                    <a:pt x="772" y="1066"/>
                  </a:lnTo>
                  <a:lnTo>
                    <a:pt x="774" y="1066"/>
                  </a:lnTo>
                  <a:lnTo>
                    <a:pt x="778" y="1066"/>
                  </a:lnTo>
                  <a:lnTo>
                    <a:pt x="782" y="1072"/>
                  </a:lnTo>
                  <a:lnTo>
                    <a:pt x="782" y="1076"/>
                  </a:lnTo>
                  <a:lnTo>
                    <a:pt x="786" y="1076"/>
                  </a:lnTo>
                  <a:lnTo>
                    <a:pt x="794" y="1080"/>
                  </a:lnTo>
                  <a:lnTo>
                    <a:pt x="798" y="1082"/>
                  </a:lnTo>
                  <a:lnTo>
                    <a:pt x="800" y="1092"/>
                  </a:lnTo>
                  <a:lnTo>
                    <a:pt x="798" y="1096"/>
                  </a:lnTo>
                  <a:lnTo>
                    <a:pt x="796" y="1098"/>
                  </a:lnTo>
                  <a:lnTo>
                    <a:pt x="798" y="1102"/>
                  </a:lnTo>
                  <a:lnTo>
                    <a:pt x="804" y="1104"/>
                  </a:lnTo>
                  <a:lnTo>
                    <a:pt x="808" y="1104"/>
                  </a:lnTo>
                  <a:lnTo>
                    <a:pt x="818" y="1098"/>
                  </a:lnTo>
                  <a:lnTo>
                    <a:pt x="822" y="1096"/>
                  </a:lnTo>
                  <a:lnTo>
                    <a:pt x="826" y="1096"/>
                  </a:lnTo>
                  <a:lnTo>
                    <a:pt x="832" y="1094"/>
                  </a:lnTo>
                  <a:lnTo>
                    <a:pt x="844" y="1092"/>
                  </a:lnTo>
                  <a:lnTo>
                    <a:pt x="852" y="1090"/>
                  </a:lnTo>
                  <a:lnTo>
                    <a:pt x="856" y="1088"/>
                  </a:lnTo>
                  <a:lnTo>
                    <a:pt x="858" y="1088"/>
                  </a:lnTo>
                  <a:lnTo>
                    <a:pt x="860" y="1090"/>
                  </a:lnTo>
                  <a:lnTo>
                    <a:pt x="858" y="1096"/>
                  </a:lnTo>
                  <a:lnTo>
                    <a:pt x="858" y="1102"/>
                  </a:lnTo>
                  <a:lnTo>
                    <a:pt x="860" y="1112"/>
                  </a:lnTo>
                  <a:lnTo>
                    <a:pt x="862" y="1116"/>
                  </a:lnTo>
                  <a:lnTo>
                    <a:pt x="866" y="1120"/>
                  </a:lnTo>
                  <a:lnTo>
                    <a:pt x="870" y="1122"/>
                  </a:lnTo>
                  <a:lnTo>
                    <a:pt x="872" y="1124"/>
                  </a:lnTo>
                  <a:lnTo>
                    <a:pt x="880" y="1124"/>
                  </a:lnTo>
                  <a:lnTo>
                    <a:pt x="894" y="1130"/>
                  </a:lnTo>
                  <a:lnTo>
                    <a:pt x="900" y="1132"/>
                  </a:lnTo>
                  <a:lnTo>
                    <a:pt x="906" y="1134"/>
                  </a:lnTo>
                  <a:lnTo>
                    <a:pt x="910" y="1134"/>
                  </a:lnTo>
                  <a:lnTo>
                    <a:pt x="926" y="1136"/>
                  </a:lnTo>
                  <a:lnTo>
                    <a:pt x="932" y="1138"/>
                  </a:lnTo>
                  <a:lnTo>
                    <a:pt x="944" y="1140"/>
                  </a:lnTo>
                  <a:lnTo>
                    <a:pt x="952" y="1140"/>
                  </a:lnTo>
                  <a:lnTo>
                    <a:pt x="958" y="1138"/>
                  </a:lnTo>
                  <a:lnTo>
                    <a:pt x="964" y="1138"/>
                  </a:lnTo>
                  <a:lnTo>
                    <a:pt x="966" y="1136"/>
                  </a:lnTo>
                  <a:lnTo>
                    <a:pt x="966" y="1134"/>
                  </a:lnTo>
                  <a:lnTo>
                    <a:pt x="968" y="1130"/>
                  </a:lnTo>
                  <a:lnTo>
                    <a:pt x="972" y="1118"/>
                  </a:lnTo>
                  <a:lnTo>
                    <a:pt x="974" y="1116"/>
                  </a:lnTo>
                  <a:lnTo>
                    <a:pt x="976" y="1114"/>
                  </a:lnTo>
                  <a:lnTo>
                    <a:pt x="980" y="1112"/>
                  </a:lnTo>
                  <a:lnTo>
                    <a:pt x="982" y="1114"/>
                  </a:lnTo>
                  <a:lnTo>
                    <a:pt x="986" y="1126"/>
                  </a:lnTo>
                  <a:lnTo>
                    <a:pt x="998" y="1138"/>
                  </a:lnTo>
                  <a:lnTo>
                    <a:pt x="1002" y="1146"/>
                  </a:lnTo>
                  <a:lnTo>
                    <a:pt x="1006" y="1154"/>
                  </a:lnTo>
                  <a:lnTo>
                    <a:pt x="1008" y="1156"/>
                  </a:lnTo>
                  <a:lnTo>
                    <a:pt x="1012" y="1158"/>
                  </a:lnTo>
                  <a:lnTo>
                    <a:pt x="1020" y="1160"/>
                  </a:lnTo>
                  <a:lnTo>
                    <a:pt x="1026" y="1160"/>
                  </a:lnTo>
                  <a:lnTo>
                    <a:pt x="1040" y="1166"/>
                  </a:lnTo>
                  <a:lnTo>
                    <a:pt x="1052" y="1170"/>
                  </a:lnTo>
                  <a:lnTo>
                    <a:pt x="1060" y="1174"/>
                  </a:lnTo>
                  <a:lnTo>
                    <a:pt x="1062" y="1176"/>
                  </a:lnTo>
                  <a:lnTo>
                    <a:pt x="1066" y="1180"/>
                  </a:lnTo>
                  <a:lnTo>
                    <a:pt x="1066" y="1182"/>
                  </a:lnTo>
                  <a:lnTo>
                    <a:pt x="1070" y="1190"/>
                  </a:lnTo>
                  <a:lnTo>
                    <a:pt x="1072" y="1198"/>
                  </a:lnTo>
                  <a:lnTo>
                    <a:pt x="1076" y="1198"/>
                  </a:lnTo>
                  <a:lnTo>
                    <a:pt x="1080" y="1198"/>
                  </a:lnTo>
                  <a:lnTo>
                    <a:pt x="1084" y="1204"/>
                  </a:lnTo>
                  <a:lnTo>
                    <a:pt x="1086" y="1206"/>
                  </a:lnTo>
                  <a:lnTo>
                    <a:pt x="1092" y="1215"/>
                  </a:lnTo>
                  <a:lnTo>
                    <a:pt x="1096" y="1221"/>
                  </a:lnTo>
                  <a:lnTo>
                    <a:pt x="1098" y="1227"/>
                  </a:lnTo>
                  <a:lnTo>
                    <a:pt x="1102" y="1231"/>
                  </a:lnTo>
                  <a:lnTo>
                    <a:pt x="1108" y="1233"/>
                  </a:lnTo>
                  <a:lnTo>
                    <a:pt x="1114" y="1233"/>
                  </a:lnTo>
                  <a:lnTo>
                    <a:pt x="1118" y="1233"/>
                  </a:lnTo>
                  <a:lnTo>
                    <a:pt x="1126" y="1229"/>
                  </a:lnTo>
                  <a:lnTo>
                    <a:pt x="1132" y="1225"/>
                  </a:lnTo>
                  <a:lnTo>
                    <a:pt x="1138" y="1223"/>
                  </a:lnTo>
                  <a:lnTo>
                    <a:pt x="1140" y="1225"/>
                  </a:lnTo>
                  <a:lnTo>
                    <a:pt x="1142" y="1227"/>
                  </a:lnTo>
                  <a:lnTo>
                    <a:pt x="1144" y="1233"/>
                  </a:lnTo>
                  <a:lnTo>
                    <a:pt x="1144" y="1235"/>
                  </a:lnTo>
                  <a:lnTo>
                    <a:pt x="1148" y="1237"/>
                  </a:lnTo>
                  <a:lnTo>
                    <a:pt x="1152" y="1237"/>
                  </a:lnTo>
                  <a:lnTo>
                    <a:pt x="1154" y="1233"/>
                  </a:lnTo>
                  <a:lnTo>
                    <a:pt x="1154" y="1152"/>
                  </a:lnTo>
                  <a:lnTo>
                    <a:pt x="1150" y="1152"/>
                  </a:lnTo>
                  <a:lnTo>
                    <a:pt x="1146" y="1154"/>
                  </a:lnTo>
                  <a:lnTo>
                    <a:pt x="1138" y="1154"/>
                  </a:lnTo>
                  <a:lnTo>
                    <a:pt x="1134" y="1156"/>
                  </a:lnTo>
                  <a:lnTo>
                    <a:pt x="1134" y="1158"/>
                  </a:lnTo>
                  <a:lnTo>
                    <a:pt x="1134" y="1162"/>
                  </a:lnTo>
                  <a:lnTo>
                    <a:pt x="1134" y="1166"/>
                  </a:lnTo>
                  <a:lnTo>
                    <a:pt x="1132" y="1168"/>
                  </a:lnTo>
                  <a:lnTo>
                    <a:pt x="1130" y="1170"/>
                  </a:lnTo>
                  <a:lnTo>
                    <a:pt x="1124" y="1168"/>
                  </a:lnTo>
                  <a:lnTo>
                    <a:pt x="1114" y="1166"/>
                  </a:lnTo>
                  <a:lnTo>
                    <a:pt x="1106" y="1164"/>
                  </a:lnTo>
                  <a:lnTo>
                    <a:pt x="1100" y="1158"/>
                  </a:lnTo>
                  <a:lnTo>
                    <a:pt x="1092" y="1150"/>
                  </a:lnTo>
                  <a:lnTo>
                    <a:pt x="1086" y="1144"/>
                  </a:lnTo>
                  <a:lnTo>
                    <a:pt x="1074" y="1134"/>
                  </a:lnTo>
                  <a:lnTo>
                    <a:pt x="1072" y="1132"/>
                  </a:lnTo>
                  <a:lnTo>
                    <a:pt x="1068" y="1128"/>
                  </a:lnTo>
                  <a:lnTo>
                    <a:pt x="1064" y="1120"/>
                  </a:lnTo>
                  <a:lnTo>
                    <a:pt x="1062" y="1116"/>
                  </a:lnTo>
                  <a:lnTo>
                    <a:pt x="1060" y="1112"/>
                  </a:lnTo>
                  <a:lnTo>
                    <a:pt x="1060" y="1106"/>
                  </a:lnTo>
                  <a:lnTo>
                    <a:pt x="1062" y="1098"/>
                  </a:lnTo>
                  <a:lnTo>
                    <a:pt x="1066" y="1082"/>
                  </a:lnTo>
                  <a:lnTo>
                    <a:pt x="1070" y="1070"/>
                  </a:lnTo>
                  <a:lnTo>
                    <a:pt x="1072" y="1062"/>
                  </a:lnTo>
                  <a:lnTo>
                    <a:pt x="1078" y="1052"/>
                  </a:lnTo>
                  <a:lnTo>
                    <a:pt x="1078" y="1044"/>
                  </a:lnTo>
                  <a:lnTo>
                    <a:pt x="1076" y="1034"/>
                  </a:lnTo>
                  <a:lnTo>
                    <a:pt x="1076" y="1028"/>
                  </a:lnTo>
                  <a:lnTo>
                    <a:pt x="1076" y="1014"/>
                  </a:lnTo>
                  <a:lnTo>
                    <a:pt x="1078" y="1002"/>
                  </a:lnTo>
                  <a:lnTo>
                    <a:pt x="1078" y="996"/>
                  </a:lnTo>
                  <a:lnTo>
                    <a:pt x="1076" y="986"/>
                  </a:lnTo>
                  <a:lnTo>
                    <a:pt x="1072" y="974"/>
                  </a:lnTo>
                  <a:lnTo>
                    <a:pt x="1062" y="960"/>
                  </a:lnTo>
                  <a:lnTo>
                    <a:pt x="1062" y="956"/>
                  </a:lnTo>
                  <a:lnTo>
                    <a:pt x="1068" y="952"/>
                  </a:lnTo>
                  <a:lnTo>
                    <a:pt x="1076" y="946"/>
                  </a:lnTo>
                  <a:lnTo>
                    <a:pt x="1080" y="942"/>
                  </a:lnTo>
                  <a:lnTo>
                    <a:pt x="1086" y="936"/>
                  </a:lnTo>
                  <a:lnTo>
                    <a:pt x="1088" y="934"/>
                  </a:lnTo>
                  <a:lnTo>
                    <a:pt x="1092" y="926"/>
                  </a:lnTo>
                  <a:lnTo>
                    <a:pt x="1096" y="922"/>
                  </a:lnTo>
                  <a:lnTo>
                    <a:pt x="1096" y="914"/>
                  </a:lnTo>
                  <a:lnTo>
                    <a:pt x="1094" y="906"/>
                  </a:lnTo>
                  <a:lnTo>
                    <a:pt x="1100" y="906"/>
                  </a:lnTo>
                  <a:lnTo>
                    <a:pt x="1116" y="902"/>
                  </a:lnTo>
                  <a:lnTo>
                    <a:pt x="1132" y="900"/>
                  </a:lnTo>
                  <a:lnTo>
                    <a:pt x="1152" y="898"/>
                  </a:lnTo>
                  <a:lnTo>
                    <a:pt x="1170" y="894"/>
                  </a:lnTo>
                  <a:lnTo>
                    <a:pt x="1188" y="892"/>
                  </a:lnTo>
                  <a:lnTo>
                    <a:pt x="1204" y="890"/>
                  </a:lnTo>
                  <a:lnTo>
                    <a:pt x="1204" y="886"/>
                  </a:lnTo>
                  <a:lnTo>
                    <a:pt x="1204" y="882"/>
                  </a:lnTo>
                  <a:lnTo>
                    <a:pt x="1202" y="878"/>
                  </a:lnTo>
                  <a:lnTo>
                    <a:pt x="1200" y="876"/>
                  </a:lnTo>
                  <a:lnTo>
                    <a:pt x="1198" y="876"/>
                  </a:lnTo>
                  <a:lnTo>
                    <a:pt x="1196" y="874"/>
                  </a:lnTo>
                  <a:lnTo>
                    <a:pt x="1192" y="870"/>
                  </a:lnTo>
                  <a:lnTo>
                    <a:pt x="1192" y="868"/>
                  </a:lnTo>
                  <a:lnTo>
                    <a:pt x="1186" y="866"/>
                  </a:lnTo>
                  <a:lnTo>
                    <a:pt x="1186" y="864"/>
                  </a:lnTo>
                  <a:lnTo>
                    <a:pt x="1184" y="860"/>
                  </a:lnTo>
                  <a:lnTo>
                    <a:pt x="1182" y="852"/>
                  </a:lnTo>
                  <a:lnTo>
                    <a:pt x="1180" y="848"/>
                  </a:lnTo>
                  <a:lnTo>
                    <a:pt x="1180" y="846"/>
                  </a:lnTo>
                  <a:lnTo>
                    <a:pt x="1180" y="840"/>
                  </a:lnTo>
                  <a:lnTo>
                    <a:pt x="1176" y="828"/>
                  </a:lnTo>
                  <a:lnTo>
                    <a:pt x="1172" y="822"/>
                  </a:lnTo>
                  <a:lnTo>
                    <a:pt x="1168" y="818"/>
                  </a:lnTo>
                  <a:lnTo>
                    <a:pt x="1162" y="814"/>
                  </a:lnTo>
                  <a:lnTo>
                    <a:pt x="1156" y="812"/>
                  </a:lnTo>
                  <a:lnTo>
                    <a:pt x="1150" y="808"/>
                  </a:lnTo>
                  <a:lnTo>
                    <a:pt x="1142" y="796"/>
                  </a:lnTo>
                  <a:lnTo>
                    <a:pt x="1136" y="792"/>
                  </a:lnTo>
                  <a:lnTo>
                    <a:pt x="1134" y="790"/>
                  </a:lnTo>
                  <a:lnTo>
                    <a:pt x="1132" y="784"/>
                  </a:lnTo>
                  <a:lnTo>
                    <a:pt x="1132" y="778"/>
                  </a:lnTo>
                  <a:lnTo>
                    <a:pt x="1132" y="776"/>
                  </a:lnTo>
                  <a:lnTo>
                    <a:pt x="1130" y="776"/>
                  </a:lnTo>
                  <a:lnTo>
                    <a:pt x="1130" y="776"/>
                  </a:lnTo>
                  <a:lnTo>
                    <a:pt x="1130" y="776"/>
                  </a:lnTo>
                  <a:lnTo>
                    <a:pt x="1122" y="756"/>
                  </a:lnTo>
                  <a:lnTo>
                    <a:pt x="1120" y="754"/>
                  </a:lnTo>
                  <a:lnTo>
                    <a:pt x="1120" y="752"/>
                  </a:lnTo>
                  <a:lnTo>
                    <a:pt x="1118" y="750"/>
                  </a:lnTo>
                  <a:lnTo>
                    <a:pt x="1116" y="748"/>
                  </a:lnTo>
                  <a:lnTo>
                    <a:pt x="1114" y="746"/>
                  </a:lnTo>
                  <a:lnTo>
                    <a:pt x="1114" y="740"/>
                  </a:lnTo>
                  <a:lnTo>
                    <a:pt x="1114" y="738"/>
                  </a:lnTo>
                  <a:lnTo>
                    <a:pt x="1116" y="736"/>
                  </a:lnTo>
                  <a:lnTo>
                    <a:pt x="1122" y="730"/>
                  </a:lnTo>
                  <a:lnTo>
                    <a:pt x="1124" y="728"/>
                  </a:lnTo>
                  <a:lnTo>
                    <a:pt x="1124" y="726"/>
                  </a:lnTo>
                  <a:lnTo>
                    <a:pt x="1124" y="720"/>
                  </a:lnTo>
                  <a:lnTo>
                    <a:pt x="1124" y="718"/>
                  </a:lnTo>
                  <a:lnTo>
                    <a:pt x="1126" y="718"/>
                  </a:lnTo>
                  <a:lnTo>
                    <a:pt x="1126" y="718"/>
                  </a:lnTo>
                  <a:lnTo>
                    <a:pt x="1116" y="702"/>
                  </a:lnTo>
                  <a:lnTo>
                    <a:pt x="1112" y="692"/>
                  </a:lnTo>
                  <a:lnTo>
                    <a:pt x="1110" y="686"/>
                  </a:lnTo>
                  <a:lnTo>
                    <a:pt x="1108" y="680"/>
                  </a:lnTo>
                  <a:lnTo>
                    <a:pt x="1108" y="678"/>
                  </a:lnTo>
                  <a:lnTo>
                    <a:pt x="1108" y="658"/>
                  </a:lnTo>
                  <a:lnTo>
                    <a:pt x="1110" y="650"/>
                  </a:lnTo>
                  <a:lnTo>
                    <a:pt x="1110" y="646"/>
                  </a:lnTo>
                  <a:lnTo>
                    <a:pt x="1112" y="644"/>
                  </a:lnTo>
                  <a:lnTo>
                    <a:pt x="1114" y="644"/>
                  </a:lnTo>
                  <a:lnTo>
                    <a:pt x="1114" y="640"/>
                  </a:lnTo>
                  <a:lnTo>
                    <a:pt x="1118" y="618"/>
                  </a:lnTo>
                  <a:lnTo>
                    <a:pt x="1118" y="616"/>
                  </a:lnTo>
                  <a:lnTo>
                    <a:pt x="1116" y="616"/>
                  </a:lnTo>
                  <a:lnTo>
                    <a:pt x="1116" y="618"/>
                  </a:lnTo>
                  <a:lnTo>
                    <a:pt x="1110" y="632"/>
                  </a:lnTo>
                  <a:lnTo>
                    <a:pt x="1110" y="634"/>
                  </a:lnTo>
                  <a:lnTo>
                    <a:pt x="1106" y="632"/>
                  </a:lnTo>
                  <a:lnTo>
                    <a:pt x="1106" y="630"/>
                  </a:lnTo>
                  <a:lnTo>
                    <a:pt x="1108" y="628"/>
                  </a:lnTo>
                  <a:lnTo>
                    <a:pt x="1108" y="624"/>
                  </a:lnTo>
                  <a:lnTo>
                    <a:pt x="1106" y="622"/>
                  </a:lnTo>
                  <a:lnTo>
                    <a:pt x="1106" y="616"/>
                  </a:lnTo>
                  <a:lnTo>
                    <a:pt x="1108" y="604"/>
                  </a:lnTo>
                  <a:lnTo>
                    <a:pt x="1110" y="602"/>
                  </a:lnTo>
                  <a:lnTo>
                    <a:pt x="1110" y="598"/>
                  </a:lnTo>
                  <a:lnTo>
                    <a:pt x="1108" y="598"/>
                  </a:lnTo>
                  <a:lnTo>
                    <a:pt x="1108" y="594"/>
                  </a:lnTo>
                  <a:lnTo>
                    <a:pt x="1110" y="592"/>
                  </a:lnTo>
                  <a:lnTo>
                    <a:pt x="1110" y="586"/>
                  </a:lnTo>
                  <a:lnTo>
                    <a:pt x="1110" y="578"/>
                  </a:lnTo>
                  <a:lnTo>
                    <a:pt x="1110" y="572"/>
                  </a:lnTo>
                  <a:lnTo>
                    <a:pt x="1112" y="570"/>
                  </a:lnTo>
                  <a:lnTo>
                    <a:pt x="1112" y="568"/>
                  </a:lnTo>
                  <a:lnTo>
                    <a:pt x="1114" y="568"/>
                  </a:lnTo>
                  <a:lnTo>
                    <a:pt x="1114" y="568"/>
                  </a:lnTo>
                  <a:lnTo>
                    <a:pt x="1116" y="564"/>
                  </a:lnTo>
                  <a:lnTo>
                    <a:pt x="1116" y="554"/>
                  </a:lnTo>
                  <a:lnTo>
                    <a:pt x="1116" y="548"/>
                  </a:lnTo>
                  <a:lnTo>
                    <a:pt x="1112" y="542"/>
                  </a:lnTo>
                  <a:lnTo>
                    <a:pt x="1106" y="536"/>
                  </a:lnTo>
                  <a:lnTo>
                    <a:pt x="1102" y="532"/>
                  </a:lnTo>
                  <a:lnTo>
                    <a:pt x="1102" y="526"/>
                  </a:lnTo>
                  <a:lnTo>
                    <a:pt x="1096" y="524"/>
                  </a:lnTo>
                  <a:lnTo>
                    <a:pt x="1094" y="522"/>
                  </a:lnTo>
                  <a:lnTo>
                    <a:pt x="1094" y="516"/>
                  </a:lnTo>
                  <a:lnTo>
                    <a:pt x="1092" y="508"/>
                  </a:lnTo>
                  <a:lnTo>
                    <a:pt x="1092" y="508"/>
                  </a:lnTo>
                  <a:lnTo>
                    <a:pt x="1092" y="504"/>
                  </a:lnTo>
                  <a:lnTo>
                    <a:pt x="1096" y="498"/>
                  </a:lnTo>
                  <a:lnTo>
                    <a:pt x="1094" y="496"/>
                  </a:lnTo>
                  <a:lnTo>
                    <a:pt x="1094" y="494"/>
                  </a:lnTo>
                  <a:lnTo>
                    <a:pt x="1094" y="492"/>
                  </a:lnTo>
                  <a:lnTo>
                    <a:pt x="1094" y="490"/>
                  </a:lnTo>
                  <a:lnTo>
                    <a:pt x="1096" y="484"/>
                  </a:lnTo>
                  <a:lnTo>
                    <a:pt x="1096" y="480"/>
                  </a:lnTo>
                  <a:lnTo>
                    <a:pt x="1100" y="468"/>
                  </a:lnTo>
                  <a:lnTo>
                    <a:pt x="1104" y="456"/>
                  </a:lnTo>
                  <a:lnTo>
                    <a:pt x="1106" y="454"/>
                  </a:lnTo>
                  <a:lnTo>
                    <a:pt x="1114" y="456"/>
                  </a:lnTo>
                  <a:lnTo>
                    <a:pt x="1116" y="460"/>
                  </a:lnTo>
                  <a:lnTo>
                    <a:pt x="1118" y="454"/>
                  </a:lnTo>
                  <a:lnTo>
                    <a:pt x="1124" y="448"/>
                  </a:lnTo>
                  <a:lnTo>
                    <a:pt x="1128" y="448"/>
                  </a:lnTo>
                  <a:lnTo>
                    <a:pt x="1132" y="444"/>
                  </a:lnTo>
                  <a:lnTo>
                    <a:pt x="1136" y="440"/>
                  </a:lnTo>
                  <a:lnTo>
                    <a:pt x="1140" y="440"/>
                  </a:lnTo>
                  <a:lnTo>
                    <a:pt x="1140" y="438"/>
                  </a:lnTo>
                  <a:lnTo>
                    <a:pt x="1138" y="422"/>
                  </a:lnTo>
                  <a:lnTo>
                    <a:pt x="1138" y="412"/>
                  </a:lnTo>
                  <a:lnTo>
                    <a:pt x="1140" y="406"/>
                  </a:lnTo>
                  <a:lnTo>
                    <a:pt x="1142" y="400"/>
                  </a:lnTo>
                  <a:lnTo>
                    <a:pt x="1142" y="394"/>
                  </a:lnTo>
                  <a:lnTo>
                    <a:pt x="1144" y="384"/>
                  </a:lnTo>
                  <a:lnTo>
                    <a:pt x="1144" y="382"/>
                  </a:lnTo>
                  <a:lnTo>
                    <a:pt x="1144" y="382"/>
                  </a:lnTo>
                  <a:lnTo>
                    <a:pt x="1134" y="388"/>
                  </a:lnTo>
                  <a:lnTo>
                    <a:pt x="1130" y="388"/>
                  </a:lnTo>
                  <a:lnTo>
                    <a:pt x="1128" y="390"/>
                  </a:lnTo>
                  <a:lnTo>
                    <a:pt x="1126" y="390"/>
                  </a:lnTo>
                  <a:lnTo>
                    <a:pt x="1124" y="386"/>
                  </a:lnTo>
                  <a:lnTo>
                    <a:pt x="1122" y="384"/>
                  </a:lnTo>
                  <a:lnTo>
                    <a:pt x="1124" y="378"/>
                  </a:lnTo>
                  <a:lnTo>
                    <a:pt x="1128" y="370"/>
                  </a:lnTo>
                  <a:lnTo>
                    <a:pt x="1134" y="360"/>
                  </a:lnTo>
                  <a:lnTo>
                    <a:pt x="1140" y="358"/>
                  </a:lnTo>
                  <a:lnTo>
                    <a:pt x="1144" y="356"/>
                  </a:lnTo>
                  <a:lnTo>
                    <a:pt x="1146" y="356"/>
                  </a:lnTo>
                  <a:lnTo>
                    <a:pt x="1146" y="356"/>
                  </a:lnTo>
                  <a:lnTo>
                    <a:pt x="1146" y="352"/>
                  </a:lnTo>
                  <a:lnTo>
                    <a:pt x="1148" y="342"/>
                  </a:lnTo>
                  <a:lnTo>
                    <a:pt x="1150" y="338"/>
                  </a:lnTo>
                  <a:lnTo>
                    <a:pt x="1152" y="338"/>
                  </a:lnTo>
                  <a:lnTo>
                    <a:pt x="1154" y="332"/>
                  </a:lnTo>
                  <a:lnTo>
                    <a:pt x="1160" y="320"/>
                  </a:lnTo>
                  <a:lnTo>
                    <a:pt x="1162" y="316"/>
                  </a:lnTo>
                  <a:lnTo>
                    <a:pt x="1162" y="304"/>
                  </a:lnTo>
                  <a:lnTo>
                    <a:pt x="1162" y="296"/>
                  </a:lnTo>
                  <a:lnTo>
                    <a:pt x="1164" y="294"/>
                  </a:lnTo>
                  <a:lnTo>
                    <a:pt x="1170" y="292"/>
                  </a:lnTo>
                  <a:lnTo>
                    <a:pt x="1178" y="284"/>
                  </a:lnTo>
                  <a:lnTo>
                    <a:pt x="1182" y="276"/>
                  </a:lnTo>
                  <a:lnTo>
                    <a:pt x="1188" y="270"/>
                  </a:lnTo>
                  <a:lnTo>
                    <a:pt x="1198" y="268"/>
                  </a:lnTo>
                  <a:lnTo>
                    <a:pt x="1198" y="266"/>
                  </a:lnTo>
                  <a:lnTo>
                    <a:pt x="1196" y="266"/>
                  </a:lnTo>
                  <a:lnTo>
                    <a:pt x="1194" y="266"/>
                  </a:lnTo>
                  <a:lnTo>
                    <a:pt x="1194" y="266"/>
                  </a:lnTo>
                  <a:lnTo>
                    <a:pt x="1192" y="264"/>
                  </a:lnTo>
                  <a:lnTo>
                    <a:pt x="1196" y="258"/>
                  </a:lnTo>
                  <a:lnTo>
                    <a:pt x="1198" y="252"/>
                  </a:lnTo>
                  <a:lnTo>
                    <a:pt x="1202" y="248"/>
                  </a:lnTo>
                  <a:lnTo>
                    <a:pt x="1206" y="244"/>
                  </a:lnTo>
                  <a:lnTo>
                    <a:pt x="1212" y="238"/>
                  </a:lnTo>
                  <a:lnTo>
                    <a:pt x="1214" y="236"/>
                  </a:lnTo>
                  <a:lnTo>
                    <a:pt x="1224" y="226"/>
                  </a:lnTo>
                  <a:lnTo>
                    <a:pt x="1228" y="222"/>
                  </a:lnTo>
                  <a:lnTo>
                    <a:pt x="1232" y="222"/>
                  </a:lnTo>
                  <a:lnTo>
                    <a:pt x="1244" y="212"/>
                  </a:lnTo>
                  <a:lnTo>
                    <a:pt x="1250" y="206"/>
                  </a:lnTo>
                  <a:lnTo>
                    <a:pt x="1248" y="204"/>
                  </a:lnTo>
                  <a:lnTo>
                    <a:pt x="1244" y="202"/>
                  </a:lnTo>
                  <a:lnTo>
                    <a:pt x="1244" y="200"/>
                  </a:lnTo>
                  <a:lnTo>
                    <a:pt x="1242" y="198"/>
                  </a:lnTo>
                  <a:lnTo>
                    <a:pt x="1238" y="198"/>
                  </a:lnTo>
                  <a:lnTo>
                    <a:pt x="1236" y="196"/>
                  </a:lnTo>
                  <a:lnTo>
                    <a:pt x="1232" y="194"/>
                  </a:lnTo>
                  <a:lnTo>
                    <a:pt x="1230" y="190"/>
                  </a:lnTo>
                  <a:lnTo>
                    <a:pt x="1222" y="190"/>
                  </a:lnTo>
                  <a:lnTo>
                    <a:pt x="1214" y="188"/>
                  </a:lnTo>
                  <a:lnTo>
                    <a:pt x="1214" y="182"/>
                  </a:lnTo>
                  <a:lnTo>
                    <a:pt x="1218" y="172"/>
                  </a:lnTo>
                  <a:lnTo>
                    <a:pt x="1222" y="162"/>
                  </a:lnTo>
                  <a:lnTo>
                    <a:pt x="1222" y="158"/>
                  </a:lnTo>
                  <a:lnTo>
                    <a:pt x="1222" y="156"/>
                  </a:lnTo>
                  <a:lnTo>
                    <a:pt x="1220" y="154"/>
                  </a:lnTo>
                  <a:lnTo>
                    <a:pt x="1218" y="152"/>
                  </a:lnTo>
                  <a:lnTo>
                    <a:pt x="1216" y="148"/>
                  </a:lnTo>
                  <a:lnTo>
                    <a:pt x="1218" y="140"/>
                  </a:lnTo>
                  <a:lnTo>
                    <a:pt x="1222" y="134"/>
                  </a:lnTo>
                  <a:lnTo>
                    <a:pt x="1224" y="130"/>
                  </a:lnTo>
                  <a:lnTo>
                    <a:pt x="1226" y="124"/>
                  </a:lnTo>
                  <a:lnTo>
                    <a:pt x="1226" y="122"/>
                  </a:lnTo>
                  <a:lnTo>
                    <a:pt x="1222" y="120"/>
                  </a:lnTo>
                  <a:lnTo>
                    <a:pt x="1220" y="116"/>
                  </a:lnTo>
                  <a:lnTo>
                    <a:pt x="1220" y="114"/>
                  </a:lnTo>
                  <a:lnTo>
                    <a:pt x="1216" y="110"/>
                  </a:lnTo>
                  <a:lnTo>
                    <a:pt x="1212" y="110"/>
                  </a:lnTo>
                  <a:lnTo>
                    <a:pt x="1210" y="110"/>
                  </a:lnTo>
                  <a:lnTo>
                    <a:pt x="1206" y="110"/>
                  </a:lnTo>
                  <a:lnTo>
                    <a:pt x="1204" y="108"/>
                  </a:lnTo>
                  <a:lnTo>
                    <a:pt x="1204" y="104"/>
                  </a:lnTo>
                  <a:lnTo>
                    <a:pt x="1202" y="100"/>
                  </a:lnTo>
                  <a:lnTo>
                    <a:pt x="1200" y="96"/>
                  </a:lnTo>
                  <a:lnTo>
                    <a:pt x="1194" y="94"/>
                  </a:lnTo>
                  <a:lnTo>
                    <a:pt x="1180" y="88"/>
                  </a:lnTo>
                  <a:lnTo>
                    <a:pt x="1168" y="74"/>
                  </a:lnTo>
                  <a:lnTo>
                    <a:pt x="1162" y="68"/>
                  </a:lnTo>
                  <a:lnTo>
                    <a:pt x="1158" y="64"/>
                  </a:lnTo>
                  <a:lnTo>
                    <a:pt x="1152" y="54"/>
                  </a:lnTo>
                  <a:lnTo>
                    <a:pt x="1146" y="48"/>
                  </a:lnTo>
                  <a:lnTo>
                    <a:pt x="1138" y="44"/>
                  </a:lnTo>
                  <a:lnTo>
                    <a:pt x="1132" y="46"/>
                  </a:lnTo>
                  <a:lnTo>
                    <a:pt x="1126" y="54"/>
                  </a:lnTo>
                  <a:lnTo>
                    <a:pt x="1116" y="60"/>
                  </a:lnTo>
                  <a:lnTo>
                    <a:pt x="1112" y="60"/>
                  </a:lnTo>
                  <a:lnTo>
                    <a:pt x="1106" y="56"/>
                  </a:lnTo>
                  <a:lnTo>
                    <a:pt x="1098" y="54"/>
                  </a:lnTo>
                  <a:lnTo>
                    <a:pt x="1084" y="52"/>
                  </a:lnTo>
                  <a:lnTo>
                    <a:pt x="1078" y="56"/>
                  </a:lnTo>
                  <a:lnTo>
                    <a:pt x="1070" y="62"/>
                  </a:lnTo>
                  <a:lnTo>
                    <a:pt x="1064" y="64"/>
                  </a:lnTo>
                  <a:lnTo>
                    <a:pt x="1060" y="66"/>
                  </a:lnTo>
                  <a:lnTo>
                    <a:pt x="1056" y="64"/>
                  </a:lnTo>
                  <a:lnTo>
                    <a:pt x="1052" y="64"/>
                  </a:lnTo>
                  <a:lnTo>
                    <a:pt x="1048" y="64"/>
                  </a:lnTo>
                  <a:lnTo>
                    <a:pt x="1040" y="58"/>
                  </a:lnTo>
                  <a:lnTo>
                    <a:pt x="1038" y="54"/>
                  </a:lnTo>
                  <a:lnTo>
                    <a:pt x="1034" y="50"/>
                  </a:lnTo>
                  <a:lnTo>
                    <a:pt x="1030" y="48"/>
                  </a:lnTo>
                  <a:lnTo>
                    <a:pt x="1026" y="46"/>
                  </a:lnTo>
                  <a:lnTo>
                    <a:pt x="1022" y="44"/>
                  </a:lnTo>
                  <a:lnTo>
                    <a:pt x="1020" y="40"/>
                  </a:lnTo>
                  <a:lnTo>
                    <a:pt x="1018" y="34"/>
                  </a:lnTo>
                  <a:lnTo>
                    <a:pt x="1014" y="30"/>
                  </a:lnTo>
                  <a:lnTo>
                    <a:pt x="1002" y="22"/>
                  </a:lnTo>
                  <a:lnTo>
                    <a:pt x="998" y="18"/>
                  </a:lnTo>
                  <a:lnTo>
                    <a:pt x="996"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6" name="Google Shape;4533;p64">
              <a:extLst>
                <a:ext uri="{FF2B5EF4-FFF2-40B4-BE49-F238E27FC236}">
                  <a16:creationId xmlns:a16="http://schemas.microsoft.com/office/drawing/2014/main" id="{A706E61F-321A-378A-BDAF-67EA24C29515}"/>
                </a:ext>
              </a:extLst>
            </p:cNvPr>
            <p:cNvSpPr/>
            <p:nvPr/>
          </p:nvSpPr>
          <p:spPr>
            <a:xfrm>
              <a:off x="4764521" y="4910036"/>
              <a:ext cx="160798" cy="187706"/>
            </a:xfrm>
            <a:custGeom>
              <a:avLst/>
              <a:gdLst/>
              <a:ahLst/>
              <a:cxnLst/>
              <a:rect l="l" t="t" r="r" b="b"/>
              <a:pathLst>
                <a:path w="490" h="572" extrusionOk="0">
                  <a:moveTo>
                    <a:pt x="490" y="14"/>
                  </a:moveTo>
                  <a:lnTo>
                    <a:pt x="486" y="12"/>
                  </a:lnTo>
                  <a:lnTo>
                    <a:pt x="482" y="6"/>
                  </a:lnTo>
                  <a:lnTo>
                    <a:pt x="482" y="4"/>
                  </a:lnTo>
                  <a:lnTo>
                    <a:pt x="470" y="8"/>
                  </a:lnTo>
                  <a:lnTo>
                    <a:pt x="466" y="10"/>
                  </a:lnTo>
                  <a:lnTo>
                    <a:pt x="462" y="12"/>
                  </a:lnTo>
                  <a:lnTo>
                    <a:pt x="460" y="14"/>
                  </a:lnTo>
                  <a:lnTo>
                    <a:pt x="458" y="10"/>
                  </a:lnTo>
                  <a:lnTo>
                    <a:pt x="454" y="8"/>
                  </a:lnTo>
                  <a:lnTo>
                    <a:pt x="450" y="10"/>
                  </a:lnTo>
                  <a:lnTo>
                    <a:pt x="446" y="10"/>
                  </a:lnTo>
                  <a:lnTo>
                    <a:pt x="444" y="10"/>
                  </a:lnTo>
                  <a:lnTo>
                    <a:pt x="442" y="10"/>
                  </a:lnTo>
                  <a:lnTo>
                    <a:pt x="438" y="8"/>
                  </a:lnTo>
                  <a:lnTo>
                    <a:pt x="420" y="2"/>
                  </a:lnTo>
                  <a:lnTo>
                    <a:pt x="416" y="0"/>
                  </a:lnTo>
                  <a:lnTo>
                    <a:pt x="414" y="0"/>
                  </a:lnTo>
                  <a:lnTo>
                    <a:pt x="404" y="6"/>
                  </a:lnTo>
                  <a:lnTo>
                    <a:pt x="400" y="6"/>
                  </a:lnTo>
                  <a:lnTo>
                    <a:pt x="384" y="10"/>
                  </a:lnTo>
                  <a:lnTo>
                    <a:pt x="370" y="10"/>
                  </a:lnTo>
                  <a:lnTo>
                    <a:pt x="364" y="10"/>
                  </a:lnTo>
                  <a:lnTo>
                    <a:pt x="360" y="12"/>
                  </a:lnTo>
                  <a:lnTo>
                    <a:pt x="356" y="16"/>
                  </a:lnTo>
                  <a:lnTo>
                    <a:pt x="352" y="32"/>
                  </a:lnTo>
                  <a:lnTo>
                    <a:pt x="350" y="34"/>
                  </a:lnTo>
                  <a:lnTo>
                    <a:pt x="350" y="40"/>
                  </a:lnTo>
                  <a:lnTo>
                    <a:pt x="350" y="46"/>
                  </a:lnTo>
                  <a:lnTo>
                    <a:pt x="350" y="52"/>
                  </a:lnTo>
                  <a:lnTo>
                    <a:pt x="350" y="56"/>
                  </a:lnTo>
                  <a:lnTo>
                    <a:pt x="346" y="66"/>
                  </a:lnTo>
                  <a:lnTo>
                    <a:pt x="340" y="76"/>
                  </a:lnTo>
                  <a:lnTo>
                    <a:pt x="336" y="84"/>
                  </a:lnTo>
                  <a:lnTo>
                    <a:pt x="330" y="94"/>
                  </a:lnTo>
                  <a:lnTo>
                    <a:pt x="330" y="94"/>
                  </a:lnTo>
                  <a:lnTo>
                    <a:pt x="330" y="98"/>
                  </a:lnTo>
                  <a:lnTo>
                    <a:pt x="326" y="100"/>
                  </a:lnTo>
                  <a:lnTo>
                    <a:pt x="324" y="104"/>
                  </a:lnTo>
                  <a:lnTo>
                    <a:pt x="324" y="110"/>
                  </a:lnTo>
                  <a:lnTo>
                    <a:pt x="324" y="116"/>
                  </a:lnTo>
                  <a:lnTo>
                    <a:pt x="328" y="124"/>
                  </a:lnTo>
                  <a:lnTo>
                    <a:pt x="328" y="130"/>
                  </a:lnTo>
                  <a:lnTo>
                    <a:pt x="326" y="130"/>
                  </a:lnTo>
                  <a:lnTo>
                    <a:pt x="324" y="132"/>
                  </a:lnTo>
                  <a:lnTo>
                    <a:pt x="322" y="132"/>
                  </a:lnTo>
                  <a:lnTo>
                    <a:pt x="318" y="128"/>
                  </a:lnTo>
                  <a:lnTo>
                    <a:pt x="312" y="124"/>
                  </a:lnTo>
                  <a:lnTo>
                    <a:pt x="302" y="116"/>
                  </a:lnTo>
                  <a:lnTo>
                    <a:pt x="292" y="114"/>
                  </a:lnTo>
                  <a:lnTo>
                    <a:pt x="280" y="114"/>
                  </a:lnTo>
                  <a:lnTo>
                    <a:pt x="276" y="114"/>
                  </a:lnTo>
                  <a:lnTo>
                    <a:pt x="272" y="112"/>
                  </a:lnTo>
                  <a:lnTo>
                    <a:pt x="266" y="110"/>
                  </a:lnTo>
                  <a:lnTo>
                    <a:pt x="264" y="108"/>
                  </a:lnTo>
                  <a:lnTo>
                    <a:pt x="260" y="112"/>
                  </a:lnTo>
                  <a:lnTo>
                    <a:pt x="258" y="112"/>
                  </a:lnTo>
                  <a:lnTo>
                    <a:pt x="254" y="110"/>
                  </a:lnTo>
                  <a:lnTo>
                    <a:pt x="248" y="110"/>
                  </a:lnTo>
                  <a:lnTo>
                    <a:pt x="246" y="106"/>
                  </a:lnTo>
                  <a:lnTo>
                    <a:pt x="246" y="106"/>
                  </a:lnTo>
                  <a:lnTo>
                    <a:pt x="238" y="106"/>
                  </a:lnTo>
                  <a:lnTo>
                    <a:pt x="236" y="104"/>
                  </a:lnTo>
                  <a:lnTo>
                    <a:pt x="234" y="104"/>
                  </a:lnTo>
                  <a:lnTo>
                    <a:pt x="232" y="102"/>
                  </a:lnTo>
                  <a:lnTo>
                    <a:pt x="226" y="98"/>
                  </a:lnTo>
                  <a:lnTo>
                    <a:pt x="220" y="102"/>
                  </a:lnTo>
                  <a:lnTo>
                    <a:pt x="206" y="100"/>
                  </a:lnTo>
                  <a:lnTo>
                    <a:pt x="158" y="100"/>
                  </a:lnTo>
                  <a:lnTo>
                    <a:pt x="142" y="100"/>
                  </a:lnTo>
                  <a:lnTo>
                    <a:pt x="142" y="106"/>
                  </a:lnTo>
                  <a:lnTo>
                    <a:pt x="136" y="116"/>
                  </a:lnTo>
                  <a:lnTo>
                    <a:pt x="134" y="126"/>
                  </a:lnTo>
                  <a:lnTo>
                    <a:pt x="132" y="134"/>
                  </a:lnTo>
                  <a:lnTo>
                    <a:pt x="134" y="142"/>
                  </a:lnTo>
                  <a:lnTo>
                    <a:pt x="138" y="148"/>
                  </a:lnTo>
                  <a:lnTo>
                    <a:pt x="138" y="154"/>
                  </a:lnTo>
                  <a:lnTo>
                    <a:pt x="138" y="156"/>
                  </a:lnTo>
                  <a:lnTo>
                    <a:pt x="134" y="158"/>
                  </a:lnTo>
                  <a:lnTo>
                    <a:pt x="136" y="160"/>
                  </a:lnTo>
                  <a:lnTo>
                    <a:pt x="140" y="162"/>
                  </a:lnTo>
                  <a:lnTo>
                    <a:pt x="146" y="160"/>
                  </a:lnTo>
                  <a:lnTo>
                    <a:pt x="156" y="156"/>
                  </a:lnTo>
                  <a:lnTo>
                    <a:pt x="170" y="152"/>
                  </a:lnTo>
                  <a:lnTo>
                    <a:pt x="178" y="150"/>
                  </a:lnTo>
                  <a:lnTo>
                    <a:pt x="192" y="150"/>
                  </a:lnTo>
                  <a:lnTo>
                    <a:pt x="200" y="152"/>
                  </a:lnTo>
                  <a:lnTo>
                    <a:pt x="204" y="156"/>
                  </a:lnTo>
                  <a:lnTo>
                    <a:pt x="208" y="170"/>
                  </a:lnTo>
                  <a:lnTo>
                    <a:pt x="210" y="172"/>
                  </a:lnTo>
                  <a:lnTo>
                    <a:pt x="214" y="176"/>
                  </a:lnTo>
                  <a:lnTo>
                    <a:pt x="216" y="184"/>
                  </a:lnTo>
                  <a:lnTo>
                    <a:pt x="216" y="186"/>
                  </a:lnTo>
                  <a:lnTo>
                    <a:pt x="216" y="190"/>
                  </a:lnTo>
                  <a:lnTo>
                    <a:pt x="214" y="194"/>
                  </a:lnTo>
                  <a:lnTo>
                    <a:pt x="210" y="198"/>
                  </a:lnTo>
                  <a:lnTo>
                    <a:pt x="210" y="202"/>
                  </a:lnTo>
                  <a:lnTo>
                    <a:pt x="206" y="204"/>
                  </a:lnTo>
                  <a:lnTo>
                    <a:pt x="204" y="206"/>
                  </a:lnTo>
                  <a:lnTo>
                    <a:pt x="194" y="208"/>
                  </a:lnTo>
                  <a:lnTo>
                    <a:pt x="192" y="208"/>
                  </a:lnTo>
                  <a:lnTo>
                    <a:pt x="190" y="214"/>
                  </a:lnTo>
                  <a:lnTo>
                    <a:pt x="184" y="220"/>
                  </a:lnTo>
                  <a:lnTo>
                    <a:pt x="182" y="224"/>
                  </a:lnTo>
                  <a:lnTo>
                    <a:pt x="180" y="230"/>
                  </a:lnTo>
                  <a:lnTo>
                    <a:pt x="180" y="238"/>
                  </a:lnTo>
                  <a:lnTo>
                    <a:pt x="180" y="248"/>
                  </a:lnTo>
                  <a:lnTo>
                    <a:pt x="178" y="256"/>
                  </a:lnTo>
                  <a:lnTo>
                    <a:pt x="182" y="258"/>
                  </a:lnTo>
                  <a:lnTo>
                    <a:pt x="192" y="260"/>
                  </a:lnTo>
                  <a:lnTo>
                    <a:pt x="194" y="262"/>
                  </a:lnTo>
                  <a:lnTo>
                    <a:pt x="198" y="266"/>
                  </a:lnTo>
                  <a:lnTo>
                    <a:pt x="202" y="270"/>
                  </a:lnTo>
                  <a:lnTo>
                    <a:pt x="212" y="274"/>
                  </a:lnTo>
                  <a:lnTo>
                    <a:pt x="216" y="276"/>
                  </a:lnTo>
                  <a:lnTo>
                    <a:pt x="220" y="280"/>
                  </a:lnTo>
                  <a:lnTo>
                    <a:pt x="220" y="282"/>
                  </a:lnTo>
                  <a:lnTo>
                    <a:pt x="216" y="294"/>
                  </a:lnTo>
                  <a:lnTo>
                    <a:pt x="214" y="306"/>
                  </a:lnTo>
                  <a:lnTo>
                    <a:pt x="216" y="314"/>
                  </a:lnTo>
                  <a:lnTo>
                    <a:pt x="216" y="324"/>
                  </a:lnTo>
                  <a:lnTo>
                    <a:pt x="218" y="336"/>
                  </a:lnTo>
                  <a:lnTo>
                    <a:pt x="218" y="342"/>
                  </a:lnTo>
                  <a:lnTo>
                    <a:pt x="214" y="346"/>
                  </a:lnTo>
                  <a:lnTo>
                    <a:pt x="214" y="350"/>
                  </a:lnTo>
                  <a:lnTo>
                    <a:pt x="216" y="354"/>
                  </a:lnTo>
                  <a:lnTo>
                    <a:pt x="214" y="366"/>
                  </a:lnTo>
                  <a:lnTo>
                    <a:pt x="212" y="368"/>
                  </a:lnTo>
                  <a:lnTo>
                    <a:pt x="206" y="370"/>
                  </a:lnTo>
                  <a:lnTo>
                    <a:pt x="204" y="374"/>
                  </a:lnTo>
                  <a:lnTo>
                    <a:pt x="204" y="378"/>
                  </a:lnTo>
                  <a:lnTo>
                    <a:pt x="202" y="386"/>
                  </a:lnTo>
                  <a:lnTo>
                    <a:pt x="198" y="388"/>
                  </a:lnTo>
                  <a:lnTo>
                    <a:pt x="198" y="392"/>
                  </a:lnTo>
                  <a:lnTo>
                    <a:pt x="200" y="394"/>
                  </a:lnTo>
                  <a:lnTo>
                    <a:pt x="200" y="396"/>
                  </a:lnTo>
                  <a:lnTo>
                    <a:pt x="196" y="402"/>
                  </a:lnTo>
                  <a:lnTo>
                    <a:pt x="194" y="404"/>
                  </a:lnTo>
                  <a:lnTo>
                    <a:pt x="188" y="406"/>
                  </a:lnTo>
                  <a:lnTo>
                    <a:pt x="180" y="404"/>
                  </a:lnTo>
                  <a:lnTo>
                    <a:pt x="178" y="402"/>
                  </a:lnTo>
                  <a:lnTo>
                    <a:pt x="180" y="398"/>
                  </a:lnTo>
                  <a:lnTo>
                    <a:pt x="180" y="396"/>
                  </a:lnTo>
                  <a:lnTo>
                    <a:pt x="178" y="392"/>
                  </a:lnTo>
                  <a:lnTo>
                    <a:pt x="174" y="384"/>
                  </a:lnTo>
                  <a:lnTo>
                    <a:pt x="170" y="382"/>
                  </a:lnTo>
                  <a:lnTo>
                    <a:pt x="168" y="386"/>
                  </a:lnTo>
                  <a:lnTo>
                    <a:pt x="162" y="392"/>
                  </a:lnTo>
                  <a:lnTo>
                    <a:pt x="152" y="400"/>
                  </a:lnTo>
                  <a:lnTo>
                    <a:pt x="146" y="400"/>
                  </a:lnTo>
                  <a:lnTo>
                    <a:pt x="132" y="398"/>
                  </a:lnTo>
                  <a:lnTo>
                    <a:pt x="122" y="394"/>
                  </a:lnTo>
                  <a:lnTo>
                    <a:pt x="116" y="386"/>
                  </a:lnTo>
                  <a:lnTo>
                    <a:pt x="114" y="378"/>
                  </a:lnTo>
                  <a:lnTo>
                    <a:pt x="108" y="370"/>
                  </a:lnTo>
                  <a:lnTo>
                    <a:pt x="104" y="364"/>
                  </a:lnTo>
                  <a:lnTo>
                    <a:pt x="98" y="362"/>
                  </a:lnTo>
                  <a:lnTo>
                    <a:pt x="96" y="362"/>
                  </a:lnTo>
                  <a:lnTo>
                    <a:pt x="88" y="368"/>
                  </a:lnTo>
                  <a:lnTo>
                    <a:pt x="86" y="368"/>
                  </a:lnTo>
                  <a:lnTo>
                    <a:pt x="86" y="374"/>
                  </a:lnTo>
                  <a:lnTo>
                    <a:pt x="86" y="376"/>
                  </a:lnTo>
                  <a:lnTo>
                    <a:pt x="88" y="378"/>
                  </a:lnTo>
                  <a:lnTo>
                    <a:pt x="88" y="380"/>
                  </a:lnTo>
                  <a:lnTo>
                    <a:pt x="88" y="384"/>
                  </a:lnTo>
                  <a:lnTo>
                    <a:pt x="86" y="390"/>
                  </a:lnTo>
                  <a:lnTo>
                    <a:pt x="86" y="396"/>
                  </a:lnTo>
                  <a:lnTo>
                    <a:pt x="60" y="400"/>
                  </a:lnTo>
                  <a:lnTo>
                    <a:pt x="56" y="398"/>
                  </a:lnTo>
                  <a:lnTo>
                    <a:pt x="54" y="396"/>
                  </a:lnTo>
                  <a:lnTo>
                    <a:pt x="50" y="396"/>
                  </a:lnTo>
                  <a:lnTo>
                    <a:pt x="38" y="400"/>
                  </a:lnTo>
                  <a:lnTo>
                    <a:pt x="34" y="398"/>
                  </a:lnTo>
                  <a:lnTo>
                    <a:pt x="32" y="396"/>
                  </a:lnTo>
                  <a:lnTo>
                    <a:pt x="28" y="398"/>
                  </a:lnTo>
                  <a:lnTo>
                    <a:pt x="28" y="400"/>
                  </a:lnTo>
                  <a:lnTo>
                    <a:pt x="30" y="412"/>
                  </a:lnTo>
                  <a:lnTo>
                    <a:pt x="30" y="418"/>
                  </a:lnTo>
                  <a:lnTo>
                    <a:pt x="28" y="424"/>
                  </a:lnTo>
                  <a:lnTo>
                    <a:pt x="26" y="428"/>
                  </a:lnTo>
                  <a:lnTo>
                    <a:pt x="34" y="430"/>
                  </a:lnTo>
                  <a:lnTo>
                    <a:pt x="36" y="432"/>
                  </a:lnTo>
                  <a:lnTo>
                    <a:pt x="38" y="436"/>
                  </a:lnTo>
                  <a:lnTo>
                    <a:pt x="42" y="438"/>
                  </a:lnTo>
                  <a:lnTo>
                    <a:pt x="42" y="440"/>
                  </a:lnTo>
                  <a:lnTo>
                    <a:pt x="38" y="444"/>
                  </a:lnTo>
                  <a:lnTo>
                    <a:pt x="36" y="448"/>
                  </a:lnTo>
                  <a:lnTo>
                    <a:pt x="38" y="450"/>
                  </a:lnTo>
                  <a:lnTo>
                    <a:pt x="42" y="454"/>
                  </a:lnTo>
                  <a:lnTo>
                    <a:pt x="50" y="458"/>
                  </a:lnTo>
                  <a:lnTo>
                    <a:pt x="52" y="460"/>
                  </a:lnTo>
                  <a:lnTo>
                    <a:pt x="52" y="462"/>
                  </a:lnTo>
                  <a:lnTo>
                    <a:pt x="50" y="466"/>
                  </a:lnTo>
                  <a:lnTo>
                    <a:pt x="48" y="470"/>
                  </a:lnTo>
                  <a:lnTo>
                    <a:pt x="46" y="474"/>
                  </a:lnTo>
                  <a:lnTo>
                    <a:pt x="46" y="478"/>
                  </a:lnTo>
                  <a:lnTo>
                    <a:pt x="50" y="480"/>
                  </a:lnTo>
                  <a:lnTo>
                    <a:pt x="48" y="484"/>
                  </a:lnTo>
                  <a:lnTo>
                    <a:pt x="46" y="484"/>
                  </a:lnTo>
                  <a:lnTo>
                    <a:pt x="42" y="484"/>
                  </a:lnTo>
                  <a:lnTo>
                    <a:pt x="40" y="484"/>
                  </a:lnTo>
                  <a:lnTo>
                    <a:pt x="36" y="484"/>
                  </a:lnTo>
                  <a:lnTo>
                    <a:pt x="26" y="474"/>
                  </a:lnTo>
                  <a:lnTo>
                    <a:pt x="24" y="474"/>
                  </a:lnTo>
                  <a:lnTo>
                    <a:pt x="10" y="482"/>
                  </a:lnTo>
                  <a:lnTo>
                    <a:pt x="6" y="484"/>
                  </a:lnTo>
                  <a:lnTo>
                    <a:pt x="4" y="490"/>
                  </a:lnTo>
                  <a:lnTo>
                    <a:pt x="0" y="500"/>
                  </a:lnTo>
                  <a:lnTo>
                    <a:pt x="16" y="514"/>
                  </a:lnTo>
                  <a:lnTo>
                    <a:pt x="18" y="518"/>
                  </a:lnTo>
                  <a:lnTo>
                    <a:pt x="34" y="534"/>
                  </a:lnTo>
                  <a:lnTo>
                    <a:pt x="42" y="542"/>
                  </a:lnTo>
                  <a:lnTo>
                    <a:pt x="42" y="550"/>
                  </a:lnTo>
                  <a:lnTo>
                    <a:pt x="44" y="552"/>
                  </a:lnTo>
                  <a:lnTo>
                    <a:pt x="44" y="554"/>
                  </a:lnTo>
                  <a:lnTo>
                    <a:pt x="50" y="562"/>
                  </a:lnTo>
                  <a:lnTo>
                    <a:pt x="54" y="568"/>
                  </a:lnTo>
                  <a:lnTo>
                    <a:pt x="56" y="570"/>
                  </a:lnTo>
                  <a:lnTo>
                    <a:pt x="58" y="572"/>
                  </a:lnTo>
                  <a:lnTo>
                    <a:pt x="62" y="568"/>
                  </a:lnTo>
                  <a:lnTo>
                    <a:pt x="68" y="560"/>
                  </a:lnTo>
                  <a:lnTo>
                    <a:pt x="70" y="556"/>
                  </a:lnTo>
                  <a:lnTo>
                    <a:pt x="76" y="556"/>
                  </a:lnTo>
                  <a:lnTo>
                    <a:pt x="80" y="552"/>
                  </a:lnTo>
                  <a:lnTo>
                    <a:pt x="82" y="548"/>
                  </a:lnTo>
                  <a:lnTo>
                    <a:pt x="82" y="546"/>
                  </a:lnTo>
                  <a:lnTo>
                    <a:pt x="90" y="544"/>
                  </a:lnTo>
                  <a:lnTo>
                    <a:pt x="98" y="540"/>
                  </a:lnTo>
                  <a:lnTo>
                    <a:pt x="104" y="536"/>
                  </a:lnTo>
                  <a:lnTo>
                    <a:pt x="110" y="534"/>
                  </a:lnTo>
                  <a:lnTo>
                    <a:pt x="112" y="534"/>
                  </a:lnTo>
                  <a:lnTo>
                    <a:pt x="114" y="534"/>
                  </a:lnTo>
                  <a:lnTo>
                    <a:pt x="120" y="542"/>
                  </a:lnTo>
                  <a:lnTo>
                    <a:pt x="126" y="546"/>
                  </a:lnTo>
                  <a:lnTo>
                    <a:pt x="126" y="546"/>
                  </a:lnTo>
                  <a:lnTo>
                    <a:pt x="128" y="544"/>
                  </a:lnTo>
                  <a:lnTo>
                    <a:pt x="132" y="544"/>
                  </a:lnTo>
                  <a:lnTo>
                    <a:pt x="132" y="546"/>
                  </a:lnTo>
                  <a:lnTo>
                    <a:pt x="134" y="548"/>
                  </a:lnTo>
                  <a:lnTo>
                    <a:pt x="136" y="552"/>
                  </a:lnTo>
                  <a:lnTo>
                    <a:pt x="142" y="556"/>
                  </a:lnTo>
                  <a:lnTo>
                    <a:pt x="148" y="560"/>
                  </a:lnTo>
                  <a:lnTo>
                    <a:pt x="150" y="560"/>
                  </a:lnTo>
                  <a:lnTo>
                    <a:pt x="154" y="558"/>
                  </a:lnTo>
                  <a:lnTo>
                    <a:pt x="158" y="554"/>
                  </a:lnTo>
                  <a:lnTo>
                    <a:pt x="166" y="552"/>
                  </a:lnTo>
                  <a:lnTo>
                    <a:pt x="168" y="550"/>
                  </a:lnTo>
                  <a:lnTo>
                    <a:pt x="168" y="546"/>
                  </a:lnTo>
                  <a:lnTo>
                    <a:pt x="168" y="540"/>
                  </a:lnTo>
                  <a:lnTo>
                    <a:pt x="170" y="534"/>
                  </a:lnTo>
                  <a:lnTo>
                    <a:pt x="170" y="534"/>
                  </a:lnTo>
                  <a:lnTo>
                    <a:pt x="174" y="534"/>
                  </a:lnTo>
                  <a:lnTo>
                    <a:pt x="178" y="536"/>
                  </a:lnTo>
                  <a:lnTo>
                    <a:pt x="180" y="536"/>
                  </a:lnTo>
                  <a:lnTo>
                    <a:pt x="184" y="536"/>
                  </a:lnTo>
                  <a:lnTo>
                    <a:pt x="186" y="536"/>
                  </a:lnTo>
                  <a:lnTo>
                    <a:pt x="190" y="532"/>
                  </a:lnTo>
                  <a:lnTo>
                    <a:pt x="196" y="532"/>
                  </a:lnTo>
                  <a:lnTo>
                    <a:pt x="202" y="528"/>
                  </a:lnTo>
                  <a:lnTo>
                    <a:pt x="208" y="524"/>
                  </a:lnTo>
                  <a:lnTo>
                    <a:pt x="212" y="524"/>
                  </a:lnTo>
                  <a:lnTo>
                    <a:pt x="214" y="530"/>
                  </a:lnTo>
                  <a:lnTo>
                    <a:pt x="216" y="532"/>
                  </a:lnTo>
                  <a:lnTo>
                    <a:pt x="218" y="534"/>
                  </a:lnTo>
                  <a:lnTo>
                    <a:pt x="214" y="538"/>
                  </a:lnTo>
                  <a:lnTo>
                    <a:pt x="212" y="544"/>
                  </a:lnTo>
                  <a:lnTo>
                    <a:pt x="214" y="550"/>
                  </a:lnTo>
                  <a:lnTo>
                    <a:pt x="214" y="556"/>
                  </a:lnTo>
                  <a:lnTo>
                    <a:pt x="214" y="560"/>
                  </a:lnTo>
                  <a:lnTo>
                    <a:pt x="216" y="562"/>
                  </a:lnTo>
                  <a:lnTo>
                    <a:pt x="218" y="562"/>
                  </a:lnTo>
                  <a:lnTo>
                    <a:pt x="220" y="560"/>
                  </a:lnTo>
                  <a:lnTo>
                    <a:pt x="224" y="562"/>
                  </a:lnTo>
                  <a:lnTo>
                    <a:pt x="230" y="564"/>
                  </a:lnTo>
                  <a:lnTo>
                    <a:pt x="234" y="564"/>
                  </a:lnTo>
                  <a:lnTo>
                    <a:pt x="238" y="560"/>
                  </a:lnTo>
                  <a:lnTo>
                    <a:pt x="248" y="552"/>
                  </a:lnTo>
                  <a:lnTo>
                    <a:pt x="260" y="536"/>
                  </a:lnTo>
                  <a:lnTo>
                    <a:pt x="270" y="526"/>
                  </a:lnTo>
                  <a:lnTo>
                    <a:pt x="280" y="522"/>
                  </a:lnTo>
                  <a:lnTo>
                    <a:pt x="286" y="516"/>
                  </a:lnTo>
                  <a:lnTo>
                    <a:pt x="288" y="510"/>
                  </a:lnTo>
                  <a:lnTo>
                    <a:pt x="292" y="508"/>
                  </a:lnTo>
                  <a:lnTo>
                    <a:pt x="302" y="504"/>
                  </a:lnTo>
                  <a:lnTo>
                    <a:pt x="310" y="500"/>
                  </a:lnTo>
                  <a:lnTo>
                    <a:pt x="318" y="490"/>
                  </a:lnTo>
                  <a:lnTo>
                    <a:pt x="328" y="470"/>
                  </a:lnTo>
                  <a:lnTo>
                    <a:pt x="334" y="442"/>
                  </a:lnTo>
                  <a:lnTo>
                    <a:pt x="332" y="404"/>
                  </a:lnTo>
                  <a:lnTo>
                    <a:pt x="332" y="392"/>
                  </a:lnTo>
                  <a:lnTo>
                    <a:pt x="334" y="386"/>
                  </a:lnTo>
                  <a:lnTo>
                    <a:pt x="336" y="380"/>
                  </a:lnTo>
                  <a:lnTo>
                    <a:pt x="348" y="372"/>
                  </a:lnTo>
                  <a:lnTo>
                    <a:pt x="354" y="364"/>
                  </a:lnTo>
                  <a:lnTo>
                    <a:pt x="360" y="354"/>
                  </a:lnTo>
                  <a:lnTo>
                    <a:pt x="370" y="332"/>
                  </a:lnTo>
                  <a:lnTo>
                    <a:pt x="374" y="326"/>
                  </a:lnTo>
                  <a:lnTo>
                    <a:pt x="376" y="324"/>
                  </a:lnTo>
                  <a:lnTo>
                    <a:pt x="384" y="318"/>
                  </a:lnTo>
                  <a:lnTo>
                    <a:pt x="392" y="312"/>
                  </a:lnTo>
                  <a:lnTo>
                    <a:pt x="402" y="308"/>
                  </a:lnTo>
                  <a:lnTo>
                    <a:pt x="420" y="294"/>
                  </a:lnTo>
                  <a:lnTo>
                    <a:pt x="434" y="278"/>
                  </a:lnTo>
                  <a:lnTo>
                    <a:pt x="432" y="260"/>
                  </a:lnTo>
                  <a:lnTo>
                    <a:pt x="436" y="246"/>
                  </a:lnTo>
                  <a:lnTo>
                    <a:pt x="442" y="228"/>
                  </a:lnTo>
                  <a:lnTo>
                    <a:pt x="446" y="208"/>
                  </a:lnTo>
                  <a:lnTo>
                    <a:pt x="442" y="186"/>
                  </a:lnTo>
                  <a:lnTo>
                    <a:pt x="444" y="170"/>
                  </a:lnTo>
                  <a:lnTo>
                    <a:pt x="450" y="150"/>
                  </a:lnTo>
                  <a:lnTo>
                    <a:pt x="454" y="142"/>
                  </a:lnTo>
                  <a:lnTo>
                    <a:pt x="454" y="130"/>
                  </a:lnTo>
                  <a:lnTo>
                    <a:pt x="454" y="110"/>
                  </a:lnTo>
                  <a:lnTo>
                    <a:pt x="464" y="84"/>
                  </a:lnTo>
                  <a:lnTo>
                    <a:pt x="472" y="68"/>
                  </a:lnTo>
                  <a:lnTo>
                    <a:pt x="482" y="50"/>
                  </a:lnTo>
                  <a:lnTo>
                    <a:pt x="486" y="40"/>
                  </a:lnTo>
                  <a:lnTo>
                    <a:pt x="490" y="26"/>
                  </a:lnTo>
                  <a:lnTo>
                    <a:pt x="490"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7" name="Google Shape;4534;p64">
              <a:extLst>
                <a:ext uri="{FF2B5EF4-FFF2-40B4-BE49-F238E27FC236}">
                  <a16:creationId xmlns:a16="http://schemas.microsoft.com/office/drawing/2014/main" id="{1137E2DB-70EE-EF08-F387-C5DD6543D105}"/>
                </a:ext>
              </a:extLst>
            </p:cNvPr>
            <p:cNvSpPr/>
            <p:nvPr/>
          </p:nvSpPr>
          <p:spPr>
            <a:xfrm>
              <a:off x="2825112" y="4719704"/>
              <a:ext cx="261213" cy="360972"/>
            </a:xfrm>
            <a:custGeom>
              <a:avLst/>
              <a:gdLst/>
              <a:ahLst/>
              <a:cxnLst/>
              <a:rect l="l" t="t" r="r" b="b"/>
              <a:pathLst>
                <a:path w="1896520" h="2620820" extrusionOk="0">
                  <a:moveTo>
                    <a:pt x="128658" y="1543902"/>
                  </a:moveTo>
                  <a:lnTo>
                    <a:pt x="138189" y="1548666"/>
                  </a:lnTo>
                  <a:lnTo>
                    <a:pt x="138189" y="1553432"/>
                  </a:lnTo>
                  <a:lnTo>
                    <a:pt x="142954" y="1562962"/>
                  </a:lnTo>
                  <a:lnTo>
                    <a:pt x="138189" y="1567726"/>
                  </a:lnTo>
                  <a:lnTo>
                    <a:pt x="128658" y="1558196"/>
                  </a:lnTo>
                  <a:lnTo>
                    <a:pt x="123893" y="1553432"/>
                  </a:lnTo>
                  <a:close/>
                  <a:moveTo>
                    <a:pt x="1157926" y="0"/>
                  </a:moveTo>
                  <a:lnTo>
                    <a:pt x="1176986" y="0"/>
                  </a:lnTo>
                  <a:lnTo>
                    <a:pt x="1210342" y="19060"/>
                  </a:lnTo>
                  <a:lnTo>
                    <a:pt x="1229404" y="47652"/>
                  </a:lnTo>
                  <a:lnTo>
                    <a:pt x="1229404" y="61946"/>
                  </a:lnTo>
                  <a:lnTo>
                    <a:pt x="1205578" y="85772"/>
                  </a:lnTo>
                  <a:lnTo>
                    <a:pt x="1200812" y="95302"/>
                  </a:lnTo>
                  <a:lnTo>
                    <a:pt x="1196048" y="95302"/>
                  </a:lnTo>
                  <a:lnTo>
                    <a:pt x="1191282" y="100068"/>
                  </a:lnTo>
                  <a:lnTo>
                    <a:pt x="1167456" y="109598"/>
                  </a:lnTo>
                  <a:lnTo>
                    <a:pt x="1138866" y="114364"/>
                  </a:lnTo>
                  <a:lnTo>
                    <a:pt x="1100744" y="123894"/>
                  </a:lnTo>
                  <a:lnTo>
                    <a:pt x="1095980" y="133424"/>
                  </a:lnTo>
                  <a:lnTo>
                    <a:pt x="1057858" y="200136"/>
                  </a:lnTo>
                  <a:lnTo>
                    <a:pt x="1024502" y="214430"/>
                  </a:lnTo>
                  <a:lnTo>
                    <a:pt x="1014972" y="223960"/>
                  </a:lnTo>
                  <a:lnTo>
                    <a:pt x="1005442" y="233492"/>
                  </a:lnTo>
                  <a:lnTo>
                    <a:pt x="986382" y="257316"/>
                  </a:lnTo>
                  <a:lnTo>
                    <a:pt x="981616" y="271612"/>
                  </a:lnTo>
                  <a:lnTo>
                    <a:pt x="957790" y="309734"/>
                  </a:lnTo>
                  <a:lnTo>
                    <a:pt x="948260" y="357384"/>
                  </a:lnTo>
                  <a:lnTo>
                    <a:pt x="943496" y="385976"/>
                  </a:lnTo>
                  <a:lnTo>
                    <a:pt x="938730" y="424096"/>
                  </a:lnTo>
                  <a:lnTo>
                    <a:pt x="929200" y="443156"/>
                  </a:lnTo>
                  <a:lnTo>
                    <a:pt x="919670" y="462218"/>
                  </a:lnTo>
                  <a:lnTo>
                    <a:pt x="905374" y="476512"/>
                  </a:lnTo>
                  <a:lnTo>
                    <a:pt x="895844" y="495574"/>
                  </a:lnTo>
                  <a:lnTo>
                    <a:pt x="881548" y="514634"/>
                  </a:lnTo>
                  <a:lnTo>
                    <a:pt x="881548" y="519398"/>
                  </a:lnTo>
                  <a:lnTo>
                    <a:pt x="886314" y="519398"/>
                  </a:lnTo>
                  <a:lnTo>
                    <a:pt x="910140" y="519398"/>
                  </a:lnTo>
                  <a:lnTo>
                    <a:pt x="919670" y="514634"/>
                  </a:lnTo>
                  <a:lnTo>
                    <a:pt x="929200" y="505104"/>
                  </a:lnTo>
                  <a:lnTo>
                    <a:pt x="938730" y="509868"/>
                  </a:lnTo>
                  <a:lnTo>
                    <a:pt x="948260" y="524164"/>
                  </a:lnTo>
                  <a:lnTo>
                    <a:pt x="953026" y="528930"/>
                  </a:lnTo>
                  <a:lnTo>
                    <a:pt x="962556" y="524164"/>
                  </a:lnTo>
                  <a:lnTo>
                    <a:pt x="972086" y="528930"/>
                  </a:lnTo>
                  <a:lnTo>
                    <a:pt x="981616" y="571816"/>
                  </a:lnTo>
                  <a:lnTo>
                    <a:pt x="991146" y="605172"/>
                  </a:lnTo>
                  <a:lnTo>
                    <a:pt x="1029268" y="648058"/>
                  </a:lnTo>
                  <a:lnTo>
                    <a:pt x="1034032" y="662352"/>
                  </a:lnTo>
                  <a:lnTo>
                    <a:pt x="1038798" y="681414"/>
                  </a:lnTo>
                  <a:lnTo>
                    <a:pt x="1038798" y="690944"/>
                  </a:lnTo>
                  <a:lnTo>
                    <a:pt x="1034032" y="700474"/>
                  </a:lnTo>
                  <a:lnTo>
                    <a:pt x="1024502" y="710004"/>
                  </a:lnTo>
                  <a:lnTo>
                    <a:pt x="1024502" y="733830"/>
                  </a:lnTo>
                  <a:lnTo>
                    <a:pt x="1024502" y="743360"/>
                  </a:lnTo>
                  <a:lnTo>
                    <a:pt x="1019738" y="767186"/>
                  </a:lnTo>
                  <a:lnTo>
                    <a:pt x="1019738" y="781480"/>
                  </a:lnTo>
                  <a:lnTo>
                    <a:pt x="1029268" y="791012"/>
                  </a:lnTo>
                  <a:lnTo>
                    <a:pt x="1034032" y="795776"/>
                  </a:lnTo>
                  <a:lnTo>
                    <a:pt x="1048328" y="800542"/>
                  </a:lnTo>
                  <a:lnTo>
                    <a:pt x="1062624" y="805306"/>
                  </a:lnTo>
                  <a:lnTo>
                    <a:pt x="1072154" y="824366"/>
                  </a:lnTo>
                  <a:lnTo>
                    <a:pt x="1081684" y="848192"/>
                  </a:lnTo>
                  <a:lnTo>
                    <a:pt x="1095980" y="857722"/>
                  </a:lnTo>
                  <a:lnTo>
                    <a:pt x="1115040" y="867254"/>
                  </a:lnTo>
                  <a:lnTo>
                    <a:pt x="1124570" y="862488"/>
                  </a:lnTo>
                  <a:lnTo>
                    <a:pt x="1153160" y="857722"/>
                  </a:lnTo>
                  <a:lnTo>
                    <a:pt x="1181752" y="857722"/>
                  </a:lnTo>
                  <a:lnTo>
                    <a:pt x="1219872" y="867254"/>
                  </a:lnTo>
                  <a:lnTo>
                    <a:pt x="1234168" y="867254"/>
                  </a:lnTo>
                  <a:lnTo>
                    <a:pt x="1248464" y="862488"/>
                  </a:lnTo>
                  <a:lnTo>
                    <a:pt x="1281820" y="852958"/>
                  </a:lnTo>
                  <a:lnTo>
                    <a:pt x="1291350" y="848192"/>
                  </a:lnTo>
                  <a:lnTo>
                    <a:pt x="1305646" y="852958"/>
                  </a:lnTo>
                  <a:lnTo>
                    <a:pt x="1324706" y="857722"/>
                  </a:lnTo>
                  <a:lnTo>
                    <a:pt x="1334236" y="862488"/>
                  </a:lnTo>
                  <a:lnTo>
                    <a:pt x="1348532" y="867254"/>
                  </a:lnTo>
                  <a:lnTo>
                    <a:pt x="1367592" y="872018"/>
                  </a:lnTo>
                  <a:lnTo>
                    <a:pt x="1377122" y="872018"/>
                  </a:lnTo>
                  <a:lnTo>
                    <a:pt x="1386652" y="872018"/>
                  </a:lnTo>
                  <a:lnTo>
                    <a:pt x="1396182" y="872018"/>
                  </a:lnTo>
                  <a:lnTo>
                    <a:pt x="1424774" y="910140"/>
                  </a:lnTo>
                  <a:lnTo>
                    <a:pt x="1448600" y="943496"/>
                  </a:lnTo>
                  <a:lnTo>
                    <a:pt x="1472424" y="972086"/>
                  </a:lnTo>
                  <a:lnTo>
                    <a:pt x="1496250" y="1000676"/>
                  </a:lnTo>
                  <a:lnTo>
                    <a:pt x="1510546" y="995912"/>
                  </a:lnTo>
                  <a:lnTo>
                    <a:pt x="1515310" y="1000676"/>
                  </a:lnTo>
                  <a:lnTo>
                    <a:pt x="1524840" y="1005442"/>
                  </a:lnTo>
                  <a:lnTo>
                    <a:pt x="1534372" y="1000676"/>
                  </a:lnTo>
                  <a:lnTo>
                    <a:pt x="1548666" y="991146"/>
                  </a:lnTo>
                  <a:lnTo>
                    <a:pt x="1572492" y="991146"/>
                  </a:lnTo>
                  <a:lnTo>
                    <a:pt x="1605848" y="995912"/>
                  </a:lnTo>
                  <a:lnTo>
                    <a:pt x="1648734" y="995912"/>
                  </a:lnTo>
                  <a:lnTo>
                    <a:pt x="1696386" y="991146"/>
                  </a:lnTo>
                  <a:lnTo>
                    <a:pt x="1729742" y="981616"/>
                  </a:lnTo>
                  <a:lnTo>
                    <a:pt x="1744036" y="976852"/>
                  </a:lnTo>
                  <a:lnTo>
                    <a:pt x="1763098" y="976852"/>
                  </a:lnTo>
                  <a:lnTo>
                    <a:pt x="1786924" y="981616"/>
                  </a:lnTo>
                  <a:lnTo>
                    <a:pt x="1801218" y="991146"/>
                  </a:lnTo>
                  <a:lnTo>
                    <a:pt x="1801218" y="1000676"/>
                  </a:lnTo>
                  <a:lnTo>
                    <a:pt x="1810748" y="1014972"/>
                  </a:lnTo>
                  <a:lnTo>
                    <a:pt x="1801218" y="1034032"/>
                  </a:lnTo>
                  <a:lnTo>
                    <a:pt x="1786924" y="1048328"/>
                  </a:lnTo>
                  <a:lnTo>
                    <a:pt x="1777392" y="1067388"/>
                  </a:lnTo>
                  <a:lnTo>
                    <a:pt x="1777392" y="1091214"/>
                  </a:lnTo>
                  <a:lnTo>
                    <a:pt x="1767862" y="1105510"/>
                  </a:lnTo>
                  <a:lnTo>
                    <a:pt x="1753568" y="1119804"/>
                  </a:lnTo>
                  <a:lnTo>
                    <a:pt x="1748802" y="1134100"/>
                  </a:lnTo>
                  <a:lnTo>
                    <a:pt x="1753568" y="1157926"/>
                  </a:lnTo>
                  <a:lnTo>
                    <a:pt x="1748802" y="1186516"/>
                  </a:lnTo>
                  <a:lnTo>
                    <a:pt x="1744036" y="1229402"/>
                  </a:lnTo>
                  <a:lnTo>
                    <a:pt x="1744036" y="1253228"/>
                  </a:lnTo>
                  <a:lnTo>
                    <a:pt x="1748802" y="1262758"/>
                  </a:lnTo>
                  <a:lnTo>
                    <a:pt x="1753568" y="1277054"/>
                  </a:lnTo>
                  <a:lnTo>
                    <a:pt x="1753568" y="1291350"/>
                  </a:lnTo>
                  <a:lnTo>
                    <a:pt x="1753568" y="1305644"/>
                  </a:lnTo>
                  <a:lnTo>
                    <a:pt x="1763098" y="1319940"/>
                  </a:lnTo>
                  <a:lnTo>
                    <a:pt x="1772628" y="1358062"/>
                  </a:lnTo>
                  <a:lnTo>
                    <a:pt x="1782158" y="1372356"/>
                  </a:lnTo>
                  <a:lnTo>
                    <a:pt x="1791688" y="1377122"/>
                  </a:lnTo>
                  <a:lnTo>
                    <a:pt x="1801218" y="1381886"/>
                  </a:lnTo>
                  <a:lnTo>
                    <a:pt x="1820280" y="1420008"/>
                  </a:lnTo>
                  <a:lnTo>
                    <a:pt x="1829810" y="1424774"/>
                  </a:lnTo>
                  <a:lnTo>
                    <a:pt x="1825044" y="1434304"/>
                  </a:lnTo>
                  <a:lnTo>
                    <a:pt x="1825044" y="1439068"/>
                  </a:lnTo>
                  <a:lnTo>
                    <a:pt x="1820280" y="1439068"/>
                  </a:lnTo>
                  <a:lnTo>
                    <a:pt x="1796454" y="1462894"/>
                  </a:lnTo>
                  <a:lnTo>
                    <a:pt x="1748802" y="1505780"/>
                  </a:lnTo>
                  <a:lnTo>
                    <a:pt x="1744036" y="1515310"/>
                  </a:lnTo>
                  <a:lnTo>
                    <a:pt x="1744036" y="1524840"/>
                  </a:lnTo>
                  <a:lnTo>
                    <a:pt x="1758332" y="1515310"/>
                  </a:lnTo>
                  <a:lnTo>
                    <a:pt x="1772628" y="1520076"/>
                  </a:lnTo>
                  <a:lnTo>
                    <a:pt x="1782158" y="1524840"/>
                  </a:lnTo>
                  <a:lnTo>
                    <a:pt x="1782158" y="1529606"/>
                  </a:lnTo>
                  <a:lnTo>
                    <a:pt x="1786924" y="1539136"/>
                  </a:lnTo>
                  <a:lnTo>
                    <a:pt x="1791688" y="1539136"/>
                  </a:lnTo>
                  <a:lnTo>
                    <a:pt x="1801218" y="1548666"/>
                  </a:lnTo>
                  <a:lnTo>
                    <a:pt x="1815514" y="1558196"/>
                  </a:lnTo>
                  <a:lnTo>
                    <a:pt x="1829810" y="1572492"/>
                  </a:lnTo>
                  <a:lnTo>
                    <a:pt x="1839340" y="1582022"/>
                  </a:lnTo>
                  <a:lnTo>
                    <a:pt x="1844104" y="1586788"/>
                  </a:lnTo>
                  <a:lnTo>
                    <a:pt x="1844104" y="1596318"/>
                  </a:lnTo>
                  <a:lnTo>
                    <a:pt x="1844104" y="1605848"/>
                  </a:lnTo>
                  <a:lnTo>
                    <a:pt x="1848870" y="1624908"/>
                  </a:lnTo>
                  <a:lnTo>
                    <a:pt x="1858400" y="1629674"/>
                  </a:lnTo>
                  <a:lnTo>
                    <a:pt x="1858400" y="1639204"/>
                  </a:lnTo>
                  <a:lnTo>
                    <a:pt x="1858400" y="1648734"/>
                  </a:lnTo>
                  <a:lnTo>
                    <a:pt x="1863166" y="1658264"/>
                  </a:lnTo>
                  <a:lnTo>
                    <a:pt x="1867930" y="1672560"/>
                  </a:lnTo>
                  <a:lnTo>
                    <a:pt x="1877460" y="1696386"/>
                  </a:lnTo>
                  <a:lnTo>
                    <a:pt x="1877460" y="1710680"/>
                  </a:lnTo>
                  <a:lnTo>
                    <a:pt x="1882226" y="1715446"/>
                  </a:lnTo>
                  <a:lnTo>
                    <a:pt x="1886990" y="1729742"/>
                  </a:lnTo>
                  <a:lnTo>
                    <a:pt x="1896520" y="1748802"/>
                  </a:lnTo>
                  <a:lnTo>
                    <a:pt x="1891756" y="1758332"/>
                  </a:lnTo>
                  <a:lnTo>
                    <a:pt x="1896520" y="1767862"/>
                  </a:lnTo>
                  <a:lnTo>
                    <a:pt x="1867930" y="1777392"/>
                  </a:lnTo>
                  <a:lnTo>
                    <a:pt x="1863166" y="1772628"/>
                  </a:lnTo>
                  <a:lnTo>
                    <a:pt x="1863166" y="1739272"/>
                  </a:lnTo>
                  <a:lnTo>
                    <a:pt x="1863166" y="1705916"/>
                  </a:lnTo>
                  <a:lnTo>
                    <a:pt x="1858400" y="1691620"/>
                  </a:lnTo>
                  <a:lnTo>
                    <a:pt x="1844104" y="1672560"/>
                  </a:lnTo>
                  <a:lnTo>
                    <a:pt x="1825044" y="1643968"/>
                  </a:lnTo>
                  <a:lnTo>
                    <a:pt x="1820280" y="1634438"/>
                  </a:lnTo>
                  <a:lnTo>
                    <a:pt x="1815514" y="1629674"/>
                  </a:lnTo>
                  <a:lnTo>
                    <a:pt x="1805984" y="1629674"/>
                  </a:lnTo>
                  <a:lnTo>
                    <a:pt x="1796454" y="1629674"/>
                  </a:lnTo>
                  <a:lnTo>
                    <a:pt x="1782158" y="1639204"/>
                  </a:lnTo>
                  <a:lnTo>
                    <a:pt x="1763098" y="1658264"/>
                  </a:lnTo>
                  <a:lnTo>
                    <a:pt x="1748802" y="1682090"/>
                  </a:lnTo>
                  <a:lnTo>
                    <a:pt x="1739272" y="1686854"/>
                  </a:lnTo>
                  <a:lnTo>
                    <a:pt x="1729742" y="1686854"/>
                  </a:lnTo>
                  <a:lnTo>
                    <a:pt x="1720212" y="1686854"/>
                  </a:lnTo>
                  <a:lnTo>
                    <a:pt x="1715446" y="1682090"/>
                  </a:lnTo>
                  <a:lnTo>
                    <a:pt x="1710680" y="1667794"/>
                  </a:lnTo>
                  <a:lnTo>
                    <a:pt x="1701150" y="1653500"/>
                  </a:lnTo>
                  <a:lnTo>
                    <a:pt x="1691620" y="1648734"/>
                  </a:lnTo>
                  <a:lnTo>
                    <a:pt x="1686856" y="1653500"/>
                  </a:lnTo>
                  <a:lnTo>
                    <a:pt x="1682090" y="1672560"/>
                  </a:lnTo>
                  <a:lnTo>
                    <a:pt x="1686856" y="1682090"/>
                  </a:lnTo>
                  <a:lnTo>
                    <a:pt x="1691620" y="1691620"/>
                  </a:lnTo>
                  <a:lnTo>
                    <a:pt x="1515310" y="1691620"/>
                  </a:lnTo>
                  <a:lnTo>
                    <a:pt x="1501016" y="1691620"/>
                  </a:lnTo>
                  <a:lnTo>
                    <a:pt x="1491486" y="1686854"/>
                  </a:lnTo>
                  <a:lnTo>
                    <a:pt x="1481954" y="1682090"/>
                  </a:lnTo>
                  <a:lnTo>
                    <a:pt x="1472424" y="1682090"/>
                  </a:lnTo>
                  <a:lnTo>
                    <a:pt x="1462894" y="1686854"/>
                  </a:lnTo>
                  <a:lnTo>
                    <a:pt x="1448600" y="1686854"/>
                  </a:lnTo>
                  <a:lnTo>
                    <a:pt x="1439068" y="1691620"/>
                  </a:lnTo>
                  <a:lnTo>
                    <a:pt x="1429538" y="1691620"/>
                  </a:lnTo>
                  <a:lnTo>
                    <a:pt x="1429538" y="1753566"/>
                  </a:lnTo>
                  <a:lnTo>
                    <a:pt x="1429538" y="1796454"/>
                  </a:lnTo>
                  <a:lnTo>
                    <a:pt x="1439068" y="1791688"/>
                  </a:lnTo>
                  <a:lnTo>
                    <a:pt x="1448600" y="1791688"/>
                  </a:lnTo>
                  <a:lnTo>
                    <a:pt x="1453364" y="1796454"/>
                  </a:lnTo>
                  <a:lnTo>
                    <a:pt x="1467660" y="1791688"/>
                  </a:lnTo>
                  <a:lnTo>
                    <a:pt x="1477190" y="1791688"/>
                  </a:lnTo>
                  <a:lnTo>
                    <a:pt x="1481954" y="1796454"/>
                  </a:lnTo>
                  <a:lnTo>
                    <a:pt x="1491486" y="1796454"/>
                  </a:lnTo>
                  <a:lnTo>
                    <a:pt x="1496250" y="1796454"/>
                  </a:lnTo>
                  <a:lnTo>
                    <a:pt x="1501016" y="1796454"/>
                  </a:lnTo>
                  <a:lnTo>
                    <a:pt x="1505780" y="1791688"/>
                  </a:lnTo>
                  <a:lnTo>
                    <a:pt x="1515310" y="1796454"/>
                  </a:lnTo>
                  <a:lnTo>
                    <a:pt x="1524840" y="1801218"/>
                  </a:lnTo>
                  <a:lnTo>
                    <a:pt x="1529606" y="1810748"/>
                  </a:lnTo>
                  <a:lnTo>
                    <a:pt x="1534372" y="1820278"/>
                  </a:lnTo>
                  <a:lnTo>
                    <a:pt x="1539136" y="1825044"/>
                  </a:lnTo>
                  <a:lnTo>
                    <a:pt x="1539136" y="1834574"/>
                  </a:lnTo>
                  <a:lnTo>
                    <a:pt x="1539136" y="1844104"/>
                  </a:lnTo>
                  <a:lnTo>
                    <a:pt x="1539136" y="1848870"/>
                  </a:lnTo>
                  <a:lnTo>
                    <a:pt x="1539136" y="1853634"/>
                  </a:lnTo>
                  <a:lnTo>
                    <a:pt x="1539136" y="1858400"/>
                  </a:lnTo>
                  <a:lnTo>
                    <a:pt x="1529606" y="1863164"/>
                  </a:lnTo>
                  <a:lnTo>
                    <a:pt x="1524840" y="1863164"/>
                  </a:lnTo>
                  <a:lnTo>
                    <a:pt x="1520076" y="1863164"/>
                  </a:lnTo>
                  <a:lnTo>
                    <a:pt x="1515310" y="1858400"/>
                  </a:lnTo>
                  <a:lnTo>
                    <a:pt x="1510546" y="1858400"/>
                  </a:lnTo>
                  <a:lnTo>
                    <a:pt x="1501016" y="1853634"/>
                  </a:lnTo>
                  <a:lnTo>
                    <a:pt x="1501016" y="1848870"/>
                  </a:lnTo>
                  <a:lnTo>
                    <a:pt x="1491486" y="1844104"/>
                  </a:lnTo>
                  <a:lnTo>
                    <a:pt x="1481954" y="1848870"/>
                  </a:lnTo>
                  <a:lnTo>
                    <a:pt x="1477190" y="1848870"/>
                  </a:lnTo>
                  <a:lnTo>
                    <a:pt x="1467660" y="1853634"/>
                  </a:lnTo>
                  <a:lnTo>
                    <a:pt x="1462894" y="1858400"/>
                  </a:lnTo>
                  <a:lnTo>
                    <a:pt x="1458130" y="1853634"/>
                  </a:lnTo>
                  <a:lnTo>
                    <a:pt x="1453364" y="1858400"/>
                  </a:lnTo>
                  <a:lnTo>
                    <a:pt x="1448600" y="1863164"/>
                  </a:lnTo>
                  <a:lnTo>
                    <a:pt x="1439068" y="1863164"/>
                  </a:lnTo>
                  <a:lnTo>
                    <a:pt x="1429538" y="1867930"/>
                  </a:lnTo>
                  <a:lnTo>
                    <a:pt x="1420008" y="1867930"/>
                  </a:lnTo>
                  <a:lnTo>
                    <a:pt x="1410478" y="1867930"/>
                  </a:lnTo>
                  <a:lnTo>
                    <a:pt x="1400948" y="1867930"/>
                  </a:lnTo>
                  <a:lnTo>
                    <a:pt x="1400948" y="1891756"/>
                  </a:lnTo>
                  <a:lnTo>
                    <a:pt x="1396182" y="1929876"/>
                  </a:lnTo>
                  <a:lnTo>
                    <a:pt x="1396182" y="1958468"/>
                  </a:lnTo>
                  <a:lnTo>
                    <a:pt x="1396182" y="1982294"/>
                  </a:lnTo>
                  <a:lnTo>
                    <a:pt x="1400948" y="1991824"/>
                  </a:lnTo>
                  <a:lnTo>
                    <a:pt x="1420008" y="2010884"/>
                  </a:lnTo>
                  <a:lnTo>
                    <a:pt x="1434304" y="2020414"/>
                  </a:lnTo>
                  <a:lnTo>
                    <a:pt x="1448600" y="2029944"/>
                  </a:lnTo>
                  <a:lnTo>
                    <a:pt x="1458130" y="2034710"/>
                  </a:lnTo>
                  <a:lnTo>
                    <a:pt x="1467660" y="2039474"/>
                  </a:lnTo>
                  <a:lnTo>
                    <a:pt x="1467660" y="2044240"/>
                  </a:lnTo>
                  <a:lnTo>
                    <a:pt x="1472424" y="2053770"/>
                  </a:lnTo>
                  <a:lnTo>
                    <a:pt x="1472424" y="2058534"/>
                  </a:lnTo>
                  <a:lnTo>
                    <a:pt x="1472424" y="2068066"/>
                  </a:lnTo>
                  <a:lnTo>
                    <a:pt x="1467660" y="2072830"/>
                  </a:lnTo>
                  <a:lnTo>
                    <a:pt x="1467660" y="2077596"/>
                  </a:lnTo>
                  <a:lnTo>
                    <a:pt x="1472424" y="2082360"/>
                  </a:lnTo>
                  <a:lnTo>
                    <a:pt x="1477190" y="2091890"/>
                  </a:lnTo>
                  <a:lnTo>
                    <a:pt x="1477190" y="2096656"/>
                  </a:lnTo>
                  <a:lnTo>
                    <a:pt x="1481954" y="2101422"/>
                  </a:lnTo>
                  <a:lnTo>
                    <a:pt x="1481954" y="2106186"/>
                  </a:lnTo>
                  <a:lnTo>
                    <a:pt x="1486720" y="2110952"/>
                  </a:lnTo>
                  <a:lnTo>
                    <a:pt x="1496250" y="2115716"/>
                  </a:lnTo>
                  <a:lnTo>
                    <a:pt x="1496250" y="2120482"/>
                  </a:lnTo>
                  <a:lnTo>
                    <a:pt x="1496250" y="2125246"/>
                  </a:lnTo>
                  <a:lnTo>
                    <a:pt x="1496250" y="2130012"/>
                  </a:lnTo>
                  <a:lnTo>
                    <a:pt x="1501016" y="2139542"/>
                  </a:lnTo>
                  <a:lnTo>
                    <a:pt x="1501016" y="2144308"/>
                  </a:lnTo>
                  <a:lnTo>
                    <a:pt x="1501016" y="2153838"/>
                  </a:lnTo>
                  <a:lnTo>
                    <a:pt x="1496250" y="2182428"/>
                  </a:lnTo>
                  <a:lnTo>
                    <a:pt x="1491486" y="2211018"/>
                  </a:lnTo>
                  <a:lnTo>
                    <a:pt x="1486720" y="2234844"/>
                  </a:lnTo>
                  <a:lnTo>
                    <a:pt x="1477190" y="2277730"/>
                  </a:lnTo>
                  <a:lnTo>
                    <a:pt x="1467660" y="2320618"/>
                  </a:lnTo>
                  <a:lnTo>
                    <a:pt x="1448600" y="2430214"/>
                  </a:lnTo>
                  <a:lnTo>
                    <a:pt x="1439068" y="2482632"/>
                  </a:lnTo>
                  <a:lnTo>
                    <a:pt x="1429538" y="2530282"/>
                  </a:lnTo>
                  <a:lnTo>
                    <a:pt x="1420008" y="2582698"/>
                  </a:lnTo>
                  <a:lnTo>
                    <a:pt x="1415244" y="2616054"/>
                  </a:lnTo>
                  <a:lnTo>
                    <a:pt x="1415244" y="2620820"/>
                  </a:lnTo>
                  <a:lnTo>
                    <a:pt x="1405712" y="2611290"/>
                  </a:lnTo>
                  <a:lnTo>
                    <a:pt x="1396182" y="2596994"/>
                  </a:lnTo>
                  <a:lnTo>
                    <a:pt x="1381888" y="2592230"/>
                  </a:lnTo>
                  <a:lnTo>
                    <a:pt x="1377122" y="2582698"/>
                  </a:lnTo>
                  <a:lnTo>
                    <a:pt x="1372356" y="2568404"/>
                  </a:lnTo>
                  <a:lnTo>
                    <a:pt x="1362826" y="2558874"/>
                  </a:lnTo>
                  <a:lnTo>
                    <a:pt x="1353296" y="2554108"/>
                  </a:lnTo>
                  <a:lnTo>
                    <a:pt x="1348532" y="2558874"/>
                  </a:lnTo>
                  <a:lnTo>
                    <a:pt x="1343766" y="2558874"/>
                  </a:lnTo>
                  <a:lnTo>
                    <a:pt x="1334236" y="2563638"/>
                  </a:lnTo>
                  <a:lnTo>
                    <a:pt x="1324706" y="2563638"/>
                  </a:lnTo>
                  <a:lnTo>
                    <a:pt x="1296114" y="2554108"/>
                  </a:lnTo>
                  <a:lnTo>
                    <a:pt x="1291350" y="2549342"/>
                  </a:lnTo>
                  <a:lnTo>
                    <a:pt x="1310410" y="2520752"/>
                  </a:lnTo>
                  <a:lnTo>
                    <a:pt x="1343766" y="2473102"/>
                  </a:lnTo>
                  <a:lnTo>
                    <a:pt x="1362826" y="2439746"/>
                  </a:lnTo>
                  <a:lnTo>
                    <a:pt x="1386652" y="2406390"/>
                  </a:lnTo>
                  <a:lnTo>
                    <a:pt x="1396182" y="2392094"/>
                  </a:lnTo>
                  <a:lnTo>
                    <a:pt x="1396182" y="2387328"/>
                  </a:lnTo>
                  <a:lnTo>
                    <a:pt x="1396182" y="2382564"/>
                  </a:lnTo>
                  <a:lnTo>
                    <a:pt x="1391418" y="2373034"/>
                  </a:lnTo>
                  <a:lnTo>
                    <a:pt x="1381888" y="2373034"/>
                  </a:lnTo>
                  <a:lnTo>
                    <a:pt x="1372356" y="2368268"/>
                  </a:lnTo>
                  <a:lnTo>
                    <a:pt x="1362826" y="2358738"/>
                  </a:lnTo>
                  <a:lnTo>
                    <a:pt x="1353296" y="2353972"/>
                  </a:lnTo>
                  <a:lnTo>
                    <a:pt x="1343766" y="2349208"/>
                  </a:lnTo>
                  <a:lnTo>
                    <a:pt x="1329470" y="2344442"/>
                  </a:lnTo>
                  <a:lnTo>
                    <a:pt x="1319940" y="2339678"/>
                  </a:lnTo>
                  <a:lnTo>
                    <a:pt x="1305646" y="2334912"/>
                  </a:lnTo>
                  <a:lnTo>
                    <a:pt x="1296114" y="2325382"/>
                  </a:lnTo>
                  <a:lnTo>
                    <a:pt x="1267524" y="2306322"/>
                  </a:lnTo>
                  <a:lnTo>
                    <a:pt x="1257994" y="2306322"/>
                  </a:lnTo>
                  <a:lnTo>
                    <a:pt x="1248464" y="2306322"/>
                  </a:lnTo>
                  <a:lnTo>
                    <a:pt x="1234168" y="2311086"/>
                  </a:lnTo>
                  <a:lnTo>
                    <a:pt x="1219872" y="2320618"/>
                  </a:lnTo>
                  <a:lnTo>
                    <a:pt x="1205578" y="2325382"/>
                  </a:lnTo>
                  <a:lnTo>
                    <a:pt x="1191282" y="2325382"/>
                  </a:lnTo>
                  <a:lnTo>
                    <a:pt x="1181752" y="2315852"/>
                  </a:lnTo>
                  <a:lnTo>
                    <a:pt x="1172222" y="2315852"/>
                  </a:lnTo>
                  <a:lnTo>
                    <a:pt x="1162692" y="2306322"/>
                  </a:lnTo>
                  <a:lnTo>
                    <a:pt x="1148396" y="2301556"/>
                  </a:lnTo>
                  <a:lnTo>
                    <a:pt x="1134100" y="2296792"/>
                  </a:lnTo>
                  <a:lnTo>
                    <a:pt x="1124570" y="2296792"/>
                  </a:lnTo>
                  <a:lnTo>
                    <a:pt x="1115040" y="2306322"/>
                  </a:lnTo>
                  <a:lnTo>
                    <a:pt x="1105510" y="2315852"/>
                  </a:lnTo>
                  <a:lnTo>
                    <a:pt x="1095980" y="2325382"/>
                  </a:lnTo>
                  <a:lnTo>
                    <a:pt x="1086450" y="2320618"/>
                  </a:lnTo>
                  <a:lnTo>
                    <a:pt x="1072154" y="2330148"/>
                  </a:lnTo>
                  <a:lnTo>
                    <a:pt x="1062624" y="2334912"/>
                  </a:lnTo>
                  <a:lnTo>
                    <a:pt x="1048328" y="2334912"/>
                  </a:lnTo>
                  <a:lnTo>
                    <a:pt x="1034032" y="2339678"/>
                  </a:lnTo>
                  <a:lnTo>
                    <a:pt x="1019738" y="2334912"/>
                  </a:lnTo>
                  <a:lnTo>
                    <a:pt x="1005442" y="2330148"/>
                  </a:lnTo>
                  <a:lnTo>
                    <a:pt x="995912" y="2325382"/>
                  </a:lnTo>
                  <a:lnTo>
                    <a:pt x="991146" y="2330148"/>
                  </a:lnTo>
                  <a:lnTo>
                    <a:pt x="986382" y="2334912"/>
                  </a:lnTo>
                  <a:lnTo>
                    <a:pt x="967320" y="2334912"/>
                  </a:lnTo>
                  <a:lnTo>
                    <a:pt x="957790" y="2334912"/>
                  </a:lnTo>
                  <a:lnTo>
                    <a:pt x="948260" y="2334912"/>
                  </a:lnTo>
                  <a:lnTo>
                    <a:pt x="943496" y="2325382"/>
                  </a:lnTo>
                  <a:lnTo>
                    <a:pt x="929200" y="2320618"/>
                  </a:lnTo>
                  <a:lnTo>
                    <a:pt x="914904" y="2315852"/>
                  </a:lnTo>
                  <a:lnTo>
                    <a:pt x="914904" y="2306322"/>
                  </a:lnTo>
                  <a:lnTo>
                    <a:pt x="914904" y="2296792"/>
                  </a:lnTo>
                  <a:lnTo>
                    <a:pt x="919670" y="2282496"/>
                  </a:lnTo>
                  <a:lnTo>
                    <a:pt x="914904" y="2272966"/>
                  </a:lnTo>
                  <a:lnTo>
                    <a:pt x="910140" y="2253906"/>
                  </a:lnTo>
                  <a:lnTo>
                    <a:pt x="910140" y="2244374"/>
                  </a:lnTo>
                  <a:lnTo>
                    <a:pt x="905374" y="2239610"/>
                  </a:lnTo>
                  <a:lnTo>
                    <a:pt x="895844" y="2234844"/>
                  </a:lnTo>
                  <a:lnTo>
                    <a:pt x="886314" y="2239610"/>
                  </a:lnTo>
                  <a:lnTo>
                    <a:pt x="872018" y="2230080"/>
                  </a:lnTo>
                  <a:lnTo>
                    <a:pt x="862488" y="2225314"/>
                  </a:lnTo>
                  <a:lnTo>
                    <a:pt x="857724" y="2215784"/>
                  </a:lnTo>
                  <a:lnTo>
                    <a:pt x="862488" y="2201488"/>
                  </a:lnTo>
                  <a:lnTo>
                    <a:pt x="857724" y="2187194"/>
                  </a:lnTo>
                  <a:lnTo>
                    <a:pt x="848192" y="2177664"/>
                  </a:lnTo>
                  <a:lnTo>
                    <a:pt x="843428" y="2163368"/>
                  </a:lnTo>
                  <a:lnTo>
                    <a:pt x="833898" y="2153838"/>
                  </a:lnTo>
                  <a:lnTo>
                    <a:pt x="824368" y="2149072"/>
                  </a:lnTo>
                  <a:lnTo>
                    <a:pt x="814836" y="2149072"/>
                  </a:lnTo>
                  <a:lnTo>
                    <a:pt x="805306" y="2144308"/>
                  </a:lnTo>
                  <a:lnTo>
                    <a:pt x="795776" y="2134778"/>
                  </a:lnTo>
                  <a:lnTo>
                    <a:pt x="786246" y="2130012"/>
                  </a:lnTo>
                  <a:lnTo>
                    <a:pt x="776716" y="2120482"/>
                  </a:lnTo>
                  <a:lnTo>
                    <a:pt x="757656" y="2115716"/>
                  </a:lnTo>
                  <a:lnTo>
                    <a:pt x="743360" y="2110952"/>
                  </a:lnTo>
                  <a:lnTo>
                    <a:pt x="738594" y="2106186"/>
                  </a:lnTo>
                  <a:lnTo>
                    <a:pt x="733830" y="2091890"/>
                  </a:lnTo>
                  <a:lnTo>
                    <a:pt x="733830" y="2087126"/>
                  </a:lnTo>
                  <a:lnTo>
                    <a:pt x="729064" y="2077596"/>
                  </a:lnTo>
                  <a:lnTo>
                    <a:pt x="724300" y="2068066"/>
                  </a:lnTo>
                  <a:lnTo>
                    <a:pt x="719534" y="2049004"/>
                  </a:lnTo>
                  <a:lnTo>
                    <a:pt x="710004" y="2039474"/>
                  </a:lnTo>
                  <a:lnTo>
                    <a:pt x="695708" y="2025180"/>
                  </a:lnTo>
                  <a:lnTo>
                    <a:pt x="686178" y="2015648"/>
                  </a:lnTo>
                  <a:lnTo>
                    <a:pt x="676648" y="2010884"/>
                  </a:lnTo>
                  <a:lnTo>
                    <a:pt x="667118" y="2006118"/>
                  </a:lnTo>
                  <a:lnTo>
                    <a:pt x="662352" y="1996588"/>
                  </a:lnTo>
                  <a:lnTo>
                    <a:pt x="657588" y="1991824"/>
                  </a:lnTo>
                  <a:lnTo>
                    <a:pt x="652822" y="1991824"/>
                  </a:lnTo>
                  <a:lnTo>
                    <a:pt x="643292" y="1991824"/>
                  </a:lnTo>
                  <a:lnTo>
                    <a:pt x="633762" y="1987058"/>
                  </a:lnTo>
                  <a:lnTo>
                    <a:pt x="624232" y="1982294"/>
                  </a:lnTo>
                  <a:lnTo>
                    <a:pt x="619466" y="1977528"/>
                  </a:lnTo>
                  <a:lnTo>
                    <a:pt x="605172" y="1967998"/>
                  </a:lnTo>
                  <a:lnTo>
                    <a:pt x="600406" y="1967998"/>
                  </a:lnTo>
                  <a:lnTo>
                    <a:pt x="590876" y="1967998"/>
                  </a:lnTo>
                  <a:lnTo>
                    <a:pt x="581346" y="1977528"/>
                  </a:lnTo>
                  <a:lnTo>
                    <a:pt x="557520" y="1967998"/>
                  </a:lnTo>
                  <a:lnTo>
                    <a:pt x="528930" y="1948938"/>
                  </a:lnTo>
                  <a:lnTo>
                    <a:pt x="505104" y="1944172"/>
                  </a:lnTo>
                  <a:lnTo>
                    <a:pt x="490808" y="1934642"/>
                  </a:lnTo>
                  <a:lnTo>
                    <a:pt x="476513" y="1920346"/>
                  </a:lnTo>
                  <a:lnTo>
                    <a:pt x="466983" y="1910816"/>
                  </a:lnTo>
                  <a:lnTo>
                    <a:pt x="462217" y="1906050"/>
                  </a:lnTo>
                  <a:lnTo>
                    <a:pt x="428862" y="1891756"/>
                  </a:lnTo>
                  <a:lnTo>
                    <a:pt x="424096" y="1891756"/>
                  </a:lnTo>
                  <a:lnTo>
                    <a:pt x="409801" y="1896520"/>
                  </a:lnTo>
                  <a:lnTo>
                    <a:pt x="405036" y="1901286"/>
                  </a:lnTo>
                  <a:lnTo>
                    <a:pt x="405036" y="1910816"/>
                  </a:lnTo>
                  <a:lnTo>
                    <a:pt x="405036" y="1920346"/>
                  </a:lnTo>
                  <a:lnTo>
                    <a:pt x="395506" y="1925112"/>
                  </a:lnTo>
                  <a:lnTo>
                    <a:pt x="376445" y="1920346"/>
                  </a:lnTo>
                  <a:lnTo>
                    <a:pt x="366915" y="1920346"/>
                  </a:lnTo>
                  <a:lnTo>
                    <a:pt x="357385" y="1915582"/>
                  </a:lnTo>
                  <a:lnTo>
                    <a:pt x="357385" y="1920346"/>
                  </a:lnTo>
                  <a:lnTo>
                    <a:pt x="352619" y="1920346"/>
                  </a:lnTo>
                  <a:lnTo>
                    <a:pt x="343089" y="1920346"/>
                  </a:lnTo>
                  <a:lnTo>
                    <a:pt x="328794" y="1920346"/>
                  </a:lnTo>
                  <a:lnTo>
                    <a:pt x="314498" y="1915582"/>
                  </a:lnTo>
                  <a:lnTo>
                    <a:pt x="295438" y="1906050"/>
                  </a:lnTo>
                  <a:lnTo>
                    <a:pt x="290673" y="1906050"/>
                  </a:lnTo>
                  <a:lnTo>
                    <a:pt x="271612" y="1901286"/>
                  </a:lnTo>
                  <a:lnTo>
                    <a:pt x="252552" y="1896520"/>
                  </a:lnTo>
                  <a:lnTo>
                    <a:pt x="247787" y="1891756"/>
                  </a:lnTo>
                  <a:lnTo>
                    <a:pt x="243022" y="1858400"/>
                  </a:lnTo>
                  <a:lnTo>
                    <a:pt x="238256" y="1858400"/>
                  </a:lnTo>
                  <a:lnTo>
                    <a:pt x="233491" y="1858400"/>
                  </a:lnTo>
                  <a:lnTo>
                    <a:pt x="219196" y="1853634"/>
                  </a:lnTo>
                  <a:lnTo>
                    <a:pt x="214431" y="1848870"/>
                  </a:lnTo>
                  <a:lnTo>
                    <a:pt x="209666" y="1839340"/>
                  </a:lnTo>
                  <a:lnTo>
                    <a:pt x="204901" y="1829808"/>
                  </a:lnTo>
                  <a:lnTo>
                    <a:pt x="185840" y="1829808"/>
                  </a:lnTo>
                  <a:lnTo>
                    <a:pt x="152484" y="1820278"/>
                  </a:lnTo>
                  <a:lnTo>
                    <a:pt x="128658" y="1810748"/>
                  </a:lnTo>
                  <a:lnTo>
                    <a:pt x="109598" y="1796454"/>
                  </a:lnTo>
                  <a:lnTo>
                    <a:pt x="81007" y="1772628"/>
                  </a:lnTo>
                  <a:lnTo>
                    <a:pt x="66712" y="1767862"/>
                  </a:lnTo>
                  <a:lnTo>
                    <a:pt x="52416" y="1758332"/>
                  </a:lnTo>
                  <a:lnTo>
                    <a:pt x="42886" y="1748802"/>
                  </a:lnTo>
                  <a:lnTo>
                    <a:pt x="28591" y="1734506"/>
                  </a:lnTo>
                  <a:lnTo>
                    <a:pt x="23826" y="1734506"/>
                  </a:lnTo>
                  <a:lnTo>
                    <a:pt x="19061" y="1720210"/>
                  </a:lnTo>
                  <a:lnTo>
                    <a:pt x="0" y="1705916"/>
                  </a:lnTo>
                  <a:lnTo>
                    <a:pt x="9530" y="1686854"/>
                  </a:lnTo>
                  <a:lnTo>
                    <a:pt x="33356" y="1672560"/>
                  </a:lnTo>
                  <a:lnTo>
                    <a:pt x="66712" y="1682090"/>
                  </a:lnTo>
                  <a:lnTo>
                    <a:pt x="71477" y="1658264"/>
                  </a:lnTo>
                  <a:lnTo>
                    <a:pt x="61947" y="1639204"/>
                  </a:lnTo>
                  <a:lnTo>
                    <a:pt x="61947" y="1601082"/>
                  </a:lnTo>
                  <a:lnTo>
                    <a:pt x="66712" y="1591552"/>
                  </a:lnTo>
                  <a:lnTo>
                    <a:pt x="76242" y="1582022"/>
                  </a:lnTo>
                  <a:lnTo>
                    <a:pt x="85772" y="1572492"/>
                  </a:lnTo>
                  <a:lnTo>
                    <a:pt x="95303" y="1572492"/>
                  </a:lnTo>
                  <a:lnTo>
                    <a:pt x="104833" y="1577258"/>
                  </a:lnTo>
                  <a:lnTo>
                    <a:pt x="114363" y="1567726"/>
                  </a:lnTo>
                  <a:lnTo>
                    <a:pt x="138189" y="1572492"/>
                  </a:lnTo>
                  <a:lnTo>
                    <a:pt x="147719" y="1567726"/>
                  </a:lnTo>
                  <a:lnTo>
                    <a:pt x="152484" y="1562962"/>
                  </a:lnTo>
                  <a:lnTo>
                    <a:pt x="162014" y="1558196"/>
                  </a:lnTo>
                  <a:lnTo>
                    <a:pt x="171545" y="1548666"/>
                  </a:lnTo>
                  <a:lnTo>
                    <a:pt x="176310" y="1539136"/>
                  </a:lnTo>
                  <a:lnTo>
                    <a:pt x="176310" y="1534370"/>
                  </a:lnTo>
                  <a:lnTo>
                    <a:pt x="185840" y="1534370"/>
                  </a:lnTo>
                  <a:lnTo>
                    <a:pt x="190605" y="1529606"/>
                  </a:lnTo>
                  <a:lnTo>
                    <a:pt x="195370" y="1524840"/>
                  </a:lnTo>
                  <a:lnTo>
                    <a:pt x="209666" y="1510546"/>
                  </a:lnTo>
                  <a:lnTo>
                    <a:pt x="209666" y="1501016"/>
                  </a:lnTo>
                  <a:lnTo>
                    <a:pt x="204901" y="1491484"/>
                  </a:lnTo>
                  <a:lnTo>
                    <a:pt x="204901" y="1486720"/>
                  </a:lnTo>
                  <a:lnTo>
                    <a:pt x="214431" y="1481954"/>
                  </a:lnTo>
                  <a:lnTo>
                    <a:pt x="228726" y="1477190"/>
                  </a:lnTo>
                  <a:lnTo>
                    <a:pt x="233491" y="1467660"/>
                  </a:lnTo>
                  <a:lnTo>
                    <a:pt x="243022" y="1453364"/>
                  </a:lnTo>
                  <a:lnTo>
                    <a:pt x="247787" y="1439068"/>
                  </a:lnTo>
                  <a:lnTo>
                    <a:pt x="257317" y="1434304"/>
                  </a:lnTo>
                  <a:lnTo>
                    <a:pt x="266847" y="1415242"/>
                  </a:lnTo>
                  <a:lnTo>
                    <a:pt x="276377" y="1400948"/>
                  </a:lnTo>
                  <a:lnTo>
                    <a:pt x="304968" y="1348530"/>
                  </a:lnTo>
                  <a:lnTo>
                    <a:pt x="295438" y="1348530"/>
                  </a:lnTo>
                  <a:lnTo>
                    <a:pt x="290673" y="1358062"/>
                  </a:lnTo>
                  <a:lnTo>
                    <a:pt x="281143" y="1353296"/>
                  </a:lnTo>
                  <a:lnTo>
                    <a:pt x="271612" y="1348530"/>
                  </a:lnTo>
                  <a:lnTo>
                    <a:pt x="276377" y="1329470"/>
                  </a:lnTo>
                  <a:lnTo>
                    <a:pt x="271612" y="1324706"/>
                  </a:lnTo>
                  <a:lnTo>
                    <a:pt x="257317" y="1343766"/>
                  </a:lnTo>
                  <a:lnTo>
                    <a:pt x="247787" y="1324706"/>
                  </a:lnTo>
                  <a:lnTo>
                    <a:pt x="247787" y="1315176"/>
                  </a:lnTo>
                  <a:lnTo>
                    <a:pt x="252552" y="1300880"/>
                  </a:lnTo>
                  <a:lnTo>
                    <a:pt x="252552" y="1296114"/>
                  </a:lnTo>
                  <a:lnTo>
                    <a:pt x="233491" y="1300880"/>
                  </a:lnTo>
                  <a:lnTo>
                    <a:pt x="233491" y="1296114"/>
                  </a:lnTo>
                  <a:lnTo>
                    <a:pt x="247787" y="1286584"/>
                  </a:lnTo>
                  <a:lnTo>
                    <a:pt x="252552" y="1281820"/>
                  </a:lnTo>
                  <a:lnTo>
                    <a:pt x="257317" y="1272290"/>
                  </a:lnTo>
                  <a:lnTo>
                    <a:pt x="262082" y="1257994"/>
                  </a:lnTo>
                  <a:lnTo>
                    <a:pt x="266847" y="1243698"/>
                  </a:lnTo>
                  <a:lnTo>
                    <a:pt x="271612" y="1219872"/>
                  </a:lnTo>
                  <a:lnTo>
                    <a:pt x="266847" y="1210342"/>
                  </a:lnTo>
                  <a:lnTo>
                    <a:pt x="262082" y="1200812"/>
                  </a:lnTo>
                  <a:lnTo>
                    <a:pt x="257317" y="1167456"/>
                  </a:lnTo>
                  <a:lnTo>
                    <a:pt x="257317" y="1143630"/>
                  </a:lnTo>
                  <a:lnTo>
                    <a:pt x="257317" y="1124570"/>
                  </a:lnTo>
                  <a:lnTo>
                    <a:pt x="252552" y="1110274"/>
                  </a:lnTo>
                  <a:lnTo>
                    <a:pt x="233491" y="1091214"/>
                  </a:lnTo>
                  <a:lnTo>
                    <a:pt x="266847" y="1072154"/>
                  </a:lnTo>
                  <a:lnTo>
                    <a:pt x="276377" y="1053094"/>
                  </a:lnTo>
                  <a:lnTo>
                    <a:pt x="262082" y="1019738"/>
                  </a:lnTo>
                  <a:lnTo>
                    <a:pt x="243022" y="991146"/>
                  </a:lnTo>
                  <a:lnTo>
                    <a:pt x="243022" y="976852"/>
                  </a:lnTo>
                  <a:lnTo>
                    <a:pt x="247787" y="976852"/>
                  </a:lnTo>
                  <a:lnTo>
                    <a:pt x="252552" y="976852"/>
                  </a:lnTo>
                  <a:lnTo>
                    <a:pt x="257317" y="943496"/>
                  </a:lnTo>
                  <a:lnTo>
                    <a:pt x="257317" y="929200"/>
                  </a:lnTo>
                  <a:lnTo>
                    <a:pt x="247787" y="910140"/>
                  </a:lnTo>
                  <a:lnTo>
                    <a:pt x="233491" y="910140"/>
                  </a:lnTo>
                  <a:lnTo>
                    <a:pt x="219196" y="891078"/>
                  </a:lnTo>
                  <a:lnTo>
                    <a:pt x="214431" y="886314"/>
                  </a:lnTo>
                  <a:lnTo>
                    <a:pt x="209666" y="872018"/>
                  </a:lnTo>
                  <a:lnTo>
                    <a:pt x="190605" y="843428"/>
                  </a:lnTo>
                  <a:lnTo>
                    <a:pt x="176310" y="829132"/>
                  </a:lnTo>
                  <a:lnTo>
                    <a:pt x="185840" y="795776"/>
                  </a:lnTo>
                  <a:lnTo>
                    <a:pt x="195370" y="786246"/>
                  </a:lnTo>
                  <a:lnTo>
                    <a:pt x="200135" y="776716"/>
                  </a:lnTo>
                  <a:lnTo>
                    <a:pt x="195370" y="757656"/>
                  </a:lnTo>
                  <a:lnTo>
                    <a:pt x="195370" y="752890"/>
                  </a:lnTo>
                  <a:lnTo>
                    <a:pt x="200135" y="752890"/>
                  </a:lnTo>
                  <a:lnTo>
                    <a:pt x="204901" y="752890"/>
                  </a:lnTo>
                  <a:lnTo>
                    <a:pt x="214431" y="762420"/>
                  </a:lnTo>
                  <a:lnTo>
                    <a:pt x="219196" y="776716"/>
                  </a:lnTo>
                  <a:lnTo>
                    <a:pt x="223961" y="776716"/>
                  </a:lnTo>
                  <a:lnTo>
                    <a:pt x="228726" y="776716"/>
                  </a:lnTo>
                  <a:lnTo>
                    <a:pt x="262082" y="752890"/>
                  </a:lnTo>
                  <a:lnTo>
                    <a:pt x="257317" y="748126"/>
                  </a:lnTo>
                  <a:lnTo>
                    <a:pt x="262082" y="733830"/>
                  </a:lnTo>
                  <a:lnTo>
                    <a:pt x="271612" y="719534"/>
                  </a:lnTo>
                  <a:lnTo>
                    <a:pt x="281143" y="714770"/>
                  </a:lnTo>
                  <a:lnTo>
                    <a:pt x="285908" y="710004"/>
                  </a:lnTo>
                  <a:lnTo>
                    <a:pt x="281143" y="700474"/>
                  </a:lnTo>
                  <a:lnTo>
                    <a:pt x="271612" y="676648"/>
                  </a:lnTo>
                  <a:lnTo>
                    <a:pt x="262082" y="662352"/>
                  </a:lnTo>
                  <a:lnTo>
                    <a:pt x="252552" y="652822"/>
                  </a:lnTo>
                  <a:lnTo>
                    <a:pt x="252552" y="638528"/>
                  </a:lnTo>
                  <a:lnTo>
                    <a:pt x="238256" y="628996"/>
                  </a:lnTo>
                  <a:lnTo>
                    <a:pt x="243022" y="614702"/>
                  </a:lnTo>
                  <a:lnTo>
                    <a:pt x="252552" y="605172"/>
                  </a:lnTo>
                  <a:lnTo>
                    <a:pt x="257317" y="600406"/>
                  </a:lnTo>
                  <a:lnTo>
                    <a:pt x="262082" y="605172"/>
                  </a:lnTo>
                  <a:lnTo>
                    <a:pt x="271612" y="628996"/>
                  </a:lnTo>
                  <a:lnTo>
                    <a:pt x="295438" y="643292"/>
                  </a:lnTo>
                  <a:lnTo>
                    <a:pt x="314498" y="667118"/>
                  </a:lnTo>
                  <a:lnTo>
                    <a:pt x="324029" y="681414"/>
                  </a:lnTo>
                  <a:lnTo>
                    <a:pt x="333559" y="686178"/>
                  </a:lnTo>
                  <a:lnTo>
                    <a:pt x="338324" y="690944"/>
                  </a:lnTo>
                  <a:lnTo>
                    <a:pt x="333559" y="695708"/>
                  </a:lnTo>
                  <a:lnTo>
                    <a:pt x="328794" y="700474"/>
                  </a:lnTo>
                  <a:lnTo>
                    <a:pt x="328794" y="710004"/>
                  </a:lnTo>
                  <a:lnTo>
                    <a:pt x="328794" y="714770"/>
                  </a:lnTo>
                  <a:lnTo>
                    <a:pt x="333559" y="719534"/>
                  </a:lnTo>
                  <a:lnTo>
                    <a:pt x="347854" y="714770"/>
                  </a:lnTo>
                  <a:lnTo>
                    <a:pt x="352619" y="705238"/>
                  </a:lnTo>
                  <a:lnTo>
                    <a:pt x="352619" y="657588"/>
                  </a:lnTo>
                  <a:lnTo>
                    <a:pt x="343089" y="633762"/>
                  </a:lnTo>
                  <a:lnTo>
                    <a:pt x="333559" y="624232"/>
                  </a:lnTo>
                  <a:lnTo>
                    <a:pt x="328794" y="614702"/>
                  </a:lnTo>
                  <a:lnTo>
                    <a:pt x="333559" y="609936"/>
                  </a:lnTo>
                  <a:lnTo>
                    <a:pt x="347854" y="605172"/>
                  </a:lnTo>
                  <a:lnTo>
                    <a:pt x="362150" y="595640"/>
                  </a:lnTo>
                  <a:lnTo>
                    <a:pt x="428862" y="547990"/>
                  </a:lnTo>
                  <a:lnTo>
                    <a:pt x="447922" y="505104"/>
                  </a:lnTo>
                  <a:lnTo>
                    <a:pt x="466983" y="490808"/>
                  </a:lnTo>
                  <a:lnTo>
                    <a:pt x="486043" y="481278"/>
                  </a:lnTo>
                  <a:lnTo>
                    <a:pt x="509868" y="481278"/>
                  </a:lnTo>
                  <a:lnTo>
                    <a:pt x="528930" y="476512"/>
                  </a:lnTo>
                  <a:lnTo>
                    <a:pt x="533694" y="462218"/>
                  </a:lnTo>
                  <a:lnTo>
                    <a:pt x="528930" y="443156"/>
                  </a:lnTo>
                  <a:lnTo>
                    <a:pt x="519398" y="433626"/>
                  </a:lnTo>
                  <a:lnTo>
                    <a:pt x="528930" y="414566"/>
                  </a:lnTo>
                  <a:lnTo>
                    <a:pt x="533694" y="390740"/>
                  </a:lnTo>
                  <a:lnTo>
                    <a:pt x="533694" y="371680"/>
                  </a:lnTo>
                  <a:lnTo>
                    <a:pt x="543224" y="357384"/>
                  </a:lnTo>
                  <a:lnTo>
                    <a:pt x="538460" y="352620"/>
                  </a:lnTo>
                  <a:lnTo>
                    <a:pt x="528930" y="362150"/>
                  </a:lnTo>
                  <a:lnTo>
                    <a:pt x="514634" y="366914"/>
                  </a:lnTo>
                  <a:lnTo>
                    <a:pt x="524164" y="357384"/>
                  </a:lnTo>
                  <a:lnTo>
                    <a:pt x="543224" y="338324"/>
                  </a:lnTo>
                  <a:lnTo>
                    <a:pt x="547990" y="304968"/>
                  </a:lnTo>
                  <a:lnTo>
                    <a:pt x="557520" y="295438"/>
                  </a:lnTo>
                  <a:lnTo>
                    <a:pt x="581346" y="271612"/>
                  </a:lnTo>
                  <a:lnTo>
                    <a:pt x="586110" y="266848"/>
                  </a:lnTo>
                  <a:lnTo>
                    <a:pt x="609936" y="252552"/>
                  </a:lnTo>
                  <a:lnTo>
                    <a:pt x="638528" y="223960"/>
                  </a:lnTo>
                  <a:lnTo>
                    <a:pt x="652822" y="214430"/>
                  </a:lnTo>
                  <a:lnTo>
                    <a:pt x="714770" y="233492"/>
                  </a:lnTo>
                  <a:lnTo>
                    <a:pt x="719534" y="233492"/>
                  </a:lnTo>
                  <a:lnTo>
                    <a:pt x="705238" y="243022"/>
                  </a:lnTo>
                  <a:lnTo>
                    <a:pt x="700474" y="252552"/>
                  </a:lnTo>
                  <a:lnTo>
                    <a:pt x="710004" y="266848"/>
                  </a:lnTo>
                  <a:lnTo>
                    <a:pt x="719534" y="266848"/>
                  </a:lnTo>
                  <a:lnTo>
                    <a:pt x="729064" y="262082"/>
                  </a:lnTo>
                  <a:lnTo>
                    <a:pt x="738594" y="238256"/>
                  </a:lnTo>
                  <a:lnTo>
                    <a:pt x="748126" y="214430"/>
                  </a:lnTo>
                  <a:lnTo>
                    <a:pt x="752890" y="190606"/>
                  </a:lnTo>
                  <a:lnTo>
                    <a:pt x="762420" y="181074"/>
                  </a:lnTo>
                  <a:lnTo>
                    <a:pt x="776716" y="176310"/>
                  </a:lnTo>
                  <a:lnTo>
                    <a:pt x="795776" y="181074"/>
                  </a:lnTo>
                  <a:lnTo>
                    <a:pt x="814836" y="185840"/>
                  </a:lnTo>
                  <a:lnTo>
                    <a:pt x="833898" y="185840"/>
                  </a:lnTo>
                  <a:lnTo>
                    <a:pt x="891078" y="185840"/>
                  </a:lnTo>
                  <a:lnTo>
                    <a:pt x="981616" y="119128"/>
                  </a:lnTo>
                  <a:lnTo>
                    <a:pt x="1024502" y="104832"/>
                  </a:lnTo>
                  <a:lnTo>
                    <a:pt x="1053094" y="90538"/>
                  </a:lnTo>
                  <a:lnTo>
                    <a:pt x="1072154" y="61946"/>
                  </a:lnTo>
                  <a:lnTo>
                    <a:pt x="1076920" y="42886"/>
                  </a:lnTo>
                  <a:lnTo>
                    <a:pt x="1086450" y="33356"/>
                  </a:lnTo>
                  <a:lnTo>
                    <a:pt x="1100744" y="33356"/>
                  </a:lnTo>
                  <a:lnTo>
                    <a:pt x="1105510" y="28590"/>
                  </a:lnTo>
                  <a:lnTo>
                    <a:pt x="1110274" y="23826"/>
                  </a:lnTo>
                  <a:lnTo>
                    <a:pt x="1138866"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8" name="Google Shape;4535;p64">
              <a:extLst>
                <a:ext uri="{FF2B5EF4-FFF2-40B4-BE49-F238E27FC236}">
                  <a16:creationId xmlns:a16="http://schemas.microsoft.com/office/drawing/2014/main" id="{A4D399F3-5AAC-06EA-AF8B-67EADC9EDAE2}"/>
                </a:ext>
              </a:extLst>
            </p:cNvPr>
            <p:cNvSpPr/>
            <p:nvPr/>
          </p:nvSpPr>
          <p:spPr>
            <a:xfrm>
              <a:off x="5463497" y="5255257"/>
              <a:ext cx="5251" cy="2625"/>
            </a:xfrm>
            <a:custGeom>
              <a:avLst/>
              <a:gdLst/>
              <a:ahLst/>
              <a:cxnLst/>
              <a:rect l="l" t="t" r="r" b="b"/>
              <a:pathLst>
                <a:path w="16" h="8" extrusionOk="0">
                  <a:moveTo>
                    <a:pt x="10" y="4"/>
                  </a:moveTo>
                  <a:lnTo>
                    <a:pt x="6" y="0"/>
                  </a:lnTo>
                  <a:lnTo>
                    <a:pt x="0" y="0"/>
                  </a:lnTo>
                  <a:lnTo>
                    <a:pt x="0" y="2"/>
                  </a:lnTo>
                  <a:lnTo>
                    <a:pt x="2" y="6"/>
                  </a:lnTo>
                  <a:lnTo>
                    <a:pt x="16" y="8"/>
                  </a:lnTo>
                  <a:lnTo>
                    <a:pt x="10"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69" name="Google Shape;4536;p64">
              <a:extLst>
                <a:ext uri="{FF2B5EF4-FFF2-40B4-BE49-F238E27FC236}">
                  <a16:creationId xmlns:a16="http://schemas.microsoft.com/office/drawing/2014/main" id="{309716DB-9BE2-85DF-7675-BEDFD451493A}"/>
                </a:ext>
              </a:extLst>
            </p:cNvPr>
            <p:cNvSpPr/>
            <p:nvPr/>
          </p:nvSpPr>
          <p:spPr>
            <a:xfrm>
              <a:off x="5476623" y="5251319"/>
              <a:ext cx="6563" cy="5907"/>
            </a:xfrm>
            <a:custGeom>
              <a:avLst/>
              <a:gdLst/>
              <a:ahLst/>
              <a:cxnLst/>
              <a:rect l="l" t="t" r="r" b="b"/>
              <a:pathLst>
                <a:path w="20" h="18" extrusionOk="0">
                  <a:moveTo>
                    <a:pt x="16" y="0"/>
                  </a:moveTo>
                  <a:lnTo>
                    <a:pt x="14" y="0"/>
                  </a:lnTo>
                  <a:lnTo>
                    <a:pt x="12" y="2"/>
                  </a:lnTo>
                  <a:lnTo>
                    <a:pt x="12" y="4"/>
                  </a:lnTo>
                  <a:lnTo>
                    <a:pt x="10" y="6"/>
                  </a:lnTo>
                  <a:lnTo>
                    <a:pt x="6" y="6"/>
                  </a:lnTo>
                  <a:lnTo>
                    <a:pt x="4" y="6"/>
                  </a:lnTo>
                  <a:lnTo>
                    <a:pt x="0" y="6"/>
                  </a:lnTo>
                  <a:lnTo>
                    <a:pt x="10" y="12"/>
                  </a:lnTo>
                  <a:lnTo>
                    <a:pt x="14" y="18"/>
                  </a:lnTo>
                  <a:lnTo>
                    <a:pt x="18" y="18"/>
                  </a:lnTo>
                  <a:lnTo>
                    <a:pt x="20" y="16"/>
                  </a:lnTo>
                  <a:lnTo>
                    <a:pt x="20" y="10"/>
                  </a:lnTo>
                  <a:lnTo>
                    <a:pt x="1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70" name="Google Shape;4537;p64">
              <a:extLst>
                <a:ext uri="{FF2B5EF4-FFF2-40B4-BE49-F238E27FC236}">
                  <a16:creationId xmlns:a16="http://schemas.microsoft.com/office/drawing/2014/main" id="{50ACF098-AB61-09D7-D17C-A86E0CEDE3DE}"/>
                </a:ext>
              </a:extLst>
            </p:cNvPr>
            <p:cNvSpPr/>
            <p:nvPr/>
          </p:nvSpPr>
          <p:spPr>
            <a:xfrm>
              <a:off x="5454964" y="5235567"/>
              <a:ext cx="5907" cy="12470"/>
            </a:xfrm>
            <a:custGeom>
              <a:avLst/>
              <a:gdLst/>
              <a:ahLst/>
              <a:cxnLst/>
              <a:rect l="l" t="t" r="r" b="b"/>
              <a:pathLst>
                <a:path w="42888" h="90536" extrusionOk="0">
                  <a:moveTo>
                    <a:pt x="19060" y="0"/>
                  </a:moveTo>
                  <a:lnTo>
                    <a:pt x="23828" y="9530"/>
                  </a:lnTo>
                  <a:lnTo>
                    <a:pt x="23828" y="42886"/>
                  </a:lnTo>
                  <a:lnTo>
                    <a:pt x="33356" y="61946"/>
                  </a:lnTo>
                  <a:lnTo>
                    <a:pt x="42888" y="81006"/>
                  </a:lnTo>
                  <a:lnTo>
                    <a:pt x="38120" y="85772"/>
                  </a:lnTo>
                  <a:lnTo>
                    <a:pt x="33356" y="90536"/>
                  </a:lnTo>
                  <a:lnTo>
                    <a:pt x="19060" y="81006"/>
                  </a:lnTo>
                  <a:lnTo>
                    <a:pt x="14296" y="76242"/>
                  </a:lnTo>
                  <a:lnTo>
                    <a:pt x="0" y="61946"/>
                  </a:lnTo>
                  <a:lnTo>
                    <a:pt x="4768" y="9530"/>
                  </a:lnTo>
                  <a:lnTo>
                    <a:pt x="9532"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71" name="Google Shape;4538;p64">
              <a:extLst>
                <a:ext uri="{FF2B5EF4-FFF2-40B4-BE49-F238E27FC236}">
                  <a16:creationId xmlns:a16="http://schemas.microsoft.com/office/drawing/2014/main" id="{D24F2DC2-B0B3-0BAF-56BA-7236CA899D9B}"/>
                </a:ext>
              </a:extLst>
            </p:cNvPr>
            <p:cNvSpPr/>
            <p:nvPr/>
          </p:nvSpPr>
          <p:spPr>
            <a:xfrm>
              <a:off x="3979570" y="4614038"/>
              <a:ext cx="57756" cy="53161"/>
            </a:xfrm>
            <a:custGeom>
              <a:avLst/>
              <a:gdLst/>
              <a:ahLst/>
              <a:cxnLst/>
              <a:rect l="l" t="t" r="r" b="b"/>
              <a:pathLst>
                <a:path w="419330" h="385976" extrusionOk="0">
                  <a:moveTo>
                    <a:pt x="147718" y="352620"/>
                  </a:moveTo>
                  <a:lnTo>
                    <a:pt x="162012" y="352620"/>
                  </a:lnTo>
                  <a:lnTo>
                    <a:pt x="166778" y="366916"/>
                  </a:lnTo>
                  <a:lnTo>
                    <a:pt x="162012" y="381210"/>
                  </a:lnTo>
                  <a:lnTo>
                    <a:pt x="152482" y="385976"/>
                  </a:lnTo>
                  <a:lnTo>
                    <a:pt x="142952" y="381210"/>
                  </a:lnTo>
                  <a:lnTo>
                    <a:pt x="133422" y="376446"/>
                  </a:lnTo>
                  <a:lnTo>
                    <a:pt x="128656" y="366916"/>
                  </a:lnTo>
                  <a:lnTo>
                    <a:pt x="133422" y="362150"/>
                  </a:lnTo>
                  <a:close/>
                  <a:moveTo>
                    <a:pt x="333558" y="304968"/>
                  </a:moveTo>
                  <a:lnTo>
                    <a:pt x="347852" y="304968"/>
                  </a:lnTo>
                  <a:lnTo>
                    <a:pt x="347852" y="314500"/>
                  </a:lnTo>
                  <a:lnTo>
                    <a:pt x="347852" y="328794"/>
                  </a:lnTo>
                  <a:lnTo>
                    <a:pt x="338322" y="333560"/>
                  </a:lnTo>
                  <a:lnTo>
                    <a:pt x="333558" y="333560"/>
                  </a:lnTo>
                  <a:lnTo>
                    <a:pt x="328792" y="328794"/>
                  </a:lnTo>
                  <a:lnTo>
                    <a:pt x="328792" y="319264"/>
                  </a:lnTo>
                  <a:lnTo>
                    <a:pt x="328792" y="314500"/>
                  </a:lnTo>
                  <a:close/>
                  <a:moveTo>
                    <a:pt x="247786" y="304968"/>
                  </a:moveTo>
                  <a:lnTo>
                    <a:pt x="252550" y="304968"/>
                  </a:lnTo>
                  <a:lnTo>
                    <a:pt x="257316" y="304968"/>
                  </a:lnTo>
                  <a:lnTo>
                    <a:pt x="257316" y="314500"/>
                  </a:lnTo>
                  <a:lnTo>
                    <a:pt x="276376" y="328794"/>
                  </a:lnTo>
                  <a:lnTo>
                    <a:pt x="285906" y="333560"/>
                  </a:lnTo>
                  <a:lnTo>
                    <a:pt x="300202" y="357386"/>
                  </a:lnTo>
                  <a:lnTo>
                    <a:pt x="290672" y="371680"/>
                  </a:lnTo>
                  <a:lnTo>
                    <a:pt x="266846" y="366916"/>
                  </a:lnTo>
                  <a:lnTo>
                    <a:pt x="257316" y="362150"/>
                  </a:lnTo>
                  <a:lnTo>
                    <a:pt x="243020" y="343090"/>
                  </a:lnTo>
                  <a:lnTo>
                    <a:pt x="243020" y="328794"/>
                  </a:lnTo>
                  <a:lnTo>
                    <a:pt x="247786" y="319264"/>
                  </a:lnTo>
                  <a:close/>
                  <a:moveTo>
                    <a:pt x="381210" y="157250"/>
                  </a:moveTo>
                  <a:lnTo>
                    <a:pt x="395504" y="157250"/>
                  </a:lnTo>
                  <a:lnTo>
                    <a:pt x="400270" y="157250"/>
                  </a:lnTo>
                  <a:lnTo>
                    <a:pt x="405034" y="157250"/>
                  </a:lnTo>
                  <a:lnTo>
                    <a:pt x="414564" y="166780"/>
                  </a:lnTo>
                  <a:lnTo>
                    <a:pt x="419330" y="176310"/>
                  </a:lnTo>
                  <a:lnTo>
                    <a:pt x="414564" y="185840"/>
                  </a:lnTo>
                  <a:lnTo>
                    <a:pt x="395504" y="195372"/>
                  </a:lnTo>
                  <a:lnTo>
                    <a:pt x="385974" y="195372"/>
                  </a:lnTo>
                  <a:lnTo>
                    <a:pt x="376444" y="185840"/>
                  </a:lnTo>
                  <a:lnTo>
                    <a:pt x="381210" y="171546"/>
                  </a:lnTo>
                  <a:close/>
                  <a:moveTo>
                    <a:pt x="147718" y="85772"/>
                  </a:moveTo>
                  <a:lnTo>
                    <a:pt x="152484" y="85772"/>
                  </a:lnTo>
                  <a:lnTo>
                    <a:pt x="166778" y="90538"/>
                  </a:lnTo>
                  <a:lnTo>
                    <a:pt x="200134" y="95304"/>
                  </a:lnTo>
                  <a:lnTo>
                    <a:pt x="204900" y="100068"/>
                  </a:lnTo>
                  <a:lnTo>
                    <a:pt x="195370" y="104834"/>
                  </a:lnTo>
                  <a:lnTo>
                    <a:pt x="171544" y="95304"/>
                  </a:lnTo>
                  <a:lnTo>
                    <a:pt x="166778" y="100068"/>
                  </a:lnTo>
                  <a:lnTo>
                    <a:pt x="162014" y="114364"/>
                  </a:lnTo>
                  <a:lnTo>
                    <a:pt x="147718" y="95304"/>
                  </a:lnTo>
                  <a:close/>
                  <a:moveTo>
                    <a:pt x="376444" y="57182"/>
                  </a:moveTo>
                  <a:lnTo>
                    <a:pt x="381208" y="57182"/>
                  </a:lnTo>
                  <a:lnTo>
                    <a:pt x="381208" y="76242"/>
                  </a:lnTo>
                  <a:lnTo>
                    <a:pt x="385974" y="85772"/>
                  </a:lnTo>
                  <a:lnTo>
                    <a:pt x="381208" y="95304"/>
                  </a:lnTo>
                  <a:lnTo>
                    <a:pt x="376444" y="85772"/>
                  </a:lnTo>
                  <a:lnTo>
                    <a:pt x="371680" y="81008"/>
                  </a:lnTo>
                  <a:lnTo>
                    <a:pt x="371680" y="61948"/>
                  </a:lnTo>
                  <a:close/>
                  <a:moveTo>
                    <a:pt x="66710" y="42888"/>
                  </a:moveTo>
                  <a:lnTo>
                    <a:pt x="71476" y="57182"/>
                  </a:lnTo>
                  <a:lnTo>
                    <a:pt x="71476" y="61948"/>
                  </a:lnTo>
                  <a:lnTo>
                    <a:pt x="61946" y="66712"/>
                  </a:lnTo>
                  <a:lnTo>
                    <a:pt x="52416" y="66712"/>
                  </a:lnTo>
                  <a:lnTo>
                    <a:pt x="42884" y="57182"/>
                  </a:lnTo>
                  <a:lnTo>
                    <a:pt x="42884" y="52418"/>
                  </a:lnTo>
                  <a:lnTo>
                    <a:pt x="57180" y="47652"/>
                  </a:lnTo>
                  <a:close/>
                  <a:moveTo>
                    <a:pt x="38120" y="0"/>
                  </a:moveTo>
                  <a:lnTo>
                    <a:pt x="47650" y="4766"/>
                  </a:lnTo>
                  <a:lnTo>
                    <a:pt x="57180" y="14296"/>
                  </a:lnTo>
                  <a:lnTo>
                    <a:pt x="52416" y="23826"/>
                  </a:lnTo>
                  <a:lnTo>
                    <a:pt x="28590" y="38122"/>
                  </a:lnTo>
                  <a:lnTo>
                    <a:pt x="14294" y="42888"/>
                  </a:lnTo>
                  <a:lnTo>
                    <a:pt x="4764" y="42888"/>
                  </a:lnTo>
                  <a:lnTo>
                    <a:pt x="4764" y="28592"/>
                  </a:lnTo>
                  <a:lnTo>
                    <a:pt x="0" y="19062"/>
                  </a:lnTo>
                  <a:lnTo>
                    <a:pt x="4764" y="1906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72" name="Google Shape;4539;p64">
              <a:extLst>
                <a:ext uri="{FF2B5EF4-FFF2-40B4-BE49-F238E27FC236}">
                  <a16:creationId xmlns:a16="http://schemas.microsoft.com/office/drawing/2014/main" id="{5990C2EF-8659-41EE-17CD-73A21B28BDA9}"/>
                </a:ext>
              </a:extLst>
            </p:cNvPr>
            <p:cNvSpPr/>
            <p:nvPr/>
          </p:nvSpPr>
          <p:spPr>
            <a:xfrm>
              <a:off x="2676784" y="4747269"/>
              <a:ext cx="72194" cy="68257"/>
            </a:xfrm>
            <a:custGeom>
              <a:avLst/>
              <a:gdLst/>
              <a:ahLst/>
              <a:cxnLst/>
              <a:rect l="l" t="t" r="r" b="b"/>
              <a:pathLst>
                <a:path w="524164" h="495574" extrusionOk="0">
                  <a:moveTo>
                    <a:pt x="352619" y="42888"/>
                  </a:moveTo>
                  <a:lnTo>
                    <a:pt x="352619" y="57182"/>
                  </a:lnTo>
                  <a:lnTo>
                    <a:pt x="343089" y="66712"/>
                  </a:lnTo>
                  <a:lnTo>
                    <a:pt x="328794" y="71478"/>
                  </a:lnTo>
                  <a:lnTo>
                    <a:pt x="309733" y="71478"/>
                  </a:lnTo>
                  <a:lnTo>
                    <a:pt x="285908" y="66712"/>
                  </a:lnTo>
                  <a:lnTo>
                    <a:pt x="271612" y="66712"/>
                  </a:lnTo>
                  <a:lnTo>
                    <a:pt x="266847" y="61948"/>
                  </a:lnTo>
                  <a:lnTo>
                    <a:pt x="266847" y="57182"/>
                  </a:lnTo>
                  <a:lnTo>
                    <a:pt x="257317" y="47652"/>
                  </a:lnTo>
                  <a:lnTo>
                    <a:pt x="243021" y="33356"/>
                  </a:lnTo>
                  <a:lnTo>
                    <a:pt x="233491" y="33356"/>
                  </a:lnTo>
                  <a:lnTo>
                    <a:pt x="223961" y="33356"/>
                  </a:lnTo>
                  <a:lnTo>
                    <a:pt x="200135" y="23826"/>
                  </a:lnTo>
                  <a:lnTo>
                    <a:pt x="190605" y="23826"/>
                  </a:lnTo>
                  <a:lnTo>
                    <a:pt x="176310" y="28592"/>
                  </a:lnTo>
                  <a:lnTo>
                    <a:pt x="157249" y="38122"/>
                  </a:lnTo>
                  <a:lnTo>
                    <a:pt x="114363" y="23826"/>
                  </a:lnTo>
                  <a:lnTo>
                    <a:pt x="85772" y="14296"/>
                  </a:lnTo>
                  <a:lnTo>
                    <a:pt x="57182" y="4766"/>
                  </a:lnTo>
                  <a:lnTo>
                    <a:pt x="52416" y="0"/>
                  </a:lnTo>
                  <a:lnTo>
                    <a:pt x="42886" y="0"/>
                  </a:lnTo>
                  <a:lnTo>
                    <a:pt x="38121" y="4766"/>
                  </a:lnTo>
                  <a:lnTo>
                    <a:pt x="33356" y="14296"/>
                  </a:lnTo>
                  <a:lnTo>
                    <a:pt x="33356" y="19062"/>
                  </a:lnTo>
                  <a:lnTo>
                    <a:pt x="28591" y="19062"/>
                  </a:lnTo>
                  <a:lnTo>
                    <a:pt x="28591" y="19062"/>
                  </a:lnTo>
                  <a:lnTo>
                    <a:pt x="28591" y="23826"/>
                  </a:lnTo>
                  <a:lnTo>
                    <a:pt x="23826" y="33356"/>
                  </a:lnTo>
                  <a:lnTo>
                    <a:pt x="4765" y="42888"/>
                  </a:lnTo>
                  <a:lnTo>
                    <a:pt x="0" y="47652"/>
                  </a:lnTo>
                  <a:lnTo>
                    <a:pt x="14295" y="57182"/>
                  </a:lnTo>
                  <a:lnTo>
                    <a:pt x="28591" y="61948"/>
                  </a:lnTo>
                  <a:lnTo>
                    <a:pt x="38121" y="71478"/>
                  </a:lnTo>
                  <a:lnTo>
                    <a:pt x="38121" y="81008"/>
                  </a:lnTo>
                  <a:lnTo>
                    <a:pt x="38121" y="90538"/>
                  </a:lnTo>
                  <a:lnTo>
                    <a:pt x="33356" y="100068"/>
                  </a:lnTo>
                  <a:lnTo>
                    <a:pt x="14295" y="128660"/>
                  </a:lnTo>
                  <a:lnTo>
                    <a:pt x="9530" y="142954"/>
                  </a:lnTo>
                  <a:lnTo>
                    <a:pt x="19061" y="166780"/>
                  </a:lnTo>
                  <a:lnTo>
                    <a:pt x="38121" y="195372"/>
                  </a:lnTo>
                  <a:lnTo>
                    <a:pt x="42886" y="204902"/>
                  </a:lnTo>
                  <a:lnTo>
                    <a:pt x="95303" y="219196"/>
                  </a:lnTo>
                  <a:lnTo>
                    <a:pt x="119128" y="252552"/>
                  </a:lnTo>
                  <a:lnTo>
                    <a:pt x="123893" y="257318"/>
                  </a:lnTo>
                  <a:lnTo>
                    <a:pt x="128658" y="252552"/>
                  </a:lnTo>
                  <a:lnTo>
                    <a:pt x="133424" y="243022"/>
                  </a:lnTo>
                  <a:lnTo>
                    <a:pt x="142954" y="238258"/>
                  </a:lnTo>
                  <a:lnTo>
                    <a:pt x="162014" y="219196"/>
                  </a:lnTo>
                  <a:lnTo>
                    <a:pt x="157249" y="209666"/>
                  </a:lnTo>
                  <a:lnTo>
                    <a:pt x="147719" y="200136"/>
                  </a:lnTo>
                  <a:lnTo>
                    <a:pt x="119128" y="185840"/>
                  </a:lnTo>
                  <a:lnTo>
                    <a:pt x="104833" y="171546"/>
                  </a:lnTo>
                  <a:lnTo>
                    <a:pt x="100068" y="147720"/>
                  </a:lnTo>
                  <a:lnTo>
                    <a:pt x="104833" y="152484"/>
                  </a:lnTo>
                  <a:lnTo>
                    <a:pt x="109598" y="157250"/>
                  </a:lnTo>
                  <a:lnTo>
                    <a:pt x="138189" y="171546"/>
                  </a:lnTo>
                  <a:lnTo>
                    <a:pt x="185840" y="204902"/>
                  </a:lnTo>
                  <a:lnTo>
                    <a:pt x="200135" y="223962"/>
                  </a:lnTo>
                  <a:lnTo>
                    <a:pt x="195370" y="238258"/>
                  </a:lnTo>
                  <a:lnTo>
                    <a:pt x="195370" y="247788"/>
                  </a:lnTo>
                  <a:lnTo>
                    <a:pt x="209666" y="257318"/>
                  </a:lnTo>
                  <a:lnTo>
                    <a:pt x="223961" y="266848"/>
                  </a:lnTo>
                  <a:lnTo>
                    <a:pt x="262082" y="276378"/>
                  </a:lnTo>
                  <a:lnTo>
                    <a:pt x="281143" y="285908"/>
                  </a:lnTo>
                  <a:lnTo>
                    <a:pt x="314498" y="304968"/>
                  </a:lnTo>
                  <a:lnTo>
                    <a:pt x="338324" y="324030"/>
                  </a:lnTo>
                  <a:lnTo>
                    <a:pt x="352619" y="343090"/>
                  </a:lnTo>
                  <a:lnTo>
                    <a:pt x="357385" y="352620"/>
                  </a:lnTo>
                  <a:lnTo>
                    <a:pt x="357385" y="381212"/>
                  </a:lnTo>
                  <a:lnTo>
                    <a:pt x="352619" y="390742"/>
                  </a:lnTo>
                  <a:lnTo>
                    <a:pt x="338324" y="409802"/>
                  </a:lnTo>
                  <a:lnTo>
                    <a:pt x="362150" y="428862"/>
                  </a:lnTo>
                  <a:lnTo>
                    <a:pt x="371680" y="433628"/>
                  </a:lnTo>
                  <a:lnTo>
                    <a:pt x="385975" y="438392"/>
                  </a:lnTo>
                  <a:lnTo>
                    <a:pt x="395506" y="438392"/>
                  </a:lnTo>
                  <a:lnTo>
                    <a:pt x="409801" y="443158"/>
                  </a:lnTo>
                  <a:lnTo>
                    <a:pt x="409801" y="433628"/>
                  </a:lnTo>
                  <a:lnTo>
                    <a:pt x="409801" y="424098"/>
                  </a:lnTo>
                  <a:lnTo>
                    <a:pt x="390740" y="409802"/>
                  </a:lnTo>
                  <a:lnTo>
                    <a:pt x="381210" y="395506"/>
                  </a:lnTo>
                  <a:lnTo>
                    <a:pt x="395506" y="390742"/>
                  </a:lnTo>
                  <a:lnTo>
                    <a:pt x="409801" y="400272"/>
                  </a:lnTo>
                  <a:lnTo>
                    <a:pt x="428861" y="414566"/>
                  </a:lnTo>
                  <a:lnTo>
                    <a:pt x="433627" y="424098"/>
                  </a:lnTo>
                  <a:lnTo>
                    <a:pt x="433627" y="452688"/>
                  </a:lnTo>
                  <a:lnTo>
                    <a:pt x="447922" y="462218"/>
                  </a:lnTo>
                  <a:lnTo>
                    <a:pt x="462217" y="476514"/>
                  </a:lnTo>
                  <a:lnTo>
                    <a:pt x="471748" y="495574"/>
                  </a:lnTo>
                  <a:lnTo>
                    <a:pt x="471748" y="486044"/>
                  </a:lnTo>
                  <a:lnTo>
                    <a:pt x="466982" y="476514"/>
                  </a:lnTo>
                  <a:lnTo>
                    <a:pt x="462217" y="466984"/>
                  </a:lnTo>
                  <a:lnTo>
                    <a:pt x="452687" y="457452"/>
                  </a:lnTo>
                  <a:lnTo>
                    <a:pt x="452687" y="452688"/>
                  </a:lnTo>
                  <a:lnTo>
                    <a:pt x="457452" y="447922"/>
                  </a:lnTo>
                  <a:lnTo>
                    <a:pt x="476513" y="433628"/>
                  </a:lnTo>
                  <a:lnTo>
                    <a:pt x="481278" y="428862"/>
                  </a:lnTo>
                  <a:lnTo>
                    <a:pt x="481278" y="414566"/>
                  </a:lnTo>
                  <a:lnTo>
                    <a:pt x="476513" y="405036"/>
                  </a:lnTo>
                  <a:lnTo>
                    <a:pt x="466982" y="390742"/>
                  </a:lnTo>
                  <a:lnTo>
                    <a:pt x="471748" y="376446"/>
                  </a:lnTo>
                  <a:lnTo>
                    <a:pt x="486043" y="371680"/>
                  </a:lnTo>
                  <a:lnTo>
                    <a:pt x="495573" y="362150"/>
                  </a:lnTo>
                  <a:lnTo>
                    <a:pt x="495573" y="362150"/>
                  </a:lnTo>
                  <a:lnTo>
                    <a:pt x="495573" y="357386"/>
                  </a:lnTo>
                  <a:lnTo>
                    <a:pt x="490808" y="347856"/>
                  </a:lnTo>
                  <a:lnTo>
                    <a:pt x="471748" y="338324"/>
                  </a:lnTo>
                  <a:lnTo>
                    <a:pt x="462217" y="338324"/>
                  </a:lnTo>
                  <a:lnTo>
                    <a:pt x="462217" y="309734"/>
                  </a:lnTo>
                  <a:lnTo>
                    <a:pt x="462217" y="276378"/>
                  </a:lnTo>
                  <a:lnTo>
                    <a:pt x="466982" y="276378"/>
                  </a:lnTo>
                  <a:lnTo>
                    <a:pt x="471748" y="271614"/>
                  </a:lnTo>
                  <a:lnTo>
                    <a:pt x="476513" y="266848"/>
                  </a:lnTo>
                  <a:lnTo>
                    <a:pt x="481278" y="257318"/>
                  </a:lnTo>
                  <a:lnTo>
                    <a:pt x="486043" y="252552"/>
                  </a:lnTo>
                  <a:lnTo>
                    <a:pt x="500338" y="262082"/>
                  </a:lnTo>
                  <a:lnTo>
                    <a:pt x="509869" y="266848"/>
                  </a:lnTo>
                  <a:lnTo>
                    <a:pt x="514634" y="266848"/>
                  </a:lnTo>
                  <a:lnTo>
                    <a:pt x="519399" y="262082"/>
                  </a:lnTo>
                  <a:lnTo>
                    <a:pt x="524164" y="262082"/>
                  </a:lnTo>
                  <a:lnTo>
                    <a:pt x="524164" y="257318"/>
                  </a:lnTo>
                  <a:lnTo>
                    <a:pt x="514634" y="252552"/>
                  </a:lnTo>
                  <a:lnTo>
                    <a:pt x="490808" y="243022"/>
                  </a:lnTo>
                  <a:lnTo>
                    <a:pt x="486043" y="233492"/>
                  </a:lnTo>
                  <a:lnTo>
                    <a:pt x="476513" y="223962"/>
                  </a:lnTo>
                  <a:lnTo>
                    <a:pt x="447922" y="190606"/>
                  </a:lnTo>
                  <a:lnTo>
                    <a:pt x="433627" y="181076"/>
                  </a:lnTo>
                  <a:lnTo>
                    <a:pt x="400271" y="138190"/>
                  </a:lnTo>
                  <a:lnTo>
                    <a:pt x="385975" y="114364"/>
                  </a:lnTo>
                  <a:lnTo>
                    <a:pt x="366915" y="71478"/>
                  </a:lnTo>
                  <a:lnTo>
                    <a:pt x="362150" y="61948"/>
                  </a:lnTo>
                  <a:lnTo>
                    <a:pt x="357385" y="52418"/>
                  </a:lnTo>
                  <a:lnTo>
                    <a:pt x="352619" y="42888"/>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73" name="Google Shape;4540;p64">
              <a:extLst>
                <a:ext uri="{FF2B5EF4-FFF2-40B4-BE49-F238E27FC236}">
                  <a16:creationId xmlns:a16="http://schemas.microsoft.com/office/drawing/2014/main" id="{E99A73EF-E5AD-02B2-FCF6-1071813E26EB}"/>
                </a:ext>
              </a:extLst>
            </p:cNvPr>
            <p:cNvSpPr/>
            <p:nvPr/>
          </p:nvSpPr>
          <p:spPr>
            <a:xfrm>
              <a:off x="2699099" y="4476212"/>
              <a:ext cx="231023" cy="77444"/>
            </a:xfrm>
            <a:custGeom>
              <a:avLst/>
              <a:gdLst/>
              <a:ahLst/>
              <a:cxnLst/>
              <a:rect l="l" t="t" r="r" b="b"/>
              <a:pathLst>
                <a:path w="1677325" h="562284" extrusionOk="0">
                  <a:moveTo>
                    <a:pt x="295438" y="214432"/>
                  </a:moveTo>
                  <a:lnTo>
                    <a:pt x="328794" y="219196"/>
                  </a:lnTo>
                  <a:lnTo>
                    <a:pt x="338324" y="223962"/>
                  </a:lnTo>
                  <a:lnTo>
                    <a:pt x="343089" y="233492"/>
                  </a:lnTo>
                  <a:lnTo>
                    <a:pt x="352620" y="243022"/>
                  </a:lnTo>
                  <a:lnTo>
                    <a:pt x="362150" y="266848"/>
                  </a:lnTo>
                  <a:lnTo>
                    <a:pt x="362150" y="276378"/>
                  </a:lnTo>
                  <a:lnTo>
                    <a:pt x="347855" y="285908"/>
                  </a:lnTo>
                  <a:lnTo>
                    <a:pt x="314499" y="295438"/>
                  </a:lnTo>
                  <a:lnTo>
                    <a:pt x="300203" y="295438"/>
                  </a:lnTo>
                  <a:lnTo>
                    <a:pt x="281143" y="290672"/>
                  </a:lnTo>
                  <a:lnTo>
                    <a:pt x="271612" y="281142"/>
                  </a:lnTo>
                  <a:lnTo>
                    <a:pt x="262082" y="271612"/>
                  </a:lnTo>
                  <a:lnTo>
                    <a:pt x="266847" y="266848"/>
                  </a:lnTo>
                  <a:lnTo>
                    <a:pt x="276377" y="276378"/>
                  </a:lnTo>
                  <a:lnTo>
                    <a:pt x="285908" y="281142"/>
                  </a:lnTo>
                  <a:lnTo>
                    <a:pt x="290673" y="276378"/>
                  </a:lnTo>
                  <a:lnTo>
                    <a:pt x="295438" y="271612"/>
                  </a:lnTo>
                  <a:lnTo>
                    <a:pt x="281143" y="238256"/>
                  </a:lnTo>
                  <a:lnTo>
                    <a:pt x="281143" y="233492"/>
                  </a:lnTo>
                  <a:close/>
                  <a:moveTo>
                    <a:pt x="1086449" y="190604"/>
                  </a:moveTo>
                  <a:lnTo>
                    <a:pt x="1095979" y="190604"/>
                  </a:lnTo>
                  <a:lnTo>
                    <a:pt x="1110275" y="190604"/>
                  </a:lnTo>
                  <a:lnTo>
                    <a:pt x="1129335" y="195370"/>
                  </a:lnTo>
                  <a:lnTo>
                    <a:pt x="1129335" y="204900"/>
                  </a:lnTo>
                  <a:lnTo>
                    <a:pt x="1124570" y="209666"/>
                  </a:lnTo>
                  <a:lnTo>
                    <a:pt x="1119805" y="214432"/>
                  </a:lnTo>
                  <a:lnTo>
                    <a:pt x="1110275" y="209666"/>
                  </a:lnTo>
                  <a:lnTo>
                    <a:pt x="1105509" y="209666"/>
                  </a:lnTo>
                  <a:lnTo>
                    <a:pt x="1100744" y="204900"/>
                  </a:lnTo>
                  <a:lnTo>
                    <a:pt x="1091214" y="195370"/>
                  </a:lnTo>
                  <a:close/>
                  <a:moveTo>
                    <a:pt x="1072154" y="152484"/>
                  </a:moveTo>
                  <a:lnTo>
                    <a:pt x="1076919" y="152484"/>
                  </a:lnTo>
                  <a:lnTo>
                    <a:pt x="1076919" y="162014"/>
                  </a:lnTo>
                  <a:lnTo>
                    <a:pt x="1091215" y="166780"/>
                  </a:lnTo>
                  <a:lnTo>
                    <a:pt x="1091215" y="171544"/>
                  </a:lnTo>
                  <a:lnTo>
                    <a:pt x="1095980" y="176310"/>
                  </a:lnTo>
                  <a:lnTo>
                    <a:pt x="1091215" y="181076"/>
                  </a:lnTo>
                  <a:lnTo>
                    <a:pt x="1086450" y="181076"/>
                  </a:lnTo>
                  <a:lnTo>
                    <a:pt x="1072154" y="176310"/>
                  </a:lnTo>
                  <a:lnTo>
                    <a:pt x="1067389" y="171544"/>
                  </a:lnTo>
                  <a:lnTo>
                    <a:pt x="1072154" y="162014"/>
                  </a:lnTo>
                  <a:close/>
                  <a:moveTo>
                    <a:pt x="1043563" y="128658"/>
                  </a:moveTo>
                  <a:lnTo>
                    <a:pt x="1048329" y="128658"/>
                  </a:lnTo>
                  <a:lnTo>
                    <a:pt x="1057859" y="138188"/>
                  </a:lnTo>
                  <a:lnTo>
                    <a:pt x="1062624" y="152484"/>
                  </a:lnTo>
                  <a:lnTo>
                    <a:pt x="1067389" y="157248"/>
                  </a:lnTo>
                  <a:lnTo>
                    <a:pt x="1057859" y="152484"/>
                  </a:lnTo>
                  <a:lnTo>
                    <a:pt x="1043563" y="147718"/>
                  </a:lnTo>
                  <a:lnTo>
                    <a:pt x="1038798" y="138188"/>
                  </a:lnTo>
                  <a:lnTo>
                    <a:pt x="1029268" y="133424"/>
                  </a:lnTo>
                  <a:close/>
                  <a:moveTo>
                    <a:pt x="976851" y="109598"/>
                  </a:moveTo>
                  <a:lnTo>
                    <a:pt x="995912" y="114364"/>
                  </a:lnTo>
                  <a:lnTo>
                    <a:pt x="1005442" y="109598"/>
                  </a:lnTo>
                  <a:lnTo>
                    <a:pt x="1010207" y="109598"/>
                  </a:lnTo>
                  <a:lnTo>
                    <a:pt x="1019738" y="114364"/>
                  </a:lnTo>
                  <a:lnTo>
                    <a:pt x="1029268" y="128660"/>
                  </a:lnTo>
                  <a:lnTo>
                    <a:pt x="1019738" y="128660"/>
                  </a:lnTo>
                  <a:lnTo>
                    <a:pt x="1014973" y="128660"/>
                  </a:lnTo>
                  <a:lnTo>
                    <a:pt x="1005442" y="128660"/>
                  </a:lnTo>
                  <a:lnTo>
                    <a:pt x="986382" y="123894"/>
                  </a:lnTo>
                  <a:lnTo>
                    <a:pt x="976851" y="119128"/>
                  </a:lnTo>
                  <a:lnTo>
                    <a:pt x="967321" y="119128"/>
                  </a:lnTo>
                  <a:lnTo>
                    <a:pt x="967321" y="114364"/>
                  </a:lnTo>
                  <a:close/>
                  <a:moveTo>
                    <a:pt x="819602" y="66712"/>
                  </a:moveTo>
                  <a:lnTo>
                    <a:pt x="829132" y="66712"/>
                  </a:lnTo>
                  <a:lnTo>
                    <a:pt x="857723" y="90538"/>
                  </a:lnTo>
                  <a:lnTo>
                    <a:pt x="862488" y="90538"/>
                  </a:lnTo>
                  <a:lnTo>
                    <a:pt x="862488" y="95304"/>
                  </a:lnTo>
                  <a:lnTo>
                    <a:pt x="833897" y="81008"/>
                  </a:lnTo>
                  <a:lnTo>
                    <a:pt x="824367" y="71478"/>
                  </a:lnTo>
                  <a:close/>
                  <a:moveTo>
                    <a:pt x="433627" y="0"/>
                  </a:moveTo>
                  <a:lnTo>
                    <a:pt x="476513" y="9530"/>
                  </a:lnTo>
                  <a:lnTo>
                    <a:pt x="514634" y="14296"/>
                  </a:lnTo>
                  <a:lnTo>
                    <a:pt x="547990" y="14296"/>
                  </a:lnTo>
                  <a:lnTo>
                    <a:pt x="562285" y="9530"/>
                  </a:lnTo>
                  <a:lnTo>
                    <a:pt x="562285" y="14296"/>
                  </a:lnTo>
                  <a:lnTo>
                    <a:pt x="576581" y="23826"/>
                  </a:lnTo>
                  <a:lnTo>
                    <a:pt x="581346" y="23826"/>
                  </a:lnTo>
                  <a:lnTo>
                    <a:pt x="605171" y="19060"/>
                  </a:lnTo>
                  <a:lnTo>
                    <a:pt x="657588" y="19060"/>
                  </a:lnTo>
                  <a:lnTo>
                    <a:pt x="667118" y="19060"/>
                  </a:lnTo>
                  <a:lnTo>
                    <a:pt x="676648" y="33356"/>
                  </a:lnTo>
                  <a:lnTo>
                    <a:pt x="690944" y="38122"/>
                  </a:lnTo>
                  <a:lnTo>
                    <a:pt x="705239" y="42886"/>
                  </a:lnTo>
                  <a:lnTo>
                    <a:pt x="719534" y="47652"/>
                  </a:lnTo>
                  <a:lnTo>
                    <a:pt x="733830" y="42886"/>
                  </a:lnTo>
                  <a:lnTo>
                    <a:pt x="748125" y="42886"/>
                  </a:lnTo>
                  <a:lnTo>
                    <a:pt x="767186" y="57182"/>
                  </a:lnTo>
                  <a:lnTo>
                    <a:pt x="771951" y="57182"/>
                  </a:lnTo>
                  <a:lnTo>
                    <a:pt x="791011" y="52416"/>
                  </a:lnTo>
                  <a:lnTo>
                    <a:pt x="786246" y="61946"/>
                  </a:lnTo>
                  <a:lnTo>
                    <a:pt x="810072" y="76242"/>
                  </a:lnTo>
                  <a:lnTo>
                    <a:pt x="833897" y="104832"/>
                  </a:lnTo>
                  <a:lnTo>
                    <a:pt x="848193" y="119128"/>
                  </a:lnTo>
                  <a:lnTo>
                    <a:pt x="862488" y="128658"/>
                  </a:lnTo>
                  <a:lnTo>
                    <a:pt x="872018" y="133424"/>
                  </a:lnTo>
                  <a:lnTo>
                    <a:pt x="891079" y="138188"/>
                  </a:lnTo>
                  <a:lnTo>
                    <a:pt x="933965" y="138188"/>
                  </a:lnTo>
                  <a:lnTo>
                    <a:pt x="943495" y="138188"/>
                  </a:lnTo>
                  <a:lnTo>
                    <a:pt x="953026" y="142954"/>
                  </a:lnTo>
                  <a:lnTo>
                    <a:pt x="962556" y="142954"/>
                  </a:lnTo>
                  <a:lnTo>
                    <a:pt x="967321" y="142954"/>
                  </a:lnTo>
                  <a:lnTo>
                    <a:pt x="1053093" y="185840"/>
                  </a:lnTo>
                  <a:lnTo>
                    <a:pt x="1076919" y="209666"/>
                  </a:lnTo>
                  <a:lnTo>
                    <a:pt x="1095979" y="219196"/>
                  </a:lnTo>
                  <a:lnTo>
                    <a:pt x="1129335" y="238256"/>
                  </a:lnTo>
                  <a:lnTo>
                    <a:pt x="1143631" y="243022"/>
                  </a:lnTo>
                  <a:lnTo>
                    <a:pt x="1153161" y="238256"/>
                  </a:lnTo>
                  <a:lnTo>
                    <a:pt x="1148396" y="233492"/>
                  </a:lnTo>
                  <a:lnTo>
                    <a:pt x="1138865" y="223960"/>
                  </a:lnTo>
                  <a:lnTo>
                    <a:pt x="1153161" y="223960"/>
                  </a:lnTo>
                  <a:lnTo>
                    <a:pt x="1176987" y="243022"/>
                  </a:lnTo>
                  <a:lnTo>
                    <a:pt x="1181752" y="252552"/>
                  </a:lnTo>
                  <a:lnTo>
                    <a:pt x="1196047" y="257316"/>
                  </a:lnTo>
                  <a:lnTo>
                    <a:pt x="1205577" y="262082"/>
                  </a:lnTo>
                  <a:lnTo>
                    <a:pt x="1200812" y="271612"/>
                  </a:lnTo>
                  <a:lnTo>
                    <a:pt x="1191282" y="271612"/>
                  </a:lnTo>
                  <a:lnTo>
                    <a:pt x="1172221" y="266848"/>
                  </a:lnTo>
                  <a:lnTo>
                    <a:pt x="1186517" y="281142"/>
                  </a:lnTo>
                  <a:lnTo>
                    <a:pt x="1191282" y="290672"/>
                  </a:lnTo>
                  <a:lnTo>
                    <a:pt x="1196047" y="290672"/>
                  </a:lnTo>
                  <a:lnTo>
                    <a:pt x="1205577" y="281142"/>
                  </a:lnTo>
                  <a:lnTo>
                    <a:pt x="1215108" y="271612"/>
                  </a:lnTo>
                  <a:lnTo>
                    <a:pt x="1238933" y="295438"/>
                  </a:lnTo>
                  <a:lnTo>
                    <a:pt x="1257994" y="304968"/>
                  </a:lnTo>
                  <a:lnTo>
                    <a:pt x="1253229" y="309734"/>
                  </a:lnTo>
                  <a:lnTo>
                    <a:pt x="1248463" y="314498"/>
                  </a:lnTo>
                  <a:lnTo>
                    <a:pt x="1267524" y="309734"/>
                  </a:lnTo>
                  <a:lnTo>
                    <a:pt x="1272289" y="309734"/>
                  </a:lnTo>
                  <a:lnTo>
                    <a:pt x="1277054" y="314498"/>
                  </a:lnTo>
                  <a:lnTo>
                    <a:pt x="1286585" y="324028"/>
                  </a:lnTo>
                  <a:lnTo>
                    <a:pt x="1300880" y="324028"/>
                  </a:lnTo>
                  <a:lnTo>
                    <a:pt x="1315175" y="324028"/>
                  </a:lnTo>
                  <a:lnTo>
                    <a:pt x="1343766" y="333558"/>
                  </a:lnTo>
                  <a:lnTo>
                    <a:pt x="1377122" y="347854"/>
                  </a:lnTo>
                  <a:lnTo>
                    <a:pt x="1400948" y="352620"/>
                  </a:lnTo>
                  <a:lnTo>
                    <a:pt x="1429539" y="352620"/>
                  </a:lnTo>
                  <a:lnTo>
                    <a:pt x="1443833" y="362150"/>
                  </a:lnTo>
                  <a:lnTo>
                    <a:pt x="1448599" y="371680"/>
                  </a:lnTo>
                  <a:lnTo>
                    <a:pt x="1443833" y="381210"/>
                  </a:lnTo>
                  <a:lnTo>
                    <a:pt x="1439069" y="390740"/>
                  </a:lnTo>
                  <a:lnTo>
                    <a:pt x="1448599" y="400270"/>
                  </a:lnTo>
                  <a:lnTo>
                    <a:pt x="1424773" y="405036"/>
                  </a:lnTo>
                  <a:lnTo>
                    <a:pt x="1424773" y="409800"/>
                  </a:lnTo>
                  <a:lnTo>
                    <a:pt x="1424773" y="414566"/>
                  </a:lnTo>
                  <a:lnTo>
                    <a:pt x="1429539" y="419332"/>
                  </a:lnTo>
                  <a:lnTo>
                    <a:pt x="1443833" y="414566"/>
                  </a:lnTo>
                  <a:lnTo>
                    <a:pt x="1458129" y="419332"/>
                  </a:lnTo>
                  <a:lnTo>
                    <a:pt x="1491485" y="419332"/>
                  </a:lnTo>
                  <a:lnTo>
                    <a:pt x="1510545" y="419332"/>
                  </a:lnTo>
                  <a:lnTo>
                    <a:pt x="1548667" y="424096"/>
                  </a:lnTo>
                  <a:lnTo>
                    <a:pt x="1558197" y="428862"/>
                  </a:lnTo>
                  <a:lnTo>
                    <a:pt x="1582023" y="443156"/>
                  </a:lnTo>
                  <a:lnTo>
                    <a:pt x="1596317" y="452688"/>
                  </a:lnTo>
                  <a:lnTo>
                    <a:pt x="1620143" y="471748"/>
                  </a:lnTo>
                  <a:lnTo>
                    <a:pt x="1639205" y="481278"/>
                  </a:lnTo>
                  <a:lnTo>
                    <a:pt x="1653499" y="486042"/>
                  </a:lnTo>
                  <a:lnTo>
                    <a:pt x="1663029" y="486042"/>
                  </a:lnTo>
                  <a:lnTo>
                    <a:pt x="1667795" y="486042"/>
                  </a:lnTo>
                  <a:lnTo>
                    <a:pt x="1672559" y="490808"/>
                  </a:lnTo>
                  <a:lnTo>
                    <a:pt x="1677325" y="500338"/>
                  </a:lnTo>
                  <a:lnTo>
                    <a:pt x="1672559" y="509868"/>
                  </a:lnTo>
                  <a:lnTo>
                    <a:pt x="1663029" y="519398"/>
                  </a:lnTo>
                  <a:lnTo>
                    <a:pt x="1658265" y="524164"/>
                  </a:lnTo>
                  <a:lnTo>
                    <a:pt x="1634439" y="524164"/>
                  </a:lnTo>
                  <a:lnTo>
                    <a:pt x="1601083" y="528930"/>
                  </a:lnTo>
                  <a:lnTo>
                    <a:pt x="1567727" y="538460"/>
                  </a:lnTo>
                  <a:lnTo>
                    <a:pt x="1548667" y="543224"/>
                  </a:lnTo>
                  <a:lnTo>
                    <a:pt x="1543901" y="547990"/>
                  </a:lnTo>
                  <a:lnTo>
                    <a:pt x="1524841" y="552754"/>
                  </a:lnTo>
                  <a:lnTo>
                    <a:pt x="1524841" y="547990"/>
                  </a:lnTo>
                  <a:lnTo>
                    <a:pt x="1520075" y="538460"/>
                  </a:lnTo>
                  <a:lnTo>
                    <a:pt x="1515311" y="543224"/>
                  </a:lnTo>
                  <a:lnTo>
                    <a:pt x="1510545" y="552754"/>
                  </a:lnTo>
                  <a:lnTo>
                    <a:pt x="1496251" y="557520"/>
                  </a:lnTo>
                  <a:lnTo>
                    <a:pt x="1458129" y="557520"/>
                  </a:lnTo>
                  <a:lnTo>
                    <a:pt x="1439069" y="547990"/>
                  </a:lnTo>
                  <a:lnTo>
                    <a:pt x="1424773" y="543224"/>
                  </a:lnTo>
                  <a:lnTo>
                    <a:pt x="1362827" y="538460"/>
                  </a:lnTo>
                  <a:lnTo>
                    <a:pt x="1348531" y="538460"/>
                  </a:lnTo>
                  <a:lnTo>
                    <a:pt x="1305645" y="543224"/>
                  </a:lnTo>
                  <a:lnTo>
                    <a:pt x="1262759" y="547990"/>
                  </a:lnTo>
                  <a:lnTo>
                    <a:pt x="1248463" y="552754"/>
                  </a:lnTo>
                  <a:lnTo>
                    <a:pt x="1229403" y="557520"/>
                  </a:lnTo>
                  <a:lnTo>
                    <a:pt x="1196047" y="557520"/>
                  </a:lnTo>
                  <a:lnTo>
                    <a:pt x="1157926" y="562284"/>
                  </a:lnTo>
                  <a:lnTo>
                    <a:pt x="1119805" y="562284"/>
                  </a:lnTo>
                  <a:lnTo>
                    <a:pt x="1143631" y="524164"/>
                  </a:lnTo>
                  <a:lnTo>
                    <a:pt x="1196047" y="486042"/>
                  </a:lnTo>
                  <a:lnTo>
                    <a:pt x="1205577" y="481278"/>
                  </a:lnTo>
                  <a:lnTo>
                    <a:pt x="1215108" y="471748"/>
                  </a:lnTo>
                  <a:lnTo>
                    <a:pt x="1215108" y="462218"/>
                  </a:lnTo>
                  <a:lnTo>
                    <a:pt x="1215108" y="457452"/>
                  </a:lnTo>
                  <a:lnTo>
                    <a:pt x="1200812" y="443156"/>
                  </a:lnTo>
                  <a:lnTo>
                    <a:pt x="1196047" y="438392"/>
                  </a:lnTo>
                  <a:lnTo>
                    <a:pt x="1196047" y="428862"/>
                  </a:lnTo>
                  <a:lnTo>
                    <a:pt x="1176987" y="424096"/>
                  </a:lnTo>
                  <a:lnTo>
                    <a:pt x="1157926" y="424096"/>
                  </a:lnTo>
                  <a:lnTo>
                    <a:pt x="1138865" y="424096"/>
                  </a:lnTo>
                  <a:lnTo>
                    <a:pt x="1095979" y="419332"/>
                  </a:lnTo>
                  <a:lnTo>
                    <a:pt x="1072154" y="419332"/>
                  </a:lnTo>
                  <a:lnTo>
                    <a:pt x="1053093" y="409800"/>
                  </a:lnTo>
                  <a:lnTo>
                    <a:pt x="1024503" y="385976"/>
                  </a:lnTo>
                  <a:lnTo>
                    <a:pt x="1010207" y="376446"/>
                  </a:lnTo>
                  <a:lnTo>
                    <a:pt x="1000677" y="371680"/>
                  </a:lnTo>
                  <a:lnTo>
                    <a:pt x="995912" y="362150"/>
                  </a:lnTo>
                  <a:lnTo>
                    <a:pt x="991147" y="324028"/>
                  </a:lnTo>
                  <a:lnTo>
                    <a:pt x="981616" y="300204"/>
                  </a:lnTo>
                  <a:lnTo>
                    <a:pt x="972086" y="285908"/>
                  </a:lnTo>
                  <a:lnTo>
                    <a:pt x="962556" y="271612"/>
                  </a:lnTo>
                  <a:lnTo>
                    <a:pt x="943495" y="266848"/>
                  </a:lnTo>
                  <a:lnTo>
                    <a:pt x="886314" y="276378"/>
                  </a:lnTo>
                  <a:lnTo>
                    <a:pt x="876783" y="276378"/>
                  </a:lnTo>
                  <a:lnTo>
                    <a:pt x="862488" y="271612"/>
                  </a:lnTo>
                  <a:lnTo>
                    <a:pt x="776716" y="247786"/>
                  </a:lnTo>
                  <a:lnTo>
                    <a:pt x="738595" y="233492"/>
                  </a:lnTo>
                  <a:lnTo>
                    <a:pt x="724299" y="223960"/>
                  </a:lnTo>
                  <a:lnTo>
                    <a:pt x="714769" y="214430"/>
                  </a:lnTo>
                  <a:lnTo>
                    <a:pt x="700474" y="200136"/>
                  </a:lnTo>
                  <a:lnTo>
                    <a:pt x="686178" y="181074"/>
                  </a:lnTo>
                  <a:lnTo>
                    <a:pt x="686178" y="190606"/>
                  </a:lnTo>
                  <a:lnTo>
                    <a:pt x="681413" y="190606"/>
                  </a:lnTo>
                  <a:lnTo>
                    <a:pt x="609936" y="195370"/>
                  </a:lnTo>
                  <a:lnTo>
                    <a:pt x="600406" y="190606"/>
                  </a:lnTo>
                  <a:lnTo>
                    <a:pt x="590876" y="185840"/>
                  </a:lnTo>
                  <a:lnTo>
                    <a:pt x="586111" y="181074"/>
                  </a:lnTo>
                  <a:lnTo>
                    <a:pt x="581346" y="166780"/>
                  </a:lnTo>
                  <a:lnTo>
                    <a:pt x="576581" y="157250"/>
                  </a:lnTo>
                  <a:lnTo>
                    <a:pt x="571815" y="171544"/>
                  </a:lnTo>
                  <a:lnTo>
                    <a:pt x="571815" y="181074"/>
                  </a:lnTo>
                  <a:lnTo>
                    <a:pt x="562285" y="185840"/>
                  </a:lnTo>
                  <a:lnTo>
                    <a:pt x="547990" y="185840"/>
                  </a:lnTo>
                  <a:lnTo>
                    <a:pt x="538459" y="171544"/>
                  </a:lnTo>
                  <a:lnTo>
                    <a:pt x="476513" y="171544"/>
                  </a:lnTo>
                  <a:lnTo>
                    <a:pt x="471748" y="166780"/>
                  </a:lnTo>
                  <a:lnTo>
                    <a:pt x="452687" y="152484"/>
                  </a:lnTo>
                  <a:lnTo>
                    <a:pt x="438392" y="138188"/>
                  </a:lnTo>
                  <a:lnTo>
                    <a:pt x="452687" y="133424"/>
                  </a:lnTo>
                  <a:lnTo>
                    <a:pt x="486043" y="123894"/>
                  </a:lnTo>
                  <a:lnTo>
                    <a:pt x="495573" y="119128"/>
                  </a:lnTo>
                  <a:lnTo>
                    <a:pt x="500338" y="114364"/>
                  </a:lnTo>
                  <a:lnTo>
                    <a:pt x="495573" y="104832"/>
                  </a:lnTo>
                  <a:lnTo>
                    <a:pt x="486043" y="95302"/>
                  </a:lnTo>
                  <a:lnTo>
                    <a:pt x="481278" y="90538"/>
                  </a:lnTo>
                  <a:lnTo>
                    <a:pt x="476513" y="90538"/>
                  </a:lnTo>
                  <a:lnTo>
                    <a:pt x="462217" y="90538"/>
                  </a:lnTo>
                  <a:lnTo>
                    <a:pt x="333559" y="85772"/>
                  </a:lnTo>
                  <a:lnTo>
                    <a:pt x="324029" y="90538"/>
                  </a:lnTo>
                  <a:lnTo>
                    <a:pt x="314498" y="104832"/>
                  </a:lnTo>
                  <a:lnTo>
                    <a:pt x="290673" y="119128"/>
                  </a:lnTo>
                  <a:lnTo>
                    <a:pt x="276377" y="133424"/>
                  </a:lnTo>
                  <a:lnTo>
                    <a:pt x="271612" y="138188"/>
                  </a:lnTo>
                  <a:lnTo>
                    <a:pt x="262082" y="142954"/>
                  </a:lnTo>
                  <a:lnTo>
                    <a:pt x="247787" y="152484"/>
                  </a:lnTo>
                  <a:lnTo>
                    <a:pt x="233491" y="166780"/>
                  </a:lnTo>
                  <a:lnTo>
                    <a:pt x="219196" y="171544"/>
                  </a:lnTo>
                  <a:lnTo>
                    <a:pt x="209666" y="166780"/>
                  </a:lnTo>
                  <a:lnTo>
                    <a:pt x="200135" y="166780"/>
                  </a:lnTo>
                  <a:lnTo>
                    <a:pt x="190605" y="171544"/>
                  </a:lnTo>
                  <a:lnTo>
                    <a:pt x="185840" y="171544"/>
                  </a:lnTo>
                  <a:lnTo>
                    <a:pt x="152484" y="176310"/>
                  </a:lnTo>
                  <a:lnTo>
                    <a:pt x="147719" y="176310"/>
                  </a:lnTo>
                  <a:lnTo>
                    <a:pt x="142954" y="190606"/>
                  </a:lnTo>
                  <a:lnTo>
                    <a:pt x="138189" y="204900"/>
                  </a:lnTo>
                  <a:lnTo>
                    <a:pt x="133424" y="214430"/>
                  </a:lnTo>
                  <a:lnTo>
                    <a:pt x="114363" y="214430"/>
                  </a:lnTo>
                  <a:lnTo>
                    <a:pt x="100068" y="219196"/>
                  </a:lnTo>
                  <a:lnTo>
                    <a:pt x="66712" y="238256"/>
                  </a:lnTo>
                  <a:lnTo>
                    <a:pt x="57182" y="243022"/>
                  </a:lnTo>
                  <a:lnTo>
                    <a:pt x="61947" y="228726"/>
                  </a:lnTo>
                  <a:lnTo>
                    <a:pt x="57182" y="214430"/>
                  </a:lnTo>
                  <a:lnTo>
                    <a:pt x="47651" y="214430"/>
                  </a:lnTo>
                  <a:lnTo>
                    <a:pt x="38121" y="219196"/>
                  </a:lnTo>
                  <a:lnTo>
                    <a:pt x="28591" y="219196"/>
                  </a:lnTo>
                  <a:lnTo>
                    <a:pt x="14295" y="228726"/>
                  </a:lnTo>
                  <a:lnTo>
                    <a:pt x="4765" y="233492"/>
                  </a:lnTo>
                  <a:lnTo>
                    <a:pt x="0" y="228726"/>
                  </a:lnTo>
                  <a:lnTo>
                    <a:pt x="0" y="219196"/>
                  </a:lnTo>
                  <a:lnTo>
                    <a:pt x="52416" y="200136"/>
                  </a:lnTo>
                  <a:lnTo>
                    <a:pt x="61947" y="195370"/>
                  </a:lnTo>
                  <a:lnTo>
                    <a:pt x="66712" y="200136"/>
                  </a:lnTo>
                  <a:lnTo>
                    <a:pt x="76242" y="195370"/>
                  </a:lnTo>
                  <a:lnTo>
                    <a:pt x="85772" y="190606"/>
                  </a:lnTo>
                  <a:lnTo>
                    <a:pt x="76242" y="162014"/>
                  </a:lnTo>
                  <a:lnTo>
                    <a:pt x="81007" y="138188"/>
                  </a:lnTo>
                  <a:lnTo>
                    <a:pt x="90537" y="123894"/>
                  </a:lnTo>
                  <a:lnTo>
                    <a:pt x="119128" y="100068"/>
                  </a:lnTo>
                  <a:lnTo>
                    <a:pt x="128658" y="90538"/>
                  </a:lnTo>
                  <a:lnTo>
                    <a:pt x="252552" y="38122"/>
                  </a:lnTo>
                  <a:lnTo>
                    <a:pt x="266847" y="38122"/>
                  </a:lnTo>
                  <a:lnTo>
                    <a:pt x="343089" y="28590"/>
                  </a:lnTo>
                  <a:lnTo>
                    <a:pt x="357385" y="23826"/>
                  </a:lnTo>
                  <a:lnTo>
                    <a:pt x="395506"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74" name="Google Shape;4541;p64">
              <a:extLst>
                <a:ext uri="{FF2B5EF4-FFF2-40B4-BE49-F238E27FC236}">
                  <a16:creationId xmlns:a16="http://schemas.microsoft.com/office/drawing/2014/main" id="{062BA9AB-F1CB-61DF-0B36-623F53AA5949}"/>
                </a:ext>
              </a:extLst>
            </p:cNvPr>
            <p:cNvSpPr/>
            <p:nvPr/>
          </p:nvSpPr>
          <p:spPr>
            <a:xfrm>
              <a:off x="3037102" y="4721017"/>
              <a:ext cx="8532" cy="7876"/>
            </a:xfrm>
            <a:custGeom>
              <a:avLst/>
              <a:gdLst/>
              <a:ahLst/>
              <a:cxnLst/>
              <a:rect l="l" t="t" r="r" b="b"/>
              <a:pathLst>
                <a:path w="26" h="24" extrusionOk="0">
                  <a:moveTo>
                    <a:pt x="26" y="22"/>
                  </a:moveTo>
                  <a:lnTo>
                    <a:pt x="22" y="16"/>
                  </a:lnTo>
                  <a:lnTo>
                    <a:pt x="10" y="10"/>
                  </a:lnTo>
                  <a:lnTo>
                    <a:pt x="6" y="2"/>
                  </a:lnTo>
                  <a:lnTo>
                    <a:pt x="2" y="0"/>
                  </a:lnTo>
                  <a:lnTo>
                    <a:pt x="0" y="0"/>
                  </a:lnTo>
                  <a:lnTo>
                    <a:pt x="0" y="6"/>
                  </a:lnTo>
                  <a:lnTo>
                    <a:pt x="10" y="16"/>
                  </a:lnTo>
                  <a:lnTo>
                    <a:pt x="24" y="24"/>
                  </a:lnTo>
                  <a:lnTo>
                    <a:pt x="26"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75" name="Google Shape;4542;p64">
              <a:extLst>
                <a:ext uri="{FF2B5EF4-FFF2-40B4-BE49-F238E27FC236}">
                  <a16:creationId xmlns:a16="http://schemas.microsoft.com/office/drawing/2014/main" id="{48D8EC53-7670-6C94-FBBE-63646FE366F5}"/>
                </a:ext>
              </a:extLst>
            </p:cNvPr>
            <p:cNvCxnSpPr/>
            <p:nvPr/>
          </p:nvCxnSpPr>
          <p:spPr>
            <a:xfrm>
              <a:off x="3045633" y="4728237"/>
              <a:ext cx="0" cy="0"/>
            </a:xfrm>
            <a:prstGeom prst="straightConnector1">
              <a:avLst/>
            </a:prstGeom>
            <a:grpFill/>
            <a:ln w="9525" cap="flat" cmpd="sng">
              <a:solidFill>
                <a:schemeClr val="bg2"/>
              </a:solidFill>
              <a:prstDash val="solid"/>
              <a:round/>
              <a:headEnd type="none" w="med" len="med"/>
              <a:tailEnd type="none" w="med" len="med"/>
            </a:ln>
          </p:spPr>
        </p:cxnSp>
        <p:cxnSp>
          <p:nvCxnSpPr>
            <p:cNvPr id="76" name="Google Shape;4543;p64">
              <a:extLst>
                <a:ext uri="{FF2B5EF4-FFF2-40B4-BE49-F238E27FC236}">
                  <a16:creationId xmlns:a16="http://schemas.microsoft.com/office/drawing/2014/main" id="{97819527-338E-6C17-C5C0-ED8BD2B366CE}"/>
                </a:ext>
              </a:extLst>
            </p:cNvPr>
            <p:cNvCxnSpPr/>
            <p:nvPr/>
          </p:nvCxnSpPr>
          <p:spPr>
            <a:xfrm>
              <a:off x="3045633" y="4728237"/>
              <a:ext cx="0" cy="0"/>
            </a:xfrm>
            <a:prstGeom prst="straightConnector1">
              <a:avLst/>
            </a:prstGeom>
            <a:grpFill/>
            <a:ln w="9525" cap="flat" cmpd="sng">
              <a:solidFill>
                <a:schemeClr val="bg2"/>
              </a:solidFill>
              <a:prstDash val="solid"/>
              <a:round/>
              <a:headEnd type="none" w="med" len="med"/>
              <a:tailEnd type="none" w="med" len="med"/>
            </a:ln>
          </p:spPr>
        </p:cxnSp>
        <p:sp>
          <p:nvSpPr>
            <p:cNvPr id="77" name="Google Shape;4544;p64">
              <a:extLst>
                <a:ext uri="{FF2B5EF4-FFF2-40B4-BE49-F238E27FC236}">
                  <a16:creationId xmlns:a16="http://schemas.microsoft.com/office/drawing/2014/main" id="{3C98DB15-1E8B-86EA-C2D5-91E835293905}"/>
                </a:ext>
              </a:extLst>
            </p:cNvPr>
            <p:cNvSpPr/>
            <p:nvPr/>
          </p:nvSpPr>
          <p:spPr>
            <a:xfrm>
              <a:off x="2773262" y="4555625"/>
              <a:ext cx="36097" cy="11158"/>
            </a:xfrm>
            <a:custGeom>
              <a:avLst/>
              <a:gdLst/>
              <a:ahLst/>
              <a:cxnLst/>
              <a:rect l="l" t="t" r="r" b="b"/>
              <a:pathLst>
                <a:path w="262082" h="81008" extrusionOk="0">
                  <a:moveTo>
                    <a:pt x="4765" y="61948"/>
                  </a:moveTo>
                  <a:lnTo>
                    <a:pt x="9530" y="71478"/>
                  </a:lnTo>
                  <a:lnTo>
                    <a:pt x="14295" y="71478"/>
                  </a:lnTo>
                  <a:lnTo>
                    <a:pt x="19060" y="71478"/>
                  </a:lnTo>
                  <a:lnTo>
                    <a:pt x="23825" y="66712"/>
                  </a:lnTo>
                  <a:lnTo>
                    <a:pt x="47651" y="71478"/>
                  </a:lnTo>
                  <a:lnTo>
                    <a:pt x="47651" y="76242"/>
                  </a:lnTo>
                  <a:lnTo>
                    <a:pt x="33356" y="76242"/>
                  </a:lnTo>
                  <a:lnTo>
                    <a:pt x="23825" y="81008"/>
                  </a:lnTo>
                  <a:lnTo>
                    <a:pt x="19060" y="81008"/>
                  </a:lnTo>
                  <a:lnTo>
                    <a:pt x="4765" y="81008"/>
                  </a:lnTo>
                  <a:lnTo>
                    <a:pt x="0" y="66712"/>
                  </a:lnTo>
                  <a:close/>
                  <a:moveTo>
                    <a:pt x="209665" y="9532"/>
                  </a:moveTo>
                  <a:lnTo>
                    <a:pt x="214430" y="9532"/>
                  </a:lnTo>
                  <a:lnTo>
                    <a:pt x="219196" y="9532"/>
                  </a:lnTo>
                  <a:lnTo>
                    <a:pt x="209665" y="19060"/>
                  </a:lnTo>
                  <a:lnTo>
                    <a:pt x="204900" y="14296"/>
                  </a:lnTo>
                  <a:close/>
                  <a:moveTo>
                    <a:pt x="252552" y="0"/>
                  </a:moveTo>
                  <a:lnTo>
                    <a:pt x="257317" y="0"/>
                  </a:lnTo>
                  <a:lnTo>
                    <a:pt x="262082" y="0"/>
                  </a:lnTo>
                  <a:lnTo>
                    <a:pt x="262082" y="4764"/>
                  </a:lnTo>
                  <a:lnTo>
                    <a:pt x="252552" y="9530"/>
                  </a:lnTo>
                  <a:lnTo>
                    <a:pt x="243021" y="14296"/>
                  </a:lnTo>
                  <a:lnTo>
                    <a:pt x="238256" y="9530"/>
                  </a:lnTo>
                  <a:lnTo>
                    <a:pt x="252552"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78" name="Google Shape;4545;p64">
              <a:extLst>
                <a:ext uri="{FF2B5EF4-FFF2-40B4-BE49-F238E27FC236}">
                  <a16:creationId xmlns:a16="http://schemas.microsoft.com/office/drawing/2014/main" id="{5D28C354-3F64-336E-F4FC-6AD0FEEE1C2A}"/>
                </a:ext>
              </a:extLst>
            </p:cNvPr>
            <p:cNvGrpSpPr/>
            <p:nvPr/>
          </p:nvGrpSpPr>
          <p:grpSpPr>
            <a:xfrm>
              <a:off x="5220004" y="4167744"/>
              <a:ext cx="48567" cy="28222"/>
              <a:chOff x="33673141" y="21074334"/>
              <a:chExt cx="352620" cy="204900"/>
            </a:xfrm>
            <a:grpFill/>
          </p:grpSpPr>
          <p:sp>
            <p:nvSpPr>
              <p:cNvPr id="79" name="Google Shape;4546;p64">
                <a:extLst>
                  <a:ext uri="{FF2B5EF4-FFF2-40B4-BE49-F238E27FC236}">
                    <a16:creationId xmlns:a16="http://schemas.microsoft.com/office/drawing/2014/main" id="{E7FD10F0-7D3B-7393-0656-306676AC74E4}"/>
                  </a:ext>
                </a:extLst>
              </p:cNvPr>
              <p:cNvSpPr/>
              <p:nvPr/>
            </p:nvSpPr>
            <p:spPr>
              <a:xfrm>
                <a:off x="33735088" y="21074334"/>
                <a:ext cx="290673" cy="123893"/>
              </a:xfrm>
              <a:custGeom>
                <a:avLst/>
                <a:gdLst/>
                <a:ahLst/>
                <a:cxnLst/>
                <a:rect l="l" t="t" r="r" b="b"/>
                <a:pathLst>
                  <a:path w="122" h="52" extrusionOk="0">
                    <a:moveTo>
                      <a:pt x="86" y="48"/>
                    </a:moveTo>
                    <a:lnTo>
                      <a:pt x="80" y="42"/>
                    </a:lnTo>
                    <a:lnTo>
                      <a:pt x="80" y="36"/>
                    </a:lnTo>
                    <a:lnTo>
                      <a:pt x="82" y="28"/>
                    </a:lnTo>
                    <a:lnTo>
                      <a:pt x="116" y="4"/>
                    </a:lnTo>
                    <a:lnTo>
                      <a:pt x="122" y="0"/>
                    </a:lnTo>
                    <a:lnTo>
                      <a:pt x="112" y="2"/>
                    </a:lnTo>
                    <a:lnTo>
                      <a:pt x="102" y="6"/>
                    </a:lnTo>
                    <a:lnTo>
                      <a:pt x="98" y="8"/>
                    </a:lnTo>
                    <a:lnTo>
                      <a:pt x="90" y="14"/>
                    </a:lnTo>
                    <a:lnTo>
                      <a:pt x="60" y="24"/>
                    </a:lnTo>
                    <a:lnTo>
                      <a:pt x="50" y="26"/>
                    </a:lnTo>
                    <a:lnTo>
                      <a:pt x="40" y="26"/>
                    </a:lnTo>
                    <a:lnTo>
                      <a:pt x="28" y="24"/>
                    </a:lnTo>
                    <a:lnTo>
                      <a:pt x="16" y="22"/>
                    </a:lnTo>
                    <a:lnTo>
                      <a:pt x="14" y="30"/>
                    </a:lnTo>
                    <a:lnTo>
                      <a:pt x="12" y="38"/>
                    </a:lnTo>
                    <a:lnTo>
                      <a:pt x="4" y="40"/>
                    </a:lnTo>
                    <a:lnTo>
                      <a:pt x="0" y="38"/>
                    </a:lnTo>
                    <a:lnTo>
                      <a:pt x="2" y="40"/>
                    </a:lnTo>
                    <a:lnTo>
                      <a:pt x="6" y="44"/>
                    </a:lnTo>
                    <a:lnTo>
                      <a:pt x="12" y="46"/>
                    </a:lnTo>
                    <a:lnTo>
                      <a:pt x="14" y="46"/>
                    </a:lnTo>
                    <a:lnTo>
                      <a:pt x="18" y="44"/>
                    </a:lnTo>
                    <a:lnTo>
                      <a:pt x="24" y="40"/>
                    </a:lnTo>
                    <a:lnTo>
                      <a:pt x="32" y="38"/>
                    </a:lnTo>
                    <a:lnTo>
                      <a:pt x="36" y="40"/>
                    </a:lnTo>
                    <a:lnTo>
                      <a:pt x="40" y="40"/>
                    </a:lnTo>
                    <a:lnTo>
                      <a:pt x="44" y="40"/>
                    </a:lnTo>
                    <a:lnTo>
                      <a:pt x="48" y="42"/>
                    </a:lnTo>
                    <a:lnTo>
                      <a:pt x="50" y="44"/>
                    </a:lnTo>
                    <a:lnTo>
                      <a:pt x="50" y="52"/>
                    </a:lnTo>
                    <a:lnTo>
                      <a:pt x="50" y="52"/>
                    </a:lnTo>
                    <a:lnTo>
                      <a:pt x="54" y="50"/>
                    </a:lnTo>
                    <a:lnTo>
                      <a:pt x="60" y="50"/>
                    </a:lnTo>
                    <a:lnTo>
                      <a:pt x="64" y="50"/>
                    </a:lnTo>
                    <a:lnTo>
                      <a:pt x="66" y="50"/>
                    </a:lnTo>
                    <a:lnTo>
                      <a:pt x="68" y="50"/>
                    </a:lnTo>
                    <a:lnTo>
                      <a:pt x="72" y="48"/>
                    </a:lnTo>
                    <a:lnTo>
                      <a:pt x="74" y="46"/>
                    </a:lnTo>
                    <a:lnTo>
                      <a:pt x="76" y="44"/>
                    </a:lnTo>
                    <a:lnTo>
                      <a:pt x="78" y="46"/>
                    </a:lnTo>
                    <a:lnTo>
                      <a:pt x="82" y="48"/>
                    </a:lnTo>
                    <a:lnTo>
                      <a:pt x="86" y="4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80" name="Google Shape;4547;p64">
                <a:extLst>
                  <a:ext uri="{FF2B5EF4-FFF2-40B4-BE49-F238E27FC236}">
                    <a16:creationId xmlns:a16="http://schemas.microsoft.com/office/drawing/2014/main" id="{21C71AE2-E8A4-CC11-AA3D-611E3B3A969B}"/>
                  </a:ext>
                </a:extLst>
              </p:cNvPr>
              <p:cNvSpPr/>
              <p:nvPr/>
            </p:nvSpPr>
            <p:spPr>
              <a:xfrm>
                <a:off x="33673141" y="21164872"/>
                <a:ext cx="271612" cy="114363"/>
              </a:xfrm>
              <a:custGeom>
                <a:avLst/>
                <a:gdLst/>
                <a:ahLst/>
                <a:cxnLst/>
                <a:rect l="l" t="t" r="r" b="b"/>
                <a:pathLst>
                  <a:path w="114" h="48" extrusionOk="0">
                    <a:moveTo>
                      <a:pt x="26" y="0"/>
                    </a:moveTo>
                    <a:lnTo>
                      <a:pt x="22" y="0"/>
                    </a:lnTo>
                    <a:lnTo>
                      <a:pt x="16" y="2"/>
                    </a:lnTo>
                    <a:lnTo>
                      <a:pt x="10" y="8"/>
                    </a:lnTo>
                    <a:lnTo>
                      <a:pt x="6" y="10"/>
                    </a:lnTo>
                    <a:lnTo>
                      <a:pt x="0" y="8"/>
                    </a:lnTo>
                    <a:lnTo>
                      <a:pt x="0" y="18"/>
                    </a:lnTo>
                    <a:lnTo>
                      <a:pt x="8" y="32"/>
                    </a:lnTo>
                    <a:lnTo>
                      <a:pt x="10" y="36"/>
                    </a:lnTo>
                    <a:lnTo>
                      <a:pt x="12" y="38"/>
                    </a:lnTo>
                    <a:lnTo>
                      <a:pt x="26" y="42"/>
                    </a:lnTo>
                    <a:lnTo>
                      <a:pt x="28" y="42"/>
                    </a:lnTo>
                    <a:lnTo>
                      <a:pt x="36" y="42"/>
                    </a:lnTo>
                    <a:lnTo>
                      <a:pt x="40" y="44"/>
                    </a:lnTo>
                    <a:lnTo>
                      <a:pt x="42" y="48"/>
                    </a:lnTo>
                    <a:lnTo>
                      <a:pt x="46" y="48"/>
                    </a:lnTo>
                    <a:lnTo>
                      <a:pt x="48" y="46"/>
                    </a:lnTo>
                    <a:lnTo>
                      <a:pt x="48" y="44"/>
                    </a:lnTo>
                    <a:lnTo>
                      <a:pt x="50" y="40"/>
                    </a:lnTo>
                    <a:lnTo>
                      <a:pt x="52" y="38"/>
                    </a:lnTo>
                    <a:lnTo>
                      <a:pt x="58" y="38"/>
                    </a:lnTo>
                    <a:lnTo>
                      <a:pt x="64" y="38"/>
                    </a:lnTo>
                    <a:lnTo>
                      <a:pt x="72" y="34"/>
                    </a:lnTo>
                    <a:lnTo>
                      <a:pt x="80" y="30"/>
                    </a:lnTo>
                    <a:lnTo>
                      <a:pt x="92" y="16"/>
                    </a:lnTo>
                    <a:lnTo>
                      <a:pt x="96" y="16"/>
                    </a:lnTo>
                    <a:lnTo>
                      <a:pt x="100" y="18"/>
                    </a:lnTo>
                    <a:lnTo>
                      <a:pt x="106" y="16"/>
                    </a:lnTo>
                    <a:lnTo>
                      <a:pt x="114" y="16"/>
                    </a:lnTo>
                    <a:lnTo>
                      <a:pt x="112" y="10"/>
                    </a:lnTo>
                    <a:lnTo>
                      <a:pt x="112" y="10"/>
                    </a:lnTo>
                    <a:lnTo>
                      <a:pt x="108" y="10"/>
                    </a:lnTo>
                    <a:lnTo>
                      <a:pt x="104" y="8"/>
                    </a:lnTo>
                    <a:lnTo>
                      <a:pt x="102" y="6"/>
                    </a:lnTo>
                    <a:lnTo>
                      <a:pt x="100" y="8"/>
                    </a:lnTo>
                    <a:lnTo>
                      <a:pt x="98" y="10"/>
                    </a:lnTo>
                    <a:lnTo>
                      <a:pt x="94" y="12"/>
                    </a:lnTo>
                    <a:lnTo>
                      <a:pt x="92" y="12"/>
                    </a:lnTo>
                    <a:lnTo>
                      <a:pt x="90" y="12"/>
                    </a:lnTo>
                    <a:lnTo>
                      <a:pt x="86" y="12"/>
                    </a:lnTo>
                    <a:lnTo>
                      <a:pt x="80" y="12"/>
                    </a:lnTo>
                    <a:lnTo>
                      <a:pt x="76" y="14"/>
                    </a:lnTo>
                    <a:lnTo>
                      <a:pt x="76" y="14"/>
                    </a:lnTo>
                    <a:lnTo>
                      <a:pt x="76" y="6"/>
                    </a:lnTo>
                    <a:lnTo>
                      <a:pt x="74" y="4"/>
                    </a:lnTo>
                    <a:lnTo>
                      <a:pt x="70" y="2"/>
                    </a:lnTo>
                    <a:lnTo>
                      <a:pt x="66" y="2"/>
                    </a:lnTo>
                    <a:lnTo>
                      <a:pt x="62" y="2"/>
                    </a:lnTo>
                    <a:lnTo>
                      <a:pt x="58" y="0"/>
                    </a:lnTo>
                    <a:lnTo>
                      <a:pt x="50" y="2"/>
                    </a:lnTo>
                    <a:lnTo>
                      <a:pt x="44" y="6"/>
                    </a:lnTo>
                    <a:lnTo>
                      <a:pt x="40" y="8"/>
                    </a:lnTo>
                    <a:lnTo>
                      <a:pt x="38" y="8"/>
                    </a:lnTo>
                    <a:lnTo>
                      <a:pt x="32" y="6"/>
                    </a:lnTo>
                    <a:lnTo>
                      <a:pt x="28" y="2"/>
                    </a:lnTo>
                    <a:lnTo>
                      <a:pt x="2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81" name="Google Shape;4548;p64">
              <a:extLst>
                <a:ext uri="{FF2B5EF4-FFF2-40B4-BE49-F238E27FC236}">
                  <a16:creationId xmlns:a16="http://schemas.microsoft.com/office/drawing/2014/main" id="{926A302D-A3BD-C717-93AE-1EEAEA0C89D2}"/>
                </a:ext>
              </a:extLst>
            </p:cNvPr>
            <p:cNvSpPr/>
            <p:nvPr/>
          </p:nvSpPr>
          <p:spPr>
            <a:xfrm>
              <a:off x="4784867" y="3708980"/>
              <a:ext cx="145046" cy="82040"/>
            </a:xfrm>
            <a:custGeom>
              <a:avLst/>
              <a:gdLst/>
              <a:ahLst/>
              <a:cxnLst/>
              <a:rect l="l" t="t" r="r" b="b"/>
              <a:pathLst>
                <a:path w="442" h="250" extrusionOk="0">
                  <a:moveTo>
                    <a:pt x="178" y="18"/>
                  </a:moveTo>
                  <a:lnTo>
                    <a:pt x="178" y="20"/>
                  </a:lnTo>
                  <a:lnTo>
                    <a:pt x="176" y="22"/>
                  </a:lnTo>
                  <a:lnTo>
                    <a:pt x="174" y="22"/>
                  </a:lnTo>
                  <a:lnTo>
                    <a:pt x="170" y="20"/>
                  </a:lnTo>
                  <a:lnTo>
                    <a:pt x="166" y="18"/>
                  </a:lnTo>
                  <a:lnTo>
                    <a:pt x="166" y="12"/>
                  </a:lnTo>
                  <a:lnTo>
                    <a:pt x="166" y="12"/>
                  </a:lnTo>
                  <a:lnTo>
                    <a:pt x="162" y="8"/>
                  </a:lnTo>
                  <a:lnTo>
                    <a:pt x="162" y="4"/>
                  </a:lnTo>
                  <a:lnTo>
                    <a:pt x="160" y="2"/>
                  </a:lnTo>
                  <a:lnTo>
                    <a:pt x="150" y="0"/>
                  </a:lnTo>
                  <a:lnTo>
                    <a:pt x="146" y="0"/>
                  </a:lnTo>
                  <a:lnTo>
                    <a:pt x="144" y="0"/>
                  </a:lnTo>
                  <a:lnTo>
                    <a:pt x="142" y="4"/>
                  </a:lnTo>
                  <a:lnTo>
                    <a:pt x="144" y="6"/>
                  </a:lnTo>
                  <a:lnTo>
                    <a:pt x="146" y="8"/>
                  </a:lnTo>
                  <a:lnTo>
                    <a:pt x="150" y="12"/>
                  </a:lnTo>
                  <a:lnTo>
                    <a:pt x="150" y="14"/>
                  </a:lnTo>
                  <a:lnTo>
                    <a:pt x="140" y="18"/>
                  </a:lnTo>
                  <a:lnTo>
                    <a:pt x="132" y="22"/>
                  </a:lnTo>
                  <a:lnTo>
                    <a:pt x="126" y="24"/>
                  </a:lnTo>
                  <a:lnTo>
                    <a:pt x="120" y="28"/>
                  </a:lnTo>
                  <a:lnTo>
                    <a:pt x="106" y="32"/>
                  </a:lnTo>
                  <a:lnTo>
                    <a:pt x="96" y="34"/>
                  </a:lnTo>
                  <a:lnTo>
                    <a:pt x="94" y="36"/>
                  </a:lnTo>
                  <a:lnTo>
                    <a:pt x="92" y="42"/>
                  </a:lnTo>
                  <a:lnTo>
                    <a:pt x="88" y="44"/>
                  </a:lnTo>
                  <a:lnTo>
                    <a:pt x="86" y="44"/>
                  </a:lnTo>
                  <a:lnTo>
                    <a:pt x="84" y="42"/>
                  </a:lnTo>
                  <a:lnTo>
                    <a:pt x="82" y="44"/>
                  </a:lnTo>
                  <a:lnTo>
                    <a:pt x="80" y="46"/>
                  </a:lnTo>
                  <a:lnTo>
                    <a:pt x="78" y="48"/>
                  </a:lnTo>
                  <a:lnTo>
                    <a:pt x="76" y="48"/>
                  </a:lnTo>
                  <a:lnTo>
                    <a:pt x="72" y="54"/>
                  </a:lnTo>
                  <a:lnTo>
                    <a:pt x="62" y="56"/>
                  </a:lnTo>
                  <a:lnTo>
                    <a:pt x="60" y="60"/>
                  </a:lnTo>
                  <a:lnTo>
                    <a:pt x="58" y="64"/>
                  </a:lnTo>
                  <a:lnTo>
                    <a:pt x="56" y="64"/>
                  </a:lnTo>
                  <a:lnTo>
                    <a:pt x="52" y="62"/>
                  </a:lnTo>
                  <a:lnTo>
                    <a:pt x="44" y="62"/>
                  </a:lnTo>
                  <a:lnTo>
                    <a:pt x="42" y="64"/>
                  </a:lnTo>
                  <a:lnTo>
                    <a:pt x="36" y="66"/>
                  </a:lnTo>
                  <a:lnTo>
                    <a:pt x="30" y="66"/>
                  </a:lnTo>
                  <a:lnTo>
                    <a:pt x="24" y="70"/>
                  </a:lnTo>
                  <a:lnTo>
                    <a:pt x="18" y="78"/>
                  </a:lnTo>
                  <a:lnTo>
                    <a:pt x="14" y="86"/>
                  </a:lnTo>
                  <a:lnTo>
                    <a:pt x="12" y="88"/>
                  </a:lnTo>
                  <a:lnTo>
                    <a:pt x="10" y="82"/>
                  </a:lnTo>
                  <a:lnTo>
                    <a:pt x="6" y="76"/>
                  </a:lnTo>
                  <a:lnTo>
                    <a:pt x="4" y="74"/>
                  </a:lnTo>
                  <a:lnTo>
                    <a:pt x="2" y="74"/>
                  </a:lnTo>
                  <a:lnTo>
                    <a:pt x="0" y="76"/>
                  </a:lnTo>
                  <a:lnTo>
                    <a:pt x="0" y="78"/>
                  </a:lnTo>
                  <a:lnTo>
                    <a:pt x="4" y="84"/>
                  </a:lnTo>
                  <a:lnTo>
                    <a:pt x="6" y="88"/>
                  </a:lnTo>
                  <a:lnTo>
                    <a:pt x="6" y="90"/>
                  </a:lnTo>
                  <a:lnTo>
                    <a:pt x="8" y="96"/>
                  </a:lnTo>
                  <a:lnTo>
                    <a:pt x="12" y="102"/>
                  </a:lnTo>
                  <a:lnTo>
                    <a:pt x="20" y="106"/>
                  </a:lnTo>
                  <a:lnTo>
                    <a:pt x="24" y="110"/>
                  </a:lnTo>
                  <a:lnTo>
                    <a:pt x="28" y="116"/>
                  </a:lnTo>
                  <a:lnTo>
                    <a:pt x="28" y="118"/>
                  </a:lnTo>
                  <a:lnTo>
                    <a:pt x="28" y="122"/>
                  </a:lnTo>
                  <a:lnTo>
                    <a:pt x="26" y="124"/>
                  </a:lnTo>
                  <a:lnTo>
                    <a:pt x="24" y="126"/>
                  </a:lnTo>
                  <a:lnTo>
                    <a:pt x="20" y="132"/>
                  </a:lnTo>
                  <a:lnTo>
                    <a:pt x="22" y="136"/>
                  </a:lnTo>
                  <a:lnTo>
                    <a:pt x="24" y="138"/>
                  </a:lnTo>
                  <a:lnTo>
                    <a:pt x="28" y="142"/>
                  </a:lnTo>
                  <a:lnTo>
                    <a:pt x="32" y="150"/>
                  </a:lnTo>
                  <a:lnTo>
                    <a:pt x="36" y="160"/>
                  </a:lnTo>
                  <a:lnTo>
                    <a:pt x="40" y="166"/>
                  </a:lnTo>
                  <a:lnTo>
                    <a:pt x="44" y="170"/>
                  </a:lnTo>
                  <a:lnTo>
                    <a:pt x="48" y="174"/>
                  </a:lnTo>
                  <a:lnTo>
                    <a:pt x="54" y="174"/>
                  </a:lnTo>
                  <a:lnTo>
                    <a:pt x="62" y="182"/>
                  </a:lnTo>
                  <a:lnTo>
                    <a:pt x="70" y="192"/>
                  </a:lnTo>
                  <a:lnTo>
                    <a:pt x="76" y="196"/>
                  </a:lnTo>
                  <a:lnTo>
                    <a:pt x="80" y="198"/>
                  </a:lnTo>
                  <a:lnTo>
                    <a:pt x="82" y="202"/>
                  </a:lnTo>
                  <a:lnTo>
                    <a:pt x="86" y="206"/>
                  </a:lnTo>
                  <a:lnTo>
                    <a:pt x="86" y="210"/>
                  </a:lnTo>
                  <a:lnTo>
                    <a:pt x="90" y="212"/>
                  </a:lnTo>
                  <a:lnTo>
                    <a:pt x="96" y="212"/>
                  </a:lnTo>
                  <a:lnTo>
                    <a:pt x="106" y="220"/>
                  </a:lnTo>
                  <a:lnTo>
                    <a:pt x="110" y="226"/>
                  </a:lnTo>
                  <a:lnTo>
                    <a:pt x="114" y="230"/>
                  </a:lnTo>
                  <a:lnTo>
                    <a:pt x="116" y="232"/>
                  </a:lnTo>
                  <a:lnTo>
                    <a:pt x="120" y="234"/>
                  </a:lnTo>
                  <a:lnTo>
                    <a:pt x="126" y="238"/>
                  </a:lnTo>
                  <a:lnTo>
                    <a:pt x="130" y="246"/>
                  </a:lnTo>
                  <a:lnTo>
                    <a:pt x="138" y="250"/>
                  </a:lnTo>
                  <a:lnTo>
                    <a:pt x="150" y="250"/>
                  </a:lnTo>
                  <a:lnTo>
                    <a:pt x="154" y="246"/>
                  </a:lnTo>
                  <a:lnTo>
                    <a:pt x="158" y="244"/>
                  </a:lnTo>
                  <a:lnTo>
                    <a:pt x="162" y="246"/>
                  </a:lnTo>
                  <a:lnTo>
                    <a:pt x="172" y="246"/>
                  </a:lnTo>
                  <a:lnTo>
                    <a:pt x="172" y="240"/>
                  </a:lnTo>
                  <a:lnTo>
                    <a:pt x="178" y="232"/>
                  </a:lnTo>
                  <a:lnTo>
                    <a:pt x="180" y="230"/>
                  </a:lnTo>
                  <a:lnTo>
                    <a:pt x="186" y="230"/>
                  </a:lnTo>
                  <a:lnTo>
                    <a:pt x="188" y="224"/>
                  </a:lnTo>
                  <a:lnTo>
                    <a:pt x="190" y="208"/>
                  </a:lnTo>
                  <a:lnTo>
                    <a:pt x="192" y="208"/>
                  </a:lnTo>
                  <a:lnTo>
                    <a:pt x="196" y="208"/>
                  </a:lnTo>
                  <a:lnTo>
                    <a:pt x="200" y="210"/>
                  </a:lnTo>
                  <a:lnTo>
                    <a:pt x="202" y="212"/>
                  </a:lnTo>
                  <a:lnTo>
                    <a:pt x="204" y="212"/>
                  </a:lnTo>
                  <a:lnTo>
                    <a:pt x="208" y="210"/>
                  </a:lnTo>
                  <a:lnTo>
                    <a:pt x="212" y="210"/>
                  </a:lnTo>
                  <a:lnTo>
                    <a:pt x="218" y="212"/>
                  </a:lnTo>
                  <a:lnTo>
                    <a:pt x="230" y="218"/>
                  </a:lnTo>
                  <a:lnTo>
                    <a:pt x="238" y="222"/>
                  </a:lnTo>
                  <a:lnTo>
                    <a:pt x="242" y="220"/>
                  </a:lnTo>
                  <a:lnTo>
                    <a:pt x="246" y="220"/>
                  </a:lnTo>
                  <a:lnTo>
                    <a:pt x="260" y="232"/>
                  </a:lnTo>
                  <a:lnTo>
                    <a:pt x="272" y="234"/>
                  </a:lnTo>
                  <a:lnTo>
                    <a:pt x="282" y="234"/>
                  </a:lnTo>
                  <a:lnTo>
                    <a:pt x="284" y="230"/>
                  </a:lnTo>
                  <a:lnTo>
                    <a:pt x="288" y="228"/>
                  </a:lnTo>
                  <a:lnTo>
                    <a:pt x="292" y="228"/>
                  </a:lnTo>
                  <a:lnTo>
                    <a:pt x="296" y="228"/>
                  </a:lnTo>
                  <a:lnTo>
                    <a:pt x="304" y="234"/>
                  </a:lnTo>
                  <a:lnTo>
                    <a:pt x="308" y="234"/>
                  </a:lnTo>
                  <a:lnTo>
                    <a:pt x="312" y="236"/>
                  </a:lnTo>
                  <a:lnTo>
                    <a:pt x="314" y="236"/>
                  </a:lnTo>
                  <a:lnTo>
                    <a:pt x="318" y="244"/>
                  </a:lnTo>
                  <a:lnTo>
                    <a:pt x="320" y="246"/>
                  </a:lnTo>
                  <a:lnTo>
                    <a:pt x="322" y="240"/>
                  </a:lnTo>
                  <a:lnTo>
                    <a:pt x="326" y="228"/>
                  </a:lnTo>
                  <a:lnTo>
                    <a:pt x="332" y="222"/>
                  </a:lnTo>
                  <a:lnTo>
                    <a:pt x="334" y="220"/>
                  </a:lnTo>
                  <a:lnTo>
                    <a:pt x="342" y="222"/>
                  </a:lnTo>
                  <a:lnTo>
                    <a:pt x="354" y="224"/>
                  </a:lnTo>
                  <a:lnTo>
                    <a:pt x="364" y="222"/>
                  </a:lnTo>
                  <a:lnTo>
                    <a:pt x="372" y="218"/>
                  </a:lnTo>
                  <a:lnTo>
                    <a:pt x="376" y="214"/>
                  </a:lnTo>
                  <a:lnTo>
                    <a:pt x="382" y="210"/>
                  </a:lnTo>
                  <a:lnTo>
                    <a:pt x="382" y="208"/>
                  </a:lnTo>
                  <a:lnTo>
                    <a:pt x="384" y="206"/>
                  </a:lnTo>
                  <a:lnTo>
                    <a:pt x="392" y="204"/>
                  </a:lnTo>
                  <a:lnTo>
                    <a:pt x="394" y="200"/>
                  </a:lnTo>
                  <a:lnTo>
                    <a:pt x="394" y="196"/>
                  </a:lnTo>
                  <a:lnTo>
                    <a:pt x="396" y="190"/>
                  </a:lnTo>
                  <a:lnTo>
                    <a:pt x="396" y="184"/>
                  </a:lnTo>
                  <a:lnTo>
                    <a:pt x="398" y="182"/>
                  </a:lnTo>
                  <a:lnTo>
                    <a:pt x="412" y="174"/>
                  </a:lnTo>
                  <a:lnTo>
                    <a:pt x="414" y="170"/>
                  </a:lnTo>
                  <a:lnTo>
                    <a:pt x="416" y="168"/>
                  </a:lnTo>
                  <a:lnTo>
                    <a:pt x="420" y="164"/>
                  </a:lnTo>
                  <a:lnTo>
                    <a:pt x="424" y="160"/>
                  </a:lnTo>
                  <a:lnTo>
                    <a:pt x="428" y="158"/>
                  </a:lnTo>
                  <a:lnTo>
                    <a:pt x="432" y="158"/>
                  </a:lnTo>
                  <a:lnTo>
                    <a:pt x="438" y="158"/>
                  </a:lnTo>
                  <a:lnTo>
                    <a:pt x="440" y="156"/>
                  </a:lnTo>
                  <a:lnTo>
                    <a:pt x="442" y="156"/>
                  </a:lnTo>
                  <a:lnTo>
                    <a:pt x="442" y="152"/>
                  </a:lnTo>
                  <a:lnTo>
                    <a:pt x="440" y="146"/>
                  </a:lnTo>
                  <a:lnTo>
                    <a:pt x="426" y="130"/>
                  </a:lnTo>
                  <a:lnTo>
                    <a:pt x="426" y="124"/>
                  </a:lnTo>
                  <a:lnTo>
                    <a:pt x="426" y="122"/>
                  </a:lnTo>
                  <a:lnTo>
                    <a:pt x="424" y="118"/>
                  </a:lnTo>
                  <a:lnTo>
                    <a:pt x="422" y="116"/>
                  </a:lnTo>
                  <a:lnTo>
                    <a:pt x="410" y="114"/>
                  </a:lnTo>
                  <a:lnTo>
                    <a:pt x="408" y="114"/>
                  </a:lnTo>
                  <a:lnTo>
                    <a:pt x="406" y="114"/>
                  </a:lnTo>
                  <a:lnTo>
                    <a:pt x="402" y="110"/>
                  </a:lnTo>
                  <a:lnTo>
                    <a:pt x="394" y="106"/>
                  </a:lnTo>
                  <a:lnTo>
                    <a:pt x="394" y="106"/>
                  </a:lnTo>
                  <a:lnTo>
                    <a:pt x="392" y="104"/>
                  </a:lnTo>
                  <a:lnTo>
                    <a:pt x="390" y="102"/>
                  </a:lnTo>
                  <a:lnTo>
                    <a:pt x="390" y="104"/>
                  </a:lnTo>
                  <a:lnTo>
                    <a:pt x="388" y="106"/>
                  </a:lnTo>
                  <a:lnTo>
                    <a:pt x="380" y="110"/>
                  </a:lnTo>
                  <a:lnTo>
                    <a:pt x="376" y="108"/>
                  </a:lnTo>
                  <a:lnTo>
                    <a:pt x="374" y="106"/>
                  </a:lnTo>
                  <a:lnTo>
                    <a:pt x="372" y="100"/>
                  </a:lnTo>
                  <a:lnTo>
                    <a:pt x="368" y="96"/>
                  </a:lnTo>
                  <a:lnTo>
                    <a:pt x="364" y="94"/>
                  </a:lnTo>
                  <a:lnTo>
                    <a:pt x="362" y="92"/>
                  </a:lnTo>
                  <a:lnTo>
                    <a:pt x="362" y="90"/>
                  </a:lnTo>
                  <a:lnTo>
                    <a:pt x="370" y="86"/>
                  </a:lnTo>
                  <a:lnTo>
                    <a:pt x="370" y="82"/>
                  </a:lnTo>
                  <a:lnTo>
                    <a:pt x="370" y="76"/>
                  </a:lnTo>
                  <a:lnTo>
                    <a:pt x="368" y="74"/>
                  </a:lnTo>
                  <a:lnTo>
                    <a:pt x="366" y="78"/>
                  </a:lnTo>
                  <a:lnTo>
                    <a:pt x="358" y="80"/>
                  </a:lnTo>
                  <a:lnTo>
                    <a:pt x="354" y="80"/>
                  </a:lnTo>
                  <a:lnTo>
                    <a:pt x="350" y="80"/>
                  </a:lnTo>
                  <a:lnTo>
                    <a:pt x="332" y="68"/>
                  </a:lnTo>
                  <a:lnTo>
                    <a:pt x="322" y="64"/>
                  </a:lnTo>
                  <a:lnTo>
                    <a:pt x="314" y="62"/>
                  </a:lnTo>
                  <a:lnTo>
                    <a:pt x="314" y="64"/>
                  </a:lnTo>
                  <a:lnTo>
                    <a:pt x="316" y="70"/>
                  </a:lnTo>
                  <a:lnTo>
                    <a:pt x="322" y="80"/>
                  </a:lnTo>
                  <a:lnTo>
                    <a:pt x="322" y="82"/>
                  </a:lnTo>
                  <a:lnTo>
                    <a:pt x="316" y="86"/>
                  </a:lnTo>
                  <a:lnTo>
                    <a:pt x="312" y="88"/>
                  </a:lnTo>
                  <a:lnTo>
                    <a:pt x="308" y="90"/>
                  </a:lnTo>
                  <a:lnTo>
                    <a:pt x="304" y="94"/>
                  </a:lnTo>
                  <a:lnTo>
                    <a:pt x="302" y="96"/>
                  </a:lnTo>
                  <a:lnTo>
                    <a:pt x="298" y="96"/>
                  </a:lnTo>
                  <a:lnTo>
                    <a:pt x="296" y="94"/>
                  </a:lnTo>
                  <a:lnTo>
                    <a:pt x="290" y="80"/>
                  </a:lnTo>
                  <a:lnTo>
                    <a:pt x="280" y="70"/>
                  </a:lnTo>
                  <a:lnTo>
                    <a:pt x="278" y="68"/>
                  </a:lnTo>
                  <a:lnTo>
                    <a:pt x="276" y="68"/>
                  </a:lnTo>
                  <a:lnTo>
                    <a:pt x="272" y="66"/>
                  </a:lnTo>
                  <a:lnTo>
                    <a:pt x="270" y="62"/>
                  </a:lnTo>
                  <a:lnTo>
                    <a:pt x="272" y="60"/>
                  </a:lnTo>
                  <a:lnTo>
                    <a:pt x="276" y="56"/>
                  </a:lnTo>
                  <a:lnTo>
                    <a:pt x="280" y="54"/>
                  </a:lnTo>
                  <a:lnTo>
                    <a:pt x="282" y="54"/>
                  </a:lnTo>
                  <a:lnTo>
                    <a:pt x="282" y="50"/>
                  </a:lnTo>
                  <a:lnTo>
                    <a:pt x="284" y="48"/>
                  </a:lnTo>
                  <a:lnTo>
                    <a:pt x="284" y="46"/>
                  </a:lnTo>
                  <a:lnTo>
                    <a:pt x="280" y="42"/>
                  </a:lnTo>
                  <a:lnTo>
                    <a:pt x="276" y="38"/>
                  </a:lnTo>
                  <a:lnTo>
                    <a:pt x="262" y="42"/>
                  </a:lnTo>
                  <a:lnTo>
                    <a:pt x="258" y="44"/>
                  </a:lnTo>
                  <a:lnTo>
                    <a:pt x="256" y="40"/>
                  </a:lnTo>
                  <a:lnTo>
                    <a:pt x="254" y="38"/>
                  </a:lnTo>
                  <a:lnTo>
                    <a:pt x="250" y="36"/>
                  </a:lnTo>
                  <a:lnTo>
                    <a:pt x="246" y="34"/>
                  </a:lnTo>
                  <a:lnTo>
                    <a:pt x="240" y="30"/>
                  </a:lnTo>
                  <a:lnTo>
                    <a:pt x="234" y="30"/>
                  </a:lnTo>
                  <a:lnTo>
                    <a:pt x="222" y="24"/>
                  </a:lnTo>
                  <a:lnTo>
                    <a:pt x="218" y="24"/>
                  </a:lnTo>
                  <a:lnTo>
                    <a:pt x="214" y="22"/>
                  </a:lnTo>
                  <a:lnTo>
                    <a:pt x="212" y="20"/>
                  </a:lnTo>
                  <a:lnTo>
                    <a:pt x="210" y="16"/>
                  </a:lnTo>
                  <a:lnTo>
                    <a:pt x="208" y="8"/>
                  </a:lnTo>
                  <a:lnTo>
                    <a:pt x="200" y="4"/>
                  </a:lnTo>
                  <a:lnTo>
                    <a:pt x="192" y="2"/>
                  </a:lnTo>
                  <a:lnTo>
                    <a:pt x="190" y="2"/>
                  </a:lnTo>
                  <a:lnTo>
                    <a:pt x="190" y="10"/>
                  </a:lnTo>
                  <a:lnTo>
                    <a:pt x="190" y="14"/>
                  </a:lnTo>
                  <a:lnTo>
                    <a:pt x="184" y="18"/>
                  </a:lnTo>
                  <a:lnTo>
                    <a:pt x="178"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82" name="Google Shape;4549;p64">
              <a:extLst>
                <a:ext uri="{FF2B5EF4-FFF2-40B4-BE49-F238E27FC236}">
                  <a16:creationId xmlns:a16="http://schemas.microsoft.com/office/drawing/2014/main" id="{98AE0B42-2DDA-9DD7-7D27-DDB9876857C0}"/>
                </a:ext>
              </a:extLst>
            </p:cNvPr>
            <p:cNvSpPr/>
            <p:nvPr/>
          </p:nvSpPr>
          <p:spPr>
            <a:xfrm>
              <a:off x="4650980" y="3564591"/>
              <a:ext cx="196895" cy="267777"/>
            </a:xfrm>
            <a:custGeom>
              <a:avLst/>
              <a:gdLst/>
              <a:ahLst/>
              <a:cxnLst/>
              <a:rect l="l" t="t" r="r" b="b"/>
              <a:pathLst>
                <a:path w="1429538" h="1944173" extrusionOk="0">
                  <a:moveTo>
                    <a:pt x="1243698" y="252553"/>
                  </a:moveTo>
                  <a:lnTo>
                    <a:pt x="1277054" y="276377"/>
                  </a:lnTo>
                  <a:lnTo>
                    <a:pt x="1305644" y="300203"/>
                  </a:lnTo>
                  <a:lnTo>
                    <a:pt x="1300880" y="309733"/>
                  </a:lnTo>
                  <a:lnTo>
                    <a:pt x="1305644" y="319263"/>
                  </a:lnTo>
                  <a:lnTo>
                    <a:pt x="1300880" y="319263"/>
                  </a:lnTo>
                  <a:lnTo>
                    <a:pt x="1281820" y="324029"/>
                  </a:lnTo>
                  <a:lnTo>
                    <a:pt x="1257994" y="319263"/>
                  </a:lnTo>
                  <a:lnTo>
                    <a:pt x="1257994" y="300203"/>
                  </a:lnTo>
                  <a:lnTo>
                    <a:pt x="1257994" y="285907"/>
                  </a:lnTo>
                  <a:lnTo>
                    <a:pt x="1253228" y="276377"/>
                  </a:lnTo>
                  <a:lnTo>
                    <a:pt x="1243698" y="271613"/>
                  </a:lnTo>
                  <a:lnTo>
                    <a:pt x="1243698" y="262083"/>
                  </a:lnTo>
                  <a:close/>
                  <a:moveTo>
                    <a:pt x="814836" y="142953"/>
                  </a:moveTo>
                  <a:lnTo>
                    <a:pt x="838662" y="152485"/>
                  </a:lnTo>
                  <a:lnTo>
                    <a:pt x="848192" y="166779"/>
                  </a:lnTo>
                  <a:lnTo>
                    <a:pt x="848192" y="176309"/>
                  </a:lnTo>
                  <a:lnTo>
                    <a:pt x="824366" y="176309"/>
                  </a:lnTo>
                  <a:lnTo>
                    <a:pt x="814836" y="162015"/>
                  </a:lnTo>
                  <a:lnTo>
                    <a:pt x="805306" y="162015"/>
                  </a:lnTo>
                  <a:lnTo>
                    <a:pt x="810072" y="147719"/>
                  </a:lnTo>
                  <a:close/>
                  <a:moveTo>
                    <a:pt x="1167456" y="100069"/>
                  </a:moveTo>
                  <a:lnTo>
                    <a:pt x="1181750" y="100069"/>
                  </a:lnTo>
                  <a:lnTo>
                    <a:pt x="1186516" y="114363"/>
                  </a:lnTo>
                  <a:lnTo>
                    <a:pt x="1191282" y="119129"/>
                  </a:lnTo>
                  <a:lnTo>
                    <a:pt x="1215106" y="133423"/>
                  </a:lnTo>
                  <a:lnTo>
                    <a:pt x="1219872" y="138189"/>
                  </a:lnTo>
                  <a:lnTo>
                    <a:pt x="1219872" y="142955"/>
                  </a:lnTo>
                  <a:lnTo>
                    <a:pt x="1210342" y="157249"/>
                  </a:lnTo>
                  <a:lnTo>
                    <a:pt x="1205576" y="162015"/>
                  </a:lnTo>
                  <a:lnTo>
                    <a:pt x="1210342" y="171545"/>
                  </a:lnTo>
                  <a:lnTo>
                    <a:pt x="1224636" y="185841"/>
                  </a:lnTo>
                  <a:lnTo>
                    <a:pt x="1229402" y="200135"/>
                  </a:lnTo>
                  <a:lnTo>
                    <a:pt x="1224636" y="209665"/>
                  </a:lnTo>
                  <a:lnTo>
                    <a:pt x="1210342" y="195371"/>
                  </a:lnTo>
                  <a:lnTo>
                    <a:pt x="1191282" y="195371"/>
                  </a:lnTo>
                  <a:lnTo>
                    <a:pt x="1181750" y="219197"/>
                  </a:lnTo>
                  <a:lnTo>
                    <a:pt x="1172220" y="219197"/>
                  </a:lnTo>
                  <a:lnTo>
                    <a:pt x="1143630" y="200135"/>
                  </a:lnTo>
                  <a:lnTo>
                    <a:pt x="1138864" y="185841"/>
                  </a:lnTo>
                  <a:lnTo>
                    <a:pt x="1138864" y="181075"/>
                  </a:lnTo>
                  <a:lnTo>
                    <a:pt x="1143630" y="147719"/>
                  </a:lnTo>
                  <a:lnTo>
                    <a:pt x="1143630" y="138189"/>
                  </a:lnTo>
                  <a:lnTo>
                    <a:pt x="1153160" y="128659"/>
                  </a:lnTo>
                  <a:lnTo>
                    <a:pt x="1153160" y="114363"/>
                  </a:lnTo>
                  <a:close/>
                  <a:moveTo>
                    <a:pt x="409800" y="81007"/>
                  </a:moveTo>
                  <a:lnTo>
                    <a:pt x="414566" y="81007"/>
                  </a:lnTo>
                  <a:lnTo>
                    <a:pt x="424096" y="85773"/>
                  </a:lnTo>
                  <a:lnTo>
                    <a:pt x="428860" y="95303"/>
                  </a:lnTo>
                  <a:lnTo>
                    <a:pt x="419330" y="100069"/>
                  </a:lnTo>
                  <a:lnTo>
                    <a:pt x="405036" y="100069"/>
                  </a:lnTo>
                  <a:lnTo>
                    <a:pt x="395504" y="95303"/>
                  </a:lnTo>
                  <a:lnTo>
                    <a:pt x="400270" y="85773"/>
                  </a:lnTo>
                  <a:close/>
                  <a:moveTo>
                    <a:pt x="438392" y="42886"/>
                  </a:moveTo>
                  <a:lnTo>
                    <a:pt x="466982" y="42886"/>
                  </a:lnTo>
                  <a:lnTo>
                    <a:pt x="476512" y="42886"/>
                  </a:lnTo>
                  <a:lnTo>
                    <a:pt x="519398" y="57181"/>
                  </a:lnTo>
                  <a:lnTo>
                    <a:pt x="528930" y="66712"/>
                  </a:lnTo>
                  <a:lnTo>
                    <a:pt x="543224" y="71477"/>
                  </a:lnTo>
                  <a:lnTo>
                    <a:pt x="567050" y="61947"/>
                  </a:lnTo>
                  <a:lnTo>
                    <a:pt x="586110" y="57181"/>
                  </a:lnTo>
                  <a:lnTo>
                    <a:pt x="595640" y="61947"/>
                  </a:lnTo>
                  <a:lnTo>
                    <a:pt x="605172" y="61947"/>
                  </a:lnTo>
                  <a:lnTo>
                    <a:pt x="609936" y="66712"/>
                  </a:lnTo>
                  <a:lnTo>
                    <a:pt x="628996" y="76242"/>
                  </a:lnTo>
                  <a:lnTo>
                    <a:pt x="638528" y="85773"/>
                  </a:lnTo>
                  <a:lnTo>
                    <a:pt x="652822" y="104833"/>
                  </a:lnTo>
                  <a:lnTo>
                    <a:pt x="652822" y="128659"/>
                  </a:lnTo>
                  <a:lnTo>
                    <a:pt x="638528" y="147719"/>
                  </a:lnTo>
                  <a:lnTo>
                    <a:pt x="628996" y="157249"/>
                  </a:lnTo>
                  <a:lnTo>
                    <a:pt x="671882" y="157249"/>
                  </a:lnTo>
                  <a:lnTo>
                    <a:pt x="671882" y="166779"/>
                  </a:lnTo>
                  <a:lnTo>
                    <a:pt x="681414" y="176309"/>
                  </a:lnTo>
                  <a:lnTo>
                    <a:pt x="705238" y="166779"/>
                  </a:lnTo>
                  <a:lnTo>
                    <a:pt x="762420" y="200135"/>
                  </a:lnTo>
                  <a:lnTo>
                    <a:pt x="795776" y="185839"/>
                  </a:lnTo>
                  <a:lnTo>
                    <a:pt x="805306" y="185839"/>
                  </a:lnTo>
                  <a:lnTo>
                    <a:pt x="814836" y="209665"/>
                  </a:lnTo>
                  <a:lnTo>
                    <a:pt x="805306" y="238257"/>
                  </a:lnTo>
                  <a:lnTo>
                    <a:pt x="771950" y="266847"/>
                  </a:lnTo>
                  <a:lnTo>
                    <a:pt x="781480" y="281143"/>
                  </a:lnTo>
                  <a:lnTo>
                    <a:pt x="791012" y="285907"/>
                  </a:lnTo>
                  <a:lnTo>
                    <a:pt x="819602" y="281143"/>
                  </a:lnTo>
                  <a:lnTo>
                    <a:pt x="867254" y="300203"/>
                  </a:lnTo>
                  <a:lnTo>
                    <a:pt x="876784" y="295437"/>
                  </a:lnTo>
                  <a:lnTo>
                    <a:pt x="914904" y="257317"/>
                  </a:lnTo>
                  <a:lnTo>
                    <a:pt x="929200" y="247787"/>
                  </a:lnTo>
                  <a:lnTo>
                    <a:pt x="976850" y="243021"/>
                  </a:lnTo>
                  <a:lnTo>
                    <a:pt x="986382" y="223961"/>
                  </a:lnTo>
                  <a:lnTo>
                    <a:pt x="1005442" y="209665"/>
                  </a:lnTo>
                  <a:lnTo>
                    <a:pt x="1019738" y="195371"/>
                  </a:lnTo>
                  <a:lnTo>
                    <a:pt x="1048328" y="162015"/>
                  </a:lnTo>
                  <a:lnTo>
                    <a:pt x="1081684" y="166779"/>
                  </a:lnTo>
                  <a:lnTo>
                    <a:pt x="1100744" y="171545"/>
                  </a:lnTo>
                  <a:lnTo>
                    <a:pt x="1119804" y="176309"/>
                  </a:lnTo>
                  <a:lnTo>
                    <a:pt x="1138866" y="209665"/>
                  </a:lnTo>
                  <a:lnTo>
                    <a:pt x="1186516" y="247787"/>
                  </a:lnTo>
                  <a:lnTo>
                    <a:pt x="1229402" y="243021"/>
                  </a:lnTo>
                  <a:lnTo>
                    <a:pt x="1243698" y="281143"/>
                  </a:lnTo>
                  <a:lnTo>
                    <a:pt x="1253228" y="324029"/>
                  </a:lnTo>
                  <a:lnTo>
                    <a:pt x="1262758" y="338323"/>
                  </a:lnTo>
                  <a:lnTo>
                    <a:pt x="1277054" y="347855"/>
                  </a:lnTo>
                  <a:lnTo>
                    <a:pt x="1310410" y="357385"/>
                  </a:lnTo>
                  <a:lnTo>
                    <a:pt x="1315176" y="362149"/>
                  </a:lnTo>
                  <a:lnTo>
                    <a:pt x="1315176" y="385975"/>
                  </a:lnTo>
                  <a:lnTo>
                    <a:pt x="1319940" y="405035"/>
                  </a:lnTo>
                  <a:lnTo>
                    <a:pt x="1339000" y="476513"/>
                  </a:lnTo>
                  <a:lnTo>
                    <a:pt x="1334236" y="490809"/>
                  </a:lnTo>
                  <a:lnTo>
                    <a:pt x="1334236" y="495573"/>
                  </a:lnTo>
                  <a:lnTo>
                    <a:pt x="1329470" y="519399"/>
                  </a:lnTo>
                  <a:lnTo>
                    <a:pt x="1319940" y="543225"/>
                  </a:lnTo>
                  <a:lnTo>
                    <a:pt x="1300880" y="552755"/>
                  </a:lnTo>
                  <a:lnTo>
                    <a:pt x="1296114" y="567051"/>
                  </a:lnTo>
                  <a:lnTo>
                    <a:pt x="1291350" y="581345"/>
                  </a:lnTo>
                  <a:lnTo>
                    <a:pt x="1310410" y="605171"/>
                  </a:lnTo>
                  <a:lnTo>
                    <a:pt x="1353296" y="638527"/>
                  </a:lnTo>
                  <a:lnTo>
                    <a:pt x="1367592" y="671883"/>
                  </a:lnTo>
                  <a:lnTo>
                    <a:pt x="1362826" y="695709"/>
                  </a:lnTo>
                  <a:lnTo>
                    <a:pt x="1358062" y="714769"/>
                  </a:lnTo>
                  <a:lnTo>
                    <a:pt x="1362826" y="724299"/>
                  </a:lnTo>
                  <a:lnTo>
                    <a:pt x="1367592" y="733829"/>
                  </a:lnTo>
                  <a:lnTo>
                    <a:pt x="1377122" y="743359"/>
                  </a:lnTo>
                  <a:lnTo>
                    <a:pt x="1381886" y="752891"/>
                  </a:lnTo>
                  <a:lnTo>
                    <a:pt x="1381886" y="767185"/>
                  </a:lnTo>
                  <a:lnTo>
                    <a:pt x="1381886" y="776715"/>
                  </a:lnTo>
                  <a:lnTo>
                    <a:pt x="1391416" y="786245"/>
                  </a:lnTo>
                  <a:lnTo>
                    <a:pt x="1386652" y="795777"/>
                  </a:lnTo>
                  <a:lnTo>
                    <a:pt x="1381886" y="814837"/>
                  </a:lnTo>
                  <a:lnTo>
                    <a:pt x="1377122" y="829133"/>
                  </a:lnTo>
                  <a:lnTo>
                    <a:pt x="1367592" y="848193"/>
                  </a:lnTo>
                  <a:lnTo>
                    <a:pt x="1367592" y="862489"/>
                  </a:lnTo>
                  <a:lnTo>
                    <a:pt x="1377122" y="881549"/>
                  </a:lnTo>
                  <a:lnTo>
                    <a:pt x="1386652" y="891079"/>
                  </a:lnTo>
                  <a:lnTo>
                    <a:pt x="1386652" y="900609"/>
                  </a:lnTo>
                  <a:lnTo>
                    <a:pt x="1381886" y="919669"/>
                  </a:lnTo>
                  <a:lnTo>
                    <a:pt x="1386652" y="924435"/>
                  </a:lnTo>
                  <a:lnTo>
                    <a:pt x="1415242" y="938729"/>
                  </a:lnTo>
                  <a:lnTo>
                    <a:pt x="1420008" y="948261"/>
                  </a:lnTo>
                  <a:lnTo>
                    <a:pt x="1420008" y="962555"/>
                  </a:lnTo>
                  <a:lnTo>
                    <a:pt x="1429538" y="991147"/>
                  </a:lnTo>
                  <a:lnTo>
                    <a:pt x="1424772" y="1034033"/>
                  </a:lnTo>
                  <a:lnTo>
                    <a:pt x="1415242" y="1053093"/>
                  </a:lnTo>
                  <a:lnTo>
                    <a:pt x="1400948" y="1086449"/>
                  </a:lnTo>
                  <a:lnTo>
                    <a:pt x="1396182" y="1091215"/>
                  </a:lnTo>
                  <a:lnTo>
                    <a:pt x="1396182" y="1095979"/>
                  </a:lnTo>
                  <a:lnTo>
                    <a:pt x="1391416" y="1100745"/>
                  </a:lnTo>
                  <a:lnTo>
                    <a:pt x="1386652" y="1100745"/>
                  </a:lnTo>
                  <a:lnTo>
                    <a:pt x="1377122" y="1095979"/>
                  </a:lnTo>
                  <a:lnTo>
                    <a:pt x="1367592" y="1091215"/>
                  </a:lnTo>
                  <a:lnTo>
                    <a:pt x="1367592" y="1076919"/>
                  </a:lnTo>
                  <a:lnTo>
                    <a:pt x="1358062" y="1067389"/>
                  </a:lnTo>
                  <a:lnTo>
                    <a:pt x="1358062" y="1057859"/>
                  </a:lnTo>
                  <a:lnTo>
                    <a:pt x="1353296" y="1053093"/>
                  </a:lnTo>
                  <a:lnTo>
                    <a:pt x="1329470" y="1048329"/>
                  </a:lnTo>
                  <a:lnTo>
                    <a:pt x="1319940" y="1048329"/>
                  </a:lnTo>
                  <a:lnTo>
                    <a:pt x="1315176" y="1048329"/>
                  </a:lnTo>
                  <a:lnTo>
                    <a:pt x="1310410" y="1057859"/>
                  </a:lnTo>
                  <a:lnTo>
                    <a:pt x="1315176" y="1062623"/>
                  </a:lnTo>
                  <a:lnTo>
                    <a:pt x="1319940" y="1067389"/>
                  </a:lnTo>
                  <a:lnTo>
                    <a:pt x="1329470" y="1076919"/>
                  </a:lnTo>
                  <a:lnTo>
                    <a:pt x="1329470" y="1081683"/>
                  </a:lnTo>
                  <a:lnTo>
                    <a:pt x="1305644" y="1091215"/>
                  </a:lnTo>
                  <a:lnTo>
                    <a:pt x="1286584" y="1100745"/>
                  </a:lnTo>
                  <a:lnTo>
                    <a:pt x="1272288" y="1105509"/>
                  </a:lnTo>
                  <a:lnTo>
                    <a:pt x="1257994" y="1115039"/>
                  </a:lnTo>
                  <a:lnTo>
                    <a:pt x="1224638" y="1124569"/>
                  </a:lnTo>
                  <a:lnTo>
                    <a:pt x="1200812" y="1129335"/>
                  </a:lnTo>
                  <a:lnTo>
                    <a:pt x="1196046" y="1134101"/>
                  </a:lnTo>
                  <a:lnTo>
                    <a:pt x="1191282" y="1148395"/>
                  </a:lnTo>
                  <a:lnTo>
                    <a:pt x="1181752" y="1153161"/>
                  </a:lnTo>
                  <a:lnTo>
                    <a:pt x="1176986" y="1153161"/>
                  </a:lnTo>
                  <a:lnTo>
                    <a:pt x="1172222" y="1148395"/>
                  </a:lnTo>
                  <a:lnTo>
                    <a:pt x="1167456" y="1153161"/>
                  </a:lnTo>
                  <a:lnTo>
                    <a:pt x="1162690" y="1157925"/>
                  </a:lnTo>
                  <a:lnTo>
                    <a:pt x="1157926" y="1162691"/>
                  </a:lnTo>
                  <a:lnTo>
                    <a:pt x="1153160" y="1162691"/>
                  </a:lnTo>
                  <a:lnTo>
                    <a:pt x="1143630" y="1176987"/>
                  </a:lnTo>
                  <a:lnTo>
                    <a:pt x="1119804" y="1181751"/>
                  </a:lnTo>
                  <a:lnTo>
                    <a:pt x="1115040" y="1191281"/>
                  </a:lnTo>
                  <a:lnTo>
                    <a:pt x="1110274" y="1200813"/>
                  </a:lnTo>
                  <a:lnTo>
                    <a:pt x="1105510" y="1200813"/>
                  </a:lnTo>
                  <a:lnTo>
                    <a:pt x="1095980" y="1196047"/>
                  </a:lnTo>
                  <a:lnTo>
                    <a:pt x="1076918" y="1196047"/>
                  </a:lnTo>
                  <a:lnTo>
                    <a:pt x="1072154" y="1200813"/>
                  </a:lnTo>
                  <a:lnTo>
                    <a:pt x="1057858" y="1205577"/>
                  </a:lnTo>
                  <a:lnTo>
                    <a:pt x="1043562" y="1205577"/>
                  </a:lnTo>
                  <a:lnTo>
                    <a:pt x="1029268" y="1215107"/>
                  </a:lnTo>
                  <a:lnTo>
                    <a:pt x="1014972" y="1234169"/>
                  </a:lnTo>
                  <a:lnTo>
                    <a:pt x="1005442" y="1253229"/>
                  </a:lnTo>
                  <a:lnTo>
                    <a:pt x="1000676" y="1257993"/>
                  </a:lnTo>
                  <a:lnTo>
                    <a:pt x="995912" y="1243699"/>
                  </a:lnTo>
                  <a:lnTo>
                    <a:pt x="986382" y="1229403"/>
                  </a:lnTo>
                  <a:lnTo>
                    <a:pt x="981616" y="1224637"/>
                  </a:lnTo>
                  <a:lnTo>
                    <a:pt x="976850" y="1224637"/>
                  </a:lnTo>
                  <a:lnTo>
                    <a:pt x="972086" y="1229403"/>
                  </a:lnTo>
                  <a:lnTo>
                    <a:pt x="972086" y="1234169"/>
                  </a:lnTo>
                  <a:lnTo>
                    <a:pt x="981616" y="1248463"/>
                  </a:lnTo>
                  <a:lnTo>
                    <a:pt x="986382" y="1257993"/>
                  </a:lnTo>
                  <a:lnTo>
                    <a:pt x="986382" y="1262759"/>
                  </a:lnTo>
                  <a:lnTo>
                    <a:pt x="991146" y="1277055"/>
                  </a:lnTo>
                  <a:lnTo>
                    <a:pt x="1000676" y="1291349"/>
                  </a:lnTo>
                  <a:lnTo>
                    <a:pt x="1019738" y="1300879"/>
                  </a:lnTo>
                  <a:lnTo>
                    <a:pt x="1029268" y="1310409"/>
                  </a:lnTo>
                  <a:lnTo>
                    <a:pt x="1038798" y="1324705"/>
                  </a:lnTo>
                  <a:lnTo>
                    <a:pt x="1038798" y="1329471"/>
                  </a:lnTo>
                  <a:lnTo>
                    <a:pt x="1038798" y="1339001"/>
                  </a:lnTo>
                  <a:lnTo>
                    <a:pt x="1034032" y="1343765"/>
                  </a:lnTo>
                  <a:lnTo>
                    <a:pt x="1029268" y="1348531"/>
                  </a:lnTo>
                  <a:lnTo>
                    <a:pt x="1019738" y="1362827"/>
                  </a:lnTo>
                  <a:lnTo>
                    <a:pt x="1024502" y="1372357"/>
                  </a:lnTo>
                  <a:lnTo>
                    <a:pt x="1029268" y="1377121"/>
                  </a:lnTo>
                  <a:lnTo>
                    <a:pt x="1038798" y="1386653"/>
                  </a:lnTo>
                  <a:lnTo>
                    <a:pt x="1048328" y="1405713"/>
                  </a:lnTo>
                  <a:lnTo>
                    <a:pt x="1057858" y="1429539"/>
                  </a:lnTo>
                  <a:lnTo>
                    <a:pt x="1067388" y="1443833"/>
                  </a:lnTo>
                  <a:lnTo>
                    <a:pt x="1076918" y="1453363"/>
                  </a:lnTo>
                  <a:lnTo>
                    <a:pt x="1086448" y="1462895"/>
                  </a:lnTo>
                  <a:lnTo>
                    <a:pt x="1100744" y="1462895"/>
                  </a:lnTo>
                  <a:lnTo>
                    <a:pt x="1119804" y="1481955"/>
                  </a:lnTo>
                  <a:lnTo>
                    <a:pt x="1138866" y="1505781"/>
                  </a:lnTo>
                  <a:lnTo>
                    <a:pt x="1153160" y="1515311"/>
                  </a:lnTo>
                  <a:lnTo>
                    <a:pt x="1162690" y="1520075"/>
                  </a:lnTo>
                  <a:lnTo>
                    <a:pt x="1167456" y="1529605"/>
                  </a:lnTo>
                  <a:lnTo>
                    <a:pt x="1176986" y="1539137"/>
                  </a:lnTo>
                  <a:lnTo>
                    <a:pt x="1176986" y="1548667"/>
                  </a:lnTo>
                  <a:lnTo>
                    <a:pt x="1186516" y="1553431"/>
                  </a:lnTo>
                  <a:lnTo>
                    <a:pt x="1200812" y="1553431"/>
                  </a:lnTo>
                  <a:lnTo>
                    <a:pt x="1224638" y="1572493"/>
                  </a:lnTo>
                  <a:lnTo>
                    <a:pt x="1234168" y="1586787"/>
                  </a:lnTo>
                  <a:lnTo>
                    <a:pt x="1243698" y="1596317"/>
                  </a:lnTo>
                  <a:lnTo>
                    <a:pt x="1238932" y="1601083"/>
                  </a:lnTo>
                  <a:lnTo>
                    <a:pt x="1238932" y="1615379"/>
                  </a:lnTo>
                  <a:lnTo>
                    <a:pt x="1238932" y="1629673"/>
                  </a:lnTo>
                  <a:lnTo>
                    <a:pt x="1238932" y="1639203"/>
                  </a:lnTo>
                  <a:lnTo>
                    <a:pt x="1229402" y="1648735"/>
                  </a:lnTo>
                  <a:lnTo>
                    <a:pt x="1224638" y="1653499"/>
                  </a:lnTo>
                  <a:lnTo>
                    <a:pt x="1219872" y="1653499"/>
                  </a:lnTo>
                  <a:lnTo>
                    <a:pt x="1191282" y="1639203"/>
                  </a:lnTo>
                  <a:lnTo>
                    <a:pt x="1191282" y="1643969"/>
                  </a:lnTo>
                  <a:lnTo>
                    <a:pt x="1186516" y="1643969"/>
                  </a:lnTo>
                  <a:lnTo>
                    <a:pt x="1181752" y="1686855"/>
                  </a:lnTo>
                  <a:lnTo>
                    <a:pt x="1172222" y="1691621"/>
                  </a:lnTo>
                  <a:lnTo>
                    <a:pt x="1167456" y="1701151"/>
                  </a:lnTo>
                  <a:lnTo>
                    <a:pt x="1148396" y="1705915"/>
                  </a:lnTo>
                  <a:lnTo>
                    <a:pt x="1138866" y="1710681"/>
                  </a:lnTo>
                  <a:lnTo>
                    <a:pt x="1129336" y="1715445"/>
                  </a:lnTo>
                  <a:lnTo>
                    <a:pt x="1100744" y="1729741"/>
                  </a:lnTo>
                  <a:lnTo>
                    <a:pt x="1086448" y="1739271"/>
                  </a:lnTo>
                  <a:lnTo>
                    <a:pt x="1076918" y="1753567"/>
                  </a:lnTo>
                  <a:lnTo>
                    <a:pt x="1076918" y="1758333"/>
                  </a:lnTo>
                  <a:lnTo>
                    <a:pt x="1091214" y="1782157"/>
                  </a:lnTo>
                  <a:lnTo>
                    <a:pt x="1110274" y="1801219"/>
                  </a:lnTo>
                  <a:lnTo>
                    <a:pt x="1110274" y="1820279"/>
                  </a:lnTo>
                  <a:lnTo>
                    <a:pt x="1100744" y="1839339"/>
                  </a:lnTo>
                  <a:lnTo>
                    <a:pt x="1100744" y="1844105"/>
                  </a:lnTo>
                  <a:lnTo>
                    <a:pt x="1105510" y="1844105"/>
                  </a:lnTo>
                  <a:lnTo>
                    <a:pt x="1115040" y="1844105"/>
                  </a:lnTo>
                  <a:lnTo>
                    <a:pt x="1119804" y="1848869"/>
                  </a:lnTo>
                  <a:lnTo>
                    <a:pt x="1124570" y="1858399"/>
                  </a:lnTo>
                  <a:lnTo>
                    <a:pt x="1124570" y="1877461"/>
                  </a:lnTo>
                  <a:lnTo>
                    <a:pt x="1119804" y="1891755"/>
                  </a:lnTo>
                  <a:lnTo>
                    <a:pt x="1119804" y="1901285"/>
                  </a:lnTo>
                  <a:lnTo>
                    <a:pt x="1110274" y="1901285"/>
                  </a:lnTo>
                  <a:lnTo>
                    <a:pt x="1095980" y="1891755"/>
                  </a:lnTo>
                  <a:lnTo>
                    <a:pt x="1086448" y="1882225"/>
                  </a:lnTo>
                  <a:lnTo>
                    <a:pt x="1081684" y="1877461"/>
                  </a:lnTo>
                  <a:lnTo>
                    <a:pt x="1081684" y="1872695"/>
                  </a:lnTo>
                  <a:lnTo>
                    <a:pt x="1081684" y="1867929"/>
                  </a:lnTo>
                  <a:lnTo>
                    <a:pt x="1081684" y="1863165"/>
                  </a:lnTo>
                  <a:lnTo>
                    <a:pt x="1067388" y="1853635"/>
                  </a:lnTo>
                  <a:lnTo>
                    <a:pt x="1053092" y="1858399"/>
                  </a:lnTo>
                  <a:lnTo>
                    <a:pt x="1043562" y="1863165"/>
                  </a:lnTo>
                  <a:lnTo>
                    <a:pt x="1034032" y="1863165"/>
                  </a:lnTo>
                  <a:lnTo>
                    <a:pt x="1029268" y="1853635"/>
                  </a:lnTo>
                  <a:lnTo>
                    <a:pt x="1014972" y="1848869"/>
                  </a:lnTo>
                  <a:lnTo>
                    <a:pt x="1000676" y="1848869"/>
                  </a:lnTo>
                  <a:lnTo>
                    <a:pt x="991146" y="1844105"/>
                  </a:lnTo>
                  <a:lnTo>
                    <a:pt x="991146" y="1858399"/>
                  </a:lnTo>
                  <a:lnTo>
                    <a:pt x="986382" y="1867929"/>
                  </a:lnTo>
                  <a:lnTo>
                    <a:pt x="914904" y="1872695"/>
                  </a:lnTo>
                  <a:lnTo>
                    <a:pt x="891078" y="1882225"/>
                  </a:lnTo>
                  <a:lnTo>
                    <a:pt x="876784" y="1891755"/>
                  </a:lnTo>
                  <a:lnTo>
                    <a:pt x="862488" y="1896521"/>
                  </a:lnTo>
                  <a:lnTo>
                    <a:pt x="862488" y="1901285"/>
                  </a:lnTo>
                  <a:lnTo>
                    <a:pt x="848192" y="1910817"/>
                  </a:lnTo>
                  <a:lnTo>
                    <a:pt x="838662" y="1915581"/>
                  </a:lnTo>
                  <a:lnTo>
                    <a:pt x="833898" y="1910817"/>
                  </a:lnTo>
                  <a:lnTo>
                    <a:pt x="824366" y="1915581"/>
                  </a:lnTo>
                  <a:lnTo>
                    <a:pt x="810072" y="1920347"/>
                  </a:lnTo>
                  <a:lnTo>
                    <a:pt x="800542" y="1915581"/>
                  </a:lnTo>
                  <a:lnTo>
                    <a:pt x="795776" y="1910817"/>
                  </a:lnTo>
                  <a:lnTo>
                    <a:pt x="786246" y="1901285"/>
                  </a:lnTo>
                  <a:lnTo>
                    <a:pt x="781480" y="1891755"/>
                  </a:lnTo>
                  <a:lnTo>
                    <a:pt x="781480" y="1886991"/>
                  </a:lnTo>
                  <a:lnTo>
                    <a:pt x="762420" y="1886991"/>
                  </a:lnTo>
                  <a:lnTo>
                    <a:pt x="748124" y="1882225"/>
                  </a:lnTo>
                  <a:lnTo>
                    <a:pt x="724300" y="1882225"/>
                  </a:lnTo>
                  <a:lnTo>
                    <a:pt x="714768" y="1882225"/>
                  </a:lnTo>
                  <a:lnTo>
                    <a:pt x="710004" y="1915581"/>
                  </a:lnTo>
                  <a:lnTo>
                    <a:pt x="705238" y="1925111"/>
                  </a:lnTo>
                  <a:lnTo>
                    <a:pt x="695708" y="1939407"/>
                  </a:lnTo>
                  <a:lnTo>
                    <a:pt x="686178" y="1944173"/>
                  </a:lnTo>
                  <a:lnTo>
                    <a:pt x="676648" y="1944173"/>
                  </a:lnTo>
                  <a:lnTo>
                    <a:pt x="676648" y="1934641"/>
                  </a:lnTo>
                  <a:lnTo>
                    <a:pt x="676648" y="1925111"/>
                  </a:lnTo>
                  <a:lnTo>
                    <a:pt x="671882" y="1925111"/>
                  </a:lnTo>
                  <a:lnTo>
                    <a:pt x="662352" y="1920347"/>
                  </a:lnTo>
                  <a:lnTo>
                    <a:pt x="657588" y="1920347"/>
                  </a:lnTo>
                  <a:lnTo>
                    <a:pt x="657588" y="1910817"/>
                  </a:lnTo>
                  <a:lnTo>
                    <a:pt x="657588" y="1906051"/>
                  </a:lnTo>
                  <a:lnTo>
                    <a:pt x="652822" y="1901285"/>
                  </a:lnTo>
                  <a:lnTo>
                    <a:pt x="643292" y="1891755"/>
                  </a:lnTo>
                  <a:lnTo>
                    <a:pt x="624232" y="1882225"/>
                  </a:lnTo>
                  <a:lnTo>
                    <a:pt x="609936" y="1877461"/>
                  </a:lnTo>
                  <a:lnTo>
                    <a:pt x="605172" y="1882225"/>
                  </a:lnTo>
                  <a:lnTo>
                    <a:pt x="600406" y="1882225"/>
                  </a:lnTo>
                  <a:lnTo>
                    <a:pt x="590876" y="1877461"/>
                  </a:lnTo>
                  <a:lnTo>
                    <a:pt x="571816" y="1863165"/>
                  </a:lnTo>
                  <a:lnTo>
                    <a:pt x="547990" y="1853635"/>
                  </a:lnTo>
                  <a:lnTo>
                    <a:pt x="528930" y="1839339"/>
                  </a:lnTo>
                  <a:lnTo>
                    <a:pt x="509868" y="1829809"/>
                  </a:lnTo>
                  <a:lnTo>
                    <a:pt x="519398" y="1853635"/>
                  </a:lnTo>
                  <a:lnTo>
                    <a:pt x="509868" y="1853635"/>
                  </a:lnTo>
                  <a:lnTo>
                    <a:pt x="471748" y="1858399"/>
                  </a:lnTo>
                  <a:lnTo>
                    <a:pt x="466982" y="1848869"/>
                  </a:lnTo>
                  <a:lnTo>
                    <a:pt x="457452" y="1844105"/>
                  </a:lnTo>
                  <a:lnTo>
                    <a:pt x="452688" y="1848869"/>
                  </a:lnTo>
                  <a:lnTo>
                    <a:pt x="447922" y="1848869"/>
                  </a:lnTo>
                  <a:lnTo>
                    <a:pt x="433626" y="1829809"/>
                  </a:lnTo>
                  <a:lnTo>
                    <a:pt x="424096" y="1829809"/>
                  </a:lnTo>
                  <a:lnTo>
                    <a:pt x="414566" y="1829809"/>
                  </a:lnTo>
                  <a:lnTo>
                    <a:pt x="405036" y="1839339"/>
                  </a:lnTo>
                  <a:lnTo>
                    <a:pt x="395506" y="1848869"/>
                  </a:lnTo>
                  <a:lnTo>
                    <a:pt x="400270" y="1858399"/>
                  </a:lnTo>
                  <a:lnTo>
                    <a:pt x="405036" y="1858399"/>
                  </a:lnTo>
                  <a:lnTo>
                    <a:pt x="419332" y="1858399"/>
                  </a:lnTo>
                  <a:lnTo>
                    <a:pt x="424096" y="1858399"/>
                  </a:lnTo>
                  <a:lnTo>
                    <a:pt x="424096" y="1863165"/>
                  </a:lnTo>
                  <a:lnTo>
                    <a:pt x="409800" y="1867929"/>
                  </a:lnTo>
                  <a:lnTo>
                    <a:pt x="405036" y="1872695"/>
                  </a:lnTo>
                  <a:lnTo>
                    <a:pt x="400270" y="1872695"/>
                  </a:lnTo>
                  <a:lnTo>
                    <a:pt x="385976" y="1867929"/>
                  </a:lnTo>
                  <a:lnTo>
                    <a:pt x="366914" y="1867929"/>
                  </a:lnTo>
                  <a:lnTo>
                    <a:pt x="347854" y="1877461"/>
                  </a:lnTo>
                  <a:lnTo>
                    <a:pt x="324028" y="1877461"/>
                  </a:lnTo>
                  <a:lnTo>
                    <a:pt x="285908" y="1877461"/>
                  </a:lnTo>
                  <a:lnTo>
                    <a:pt x="276378" y="1872695"/>
                  </a:lnTo>
                  <a:lnTo>
                    <a:pt x="266848" y="1867929"/>
                  </a:lnTo>
                  <a:lnTo>
                    <a:pt x="262082" y="1853635"/>
                  </a:lnTo>
                  <a:lnTo>
                    <a:pt x="262082" y="1829809"/>
                  </a:lnTo>
                  <a:lnTo>
                    <a:pt x="271612" y="1801219"/>
                  </a:lnTo>
                  <a:lnTo>
                    <a:pt x="271612" y="1777393"/>
                  </a:lnTo>
                  <a:lnTo>
                    <a:pt x="271612" y="1763097"/>
                  </a:lnTo>
                  <a:lnTo>
                    <a:pt x="276378" y="1739271"/>
                  </a:lnTo>
                  <a:lnTo>
                    <a:pt x="290672" y="1710681"/>
                  </a:lnTo>
                  <a:lnTo>
                    <a:pt x="300202" y="1682089"/>
                  </a:lnTo>
                  <a:lnTo>
                    <a:pt x="304968" y="1648735"/>
                  </a:lnTo>
                  <a:lnTo>
                    <a:pt x="309734" y="1629673"/>
                  </a:lnTo>
                  <a:lnTo>
                    <a:pt x="324028" y="1615379"/>
                  </a:lnTo>
                  <a:lnTo>
                    <a:pt x="352620" y="1572493"/>
                  </a:lnTo>
                  <a:lnTo>
                    <a:pt x="357384" y="1567727"/>
                  </a:lnTo>
                  <a:lnTo>
                    <a:pt x="357384" y="1548667"/>
                  </a:lnTo>
                  <a:lnTo>
                    <a:pt x="347854" y="1543901"/>
                  </a:lnTo>
                  <a:lnTo>
                    <a:pt x="333558" y="1539137"/>
                  </a:lnTo>
                  <a:lnTo>
                    <a:pt x="304968" y="1529605"/>
                  </a:lnTo>
                  <a:lnTo>
                    <a:pt x="276378" y="1529605"/>
                  </a:lnTo>
                  <a:lnTo>
                    <a:pt x="262082" y="1520075"/>
                  </a:lnTo>
                  <a:lnTo>
                    <a:pt x="247786" y="1505781"/>
                  </a:lnTo>
                  <a:lnTo>
                    <a:pt x="243022" y="1505781"/>
                  </a:lnTo>
                  <a:lnTo>
                    <a:pt x="228726" y="1510545"/>
                  </a:lnTo>
                  <a:lnTo>
                    <a:pt x="209666" y="1515311"/>
                  </a:lnTo>
                  <a:lnTo>
                    <a:pt x="195370" y="1510545"/>
                  </a:lnTo>
                  <a:lnTo>
                    <a:pt x="190606" y="1510545"/>
                  </a:lnTo>
                  <a:lnTo>
                    <a:pt x="185840" y="1515311"/>
                  </a:lnTo>
                  <a:lnTo>
                    <a:pt x="181074" y="1510545"/>
                  </a:lnTo>
                  <a:lnTo>
                    <a:pt x="181074" y="1501015"/>
                  </a:lnTo>
                  <a:lnTo>
                    <a:pt x="171544" y="1496249"/>
                  </a:lnTo>
                  <a:lnTo>
                    <a:pt x="162014" y="1491485"/>
                  </a:lnTo>
                  <a:lnTo>
                    <a:pt x="157250" y="1491485"/>
                  </a:lnTo>
                  <a:lnTo>
                    <a:pt x="152484" y="1501015"/>
                  </a:lnTo>
                  <a:lnTo>
                    <a:pt x="142954" y="1505781"/>
                  </a:lnTo>
                  <a:lnTo>
                    <a:pt x="138188" y="1505781"/>
                  </a:lnTo>
                  <a:lnTo>
                    <a:pt x="119128" y="1472425"/>
                  </a:lnTo>
                  <a:lnTo>
                    <a:pt x="114364" y="1467659"/>
                  </a:lnTo>
                  <a:lnTo>
                    <a:pt x="109598" y="1458129"/>
                  </a:lnTo>
                  <a:lnTo>
                    <a:pt x="104832" y="1448599"/>
                  </a:lnTo>
                  <a:lnTo>
                    <a:pt x="95302" y="1434303"/>
                  </a:lnTo>
                  <a:lnTo>
                    <a:pt x="81008" y="1434303"/>
                  </a:lnTo>
                  <a:lnTo>
                    <a:pt x="76242" y="1434303"/>
                  </a:lnTo>
                  <a:lnTo>
                    <a:pt x="76242" y="1420009"/>
                  </a:lnTo>
                  <a:lnTo>
                    <a:pt x="81008" y="1396183"/>
                  </a:lnTo>
                  <a:lnTo>
                    <a:pt x="85772" y="1386653"/>
                  </a:lnTo>
                  <a:lnTo>
                    <a:pt x="90538" y="1377121"/>
                  </a:lnTo>
                  <a:lnTo>
                    <a:pt x="100068" y="1372357"/>
                  </a:lnTo>
                  <a:lnTo>
                    <a:pt x="100068" y="1362827"/>
                  </a:lnTo>
                  <a:lnTo>
                    <a:pt x="100068" y="1348531"/>
                  </a:lnTo>
                  <a:lnTo>
                    <a:pt x="90538" y="1348531"/>
                  </a:lnTo>
                  <a:lnTo>
                    <a:pt x="71476" y="1339001"/>
                  </a:lnTo>
                  <a:lnTo>
                    <a:pt x="61946" y="1334235"/>
                  </a:lnTo>
                  <a:lnTo>
                    <a:pt x="52416" y="1319941"/>
                  </a:lnTo>
                  <a:lnTo>
                    <a:pt x="42886" y="1305645"/>
                  </a:lnTo>
                  <a:lnTo>
                    <a:pt x="38122" y="1291349"/>
                  </a:lnTo>
                  <a:lnTo>
                    <a:pt x="38122" y="1277055"/>
                  </a:lnTo>
                  <a:lnTo>
                    <a:pt x="42886" y="1272289"/>
                  </a:lnTo>
                  <a:lnTo>
                    <a:pt x="42886" y="1267523"/>
                  </a:lnTo>
                  <a:lnTo>
                    <a:pt x="47652" y="1243699"/>
                  </a:lnTo>
                  <a:lnTo>
                    <a:pt x="81008" y="1224637"/>
                  </a:lnTo>
                  <a:lnTo>
                    <a:pt x="76242" y="1205577"/>
                  </a:lnTo>
                  <a:lnTo>
                    <a:pt x="76242" y="1191281"/>
                  </a:lnTo>
                  <a:lnTo>
                    <a:pt x="66712" y="1181751"/>
                  </a:lnTo>
                  <a:lnTo>
                    <a:pt x="52416" y="1181751"/>
                  </a:lnTo>
                  <a:lnTo>
                    <a:pt x="52416" y="1172221"/>
                  </a:lnTo>
                  <a:lnTo>
                    <a:pt x="47652" y="1167457"/>
                  </a:lnTo>
                  <a:lnTo>
                    <a:pt x="57182" y="1157925"/>
                  </a:lnTo>
                  <a:lnTo>
                    <a:pt x="47652" y="1143631"/>
                  </a:lnTo>
                  <a:lnTo>
                    <a:pt x="42886" y="1134101"/>
                  </a:lnTo>
                  <a:lnTo>
                    <a:pt x="23826" y="1119805"/>
                  </a:lnTo>
                  <a:lnTo>
                    <a:pt x="28590" y="1081683"/>
                  </a:lnTo>
                  <a:lnTo>
                    <a:pt x="23826" y="1067389"/>
                  </a:lnTo>
                  <a:lnTo>
                    <a:pt x="14296" y="1062623"/>
                  </a:lnTo>
                  <a:lnTo>
                    <a:pt x="4766" y="1057859"/>
                  </a:lnTo>
                  <a:lnTo>
                    <a:pt x="0" y="1053093"/>
                  </a:lnTo>
                  <a:lnTo>
                    <a:pt x="0" y="1048329"/>
                  </a:lnTo>
                  <a:lnTo>
                    <a:pt x="0" y="1043563"/>
                  </a:lnTo>
                  <a:lnTo>
                    <a:pt x="14296" y="1043563"/>
                  </a:lnTo>
                  <a:lnTo>
                    <a:pt x="42886" y="1019737"/>
                  </a:lnTo>
                  <a:lnTo>
                    <a:pt x="42886" y="1014973"/>
                  </a:lnTo>
                  <a:lnTo>
                    <a:pt x="38122" y="1014973"/>
                  </a:lnTo>
                  <a:lnTo>
                    <a:pt x="33356" y="1010207"/>
                  </a:lnTo>
                  <a:lnTo>
                    <a:pt x="33356" y="1005441"/>
                  </a:lnTo>
                  <a:lnTo>
                    <a:pt x="33356" y="1000677"/>
                  </a:lnTo>
                  <a:lnTo>
                    <a:pt x="47652" y="967321"/>
                  </a:lnTo>
                  <a:lnTo>
                    <a:pt x="52416" y="953025"/>
                  </a:lnTo>
                  <a:lnTo>
                    <a:pt x="52416" y="943495"/>
                  </a:lnTo>
                  <a:lnTo>
                    <a:pt x="52416" y="933965"/>
                  </a:lnTo>
                  <a:lnTo>
                    <a:pt x="42886" y="919669"/>
                  </a:lnTo>
                  <a:lnTo>
                    <a:pt x="38122" y="905375"/>
                  </a:lnTo>
                  <a:lnTo>
                    <a:pt x="38122" y="895843"/>
                  </a:lnTo>
                  <a:lnTo>
                    <a:pt x="28590" y="891079"/>
                  </a:lnTo>
                  <a:lnTo>
                    <a:pt x="14296" y="867253"/>
                  </a:lnTo>
                  <a:lnTo>
                    <a:pt x="14296" y="852957"/>
                  </a:lnTo>
                  <a:lnTo>
                    <a:pt x="23826" y="848193"/>
                  </a:lnTo>
                  <a:lnTo>
                    <a:pt x="38122" y="843427"/>
                  </a:lnTo>
                  <a:lnTo>
                    <a:pt x="42886" y="838663"/>
                  </a:lnTo>
                  <a:lnTo>
                    <a:pt x="47652" y="833897"/>
                  </a:lnTo>
                  <a:lnTo>
                    <a:pt x="66712" y="843427"/>
                  </a:lnTo>
                  <a:lnTo>
                    <a:pt x="76242" y="848193"/>
                  </a:lnTo>
                  <a:lnTo>
                    <a:pt x="81008" y="848193"/>
                  </a:lnTo>
                  <a:lnTo>
                    <a:pt x="90538" y="838663"/>
                  </a:lnTo>
                  <a:lnTo>
                    <a:pt x="104832" y="843427"/>
                  </a:lnTo>
                  <a:lnTo>
                    <a:pt x="138188" y="829133"/>
                  </a:lnTo>
                  <a:lnTo>
                    <a:pt x="142954" y="819601"/>
                  </a:lnTo>
                  <a:lnTo>
                    <a:pt x="147718" y="814837"/>
                  </a:lnTo>
                  <a:lnTo>
                    <a:pt x="147718" y="810071"/>
                  </a:lnTo>
                  <a:lnTo>
                    <a:pt x="133424" y="795777"/>
                  </a:lnTo>
                  <a:lnTo>
                    <a:pt x="133424" y="791011"/>
                  </a:lnTo>
                  <a:lnTo>
                    <a:pt x="138188" y="786245"/>
                  </a:lnTo>
                  <a:lnTo>
                    <a:pt x="138188" y="781481"/>
                  </a:lnTo>
                  <a:lnTo>
                    <a:pt x="147718" y="776715"/>
                  </a:lnTo>
                  <a:lnTo>
                    <a:pt x="157250" y="771951"/>
                  </a:lnTo>
                  <a:lnTo>
                    <a:pt x="176310" y="752891"/>
                  </a:lnTo>
                  <a:lnTo>
                    <a:pt x="181074" y="738595"/>
                  </a:lnTo>
                  <a:lnTo>
                    <a:pt x="185840" y="719535"/>
                  </a:lnTo>
                  <a:lnTo>
                    <a:pt x="185840" y="710003"/>
                  </a:lnTo>
                  <a:lnTo>
                    <a:pt x="181074" y="700473"/>
                  </a:lnTo>
                  <a:lnTo>
                    <a:pt x="176310" y="690943"/>
                  </a:lnTo>
                  <a:lnTo>
                    <a:pt x="166780" y="690943"/>
                  </a:lnTo>
                  <a:lnTo>
                    <a:pt x="152484" y="690943"/>
                  </a:lnTo>
                  <a:lnTo>
                    <a:pt x="138188" y="686179"/>
                  </a:lnTo>
                  <a:lnTo>
                    <a:pt x="133424" y="676649"/>
                  </a:lnTo>
                  <a:lnTo>
                    <a:pt x="128658" y="671883"/>
                  </a:lnTo>
                  <a:lnTo>
                    <a:pt x="133424" y="667117"/>
                  </a:lnTo>
                  <a:lnTo>
                    <a:pt x="133424" y="657587"/>
                  </a:lnTo>
                  <a:lnTo>
                    <a:pt x="133424" y="652823"/>
                  </a:lnTo>
                  <a:lnTo>
                    <a:pt x="133424" y="648057"/>
                  </a:lnTo>
                  <a:lnTo>
                    <a:pt x="138188" y="643293"/>
                  </a:lnTo>
                  <a:lnTo>
                    <a:pt x="181074" y="643293"/>
                  </a:lnTo>
                  <a:lnTo>
                    <a:pt x="185840" y="638527"/>
                  </a:lnTo>
                  <a:lnTo>
                    <a:pt x="185840" y="614701"/>
                  </a:lnTo>
                  <a:lnTo>
                    <a:pt x="195370" y="576581"/>
                  </a:lnTo>
                  <a:lnTo>
                    <a:pt x="204900" y="557519"/>
                  </a:lnTo>
                  <a:lnTo>
                    <a:pt x="209666" y="547989"/>
                  </a:lnTo>
                  <a:lnTo>
                    <a:pt x="209666" y="500339"/>
                  </a:lnTo>
                  <a:lnTo>
                    <a:pt x="209666" y="476513"/>
                  </a:lnTo>
                  <a:lnTo>
                    <a:pt x="200136" y="462217"/>
                  </a:lnTo>
                  <a:lnTo>
                    <a:pt x="185840" y="452687"/>
                  </a:lnTo>
                  <a:lnTo>
                    <a:pt x="190606" y="424097"/>
                  </a:lnTo>
                  <a:lnTo>
                    <a:pt x="195370" y="400271"/>
                  </a:lnTo>
                  <a:lnTo>
                    <a:pt x="209666" y="376445"/>
                  </a:lnTo>
                  <a:lnTo>
                    <a:pt x="223960" y="371679"/>
                  </a:lnTo>
                  <a:lnTo>
                    <a:pt x="276378" y="366915"/>
                  </a:lnTo>
                  <a:lnTo>
                    <a:pt x="338324" y="366915"/>
                  </a:lnTo>
                  <a:lnTo>
                    <a:pt x="362150" y="405035"/>
                  </a:lnTo>
                  <a:lnTo>
                    <a:pt x="352620" y="428861"/>
                  </a:lnTo>
                  <a:lnTo>
                    <a:pt x="366914" y="433627"/>
                  </a:lnTo>
                  <a:lnTo>
                    <a:pt x="371680" y="433627"/>
                  </a:lnTo>
                  <a:lnTo>
                    <a:pt x="376444" y="414565"/>
                  </a:lnTo>
                  <a:lnTo>
                    <a:pt x="381210" y="395505"/>
                  </a:lnTo>
                  <a:lnTo>
                    <a:pt x="385976" y="390741"/>
                  </a:lnTo>
                  <a:lnTo>
                    <a:pt x="405036" y="405035"/>
                  </a:lnTo>
                  <a:lnTo>
                    <a:pt x="409800" y="414565"/>
                  </a:lnTo>
                  <a:lnTo>
                    <a:pt x="414566" y="447921"/>
                  </a:lnTo>
                  <a:lnTo>
                    <a:pt x="419332" y="405035"/>
                  </a:lnTo>
                  <a:lnTo>
                    <a:pt x="414566" y="371679"/>
                  </a:lnTo>
                  <a:lnTo>
                    <a:pt x="419332" y="343089"/>
                  </a:lnTo>
                  <a:lnTo>
                    <a:pt x="424096" y="328793"/>
                  </a:lnTo>
                  <a:lnTo>
                    <a:pt x="433626" y="319263"/>
                  </a:lnTo>
                  <a:lnTo>
                    <a:pt x="476512" y="328793"/>
                  </a:lnTo>
                  <a:lnTo>
                    <a:pt x="524164" y="324029"/>
                  </a:lnTo>
                  <a:lnTo>
                    <a:pt x="543224" y="333559"/>
                  </a:lnTo>
                  <a:lnTo>
                    <a:pt x="581346" y="390741"/>
                  </a:lnTo>
                  <a:lnTo>
                    <a:pt x="595640" y="400271"/>
                  </a:lnTo>
                  <a:lnTo>
                    <a:pt x="614702" y="405035"/>
                  </a:lnTo>
                  <a:lnTo>
                    <a:pt x="590876" y="390741"/>
                  </a:lnTo>
                  <a:lnTo>
                    <a:pt x="538460" y="324029"/>
                  </a:lnTo>
                  <a:lnTo>
                    <a:pt x="524164" y="314499"/>
                  </a:lnTo>
                  <a:lnTo>
                    <a:pt x="500338" y="314499"/>
                  </a:lnTo>
                  <a:lnTo>
                    <a:pt x="486042" y="304969"/>
                  </a:lnTo>
                  <a:lnTo>
                    <a:pt x="476512" y="295437"/>
                  </a:lnTo>
                  <a:lnTo>
                    <a:pt x="476512" y="285907"/>
                  </a:lnTo>
                  <a:lnTo>
                    <a:pt x="476512" y="214431"/>
                  </a:lnTo>
                  <a:lnTo>
                    <a:pt x="466982" y="204901"/>
                  </a:lnTo>
                  <a:lnTo>
                    <a:pt x="457452" y="200135"/>
                  </a:lnTo>
                  <a:lnTo>
                    <a:pt x="447922" y="204901"/>
                  </a:lnTo>
                  <a:lnTo>
                    <a:pt x="433626" y="204901"/>
                  </a:lnTo>
                  <a:lnTo>
                    <a:pt x="433626" y="190605"/>
                  </a:lnTo>
                  <a:lnTo>
                    <a:pt x="438392" y="181075"/>
                  </a:lnTo>
                  <a:lnTo>
                    <a:pt x="466982" y="171545"/>
                  </a:lnTo>
                  <a:lnTo>
                    <a:pt x="481278" y="162015"/>
                  </a:lnTo>
                  <a:lnTo>
                    <a:pt x="486042" y="142953"/>
                  </a:lnTo>
                  <a:lnTo>
                    <a:pt x="471748" y="128659"/>
                  </a:lnTo>
                  <a:lnTo>
                    <a:pt x="457452" y="100067"/>
                  </a:lnTo>
                  <a:lnTo>
                    <a:pt x="443156" y="71477"/>
                  </a:lnTo>
                  <a:close/>
                  <a:moveTo>
                    <a:pt x="400270" y="0"/>
                  </a:moveTo>
                  <a:lnTo>
                    <a:pt x="405036" y="0"/>
                  </a:lnTo>
                  <a:lnTo>
                    <a:pt x="400270" y="14295"/>
                  </a:lnTo>
                  <a:lnTo>
                    <a:pt x="395506" y="19060"/>
                  </a:lnTo>
                  <a:lnTo>
                    <a:pt x="390740" y="38121"/>
                  </a:lnTo>
                  <a:lnTo>
                    <a:pt x="395506" y="42886"/>
                  </a:lnTo>
                  <a:lnTo>
                    <a:pt x="433626" y="47651"/>
                  </a:lnTo>
                  <a:lnTo>
                    <a:pt x="428860" y="52416"/>
                  </a:lnTo>
                  <a:lnTo>
                    <a:pt x="390740" y="57181"/>
                  </a:lnTo>
                  <a:lnTo>
                    <a:pt x="381210" y="76242"/>
                  </a:lnTo>
                  <a:lnTo>
                    <a:pt x="381210" y="4288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83" name="Google Shape;4550;p64">
              <a:extLst>
                <a:ext uri="{FF2B5EF4-FFF2-40B4-BE49-F238E27FC236}">
                  <a16:creationId xmlns:a16="http://schemas.microsoft.com/office/drawing/2014/main" id="{E4D347E6-6A87-88FA-6BB8-88C79692A468}"/>
                </a:ext>
              </a:extLst>
            </p:cNvPr>
            <p:cNvSpPr/>
            <p:nvPr/>
          </p:nvSpPr>
          <p:spPr>
            <a:xfrm>
              <a:off x="5423461" y="4713798"/>
              <a:ext cx="35441" cy="38723"/>
            </a:xfrm>
            <a:custGeom>
              <a:avLst/>
              <a:gdLst/>
              <a:ahLst/>
              <a:cxnLst/>
              <a:rect l="l" t="t" r="r" b="b"/>
              <a:pathLst>
                <a:path w="108" h="118" extrusionOk="0">
                  <a:moveTo>
                    <a:pt x="98" y="82"/>
                  </a:moveTo>
                  <a:lnTo>
                    <a:pt x="92" y="78"/>
                  </a:lnTo>
                  <a:lnTo>
                    <a:pt x="84" y="76"/>
                  </a:lnTo>
                  <a:lnTo>
                    <a:pt x="76" y="76"/>
                  </a:lnTo>
                  <a:lnTo>
                    <a:pt x="68" y="78"/>
                  </a:lnTo>
                  <a:lnTo>
                    <a:pt x="58" y="80"/>
                  </a:lnTo>
                  <a:lnTo>
                    <a:pt x="54" y="82"/>
                  </a:lnTo>
                  <a:lnTo>
                    <a:pt x="50" y="82"/>
                  </a:lnTo>
                  <a:lnTo>
                    <a:pt x="50" y="76"/>
                  </a:lnTo>
                  <a:lnTo>
                    <a:pt x="58" y="78"/>
                  </a:lnTo>
                  <a:lnTo>
                    <a:pt x="68" y="66"/>
                  </a:lnTo>
                  <a:lnTo>
                    <a:pt x="84" y="60"/>
                  </a:lnTo>
                  <a:lnTo>
                    <a:pt x="100" y="50"/>
                  </a:lnTo>
                  <a:lnTo>
                    <a:pt x="104" y="46"/>
                  </a:lnTo>
                  <a:lnTo>
                    <a:pt x="106" y="42"/>
                  </a:lnTo>
                  <a:lnTo>
                    <a:pt x="108" y="36"/>
                  </a:lnTo>
                  <a:lnTo>
                    <a:pt x="104" y="24"/>
                  </a:lnTo>
                  <a:lnTo>
                    <a:pt x="100" y="16"/>
                  </a:lnTo>
                  <a:lnTo>
                    <a:pt x="90" y="4"/>
                  </a:lnTo>
                  <a:lnTo>
                    <a:pt x="88" y="0"/>
                  </a:lnTo>
                  <a:lnTo>
                    <a:pt x="82" y="4"/>
                  </a:lnTo>
                  <a:lnTo>
                    <a:pt x="74" y="6"/>
                  </a:lnTo>
                  <a:lnTo>
                    <a:pt x="72" y="6"/>
                  </a:lnTo>
                  <a:lnTo>
                    <a:pt x="70" y="10"/>
                  </a:lnTo>
                  <a:lnTo>
                    <a:pt x="66" y="20"/>
                  </a:lnTo>
                  <a:lnTo>
                    <a:pt x="62" y="22"/>
                  </a:lnTo>
                  <a:lnTo>
                    <a:pt x="60" y="22"/>
                  </a:lnTo>
                  <a:lnTo>
                    <a:pt x="46" y="14"/>
                  </a:lnTo>
                  <a:lnTo>
                    <a:pt x="46" y="14"/>
                  </a:lnTo>
                  <a:lnTo>
                    <a:pt x="42" y="14"/>
                  </a:lnTo>
                  <a:lnTo>
                    <a:pt x="40" y="16"/>
                  </a:lnTo>
                  <a:lnTo>
                    <a:pt x="34" y="26"/>
                  </a:lnTo>
                  <a:lnTo>
                    <a:pt x="26" y="40"/>
                  </a:lnTo>
                  <a:lnTo>
                    <a:pt x="16" y="54"/>
                  </a:lnTo>
                  <a:lnTo>
                    <a:pt x="12" y="58"/>
                  </a:lnTo>
                  <a:lnTo>
                    <a:pt x="4" y="66"/>
                  </a:lnTo>
                  <a:lnTo>
                    <a:pt x="2" y="70"/>
                  </a:lnTo>
                  <a:lnTo>
                    <a:pt x="0" y="76"/>
                  </a:lnTo>
                  <a:lnTo>
                    <a:pt x="0" y="88"/>
                  </a:lnTo>
                  <a:lnTo>
                    <a:pt x="2" y="102"/>
                  </a:lnTo>
                  <a:lnTo>
                    <a:pt x="2" y="116"/>
                  </a:lnTo>
                  <a:lnTo>
                    <a:pt x="8" y="118"/>
                  </a:lnTo>
                  <a:lnTo>
                    <a:pt x="12" y="118"/>
                  </a:lnTo>
                  <a:lnTo>
                    <a:pt x="18" y="116"/>
                  </a:lnTo>
                  <a:lnTo>
                    <a:pt x="26" y="116"/>
                  </a:lnTo>
                  <a:lnTo>
                    <a:pt x="36" y="114"/>
                  </a:lnTo>
                  <a:lnTo>
                    <a:pt x="46" y="112"/>
                  </a:lnTo>
                  <a:lnTo>
                    <a:pt x="52" y="110"/>
                  </a:lnTo>
                  <a:lnTo>
                    <a:pt x="58" y="110"/>
                  </a:lnTo>
                  <a:lnTo>
                    <a:pt x="64" y="112"/>
                  </a:lnTo>
                  <a:lnTo>
                    <a:pt x="66" y="114"/>
                  </a:lnTo>
                  <a:lnTo>
                    <a:pt x="70" y="114"/>
                  </a:lnTo>
                  <a:lnTo>
                    <a:pt x="76" y="114"/>
                  </a:lnTo>
                  <a:lnTo>
                    <a:pt x="84" y="102"/>
                  </a:lnTo>
                  <a:lnTo>
                    <a:pt x="92" y="90"/>
                  </a:lnTo>
                  <a:lnTo>
                    <a:pt x="98" y="8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84" name="Google Shape;4551;p64">
              <a:extLst>
                <a:ext uri="{FF2B5EF4-FFF2-40B4-BE49-F238E27FC236}">
                  <a16:creationId xmlns:a16="http://schemas.microsoft.com/office/drawing/2014/main" id="{3F66C5A3-89BA-DAB3-CAA6-19D39F38D860}"/>
                </a:ext>
              </a:extLst>
            </p:cNvPr>
            <p:cNvCxnSpPr/>
            <p:nvPr/>
          </p:nvCxnSpPr>
          <p:spPr>
            <a:xfrm>
              <a:off x="5455620" y="4740706"/>
              <a:ext cx="0" cy="0"/>
            </a:xfrm>
            <a:prstGeom prst="straightConnector1">
              <a:avLst/>
            </a:prstGeom>
            <a:grpFill/>
            <a:ln w="9525" cap="flat" cmpd="sng">
              <a:solidFill>
                <a:schemeClr val="bg2"/>
              </a:solidFill>
              <a:prstDash val="solid"/>
              <a:round/>
              <a:headEnd type="none" w="med" len="med"/>
              <a:tailEnd type="none" w="med" len="med"/>
            </a:ln>
          </p:spPr>
        </p:cxnSp>
        <p:cxnSp>
          <p:nvCxnSpPr>
            <p:cNvPr id="85" name="Google Shape;4552;p64">
              <a:extLst>
                <a:ext uri="{FF2B5EF4-FFF2-40B4-BE49-F238E27FC236}">
                  <a16:creationId xmlns:a16="http://schemas.microsoft.com/office/drawing/2014/main" id="{F45BEBF1-5D0C-326F-AC9F-6BD01016719A}"/>
                </a:ext>
              </a:extLst>
            </p:cNvPr>
            <p:cNvCxnSpPr/>
            <p:nvPr/>
          </p:nvCxnSpPr>
          <p:spPr>
            <a:xfrm>
              <a:off x="5455620" y="4740706"/>
              <a:ext cx="0" cy="0"/>
            </a:xfrm>
            <a:prstGeom prst="straightConnector1">
              <a:avLst/>
            </a:prstGeom>
            <a:grpFill/>
            <a:ln w="9525" cap="flat" cmpd="sng">
              <a:solidFill>
                <a:schemeClr val="bg2"/>
              </a:solidFill>
              <a:prstDash val="solid"/>
              <a:round/>
              <a:headEnd type="none" w="med" len="med"/>
              <a:tailEnd type="none" w="med" len="med"/>
            </a:ln>
          </p:spPr>
        </p:cxnSp>
        <p:sp>
          <p:nvSpPr>
            <p:cNvPr id="86" name="Google Shape;4553;p64">
              <a:extLst>
                <a:ext uri="{FF2B5EF4-FFF2-40B4-BE49-F238E27FC236}">
                  <a16:creationId xmlns:a16="http://schemas.microsoft.com/office/drawing/2014/main" id="{9268D5EA-F69C-FE86-688A-858F30AECC60}"/>
                </a:ext>
              </a:extLst>
            </p:cNvPr>
            <p:cNvSpPr/>
            <p:nvPr/>
          </p:nvSpPr>
          <p:spPr>
            <a:xfrm>
              <a:off x="3202493" y="4648822"/>
              <a:ext cx="4594" cy="9188"/>
            </a:xfrm>
            <a:custGeom>
              <a:avLst/>
              <a:gdLst/>
              <a:ahLst/>
              <a:cxnLst/>
              <a:rect l="l" t="t" r="r" b="b"/>
              <a:pathLst>
                <a:path w="14" h="28" extrusionOk="0">
                  <a:moveTo>
                    <a:pt x="12" y="26"/>
                  </a:moveTo>
                  <a:lnTo>
                    <a:pt x="14" y="18"/>
                  </a:lnTo>
                  <a:lnTo>
                    <a:pt x="12" y="8"/>
                  </a:lnTo>
                  <a:lnTo>
                    <a:pt x="10" y="4"/>
                  </a:lnTo>
                  <a:lnTo>
                    <a:pt x="0" y="0"/>
                  </a:lnTo>
                  <a:lnTo>
                    <a:pt x="0" y="2"/>
                  </a:lnTo>
                  <a:lnTo>
                    <a:pt x="0" y="8"/>
                  </a:lnTo>
                  <a:lnTo>
                    <a:pt x="4" y="16"/>
                  </a:lnTo>
                  <a:lnTo>
                    <a:pt x="6" y="28"/>
                  </a:lnTo>
                  <a:lnTo>
                    <a:pt x="12"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87" name="Google Shape;4554;p64">
              <a:extLst>
                <a:ext uri="{FF2B5EF4-FFF2-40B4-BE49-F238E27FC236}">
                  <a16:creationId xmlns:a16="http://schemas.microsoft.com/office/drawing/2014/main" id="{07298FBA-0360-A996-B0EC-C666A9A89748}"/>
                </a:ext>
              </a:extLst>
            </p:cNvPr>
            <p:cNvCxnSpPr/>
            <p:nvPr/>
          </p:nvCxnSpPr>
          <p:spPr>
            <a:xfrm>
              <a:off x="3206430" y="4657355"/>
              <a:ext cx="0" cy="0"/>
            </a:xfrm>
            <a:prstGeom prst="straightConnector1">
              <a:avLst/>
            </a:prstGeom>
            <a:grpFill/>
            <a:ln w="9525" cap="flat" cmpd="sng">
              <a:solidFill>
                <a:schemeClr val="bg2"/>
              </a:solidFill>
              <a:prstDash val="solid"/>
              <a:round/>
              <a:headEnd type="none" w="med" len="med"/>
              <a:tailEnd type="none" w="med" len="med"/>
            </a:ln>
          </p:spPr>
        </p:cxnSp>
        <p:cxnSp>
          <p:nvCxnSpPr>
            <p:cNvPr id="88" name="Google Shape;4555;p64">
              <a:extLst>
                <a:ext uri="{FF2B5EF4-FFF2-40B4-BE49-F238E27FC236}">
                  <a16:creationId xmlns:a16="http://schemas.microsoft.com/office/drawing/2014/main" id="{92FE9F48-55E3-A9D2-265C-9010F82CF672}"/>
                </a:ext>
              </a:extLst>
            </p:cNvPr>
            <p:cNvCxnSpPr/>
            <p:nvPr/>
          </p:nvCxnSpPr>
          <p:spPr>
            <a:xfrm>
              <a:off x="3206430" y="4657355"/>
              <a:ext cx="0" cy="0"/>
            </a:xfrm>
            <a:prstGeom prst="straightConnector1">
              <a:avLst/>
            </a:prstGeom>
            <a:grpFill/>
            <a:ln w="9525" cap="flat" cmpd="sng">
              <a:solidFill>
                <a:schemeClr val="bg2"/>
              </a:solidFill>
              <a:prstDash val="solid"/>
              <a:round/>
              <a:headEnd type="none" w="med" len="med"/>
              <a:tailEnd type="none" w="med" len="med"/>
            </a:ln>
          </p:spPr>
        </p:cxnSp>
        <p:sp>
          <p:nvSpPr>
            <p:cNvPr id="89" name="Google Shape;4556;p64">
              <a:extLst>
                <a:ext uri="{FF2B5EF4-FFF2-40B4-BE49-F238E27FC236}">
                  <a16:creationId xmlns:a16="http://schemas.microsoft.com/office/drawing/2014/main" id="{1B7C0093-A47D-889D-AE76-0A86BB4BA809}"/>
                </a:ext>
              </a:extLst>
            </p:cNvPr>
            <p:cNvSpPr/>
            <p:nvPr/>
          </p:nvSpPr>
          <p:spPr>
            <a:xfrm>
              <a:off x="4699547" y="3460237"/>
              <a:ext cx="150952" cy="120762"/>
            </a:xfrm>
            <a:custGeom>
              <a:avLst/>
              <a:gdLst/>
              <a:ahLst/>
              <a:cxnLst/>
              <a:rect l="l" t="t" r="r" b="b"/>
              <a:pathLst>
                <a:path w="1095980" h="876784" extrusionOk="0">
                  <a:moveTo>
                    <a:pt x="490806" y="786246"/>
                  </a:moveTo>
                  <a:lnTo>
                    <a:pt x="505102" y="805306"/>
                  </a:lnTo>
                  <a:lnTo>
                    <a:pt x="533692" y="819602"/>
                  </a:lnTo>
                  <a:lnTo>
                    <a:pt x="552754" y="819602"/>
                  </a:lnTo>
                  <a:lnTo>
                    <a:pt x="567048" y="824367"/>
                  </a:lnTo>
                  <a:lnTo>
                    <a:pt x="571814" y="838662"/>
                  </a:lnTo>
                  <a:lnTo>
                    <a:pt x="571814" y="862488"/>
                  </a:lnTo>
                  <a:lnTo>
                    <a:pt x="557518" y="867252"/>
                  </a:lnTo>
                  <a:lnTo>
                    <a:pt x="543224" y="867252"/>
                  </a:lnTo>
                  <a:lnTo>
                    <a:pt x="524162" y="876784"/>
                  </a:lnTo>
                  <a:lnTo>
                    <a:pt x="457452" y="833897"/>
                  </a:lnTo>
                  <a:lnTo>
                    <a:pt x="457452" y="805306"/>
                  </a:lnTo>
                  <a:lnTo>
                    <a:pt x="457452" y="791011"/>
                  </a:lnTo>
                  <a:close/>
                  <a:moveTo>
                    <a:pt x="324028" y="786246"/>
                  </a:moveTo>
                  <a:lnTo>
                    <a:pt x="338324" y="786246"/>
                  </a:lnTo>
                  <a:lnTo>
                    <a:pt x="347854" y="800541"/>
                  </a:lnTo>
                  <a:lnTo>
                    <a:pt x="357384" y="800541"/>
                  </a:lnTo>
                  <a:lnTo>
                    <a:pt x="371680" y="814837"/>
                  </a:lnTo>
                  <a:lnTo>
                    <a:pt x="357384" y="819602"/>
                  </a:lnTo>
                  <a:lnTo>
                    <a:pt x="347854" y="814837"/>
                  </a:lnTo>
                  <a:lnTo>
                    <a:pt x="328794" y="791011"/>
                  </a:lnTo>
                  <a:close/>
                  <a:moveTo>
                    <a:pt x="648056" y="757655"/>
                  </a:moveTo>
                  <a:lnTo>
                    <a:pt x="657588" y="762420"/>
                  </a:lnTo>
                  <a:lnTo>
                    <a:pt x="671882" y="767185"/>
                  </a:lnTo>
                  <a:lnTo>
                    <a:pt x="681412" y="767185"/>
                  </a:lnTo>
                  <a:lnTo>
                    <a:pt x="686178" y="776715"/>
                  </a:lnTo>
                  <a:lnTo>
                    <a:pt x="690944" y="781480"/>
                  </a:lnTo>
                  <a:lnTo>
                    <a:pt x="686178" y="786246"/>
                  </a:lnTo>
                  <a:lnTo>
                    <a:pt x="662352" y="786246"/>
                  </a:lnTo>
                  <a:lnTo>
                    <a:pt x="633762" y="805306"/>
                  </a:lnTo>
                  <a:lnTo>
                    <a:pt x="624232" y="795776"/>
                  </a:lnTo>
                  <a:lnTo>
                    <a:pt x="628996" y="786246"/>
                  </a:lnTo>
                  <a:lnTo>
                    <a:pt x="633762" y="781480"/>
                  </a:lnTo>
                  <a:lnTo>
                    <a:pt x="643292" y="776715"/>
                  </a:lnTo>
                  <a:lnTo>
                    <a:pt x="648056" y="767185"/>
                  </a:lnTo>
                  <a:close/>
                  <a:moveTo>
                    <a:pt x="257316" y="757655"/>
                  </a:moveTo>
                  <a:lnTo>
                    <a:pt x="262082" y="757655"/>
                  </a:lnTo>
                  <a:lnTo>
                    <a:pt x="266846" y="757655"/>
                  </a:lnTo>
                  <a:lnTo>
                    <a:pt x="295436" y="776715"/>
                  </a:lnTo>
                  <a:lnTo>
                    <a:pt x="304968" y="800541"/>
                  </a:lnTo>
                  <a:lnTo>
                    <a:pt x="304968" y="805306"/>
                  </a:lnTo>
                  <a:lnTo>
                    <a:pt x="285906" y="810071"/>
                  </a:lnTo>
                  <a:lnTo>
                    <a:pt x="281142" y="800541"/>
                  </a:lnTo>
                  <a:lnTo>
                    <a:pt x="262082" y="800541"/>
                  </a:lnTo>
                  <a:close/>
                  <a:moveTo>
                    <a:pt x="438390" y="729064"/>
                  </a:moveTo>
                  <a:lnTo>
                    <a:pt x="443156" y="733829"/>
                  </a:lnTo>
                  <a:lnTo>
                    <a:pt x="438390" y="757655"/>
                  </a:lnTo>
                  <a:lnTo>
                    <a:pt x="414566" y="829132"/>
                  </a:lnTo>
                  <a:lnTo>
                    <a:pt x="409800" y="843428"/>
                  </a:lnTo>
                  <a:lnTo>
                    <a:pt x="400270" y="843428"/>
                  </a:lnTo>
                  <a:lnTo>
                    <a:pt x="390740" y="819601"/>
                  </a:lnTo>
                  <a:lnTo>
                    <a:pt x="390740" y="814836"/>
                  </a:lnTo>
                  <a:lnTo>
                    <a:pt x="400270" y="800541"/>
                  </a:lnTo>
                  <a:lnTo>
                    <a:pt x="409800" y="786246"/>
                  </a:lnTo>
                  <a:lnTo>
                    <a:pt x="428860" y="762420"/>
                  </a:lnTo>
                  <a:close/>
                  <a:moveTo>
                    <a:pt x="1038798" y="690943"/>
                  </a:moveTo>
                  <a:lnTo>
                    <a:pt x="1095980" y="733829"/>
                  </a:lnTo>
                  <a:lnTo>
                    <a:pt x="1095980" y="748124"/>
                  </a:lnTo>
                  <a:lnTo>
                    <a:pt x="1091214" y="767185"/>
                  </a:lnTo>
                  <a:lnTo>
                    <a:pt x="1081684" y="771950"/>
                  </a:lnTo>
                  <a:lnTo>
                    <a:pt x="1057858" y="767185"/>
                  </a:lnTo>
                  <a:lnTo>
                    <a:pt x="1024502" y="748124"/>
                  </a:lnTo>
                  <a:lnTo>
                    <a:pt x="1029268" y="710003"/>
                  </a:lnTo>
                  <a:close/>
                  <a:moveTo>
                    <a:pt x="338322" y="605171"/>
                  </a:moveTo>
                  <a:lnTo>
                    <a:pt x="347852" y="609936"/>
                  </a:lnTo>
                  <a:lnTo>
                    <a:pt x="362148" y="619466"/>
                  </a:lnTo>
                  <a:lnTo>
                    <a:pt x="371678" y="619466"/>
                  </a:lnTo>
                  <a:lnTo>
                    <a:pt x="390740" y="605171"/>
                  </a:lnTo>
                  <a:lnTo>
                    <a:pt x="395504" y="605171"/>
                  </a:lnTo>
                  <a:lnTo>
                    <a:pt x="400270" y="619466"/>
                  </a:lnTo>
                  <a:lnTo>
                    <a:pt x="409800" y="652822"/>
                  </a:lnTo>
                  <a:lnTo>
                    <a:pt x="424096" y="686178"/>
                  </a:lnTo>
                  <a:lnTo>
                    <a:pt x="419330" y="700473"/>
                  </a:lnTo>
                  <a:lnTo>
                    <a:pt x="419330" y="719534"/>
                  </a:lnTo>
                  <a:lnTo>
                    <a:pt x="419330" y="738594"/>
                  </a:lnTo>
                  <a:lnTo>
                    <a:pt x="390740" y="762420"/>
                  </a:lnTo>
                  <a:lnTo>
                    <a:pt x="362148" y="762420"/>
                  </a:lnTo>
                  <a:lnTo>
                    <a:pt x="333558" y="748125"/>
                  </a:lnTo>
                  <a:lnTo>
                    <a:pt x="290672" y="729064"/>
                  </a:lnTo>
                  <a:lnTo>
                    <a:pt x="290672" y="719534"/>
                  </a:lnTo>
                  <a:lnTo>
                    <a:pt x="281142" y="710004"/>
                  </a:lnTo>
                  <a:lnTo>
                    <a:pt x="271612" y="676648"/>
                  </a:lnTo>
                  <a:lnTo>
                    <a:pt x="271612" y="633762"/>
                  </a:lnTo>
                  <a:lnTo>
                    <a:pt x="295436" y="628997"/>
                  </a:lnTo>
                  <a:close/>
                  <a:moveTo>
                    <a:pt x="700472" y="586110"/>
                  </a:moveTo>
                  <a:lnTo>
                    <a:pt x="705238" y="586110"/>
                  </a:lnTo>
                  <a:lnTo>
                    <a:pt x="710004" y="595640"/>
                  </a:lnTo>
                  <a:lnTo>
                    <a:pt x="710004" y="609936"/>
                  </a:lnTo>
                  <a:lnTo>
                    <a:pt x="695708" y="624231"/>
                  </a:lnTo>
                  <a:lnTo>
                    <a:pt x="690942" y="624231"/>
                  </a:lnTo>
                  <a:lnTo>
                    <a:pt x="686176" y="605170"/>
                  </a:lnTo>
                  <a:lnTo>
                    <a:pt x="695708" y="595640"/>
                  </a:lnTo>
                  <a:close/>
                  <a:moveTo>
                    <a:pt x="381210" y="500338"/>
                  </a:moveTo>
                  <a:lnTo>
                    <a:pt x="395504" y="524164"/>
                  </a:lnTo>
                  <a:lnTo>
                    <a:pt x="400270" y="533694"/>
                  </a:lnTo>
                  <a:lnTo>
                    <a:pt x="390740" y="543224"/>
                  </a:lnTo>
                  <a:lnTo>
                    <a:pt x="390740" y="557520"/>
                  </a:lnTo>
                  <a:lnTo>
                    <a:pt x="385974" y="562285"/>
                  </a:lnTo>
                  <a:lnTo>
                    <a:pt x="376444" y="557520"/>
                  </a:lnTo>
                  <a:lnTo>
                    <a:pt x="376444" y="543224"/>
                  </a:lnTo>
                  <a:lnTo>
                    <a:pt x="381210" y="524164"/>
                  </a:lnTo>
                  <a:lnTo>
                    <a:pt x="376444" y="509868"/>
                  </a:lnTo>
                  <a:close/>
                  <a:moveTo>
                    <a:pt x="643292" y="466982"/>
                  </a:moveTo>
                  <a:lnTo>
                    <a:pt x="657586" y="466982"/>
                  </a:lnTo>
                  <a:lnTo>
                    <a:pt x="671882" y="466982"/>
                  </a:lnTo>
                  <a:lnTo>
                    <a:pt x="690942" y="476512"/>
                  </a:lnTo>
                  <a:lnTo>
                    <a:pt x="695708" y="481277"/>
                  </a:lnTo>
                  <a:lnTo>
                    <a:pt x="700472" y="490808"/>
                  </a:lnTo>
                  <a:lnTo>
                    <a:pt x="690942" y="509868"/>
                  </a:lnTo>
                  <a:lnTo>
                    <a:pt x="690942" y="519398"/>
                  </a:lnTo>
                  <a:lnTo>
                    <a:pt x="695708" y="557519"/>
                  </a:lnTo>
                  <a:lnTo>
                    <a:pt x="695708" y="586110"/>
                  </a:lnTo>
                  <a:lnTo>
                    <a:pt x="690942" y="595640"/>
                  </a:lnTo>
                  <a:lnTo>
                    <a:pt x="686178" y="600406"/>
                  </a:lnTo>
                  <a:lnTo>
                    <a:pt x="671882" y="605171"/>
                  </a:lnTo>
                  <a:lnTo>
                    <a:pt x="657586" y="614701"/>
                  </a:lnTo>
                  <a:lnTo>
                    <a:pt x="643292" y="628996"/>
                  </a:lnTo>
                  <a:lnTo>
                    <a:pt x="643292" y="648057"/>
                  </a:lnTo>
                  <a:lnTo>
                    <a:pt x="648056" y="662352"/>
                  </a:lnTo>
                  <a:lnTo>
                    <a:pt x="667118" y="667117"/>
                  </a:lnTo>
                  <a:lnTo>
                    <a:pt x="671882" y="695708"/>
                  </a:lnTo>
                  <a:lnTo>
                    <a:pt x="657586" y="710004"/>
                  </a:lnTo>
                  <a:lnTo>
                    <a:pt x="619466" y="724299"/>
                  </a:lnTo>
                  <a:lnTo>
                    <a:pt x="614700" y="757655"/>
                  </a:lnTo>
                  <a:lnTo>
                    <a:pt x="619466" y="781480"/>
                  </a:lnTo>
                  <a:lnTo>
                    <a:pt x="619466" y="800541"/>
                  </a:lnTo>
                  <a:lnTo>
                    <a:pt x="614700" y="824367"/>
                  </a:lnTo>
                  <a:lnTo>
                    <a:pt x="586110" y="838662"/>
                  </a:lnTo>
                  <a:lnTo>
                    <a:pt x="567050" y="795776"/>
                  </a:lnTo>
                  <a:lnTo>
                    <a:pt x="567050" y="781480"/>
                  </a:lnTo>
                  <a:lnTo>
                    <a:pt x="562284" y="762420"/>
                  </a:lnTo>
                  <a:lnTo>
                    <a:pt x="557520" y="748125"/>
                  </a:lnTo>
                  <a:lnTo>
                    <a:pt x="552754" y="724299"/>
                  </a:lnTo>
                  <a:lnTo>
                    <a:pt x="524164" y="714769"/>
                  </a:lnTo>
                  <a:lnTo>
                    <a:pt x="514632" y="714769"/>
                  </a:lnTo>
                  <a:lnTo>
                    <a:pt x="500338" y="719534"/>
                  </a:lnTo>
                  <a:lnTo>
                    <a:pt x="495572" y="719534"/>
                  </a:lnTo>
                  <a:lnTo>
                    <a:pt x="476512" y="686178"/>
                  </a:lnTo>
                  <a:lnTo>
                    <a:pt x="481276" y="648057"/>
                  </a:lnTo>
                  <a:lnTo>
                    <a:pt x="471746" y="628996"/>
                  </a:lnTo>
                  <a:lnTo>
                    <a:pt x="471746" y="619466"/>
                  </a:lnTo>
                  <a:lnTo>
                    <a:pt x="471746" y="609936"/>
                  </a:lnTo>
                  <a:lnTo>
                    <a:pt x="462216" y="600406"/>
                  </a:lnTo>
                  <a:lnTo>
                    <a:pt x="452686" y="595640"/>
                  </a:lnTo>
                  <a:lnTo>
                    <a:pt x="447920" y="576580"/>
                  </a:lnTo>
                  <a:lnTo>
                    <a:pt x="457452" y="571815"/>
                  </a:lnTo>
                  <a:lnTo>
                    <a:pt x="486042" y="571815"/>
                  </a:lnTo>
                  <a:lnTo>
                    <a:pt x="495572" y="571815"/>
                  </a:lnTo>
                  <a:lnTo>
                    <a:pt x="500338" y="567050"/>
                  </a:lnTo>
                  <a:lnTo>
                    <a:pt x="524164" y="533694"/>
                  </a:lnTo>
                  <a:lnTo>
                    <a:pt x="524164" y="524164"/>
                  </a:lnTo>
                  <a:lnTo>
                    <a:pt x="524164" y="514633"/>
                  </a:lnTo>
                  <a:lnTo>
                    <a:pt x="547988" y="509868"/>
                  </a:lnTo>
                  <a:lnTo>
                    <a:pt x="557520" y="524164"/>
                  </a:lnTo>
                  <a:lnTo>
                    <a:pt x="557520" y="547989"/>
                  </a:lnTo>
                  <a:lnTo>
                    <a:pt x="557520" y="571815"/>
                  </a:lnTo>
                  <a:lnTo>
                    <a:pt x="571814" y="581345"/>
                  </a:lnTo>
                  <a:lnTo>
                    <a:pt x="576580" y="581345"/>
                  </a:lnTo>
                  <a:lnTo>
                    <a:pt x="586110" y="562285"/>
                  </a:lnTo>
                  <a:lnTo>
                    <a:pt x="590874" y="552754"/>
                  </a:lnTo>
                  <a:lnTo>
                    <a:pt x="595640" y="547989"/>
                  </a:lnTo>
                  <a:lnTo>
                    <a:pt x="595640" y="528929"/>
                  </a:lnTo>
                  <a:lnTo>
                    <a:pt x="595640" y="514633"/>
                  </a:lnTo>
                  <a:lnTo>
                    <a:pt x="586110" y="509868"/>
                  </a:lnTo>
                  <a:lnTo>
                    <a:pt x="614700" y="486043"/>
                  </a:lnTo>
                  <a:close/>
                  <a:moveTo>
                    <a:pt x="462216" y="119128"/>
                  </a:moveTo>
                  <a:lnTo>
                    <a:pt x="476512" y="123893"/>
                  </a:lnTo>
                  <a:lnTo>
                    <a:pt x="462216" y="138189"/>
                  </a:lnTo>
                  <a:lnTo>
                    <a:pt x="457452" y="142954"/>
                  </a:lnTo>
                  <a:lnTo>
                    <a:pt x="452686" y="147719"/>
                  </a:lnTo>
                  <a:lnTo>
                    <a:pt x="428860" y="138189"/>
                  </a:lnTo>
                  <a:lnTo>
                    <a:pt x="438392" y="128658"/>
                  </a:lnTo>
                  <a:close/>
                  <a:moveTo>
                    <a:pt x="390740" y="0"/>
                  </a:moveTo>
                  <a:lnTo>
                    <a:pt x="371680" y="28591"/>
                  </a:lnTo>
                  <a:lnTo>
                    <a:pt x="366914" y="38121"/>
                  </a:lnTo>
                  <a:lnTo>
                    <a:pt x="362148" y="52416"/>
                  </a:lnTo>
                  <a:lnTo>
                    <a:pt x="376444" y="85772"/>
                  </a:lnTo>
                  <a:lnTo>
                    <a:pt x="376444" y="104833"/>
                  </a:lnTo>
                  <a:lnTo>
                    <a:pt x="376444" y="147719"/>
                  </a:lnTo>
                  <a:lnTo>
                    <a:pt x="362148" y="166779"/>
                  </a:lnTo>
                  <a:lnTo>
                    <a:pt x="347854" y="209666"/>
                  </a:lnTo>
                  <a:lnTo>
                    <a:pt x="343088" y="214431"/>
                  </a:lnTo>
                  <a:lnTo>
                    <a:pt x="338324" y="266847"/>
                  </a:lnTo>
                  <a:lnTo>
                    <a:pt x="343088" y="276377"/>
                  </a:lnTo>
                  <a:lnTo>
                    <a:pt x="338324" y="324029"/>
                  </a:lnTo>
                  <a:lnTo>
                    <a:pt x="352618" y="343089"/>
                  </a:lnTo>
                  <a:lnTo>
                    <a:pt x="371680" y="352619"/>
                  </a:lnTo>
                  <a:lnTo>
                    <a:pt x="428860" y="352619"/>
                  </a:lnTo>
                  <a:lnTo>
                    <a:pt x="433626" y="362150"/>
                  </a:lnTo>
                  <a:lnTo>
                    <a:pt x="438392" y="371680"/>
                  </a:lnTo>
                  <a:lnTo>
                    <a:pt x="433626" y="395506"/>
                  </a:lnTo>
                  <a:lnTo>
                    <a:pt x="428860" y="414566"/>
                  </a:lnTo>
                  <a:lnTo>
                    <a:pt x="414566" y="428861"/>
                  </a:lnTo>
                  <a:lnTo>
                    <a:pt x="390740" y="443157"/>
                  </a:lnTo>
                  <a:lnTo>
                    <a:pt x="376444" y="443157"/>
                  </a:lnTo>
                  <a:lnTo>
                    <a:pt x="362148" y="419331"/>
                  </a:lnTo>
                  <a:lnTo>
                    <a:pt x="352618" y="428861"/>
                  </a:lnTo>
                  <a:lnTo>
                    <a:pt x="343088" y="438392"/>
                  </a:lnTo>
                  <a:lnTo>
                    <a:pt x="328792" y="495573"/>
                  </a:lnTo>
                  <a:lnTo>
                    <a:pt x="324028" y="533694"/>
                  </a:lnTo>
                  <a:lnTo>
                    <a:pt x="319262" y="538459"/>
                  </a:lnTo>
                  <a:lnTo>
                    <a:pt x="309732" y="533694"/>
                  </a:lnTo>
                  <a:lnTo>
                    <a:pt x="295438" y="533694"/>
                  </a:lnTo>
                  <a:lnTo>
                    <a:pt x="281142" y="543224"/>
                  </a:lnTo>
                  <a:lnTo>
                    <a:pt x="290672" y="552755"/>
                  </a:lnTo>
                  <a:lnTo>
                    <a:pt x="300202" y="567050"/>
                  </a:lnTo>
                  <a:lnTo>
                    <a:pt x="295438" y="571815"/>
                  </a:lnTo>
                  <a:lnTo>
                    <a:pt x="281142" y="581345"/>
                  </a:lnTo>
                  <a:lnTo>
                    <a:pt x="266846" y="595641"/>
                  </a:lnTo>
                  <a:lnTo>
                    <a:pt x="257316" y="605171"/>
                  </a:lnTo>
                  <a:lnTo>
                    <a:pt x="243020" y="619466"/>
                  </a:lnTo>
                  <a:lnTo>
                    <a:pt x="228726" y="638527"/>
                  </a:lnTo>
                  <a:lnTo>
                    <a:pt x="238256" y="662353"/>
                  </a:lnTo>
                  <a:lnTo>
                    <a:pt x="238256" y="681413"/>
                  </a:lnTo>
                  <a:lnTo>
                    <a:pt x="243020" y="700474"/>
                  </a:lnTo>
                  <a:lnTo>
                    <a:pt x="238256" y="719534"/>
                  </a:lnTo>
                  <a:lnTo>
                    <a:pt x="219196" y="743360"/>
                  </a:lnTo>
                  <a:lnTo>
                    <a:pt x="209664" y="762420"/>
                  </a:lnTo>
                  <a:lnTo>
                    <a:pt x="228726" y="762420"/>
                  </a:lnTo>
                  <a:lnTo>
                    <a:pt x="238256" y="767185"/>
                  </a:lnTo>
                  <a:lnTo>
                    <a:pt x="247786" y="776716"/>
                  </a:lnTo>
                  <a:lnTo>
                    <a:pt x="252550" y="781481"/>
                  </a:lnTo>
                  <a:lnTo>
                    <a:pt x="247786" y="795776"/>
                  </a:lnTo>
                  <a:lnTo>
                    <a:pt x="252550" y="819602"/>
                  </a:lnTo>
                  <a:lnTo>
                    <a:pt x="243020" y="819602"/>
                  </a:lnTo>
                  <a:lnTo>
                    <a:pt x="233490" y="814837"/>
                  </a:lnTo>
                  <a:lnTo>
                    <a:pt x="214430" y="819602"/>
                  </a:lnTo>
                  <a:lnTo>
                    <a:pt x="190604" y="829132"/>
                  </a:lnTo>
                  <a:lnTo>
                    <a:pt x="176308" y="824367"/>
                  </a:lnTo>
                  <a:lnTo>
                    <a:pt x="166778" y="814837"/>
                  </a:lnTo>
                  <a:lnTo>
                    <a:pt x="123892" y="800541"/>
                  </a:lnTo>
                  <a:lnTo>
                    <a:pt x="114362" y="800541"/>
                  </a:lnTo>
                  <a:lnTo>
                    <a:pt x="85772" y="800541"/>
                  </a:lnTo>
                  <a:lnTo>
                    <a:pt x="85772" y="776716"/>
                  </a:lnTo>
                  <a:lnTo>
                    <a:pt x="81006" y="762420"/>
                  </a:lnTo>
                  <a:lnTo>
                    <a:pt x="71476" y="738595"/>
                  </a:lnTo>
                  <a:lnTo>
                    <a:pt x="85772" y="733830"/>
                  </a:lnTo>
                  <a:lnTo>
                    <a:pt x="85772" y="686178"/>
                  </a:lnTo>
                  <a:lnTo>
                    <a:pt x="76242" y="662353"/>
                  </a:lnTo>
                  <a:lnTo>
                    <a:pt x="38120" y="633762"/>
                  </a:lnTo>
                  <a:lnTo>
                    <a:pt x="4764" y="609936"/>
                  </a:lnTo>
                  <a:lnTo>
                    <a:pt x="9530" y="524164"/>
                  </a:lnTo>
                  <a:lnTo>
                    <a:pt x="14294" y="505103"/>
                  </a:lnTo>
                  <a:lnTo>
                    <a:pt x="0" y="462217"/>
                  </a:lnTo>
                  <a:lnTo>
                    <a:pt x="4764" y="409801"/>
                  </a:lnTo>
                  <a:lnTo>
                    <a:pt x="9530" y="328794"/>
                  </a:lnTo>
                  <a:lnTo>
                    <a:pt x="19060" y="324029"/>
                  </a:lnTo>
                  <a:lnTo>
                    <a:pt x="23824" y="324029"/>
                  </a:lnTo>
                  <a:lnTo>
                    <a:pt x="57180" y="338324"/>
                  </a:lnTo>
                  <a:lnTo>
                    <a:pt x="66710" y="343089"/>
                  </a:lnTo>
                  <a:lnTo>
                    <a:pt x="76242" y="352619"/>
                  </a:lnTo>
                  <a:lnTo>
                    <a:pt x="85772" y="357384"/>
                  </a:lnTo>
                  <a:lnTo>
                    <a:pt x="95302" y="347854"/>
                  </a:lnTo>
                  <a:lnTo>
                    <a:pt x="95302" y="319263"/>
                  </a:lnTo>
                  <a:lnTo>
                    <a:pt x="119128" y="290673"/>
                  </a:lnTo>
                  <a:lnTo>
                    <a:pt x="138188" y="281142"/>
                  </a:lnTo>
                  <a:lnTo>
                    <a:pt x="147718" y="276377"/>
                  </a:lnTo>
                  <a:lnTo>
                    <a:pt x="162014" y="285908"/>
                  </a:lnTo>
                  <a:lnTo>
                    <a:pt x="166778" y="300203"/>
                  </a:lnTo>
                  <a:lnTo>
                    <a:pt x="171544" y="271612"/>
                  </a:lnTo>
                  <a:lnTo>
                    <a:pt x="176308" y="214431"/>
                  </a:lnTo>
                  <a:lnTo>
                    <a:pt x="157248" y="204900"/>
                  </a:lnTo>
                  <a:lnTo>
                    <a:pt x="138188" y="209666"/>
                  </a:lnTo>
                  <a:lnTo>
                    <a:pt x="119128" y="247787"/>
                  </a:lnTo>
                  <a:lnTo>
                    <a:pt x="104832" y="295438"/>
                  </a:lnTo>
                  <a:lnTo>
                    <a:pt x="76242" y="300203"/>
                  </a:lnTo>
                  <a:lnTo>
                    <a:pt x="57180" y="309733"/>
                  </a:lnTo>
                  <a:lnTo>
                    <a:pt x="38120" y="295438"/>
                  </a:lnTo>
                  <a:lnTo>
                    <a:pt x="23824" y="285908"/>
                  </a:lnTo>
                  <a:lnTo>
                    <a:pt x="23824" y="266847"/>
                  </a:lnTo>
                  <a:lnTo>
                    <a:pt x="28590" y="257317"/>
                  </a:lnTo>
                  <a:lnTo>
                    <a:pt x="47650" y="219196"/>
                  </a:lnTo>
                  <a:lnTo>
                    <a:pt x="81006" y="181075"/>
                  </a:lnTo>
                  <a:lnTo>
                    <a:pt x="109596" y="185840"/>
                  </a:lnTo>
                  <a:lnTo>
                    <a:pt x="128658" y="171545"/>
                  </a:lnTo>
                  <a:lnTo>
                    <a:pt x="142952" y="171545"/>
                  </a:lnTo>
                  <a:lnTo>
                    <a:pt x="185840" y="171545"/>
                  </a:lnTo>
                  <a:lnTo>
                    <a:pt x="204900" y="166779"/>
                  </a:lnTo>
                  <a:lnTo>
                    <a:pt x="223960" y="147719"/>
                  </a:lnTo>
                  <a:lnTo>
                    <a:pt x="266846" y="76242"/>
                  </a:lnTo>
                  <a:lnTo>
                    <a:pt x="290672" y="47651"/>
                  </a:lnTo>
                  <a:lnTo>
                    <a:pt x="333558" y="38121"/>
                  </a:lnTo>
                  <a:lnTo>
                    <a:pt x="376444" y="476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0" name="Google Shape;4557;p64">
              <a:extLst>
                <a:ext uri="{FF2B5EF4-FFF2-40B4-BE49-F238E27FC236}">
                  <a16:creationId xmlns:a16="http://schemas.microsoft.com/office/drawing/2014/main" id="{2E4F6D91-E643-11B7-5028-0B5338A2A260}"/>
                </a:ext>
              </a:extLst>
            </p:cNvPr>
            <p:cNvSpPr/>
            <p:nvPr/>
          </p:nvSpPr>
          <p:spPr>
            <a:xfrm>
              <a:off x="2976064" y="4552344"/>
              <a:ext cx="78758" cy="51848"/>
            </a:xfrm>
            <a:custGeom>
              <a:avLst/>
              <a:gdLst/>
              <a:ahLst/>
              <a:cxnLst/>
              <a:rect l="l" t="t" r="r" b="b"/>
              <a:pathLst>
                <a:path w="240" h="158" extrusionOk="0">
                  <a:moveTo>
                    <a:pt x="16" y="130"/>
                  </a:moveTo>
                  <a:lnTo>
                    <a:pt x="18" y="132"/>
                  </a:lnTo>
                  <a:lnTo>
                    <a:pt x="22" y="136"/>
                  </a:lnTo>
                  <a:lnTo>
                    <a:pt x="22" y="140"/>
                  </a:lnTo>
                  <a:lnTo>
                    <a:pt x="22" y="144"/>
                  </a:lnTo>
                  <a:lnTo>
                    <a:pt x="24" y="148"/>
                  </a:lnTo>
                  <a:lnTo>
                    <a:pt x="28" y="150"/>
                  </a:lnTo>
                  <a:lnTo>
                    <a:pt x="32" y="152"/>
                  </a:lnTo>
                  <a:lnTo>
                    <a:pt x="36" y="158"/>
                  </a:lnTo>
                  <a:lnTo>
                    <a:pt x="40" y="156"/>
                  </a:lnTo>
                  <a:lnTo>
                    <a:pt x="42" y="154"/>
                  </a:lnTo>
                  <a:lnTo>
                    <a:pt x="48" y="144"/>
                  </a:lnTo>
                  <a:lnTo>
                    <a:pt x="58" y="128"/>
                  </a:lnTo>
                  <a:lnTo>
                    <a:pt x="60" y="124"/>
                  </a:lnTo>
                  <a:lnTo>
                    <a:pt x="60" y="118"/>
                  </a:lnTo>
                  <a:lnTo>
                    <a:pt x="62" y="116"/>
                  </a:lnTo>
                  <a:lnTo>
                    <a:pt x="64" y="114"/>
                  </a:lnTo>
                  <a:lnTo>
                    <a:pt x="70" y="112"/>
                  </a:lnTo>
                  <a:lnTo>
                    <a:pt x="82" y="108"/>
                  </a:lnTo>
                  <a:lnTo>
                    <a:pt x="88" y="110"/>
                  </a:lnTo>
                  <a:lnTo>
                    <a:pt x="94" y="114"/>
                  </a:lnTo>
                  <a:lnTo>
                    <a:pt x="100" y="118"/>
                  </a:lnTo>
                  <a:lnTo>
                    <a:pt x="120" y="116"/>
                  </a:lnTo>
                  <a:lnTo>
                    <a:pt x="122" y="114"/>
                  </a:lnTo>
                  <a:lnTo>
                    <a:pt x="128" y="108"/>
                  </a:lnTo>
                  <a:lnTo>
                    <a:pt x="130" y="106"/>
                  </a:lnTo>
                  <a:lnTo>
                    <a:pt x="138" y="104"/>
                  </a:lnTo>
                  <a:lnTo>
                    <a:pt x="146" y="102"/>
                  </a:lnTo>
                  <a:lnTo>
                    <a:pt x="154" y="102"/>
                  </a:lnTo>
                  <a:lnTo>
                    <a:pt x="162" y="104"/>
                  </a:lnTo>
                  <a:lnTo>
                    <a:pt x="170" y="104"/>
                  </a:lnTo>
                  <a:lnTo>
                    <a:pt x="178" y="102"/>
                  </a:lnTo>
                  <a:lnTo>
                    <a:pt x="192" y="106"/>
                  </a:lnTo>
                  <a:lnTo>
                    <a:pt x="202" y="104"/>
                  </a:lnTo>
                  <a:lnTo>
                    <a:pt x="208" y="110"/>
                  </a:lnTo>
                  <a:lnTo>
                    <a:pt x="212" y="114"/>
                  </a:lnTo>
                  <a:lnTo>
                    <a:pt x="214" y="118"/>
                  </a:lnTo>
                  <a:lnTo>
                    <a:pt x="218" y="118"/>
                  </a:lnTo>
                  <a:lnTo>
                    <a:pt x="220" y="118"/>
                  </a:lnTo>
                  <a:lnTo>
                    <a:pt x="222" y="112"/>
                  </a:lnTo>
                  <a:lnTo>
                    <a:pt x="226" y="108"/>
                  </a:lnTo>
                  <a:lnTo>
                    <a:pt x="230" y="106"/>
                  </a:lnTo>
                  <a:lnTo>
                    <a:pt x="232" y="104"/>
                  </a:lnTo>
                  <a:lnTo>
                    <a:pt x="238" y="96"/>
                  </a:lnTo>
                  <a:lnTo>
                    <a:pt x="240" y="90"/>
                  </a:lnTo>
                  <a:lnTo>
                    <a:pt x="238" y="86"/>
                  </a:lnTo>
                  <a:lnTo>
                    <a:pt x="232" y="84"/>
                  </a:lnTo>
                  <a:lnTo>
                    <a:pt x="218" y="70"/>
                  </a:lnTo>
                  <a:lnTo>
                    <a:pt x="204" y="64"/>
                  </a:lnTo>
                  <a:lnTo>
                    <a:pt x="194" y="62"/>
                  </a:lnTo>
                  <a:lnTo>
                    <a:pt x="186" y="62"/>
                  </a:lnTo>
                  <a:lnTo>
                    <a:pt x="178" y="60"/>
                  </a:lnTo>
                  <a:lnTo>
                    <a:pt x="170" y="58"/>
                  </a:lnTo>
                  <a:lnTo>
                    <a:pt x="164" y="56"/>
                  </a:lnTo>
                  <a:lnTo>
                    <a:pt x="156" y="56"/>
                  </a:lnTo>
                  <a:lnTo>
                    <a:pt x="156" y="52"/>
                  </a:lnTo>
                  <a:lnTo>
                    <a:pt x="156" y="50"/>
                  </a:lnTo>
                  <a:lnTo>
                    <a:pt x="162" y="48"/>
                  </a:lnTo>
                  <a:lnTo>
                    <a:pt x="176" y="50"/>
                  </a:lnTo>
                  <a:lnTo>
                    <a:pt x="180" y="48"/>
                  </a:lnTo>
                  <a:lnTo>
                    <a:pt x="182" y="44"/>
                  </a:lnTo>
                  <a:lnTo>
                    <a:pt x="176" y="40"/>
                  </a:lnTo>
                  <a:lnTo>
                    <a:pt x="148" y="42"/>
                  </a:lnTo>
                  <a:lnTo>
                    <a:pt x="142" y="38"/>
                  </a:lnTo>
                  <a:lnTo>
                    <a:pt x="140" y="30"/>
                  </a:lnTo>
                  <a:lnTo>
                    <a:pt x="138" y="22"/>
                  </a:lnTo>
                  <a:lnTo>
                    <a:pt x="134" y="16"/>
                  </a:lnTo>
                  <a:lnTo>
                    <a:pt x="130" y="16"/>
                  </a:lnTo>
                  <a:lnTo>
                    <a:pt x="122" y="20"/>
                  </a:lnTo>
                  <a:lnTo>
                    <a:pt x="118" y="20"/>
                  </a:lnTo>
                  <a:lnTo>
                    <a:pt x="112" y="16"/>
                  </a:lnTo>
                  <a:lnTo>
                    <a:pt x="102" y="10"/>
                  </a:lnTo>
                  <a:lnTo>
                    <a:pt x="100" y="10"/>
                  </a:lnTo>
                  <a:lnTo>
                    <a:pt x="90" y="10"/>
                  </a:lnTo>
                  <a:lnTo>
                    <a:pt x="86" y="8"/>
                  </a:lnTo>
                  <a:lnTo>
                    <a:pt x="80" y="4"/>
                  </a:lnTo>
                  <a:lnTo>
                    <a:pt x="76" y="2"/>
                  </a:lnTo>
                  <a:lnTo>
                    <a:pt x="68" y="0"/>
                  </a:lnTo>
                  <a:lnTo>
                    <a:pt x="60" y="2"/>
                  </a:lnTo>
                  <a:lnTo>
                    <a:pt x="50" y="4"/>
                  </a:lnTo>
                  <a:lnTo>
                    <a:pt x="48" y="4"/>
                  </a:lnTo>
                  <a:lnTo>
                    <a:pt x="36" y="2"/>
                  </a:lnTo>
                  <a:lnTo>
                    <a:pt x="30" y="2"/>
                  </a:lnTo>
                  <a:lnTo>
                    <a:pt x="26" y="2"/>
                  </a:lnTo>
                  <a:lnTo>
                    <a:pt x="22" y="4"/>
                  </a:lnTo>
                  <a:lnTo>
                    <a:pt x="20" y="8"/>
                  </a:lnTo>
                  <a:lnTo>
                    <a:pt x="18" y="12"/>
                  </a:lnTo>
                  <a:lnTo>
                    <a:pt x="14" y="14"/>
                  </a:lnTo>
                  <a:lnTo>
                    <a:pt x="16" y="16"/>
                  </a:lnTo>
                  <a:lnTo>
                    <a:pt x="18" y="30"/>
                  </a:lnTo>
                  <a:lnTo>
                    <a:pt x="20" y="34"/>
                  </a:lnTo>
                  <a:lnTo>
                    <a:pt x="16" y="40"/>
                  </a:lnTo>
                  <a:lnTo>
                    <a:pt x="16" y="44"/>
                  </a:lnTo>
                  <a:lnTo>
                    <a:pt x="24" y="50"/>
                  </a:lnTo>
                  <a:lnTo>
                    <a:pt x="24" y="52"/>
                  </a:lnTo>
                  <a:lnTo>
                    <a:pt x="22" y="54"/>
                  </a:lnTo>
                  <a:lnTo>
                    <a:pt x="16" y="60"/>
                  </a:lnTo>
                  <a:lnTo>
                    <a:pt x="12" y="64"/>
                  </a:lnTo>
                  <a:lnTo>
                    <a:pt x="14" y="70"/>
                  </a:lnTo>
                  <a:lnTo>
                    <a:pt x="18" y="74"/>
                  </a:lnTo>
                  <a:lnTo>
                    <a:pt x="18" y="78"/>
                  </a:lnTo>
                  <a:lnTo>
                    <a:pt x="16" y="82"/>
                  </a:lnTo>
                  <a:lnTo>
                    <a:pt x="12" y="88"/>
                  </a:lnTo>
                  <a:lnTo>
                    <a:pt x="8" y="90"/>
                  </a:lnTo>
                  <a:lnTo>
                    <a:pt x="0" y="90"/>
                  </a:lnTo>
                  <a:lnTo>
                    <a:pt x="0" y="92"/>
                  </a:lnTo>
                  <a:lnTo>
                    <a:pt x="4" y="98"/>
                  </a:lnTo>
                  <a:lnTo>
                    <a:pt x="8" y="104"/>
                  </a:lnTo>
                  <a:lnTo>
                    <a:pt x="16" y="110"/>
                  </a:lnTo>
                  <a:lnTo>
                    <a:pt x="18" y="114"/>
                  </a:lnTo>
                  <a:lnTo>
                    <a:pt x="16" y="118"/>
                  </a:lnTo>
                  <a:lnTo>
                    <a:pt x="16" y="13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1" name="Google Shape;4558;p64">
              <a:extLst>
                <a:ext uri="{FF2B5EF4-FFF2-40B4-BE49-F238E27FC236}">
                  <a16:creationId xmlns:a16="http://schemas.microsoft.com/office/drawing/2014/main" id="{210676B9-8770-9849-18ED-0B9606D0495B}"/>
                </a:ext>
              </a:extLst>
            </p:cNvPr>
            <p:cNvSpPr/>
            <p:nvPr/>
          </p:nvSpPr>
          <p:spPr>
            <a:xfrm>
              <a:off x="4337917" y="4129021"/>
              <a:ext cx="444326" cy="444325"/>
            </a:xfrm>
            <a:custGeom>
              <a:avLst/>
              <a:gdLst/>
              <a:ahLst/>
              <a:cxnLst/>
              <a:rect l="l" t="t" r="r" b="b"/>
              <a:pathLst>
                <a:path w="1354" h="1354" extrusionOk="0">
                  <a:moveTo>
                    <a:pt x="1132" y="14"/>
                  </a:moveTo>
                  <a:lnTo>
                    <a:pt x="1102" y="16"/>
                  </a:lnTo>
                  <a:lnTo>
                    <a:pt x="1088" y="20"/>
                  </a:lnTo>
                  <a:lnTo>
                    <a:pt x="1080" y="18"/>
                  </a:lnTo>
                  <a:lnTo>
                    <a:pt x="1068" y="8"/>
                  </a:lnTo>
                  <a:lnTo>
                    <a:pt x="1058" y="4"/>
                  </a:lnTo>
                  <a:lnTo>
                    <a:pt x="1042" y="0"/>
                  </a:lnTo>
                  <a:lnTo>
                    <a:pt x="1044" y="10"/>
                  </a:lnTo>
                  <a:lnTo>
                    <a:pt x="1038" y="12"/>
                  </a:lnTo>
                  <a:lnTo>
                    <a:pt x="1024" y="14"/>
                  </a:lnTo>
                  <a:lnTo>
                    <a:pt x="1002" y="8"/>
                  </a:lnTo>
                  <a:lnTo>
                    <a:pt x="996" y="2"/>
                  </a:lnTo>
                  <a:lnTo>
                    <a:pt x="986" y="4"/>
                  </a:lnTo>
                  <a:lnTo>
                    <a:pt x="980" y="14"/>
                  </a:lnTo>
                  <a:lnTo>
                    <a:pt x="968" y="20"/>
                  </a:lnTo>
                  <a:lnTo>
                    <a:pt x="946" y="24"/>
                  </a:lnTo>
                  <a:lnTo>
                    <a:pt x="926" y="36"/>
                  </a:lnTo>
                  <a:lnTo>
                    <a:pt x="918" y="38"/>
                  </a:lnTo>
                  <a:lnTo>
                    <a:pt x="910" y="34"/>
                  </a:lnTo>
                  <a:lnTo>
                    <a:pt x="898" y="24"/>
                  </a:lnTo>
                  <a:lnTo>
                    <a:pt x="890" y="20"/>
                  </a:lnTo>
                  <a:lnTo>
                    <a:pt x="882" y="16"/>
                  </a:lnTo>
                  <a:lnTo>
                    <a:pt x="818" y="16"/>
                  </a:lnTo>
                  <a:lnTo>
                    <a:pt x="800" y="26"/>
                  </a:lnTo>
                  <a:lnTo>
                    <a:pt x="766" y="26"/>
                  </a:lnTo>
                  <a:lnTo>
                    <a:pt x="756" y="30"/>
                  </a:lnTo>
                  <a:lnTo>
                    <a:pt x="740" y="40"/>
                  </a:lnTo>
                  <a:lnTo>
                    <a:pt x="724" y="40"/>
                  </a:lnTo>
                  <a:lnTo>
                    <a:pt x="700" y="44"/>
                  </a:lnTo>
                  <a:lnTo>
                    <a:pt x="652" y="48"/>
                  </a:lnTo>
                  <a:lnTo>
                    <a:pt x="634" y="54"/>
                  </a:lnTo>
                  <a:lnTo>
                    <a:pt x="622" y="60"/>
                  </a:lnTo>
                  <a:lnTo>
                    <a:pt x="604" y="68"/>
                  </a:lnTo>
                  <a:lnTo>
                    <a:pt x="590" y="76"/>
                  </a:lnTo>
                  <a:lnTo>
                    <a:pt x="580" y="84"/>
                  </a:lnTo>
                  <a:lnTo>
                    <a:pt x="574" y="98"/>
                  </a:lnTo>
                  <a:lnTo>
                    <a:pt x="568" y="104"/>
                  </a:lnTo>
                  <a:lnTo>
                    <a:pt x="558" y="104"/>
                  </a:lnTo>
                  <a:lnTo>
                    <a:pt x="548" y="102"/>
                  </a:lnTo>
                  <a:lnTo>
                    <a:pt x="542" y="102"/>
                  </a:lnTo>
                  <a:lnTo>
                    <a:pt x="510" y="116"/>
                  </a:lnTo>
                  <a:lnTo>
                    <a:pt x="498" y="124"/>
                  </a:lnTo>
                  <a:lnTo>
                    <a:pt x="490" y="130"/>
                  </a:lnTo>
                  <a:lnTo>
                    <a:pt x="482" y="142"/>
                  </a:lnTo>
                  <a:lnTo>
                    <a:pt x="472" y="146"/>
                  </a:lnTo>
                  <a:lnTo>
                    <a:pt x="460" y="156"/>
                  </a:lnTo>
                  <a:lnTo>
                    <a:pt x="444" y="162"/>
                  </a:lnTo>
                  <a:lnTo>
                    <a:pt x="438" y="164"/>
                  </a:lnTo>
                  <a:lnTo>
                    <a:pt x="424" y="162"/>
                  </a:lnTo>
                  <a:lnTo>
                    <a:pt x="426" y="168"/>
                  </a:lnTo>
                  <a:lnTo>
                    <a:pt x="430" y="172"/>
                  </a:lnTo>
                  <a:lnTo>
                    <a:pt x="444" y="184"/>
                  </a:lnTo>
                  <a:lnTo>
                    <a:pt x="452" y="190"/>
                  </a:lnTo>
                  <a:lnTo>
                    <a:pt x="452" y="192"/>
                  </a:lnTo>
                  <a:lnTo>
                    <a:pt x="450" y="198"/>
                  </a:lnTo>
                  <a:lnTo>
                    <a:pt x="448" y="202"/>
                  </a:lnTo>
                  <a:lnTo>
                    <a:pt x="452" y="206"/>
                  </a:lnTo>
                  <a:lnTo>
                    <a:pt x="456" y="210"/>
                  </a:lnTo>
                  <a:lnTo>
                    <a:pt x="456" y="212"/>
                  </a:lnTo>
                  <a:lnTo>
                    <a:pt x="456" y="216"/>
                  </a:lnTo>
                  <a:lnTo>
                    <a:pt x="452" y="220"/>
                  </a:lnTo>
                  <a:lnTo>
                    <a:pt x="458" y="236"/>
                  </a:lnTo>
                  <a:lnTo>
                    <a:pt x="458" y="250"/>
                  </a:lnTo>
                  <a:lnTo>
                    <a:pt x="458" y="262"/>
                  </a:lnTo>
                  <a:lnTo>
                    <a:pt x="458" y="268"/>
                  </a:lnTo>
                  <a:lnTo>
                    <a:pt x="458" y="272"/>
                  </a:lnTo>
                  <a:lnTo>
                    <a:pt x="464" y="284"/>
                  </a:lnTo>
                  <a:lnTo>
                    <a:pt x="460" y="304"/>
                  </a:lnTo>
                  <a:lnTo>
                    <a:pt x="464" y="314"/>
                  </a:lnTo>
                  <a:lnTo>
                    <a:pt x="468" y="322"/>
                  </a:lnTo>
                  <a:lnTo>
                    <a:pt x="472" y="338"/>
                  </a:lnTo>
                  <a:lnTo>
                    <a:pt x="474" y="346"/>
                  </a:lnTo>
                  <a:lnTo>
                    <a:pt x="482" y="352"/>
                  </a:lnTo>
                  <a:lnTo>
                    <a:pt x="486" y="354"/>
                  </a:lnTo>
                  <a:lnTo>
                    <a:pt x="492" y="360"/>
                  </a:lnTo>
                  <a:lnTo>
                    <a:pt x="498" y="364"/>
                  </a:lnTo>
                  <a:lnTo>
                    <a:pt x="500" y="370"/>
                  </a:lnTo>
                  <a:lnTo>
                    <a:pt x="494" y="376"/>
                  </a:lnTo>
                  <a:lnTo>
                    <a:pt x="488" y="380"/>
                  </a:lnTo>
                  <a:lnTo>
                    <a:pt x="488" y="386"/>
                  </a:lnTo>
                  <a:lnTo>
                    <a:pt x="490" y="394"/>
                  </a:lnTo>
                  <a:lnTo>
                    <a:pt x="490" y="398"/>
                  </a:lnTo>
                  <a:lnTo>
                    <a:pt x="486" y="400"/>
                  </a:lnTo>
                  <a:lnTo>
                    <a:pt x="474" y="398"/>
                  </a:lnTo>
                  <a:lnTo>
                    <a:pt x="462" y="398"/>
                  </a:lnTo>
                  <a:lnTo>
                    <a:pt x="452" y="398"/>
                  </a:lnTo>
                  <a:lnTo>
                    <a:pt x="434" y="398"/>
                  </a:lnTo>
                  <a:lnTo>
                    <a:pt x="424" y="398"/>
                  </a:lnTo>
                  <a:lnTo>
                    <a:pt x="410" y="396"/>
                  </a:lnTo>
                  <a:lnTo>
                    <a:pt x="404" y="396"/>
                  </a:lnTo>
                  <a:lnTo>
                    <a:pt x="392" y="398"/>
                  </a:lnTo>
                  <a:lnTo>
                    <a:pt x="382" y="400"/>
                  </a:lnTo>
                  <a:lnTo>
                    <a:pt x="380" y="400"/>
                  </a:lnTo>
                  <a:lnTo>
                    <a:pt x="378" y="402"/>
                  </a:lnTo>
                  <a:lnTo>
                    <a:pt x="376" y="410"/>
                  </a:lnTo>
                  <a:lnTo>
                    <a:pt x="374" y="416"/>
                  </a:lnTo>
                  <a:lnTo>
                    <a:pt x="372" y="418"/>
                  </a:lnTo>
                  <a:lnTo>
                    <a:pt x="344" y="430"/>
                  </a:lnTo>
                  <a:lnTo>
                    <a:pt x="334" y="430"/>
                  </a:lnTo>
                  <a:lnTo>
                    <a:pt x="328" y="430"/>
                  </a:lnTo>
                  <a:lnTo>
                    <a:pt x="324" y="430"/>
                  </a:lnTo>
                  <a:lnTo>
                    <a:pt x="320" y="432"/>
                  </a:lnTo>
                  <a:lnTo>
                    <a:pt x="318" y="436"/>
                  </a:lnTo>
                  <a:lnTo>
                    <a:pt x="318" y="440"/>
                  </a:lnTo>
                  <a:lnTo>
                    <a:pt x="318" y="444"/>
                  </a:lnTo>
                  <a:lnTo>
                    <a:pt x="322" y="450"/>
                  </a:lnTo>
                  <a:lnTo>
                    <a:pt x="322" y="456"/>
                  </a:lnTo>
                  <a:lnTo>
                    <a:pt x="320" y="460"/>
                  </a:lnTo>
                  <a:lnTo>
                    <a:pt x="320" y="464"/>
                  </a:lnTo>
                  <a:lnTo>
                    <a:pt x="318" y="468"/>
                  </a:lnTo>
                  <a:lnTo>
                    <a:pt x="320" y="470"/>
                  </a:lnTo>
                  <a:lnTo>
                    <a:pt x="322" y="470"/>
                  </a:lnTo>
                  <a:lnTo>
                    <a:pt x="326" y="472"/>
                  </a:lnTo>
                  <a:lnTo>
                    <a:pt x="330" y="474"/>
                  </a:lnTo>
                  <a:lnTo>
                    <a:pt x="332" y="478"/>
                  </a:lnTo>
                  <a:lnTo>
                    <a:pt x="332" y="484"/>
                  </a:lnTo>
                  <a:lnTo>
                    <a:pt x="330" y="486"/>
                  </a:lnTo>
                  <a:lnTo>
                    <a:pt x="328" y="488"/>
                  </a:lnTo>
                  <a:lnTo>
                    <a:pt x="316" y="488"/>
                  </a:lnTo>
                  <a:lnTo>
                    <a:pt x="308" y="490"/>
                  </a:lnTo>
                  <a:lnTo>
                    <a:pt x="298" y="498"/>
                  </a:lnTo>
                  <a:lnTo>
                    <a:pt x="286" y="506"/>
                  </a:lnTo>
                  <a:lnTo>
                    <a:pt x="274" y="512"/>
                  </a:lnTo>
                  <a:lnTo>
                    <a:pt x="268" y="514"/>
                  </a:lnTo>
                  <a:lnTo>
                    <a:pt x="256" y="518"/>
                  </a:lnTo>
                  <a:lnTo>
                    <a:pt x="244" y="524"/>
                  </a:lnTo>
                  <a:lnTo>
                    <a:pt x="238" y="534"/>
                  </a:lnTo>
                  <a:lnTo>
                    <a:pt x="230" y="546"/>
                  </a:lnTo>
                  <a:lnTo>
                    <a:pt x="224" y="554"/>
                  </a:lnTo>
                  <a:lnTo>
                    <a:pt x="212" y="562"/>
                  </a:lnTo>
                  <a:lnTo>
                    <a:pt x="204" y="566"/>
                  </a:lnTo>
                  <a:lnTo>
                    <a:pt x="192" y="570"/>
                  </a:lnTo>
                  <a:lnTo>
                    <a:pt x="176" y="572"/>
                  </a:lnTo>
                  <a:lnTo>
                    <a:pt x="166" y="572"/>
                  </a:lnTo>
                  <a:lnTo>
                    <a:pt x="162" y="574"/>
                  </a:lnTo>
                  <a:lnTo>
                    <a:pt x="154" y="574"/>
                  </a:lnTo>
                  <a:lnTo>
                    <a:pt x="148" y="574"/>
                  </a:lnTo>
                  <a:lnTo>
                    <a:pt x="146" y="572"/>
                  </a:lnTo>
                  <a:lnTo>
                    <a:pt x="144" y="574"/>
                  </a:lnTo>
                  <a:lnTo>
                    <a:pt x="144" y="576"/>
                  </a:lnTo>
                  <a:lnTo>
                    <a:pt x="144" y="580"/>
                  </a:lnTo>
                  <a:lnTo>
                    <a:pt x="142" y="584"/>
                  </a:lnTo>
                  <a:lnTo>
                    <a:pt x="140" y="590"/>
                  </a:lnTo>
                  <a:lnTo>
                    <a:pt x="138" y="590"/>
                  </a:lnTo>
                  <a:lnTo>
                    <a:pt x="136" y="592"/>
                  </a:lnTo>
                  <a:lnTo>
                    <a:pt x="128" y="590"/>
                  </a:lnTo>
                  <a:lnTo>
                    <a:pt x="120" y="590"/>
                  </a:lnTo>
                  <a:lnTo>
                    <a:pt x="104" y="588"/>
                  </a:lnTo>
                  <a:lnTo>
                    <a:pt x="102" y="588"/>
                  </a:lnTo>
                  <a:lnTo>
                    <a:pt x="100" y="588"/>
                  </a:lnTo>
                  <a:lnTo>
                    <a:pt x="96" y="592"/>
                  </a:lnTo>
                  <a:lnTo>
                    <a:pt x="88" y="598"/>
                  </a:lnTo>
                  <a:lnTo>
                    <a:pt x="84" y="602"/>
                  </a:lnTo>
                  <a:lnTo>
                    <a:pt x="80" y="606"/>
                  </a:lnTo>
                  <a:lnTo>
                    <a:pt x="70" y="606"/>
                  </a:lnTo>
                  <a:lnTo>
                    <a:pt x="66" y="608"/>
                  </a:lnTo>
                  <a:lnTo>
                    <a:pt x="50" y="622"/>
                  </a:lnTo>
                  <a:lnTo>
                    <a:pt x="46" y="624"/>
                  </a:lnTo>
                  <a:lnTo>
                    <a:pt x="28" y="636"/>
                  </a:lnTo>
                  <a:lnTo>
                    <a:pt x="24" y="640"/>
                  </a:lnTo>
                  <a:lnTo>
                    <a:pt x="20" y="644"/>
                  </a:lnTo>
                  <a:lnTo>
                    <a:pt x="10" y="652"/>
                  </a:lnTo>
                  <a:lnTo>
                    <a:pt x="2" y="656"/>
                  </a:lnTo>
                  <a:lnTo>
                    <a:pt x="2" y="658"/>
                  </a:lnTo>
                  <a:lnTo>
                    <a:pt x="0" y="662"/>
                  </a:lnTo>
                  <a:lnTo>
                    <a:pt x="0" y="762"/>
                  </a:lnTo>
                  <a:lnTo>
                    <a:pt x="14" y="770"/>
                  </a:lnTo>
                  <a:lnTo>
                    <a:pt x="26" y="778"/>
                  </a:lnTo>
                  <a:lnTo>
                    <a:pt x="38" y="786"/>
                  </a:lnTo>
                  <a:lnTo>
                    <a:pt x="50" y="794"/>
                  </a:lnTo>
                  <a:lnTo>
                    <a:pt x="62" y="802"/>
                  </a:lnTo>
                  <a:lnTo>
                    <a:pt x="74" y="810"/>
                  </a:lnTo>
                  <a:lnTo>
                    <a:pt x="88" y="818"/>
                  </a:lnTo>
                  <a:lnTo>
                    <a:pt x="100" y="828"/>
                  </a:lnTo>
                  <a:lnTo>
                    <a:pt x="124" y="844"/>
                  </a:lnTo>
                  <a:lnTo>
                    <a:pt x="136" y="852"/>
                  </a:lnTo>
                  <a:lnTo>
                    <a:pt x="162" y="868"/>
                  </a:lnTo>
                  <a:lnTo>
                    <a:pt x="174" y="876"/>
                  </a:lnTo>
                  <a:lnTo>
                    <a:pt x="186" y="884"/>
                  </a:lnTo>
                  <a:lnTo>
                    <a:pt x="198" y="892"/>
                  </a:lnTo>
                  <a:lnTo>
                    <a:pt x="208" y="898"/>
                  </a:lnTo>
                  <a:lnTo>
                    <a:pt x="224" y="910"/>
                  </a:lnTo>
                  <a:lnTo>
                    <a:pt x="254" y="930"/>
                  </a:lnTo>
                  <a:lnTo>
                    <a:pt x="274" y="944"/>
                  </a:lnTo>
                  <a:lnTo>
                    <a:pt x="292" y="956"/>
                  </a:lnTo>
                  <a:lnTo>
                    <a:pt x="314" y="972"/>
                  </a:lnTo>
                  <a:lnTo>
                    <a:pt x="334" y="986"/>
                  </a:lnTo>
                  <a:lnTo>
                    <a:pt x="356" y="1002"/>
                  </a:lnTo>
                  <a:lnTo>
                    <a:pt x="378" y="1018"/>
                  </a:lnTo>
                  <a:lnTo>
                    <a:pt x="400" y="1034"/>
                  </a:lnTo>
                  <a:lnTo>
                    <a:pt x="420" y="1048"/>
                  </a:lnTo>
                  <a:lnTo>
                    <a:pt x="442" y="1064"/>
                  </a:lnTo>
                  <a:lnTo>
                    <a:pt x="464" y="1078"/>
                  </a:lnTo>
                  <a:lnTo>
                    <a:pt x="486" y="1094"/>
                  </a:lnTo>
                  <a:lnTo>
                    <a:pt x="506" y="1110"/>
                  </a:lnTo>
                  <a:lnTo>
                    <a:pt x="528" y="1124"/>
                  </a:lnTo>
                  <a:lnTo>
                    <a:pt x="550" y="1140"/>
                  </a:lnTo>
                  <a:lnTo>
                    <a:pt x="572" y="1154"/>
                  </a:lnTo>
                  <a:lnTo>
                    <a:pt x="592" y="1170"/>
                  </a:lnTo>
                  <a:lnTo>
                    <a:pt x="614" y="1184"/>
                  </a:lnTo>
                  <a:lnTo>
                    <a:pt x="636" y="1200"/>
                  </a:lnTo>
                  <a:lnTo>
                    <a:pt x="646" y="1206"/>
                  </a:lnTo>
                  <a:lnTo>
                    <a:pt x="646" y="1210"/>
                  </a:lnTo>
                  <a:lnTo>
                    <a:pt x="646" y="1216"/>
                  </a:lnTo>
                  <a:lnTo>
                    <a:pt x="646" y="1222"/>
                  </a:lnTo>
                  <a:lnTo>
                    <a:pt x="646" y="1226"/>
                  </a:lnTo>
                  <a:lnTo>
                    <a:pt x="650" y="1230"/>
                  </a:lnTo>
                  <a:lnTo>
                    <a:pt x="654" y="1234"/>
                  </a:lnTo>
                  <a:lnTo>
                    <a:pt x="676" y="1246"/>
                  </a:lnTo>
                  <a:lnTo>
                    <a:pt x="678" y="1248"/>
                  </a:lnTo>
                  <a:lnTo>
                    <a:pt x="678" y="1252"/>
                  </a:lnTo>
                  <a:lnTo>
                    <a:pt x="680" y="1258"/>
                  </a:lnTo>
                  <a:lnTo>
                    <a:pt x="686" y="1260"/>
                  </a:lnTo>
                  <a:lnTo>
                    <a:pt x="690" y="1264"/>
                  </a:lnTo>
                  <a:lnTo>
                    <a:pt x="696" y="1264"/>
                  </a:lnTo>
                  <a:lnTo>
                    <a:pt x="716" y="1266"/>
                  </a:lnTo>
                  <a:lnTo>
                    <a:pt x="720" y="1270"/>
                  </a:lnTo>
                  <a:lnTo>
                    <a:pt x="728" y="1280"/>
                  </a:lnTo>
                  <a:lnTo>
                    <a:pt x="732" y="1282"/>
                  </a:lnTo>
                  <a:lnTo>
                    <a:pt x="744" y="1284"/>
                  </a:lnTo>
                  <a:lnTo>
                    <a:pt x="754" y="1286"/>
                  </a:lnTo>
                  <a:lnTo>
                    <a:pt x="758" y="1286"/>
                  </a:lnTo>
                  <a:lnTo>
                    <a:pt x="766" y="1290"/>
                  </a:lnTo>
                  <a:lnTo>
                    <a:pt x="776" y="1294"/>
                  </a:lnTo>
                  <a:lnTo>
                    <a:pt x="780" y="1298"/>
                  </a:lnTo>
                  <a:lnTo>
                    <a:pt x="780" y="1304"/>
                  </a:lnTo>
                  <a:lnTo>
                    <a:pt x="780" y="1314"/>
                  </a:lnTo>
                  <a:lnTo>
                    <a:pt x="782" y="1320"/>
                  </a:lnTo>
                  <a:lnTo>
                    <a:pt x="784" y="1326"/>
                  </a:lnTo>
                  <a:lnTo>
                    <a:pt x="784" y="1328"/>
                  </a:lnTo>
                  <a:lnTo>
                    <a:pt x="782" y="1330"/>
                  </a:lnTo>
                  <a:lnTo>
                    <a:pt x="780" y="1332"/>
                  </a:lnTo>
                  <a:lnTo>
                    <a:pt x="778" y="1334"/>
                  </a:lnTo>
                  <a:lnTo>
                    <a:pt x="776" y="1338"/>
                  </a:lnTo>
                  <a:lnTo>
                    <a:pt x="774" y="1344"/>
                  </a:lnTo>
                  <a:lnTo>
                    <a:pt x="774" y="1346"/>
                  </a:lnTo>
                  <a:lnTo>
                    <a:pt x="778" y="1348"/>
                  </a:lnTo>
                  <a:lnTo>
                    <a:pt x="784" y="1352"/>
                  </a:lnTo>
                  <a:lnTo>
                    <a:pt x="788" y="1354"/>
                  </a:lnTo>
                  <a:lnTo>
                    <a:pt x="792" y="1354"/>
                  </a:lnTo>
                  <a:lnTo>
                    <a:pt x="796" y="1354"/>
                  </a:lnTo>
                  <a:lnTo>
                    <a:pt x="812" y="1350"/>
                  </a:lnTo>
                  <a:lnTo>
                    <a:pt x="826" y="1348"/>
                  </a:lnTo>
                  <a:lnTo>
                    <a:pt x="848" y="1344"/>
                  </a:lnTo>
                  <a:lnTo>
                    <a:pt x="862" y="1340"/>
                  </a:lnTo>
                  <a:lnTo>
                    <a:pt x="876" y="1338"/>
                  </a:lnTo>
                  <a:lnTo>
                    <a:pt x="898" y="1334"/>
                  </a:lnTo>
                  <a:lnTo>
                    <a:pt x="922" y="1328"/>
                  </a:lnTo>
                  <a:lnTo>
                    <a:pt x="946" y="1324"/>
                  </a:lnTo>
                  <a:lnTo>
                    <a:pt x="952" y="1320"/>
                  </a:lnTo>
                  <a:lnTo>
                    <a:pt x="972" y="1302"/>
                  </a:lnTo>
                  <a:lnTo>
                    <a:pt x="980" y="1294"/>
                  </a:lnTo>
                  <a:lnTo>
                    <a:pt x="998" y="1278"/>
                  </a:lnTo>
                  <a:lnTo>
                    <a:pt x="1012" y="1266"/>
                  </a:lnTo>
                  <a:lnTo>
                    <a:pt x="1028" y="1252"/>
                  </a:lnTo>
                  <a:lnTo>
                    <a:pt x="1046" y="1236"/>
                  </a:lnTo>
                  <a:lnTo>
                    <a:pt x="1060" y="1222"/>
                  </a:lnTo>
                  <a:lnTo>
                    <a:pt x="1084" y="1208"/>
                  </a:lnTo>
                  <a:lnTo>
                    <a:pt x="1118" y="1188"/>
                  </a:lnTo>
                  <a:lnTo>
                    <a:pt x="1152" y="1166"/>
                  </a:lnTo>
                  <a:lnTo>
                    <a:pt x="1184" y="1144"/>
                  </a:lnTo>
                  <a:lnTo>
                    <a:pt x="1252" y="1100"/>
                  </a:lnTo>
                  <a:lnTo>
                    <a:pt x="1286" y="1080"/>
                  </a:lnTo>
                  <a:lnTo>
                    <a:pt x="1320" y="1058"/>
                  </a:lnTo>
                  <a:lnTo>
                    <a:pt x="1354" y="1036"/>
                  </a:lnTo>
                  <a:lnTo>
                    <a:pt x="1348" y="1022"/>
                  </a:lnTo>
                  <a:lnTo>
                    <a:pt x="1342" y="1008"/>
                  </a:lnTo>
                  <a:lnTo>
                    <a:pt x="1332" y="992"/>
                  </a:lnTo>
                  <a:lnTo>
                    <a:pt x="1326" y="980"/>
                  </a:lnTo>
                  <a:lnTo>
                    <a:pt x="1324" y="978"/>
                  </a:lnTo>
                  <a:lnTo>
                    <a:pt x="1298" y="970"/>
                  </a:lnTo>
                  <a:lnTo>
                    <a:pt x="1270" y="962"/>
                  </a:lnTo>
                  <a:lnTo>
                    <a:pt x="1254" y="966"/>
                  </a:lnTo>
                  <a:lnTo>
                    <a:pt x="1252" y="966"/>
                  </a:lnTo>
                  <a:lnTo>
                    <a:pt x="1246" y="964"/>
                  </a:lnTo>
                  <a:lnTo>
                    <a:pt x="1242" y="958"/>
                  </a:lnTo>
                  <a:lnTo>
                    <a:pt x="1240" y="952"/>
                  </a:lnTo>
                  <a:lnTo>
                    <a:pt x="1234" y="944"/>
                  </a:lnTo>
                  <a:lnTo>
                    <a:pt x="1228" y="926"/>
                  </a:lnTo>
                  <a:lnTo>
                    <a:pt x="1226" y="910"/>
                  </a:lnTo>
                  <a:lnTo>
                    <a:pt x="1226" y="904"/>
                  </a:lnTo>
                  <a:lnTo>
                    <a:pt x="1212" y="884"/>
                  </a:lnTo>
                  <a:lnTo>
                    <a:pt x="1198" y="864"/>
                  </a:lnTo>
                  <a:lnTo>
                    <a:pt x="1190" y="852"/>
                  </a:lnTo>
                  <a:lnTo>
                    <a:pt x="1188" y="846"/>
                  </a:lnTo>
                  <a:lnTo>
                    <a:pt x="1188" y="838"/>
                  </a:lnTo>
                  <a:lnTo>
                    <a:pt x="1192" y="832"/>
                  </a:lnTo>
                  <a:lnTo>
                    <a:pt x="1204" y="824"/>
                  </a:lnTo>
                  <a:lnTo>
                    <a:pt x="1216" y="816"/>
                  </a:lnTo>
                  <a:lnTo>
                    <a:pt x="1218" y="810"/>
                  </a:lnTo>
                  <a:lnTo>
                    <a:pt x="1218" y="794"/>
                  </a:lnTo>
                  <a:lnTo>
                    <a:pt x="1216" y="790"/>
                  </a:lnTo>
                  <a:lnTo>
                    <a:pt x="1212" y="780"/>
                  </a:lnTo>
                  <a:lnTo>
                    <a:pt x="1210" y="768"/>
                  </a:lnTo>
                  <a:lnTo>
                    <a:pt x="1210" y="758"/>
                  </a:lnTo>
                  <a:lnTo>
                    <a:pt x="1214" y="742"/>
                  </a:lnTo>
                  <a:lnTo>
                    <a:pt x="1220" y="726"/>
                  </a:lnTo>
                  <a:lnTo>
                    <a:pt x="1216" y="706"/>
                  </a:lnTo>
                  <a:lnTo>
                    <a:pt x="1214" y="668"/>
                  </a:lnTo>
                  <a:lnTo>
                    <a:pt x="1216" y="638"/>
                  </a:lnTo>
                  <a:lnTo>
                    <a:pt x="1214" y="626"/>
                  </a:lnTo>
                  <a:lnTo>
                    <a:pt x="1212" y="622"/>
                  </a:lnTo>
                  <a:lnTo>
                    <a:pt x="1210" y="606"/>
                  </a:lnTo>
                  <a:lnTo>
                    <a:pt x="1204" y="592"/>
                  </a:lnTo>
                  <a:lnTo>
                    <a:pt x="1202" y="586"/>
                  </a:lnTo>
                  <a:lnTo>
                    <a:pt x="1196" y="574"/>
                  </a:lnTo>
                  <a:lnTo>
                    <a:pt x="1186" y="560"/>
                  </a:lnTo>
                  <a:lnTo>
                    <a:pt x="1180" y="550"/>
                  </a:lnTo>
                  <a:lnTo>
                    <a:pt x="1188" y="546"/>
                  </a:lnTo>
                  <a:lnTo>
                    <a:pt x="1194" y="542"/>
                  </a:lnTo>
                  <a:lnTo>
                    <a:pt x="1190" y="524"/>
                  </a:lnTo>
                  <a:lnTo>
                    <a:pt x="1186" y="508"/>
                  </a:lnTo>
                  <a:lnTo>
                    <a:pt x="1184" y="496"/>
                  </a:lnTo>
                  <a:lnTo>
                    <a:pt x="1178" y="474"/>
                  </a:lnTo>
                  <a:lnTo>
                    <a:pt x="1174" y="454"/>
                  </a:lnTo>
                  <a:lnTo>
                    <a:pt x="1170" y="436"/>
                  </a:lnTo>
                  <a:lnTo>
                    <a:pt x="1162" y="400"/>
                  </a:lnTo>
                  <a:lnTo>
                    <a:pt x="1162" y="398"/>
                  </a:lnTo>
                  <a:lnTo>
                    <a:pt x="1150" y="390"/>
                  </a:lnTo>
                  <a:lnTo>
                    <a:pt x="1140" y="382"/>
                  </a:lnTo>
                  <a:lnTo>
                    <a:pt x="1128" y="374"/>
                  </a:lnTo>
                  <a:lnTo>
                    <a:pt x="1116" y="364"/>
                  </a:lnTo>
                  <a:lnTo>
                    <a:pt x="1114" y="352"/>
                  </a:lnTo>
                  <a:lnTo>
                    <a:pt x="1108" y="334"/>
                  </a:lnTo>
                  <a:lnTo>
                    <a:pt x="1102" y="324"/>
                  </a:lnTo>
                  <a:lnTo>
                    <a:pt x="1100" y="322"/>
                  </a:lnTo>
                  <a:lnTo>
                    <a:pt x="1086" y="316"/>
                  </a:lnTo>
                  <a:lnTo>
                    <a:pt x="1078" y="310"/>
                  </a:lnTo>
                  <a:lnTo>
                    <a:pt x="1078" y="308"/>
                  </a:lnTo>
                  <a:lnTo>
                    <a:pt x="1076" y="300"/>
                  </a:lnTo>
                  <a:lnTo>
                    <a:pt x="1070" y="286"/>
                  </a:lnTo>
                  <a:lnTo>
                    <a:pt x="1064" y="272"/>
                  </a:lnTo>
                  <a:lnTo>
                    <a:pt x="1062" y="264"/>
                  </a:lnTo>
                  <a:lnTo>
                    <a:pt x="1062" y="252"/>
                  </a:lnTo>
                  <a:lnTo>
                    <a:pt x="1062" y="244"/>
                  </a:lnTo>
                  <a:lnTo>
                    <a:pt x="1066" y="240"/>
                  </a:lnTo>
                  <a:lnTo>
                    <a:pt x="1078" y="230"/>
                  </a:lnTo>
                  <a:lnTo>
                    <a:pt x="1084" y="218"/>
                  </a:lnTo>
                  <a:lnTo>
                    <a:pt x="1092" y="212"/>
                  </a:lnTo>
                  <a:lnTo>
                    <a:pt x="1098" y="210"/>
                  </a:lnTo>
                  <a:lnTo>
                    <a:pt x="1102" y="206"/>
                  </a:lnTo>
                  <a:lnTo>
                    <a:pt x="1108" y="198"/>
                  </a:lnTo>
                  <a:lnTo>
                    <a:pt x="1110" y="192"/>
                  </a:lnTo>
                  <a:lnTo>
                    <a:pt x="1112" y="184"/>
                  </a:lnTo>
                  <a:lnTo>
                    <a:pt x="1112" y="172"/>
                  </a:lnTo>
                  <a:lnTo>
                    <a:pt x="1114" y="164"/>
                  </a:lnTo>
                  <a:lnTo>
                    <a:pt x="1120" y="154"/>
                  </a:lnTo>
                  <a:lnTo>
                    <a:pt x="1118" y="146"/>
                  </a:lnTo>
                  <a:lnTo>
                    <a:pt x="1116" y="138"/>
                  </a:lnTo>
                  <a:lnTo>
                    <a:pt x="1116" y="124"/>
                  </a:lnTo>
                  <a:lnTo>
                    <a:pt x="1116" y="118"/>
                  </a:lnTo>
                  <a:lnTo>
                    <a:pt x="1114" y="112"/>
                  </a:lnTo>
                  <a:lnTo>
                    <a:pt x="1110" y="106"/>
                  </a:lnTo>
                  <a:lnTo>
                    <a:pt x="1110" y="100"/>
                  </a:lnTo>
                  <a:lnTo>
                    <a:pt x="1112" y="86"/>
                  </a:lnTo>
                  <a:lnTo>
                    <a:pt x="1114" y="74"/>
                  </a:lnTo>
                  <a:lnTo>
                    <a:pt x="1118" y="60"/>
                  </a:lnTo>
                  <a:lnTo>
                    <a:pt x="1116" y="56"/>
                  </a:lnTo>
                  <a:lnTo>
                    <a:pt x="1114" y="52"/>
                  </a:lnTo>
                  <a:lnTo>
                    <a:pt x="1108" y="50"/>
                  </a:lnTo>
                  <a:lnTo>
                    <a:pt x="1108" y="48"/>
                  </a:lnTo>
                  <a:lnTo>
                    <a:pt x="1110" y="46"/>
                  </a:lnTo>
                  <a:lnTo>
                    <a:pt x="1118" y="38"/>
                  </a:lnTo>
                  <a:lnTo>
                    <a:pt x="1124" y="28"/>
                  </a:lnTo>
                  <a:lnTo>
                    <a:pt x="1128" y="26"/>
                  </a:lnTo>
                  <a:lnTo>
                    <a:pt x="1134" y="22"/>
                  </a:lnTo>
                  <a:lnTo>
                    <a:pt x="1134" y="18"/>
                  </a:lnTo>
                  <a:lnTo>
                    <a:pt x="1132"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92" name="Google Shape;4559;p64">
              <a:extLst>
                <a:ext uri="{FF2B5EF4-FFF2-40B4-BE49-F238E27FC236}">
                  <a16:creationId xmlns:a16="http://schemas.microsoft.com/office/drawing/2014/main" id="{7C47DB69-1D4A-B451-3C68-EB1B97358744}"/>
                </a:ext>
              </a:extLst>
            </p:cNvPr>
            <p:cNvGrpSpPr/>
            <p:nvPr/>
          </p:nvGrpSpPr>
          <p:grpSpPr>
            <a:xfrm>
              <a:off x="2553726" y="4958603"/>
              <a:ext cx="352114" cy="138482"/>
              <a:chOff x="14314811" y="26816313"/>
              <a:chExt cx="2556492" cy="1005442"/>
            </a:xfrm>
            <a:grpFill/>
          </p:grpSpPr>
          <p:sp>
            <p:nvSpPr>
              <p:cNvPr id="93" name="Google Shape;4560;p64">
                <a:extLst>
                  <a:ext uri="{FF2B5EF4-FFF2-40B4-BE49-F238E27FC236}">
                    <a16:creationId xmlns:a16="http://schemas.microsoft.com/office/drawing/2014/main" id="{DF8250AF-54E8-D634-DF64-0A2D79C85663}"/>
                  </a:ext>
                </a:extLst>
              </p:cNvPr>
              <p:cNvSpPr/>
              <p:nvPr/>
            </p:nvSpPr>
            <p:spPr>
              <a:xfrm>
                <a:off x="14314811" y="27021213"/>
                <a:ext cx="371679" cy="228728"/>
              </a:xfrm>
              <a:custGeom>
                <a:avLst/>
                <a:gdLst/>
                <a:ahLst/>
                <a:cxnLst/>
                <a:rect l="l" t="t" r="r" b="b"/>
                <a:pathLst>
                  <a:path w="371679" h="228728" extrusionOk="0">
                    <a:moveTo>
                      <a:pt x="181075" y="209666"/>
                    </a:moveTo>
                    <a:lnTo>
                      <a:pt x="190606" y="214432"/>
                    </a:lnTo>
                    <a:lnTo>
                      <a:pt x="195371" y="219196"/>
                    </a:lnTo>
                    <a:lnTo>
                      <a:pt x="200136" y="223962"/>
                    </a:lnTo>
                    <a:lnTo>
                      <a:pt x="190606" y="228728"/>
                    </a:lnTo>
                    <a:lnTo>
                      <a:pt x="185840" y="228728"/>
                    </a:lnTo>
                    <a:lnTo>
                      <a:pt x="176310" y="223962"/>
                    </a:lnTo>
                    <a:close/>
                    <a:moveTo>
                      <a:pt x="362149" y="128660"/>
                    </a:moveTo>
                    <a:lnTo>
                      <a:pt x="366914" y="128660"/>
                    </a:lnTo>
                    <a:lnTo>
                      <a:pt x="371679" y="128660"/>
                    </a:lnTo>
                    <a:lnTo>
                      <a:pt x="371679" y="133424"/>
                    </a:lnTo>
                    <a:lnTo>
                      <a:pt x="366914" y="142954"/>
                    </a:lnTo>
                    <a:lnTo>
                      <a:pt x="357384" y="147720"/>
                    </a:lnTo>
                    <a:lnTo>
                      <a:pt x="347854" y="162014"/>
                    </a:lnTo>
                    <a:lnTo>
                      <a:pt x="328793" y="166780"/>
                    </a:lnTo>
                    <a:lnTo>
                      <a:pt x="324028" y="166780"/>
                    </a:lnTo>
                    <a:lnTo>
                      <a:pt x="319263" y="162014"/>
                    </a:lnTo>
                    <a:lnTo>
                      <a:pt x="319263" y="157250"/>
                    </a:lnTo>
                    <a:lnTo>
                      <a:pt x="328793" y="147720"/>
                    </a:lnTo>
                    <a:lnTo>
                      <a:pt x="338323" y="142954"/>
                    </a:lnTo>
                    <a:lnTo>
                      <a:pt x="347854" y="133424"/>
                    </a:lnTo>
                    <a:close/>
                    <a:moveTo>
                      <a:pt x="214431" y="95304"/>
                    </a:moveTo>
                    <a:lnTo>
                      <a:pt x="228727" y="104834"/>
                    </a:lnTo>
                    <a:lnTo>
                      <a:pt x="228727" y="123894"/>
                    </a:lnTo>
                    <a:lnTo>
                      <a:pt x="214431" y="138188"/>
                    </a:lnTo>
                    <a:lnTo>
                      <a:pt x="209666" y="138188"/>
                    </a:lnTo>
                    <a:lnTo>
                      <a:pt x="204901" y="142954"/>
                    </a:lnTo>
                    <a:lnTo>
                      <a:pt x="195371" y="142954"/>
                    </a:lnTo>
                    <a:lnTo>
                      <a:pt x="171545" y="123894"/>
                    </a:lnTo>
                    <a:lnTo>
                      <a:pt x="176310" y="109598"/>
                    </a:lnTo>
                    <a:lnTo>
                      <a:pt x="185841" y="100068"/>
                    </a:lnTo>
                    <a:close/>
                    <a:moveTo>
                      <a:pt x="28591" y="61948"/>
                    </a:moveTo>
                    <a:lnTo>
                      <a:pt x="38121" y="71478"/>
                    </a:lnTo>
                    <a:lnTo>
                      <a:pt x="38121" y="85772"/>
                    </a:lnTo>
                    <a:lnTo>
                      <a:pt x="33356" y="90538"/>
                    </a:lnTo>
                    <a:lnTo>
                      <a:pt x="19061" y="95304"/>
                    </a:lnTo>
                    <a:lnTo>
                      <a:pt x="4765" y="90538"/>
                    </a:lnTo>
                    <a:lnTo>
                      <a:pt x="0" y="81008"/>
                    </a:lnTo>
                    <a:lnTo>
                      <a:pt x="0" y="66712"/>
                    </a:lnTo>
                    <a:close/>
                    <a:moveTo>
                      <a:pt x="133423" y="47652"/>
                    </a:moveTo>
                    <a:lnTo>
                      <a:pt x="152484" y="47652"/>
                    </a:lnTo>
                    <a:lnTo>
                      <a:pt x="171544" y="61948"/>
                    </a:lnTo>
                    <a:lnTo>
                      <a:pt x="166779" y="71478"/>
                    </a:lnTo>
                    <a:lnTo>
                      <a:pt x="162014" y="76244"/>
                    </a:lnTo>
                    <a:lnTo>
                      <a:pt x="128658" y="71478"/>
                    </a:lnTo>
                    <a:lnTo>
                      <a:pt x="123893" y="61948"/>
                    </a:lnTo>
                    <a:lnTo>
                      <a:pt x="128658" y="52418"/>
                    </a:lnTo>
                    <a:close/>
                    <a:moveTo>
                      <a:pt x="42886" y="0"/>
                    </a:moveTo>
                    <a:lnTo>
                      <a:pt x="52416" y="4766"/>
                    </a:lnTo>
                    <a:lnTo>
                      <a:pt x="57181" y="19062"/>
                    </a:lnTo>
                    <a:lnTo>
                      <a:pt x="66711" y="28592"/>
                    </a:lnTo>
                    <a:lnTo>
                      <a:pt x="71477" y="57182"/>
                    </a:lnTo>
                    <a:lnTo>
                      <a:pt x="104832" y="85774"/>
                    </a:lnTo>
                    <a:lnTo>
                      <a:pt x="109597" y="104834"/>
                    </a:lnTo>
                    <a:lnTo>
                      <a:pt x="104832" y="109600"/>
                    </a:lnTo>
                    <a:lnTo>
                      <a:pt x="109597" y="114364"/>
                    </a:lnTo>
                    <a:lnTo>
                      <a:pt x="123893" y="123894"/>
                    </a:lnTo>
                    <a:lnTo>
                      <a:pt x="133423" y="138190"/>
                    </a:lnTo>
                    <a:lnTo>
                      <a:pt x="114363" y="166780"/>
                    </a:lnTo>
                    <a:lnTo>
                      <a:pt x="81007" y="181076"/>
                    </a:lnTo>
                    <a:lnTo>
                      <a:pt x="42886" y="181076"/>
                    </a:lnTo>
                    <a:lnTo>
                      <a:pt x="33356" y="176310"/>
                    </a:lnTo>
                    <a:lnTo>
                      <a:pt x="23825" y="166780"/>
                    </a:lnTo>
                    <a:lnTo>
                      <a:pt x="23825" y="152486"/>
                    </a:lnTo>
                    <a:lnTo>
                      <a:pt x="28590" y="142954"/>
                    </a:lnTo>
                    <a:lnTo>
                      <a:pt x="47651" y="128660"/>
                    </a:lnTo>
                    <a:lnTo>
                      <a:pt x="76242" y="119130"/>
                    </a:lnTo>
                    <a:lnTo>
                      <a:pt x="81007" y="109600"/>
                    </a:lnTo>
                    <a:lnTo>
                      <a:pt x="71477" y="100068"/>
                    </a:lnTo>
                    <a:lnTo>
                      <a:pt x="61946" y="81008"/>
                    </a:lnTo>
                    <a:lnTo>
                      <a:pt x="42886" y="66712"/>
                    </a:lnTo>
                    <a:lnTo>
                      <a:pt x="33356" y="23826"/>
                    </a:lnTo>
                    <a:lnTo>
                      <a:pt x="28590" y="23826"/>
                    </a:lnTo>
                    <a:lnTo>
                      <a:pt x="14295" y="28592"/>
                    </a:lnTo>
                    <a:lnTo>
                      <a:pt x="9530" y="23826"/>
                    </a:lnTo>
                    <a:lnTo>
                      <a:pt x="9530" y="19062"/>
                    </a:lnTo>
                    <a:lnTo>
                      <a:pt x="19060" y="9532"/>
                    </a:lnTo>
                    <a:lnTo>
                      <a:pt x="23825"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4" name="Google Shape;4561;p64">
                <a:extLst>
                  <a:ext uri="{FF2B5EF4-FFF2-40B4-BE49-F238E27FC236}">
                    <a16:creationId xmlns:a16="http://schemas.microsoft.com/office/drawing/2014/main" id="{F5B91A72-20A3-84CF-BA3B-F8DCF258804F}"/>
                  </a:ext>
                </a:extLst>
              </p:cNvPr>
              <p:cNvSpPr/>
              <p:nvPr/>
            </p:nvSpPr>
            <p:spPr>
              <a:xfrm>
                <a:off x="15980223" y="26816313"/>
                <a:ext cx="891080" cy="1005442"/>
              </a:xfrm>
              <a:custGeom>
                <a:avLst/>
                <a:gdLst/>
                <a:ahLst/>
                <a:cxnLst/>
                <a:rect l="l" t="t" r="r" b="b"/>
                <a:pathLst>
                  <a:path w="891080" h="1005442" extrusionOk="0">
                    <a:moveTo>
                      <a:pt x="138189" y="643292"/>
                    </a:moveTo>
                    <a:lnTo>
                      <a:pt x="152484" y="643292"/>
                    </a:lnTo>
                    <a:lnTo>
                      <a:pt x="166780" y="652822"/>
                    </a:lnTo>
                    <a:lnTo>
                      <a:pt x="147719" y="667118"/>
                    </a:lnTo>
                    <a:lnTo>
                      <a:pt x="138189" y="667118"/>
                    </a:lnTo>
                    <a:lnTo>
                      <a:pt x="138189" y="671882"/>
                    </a:lnTo>
                    <a:lnTo>
                      <a:pt x="128659" y="690942"/>
                    </a:lnTo>
                    <a:lnTo>
                      <a:pt x="128659" y="695708"/>
                    </a:lnTo>
                    <a:lnTo>
                      <a:pt x="114363" y="695708"/>
                    </a:lnTo>
                    <a:lnTo>
                      <a:pt x="109598" y="695708"/>
                    </a:lnTo>
                    <a:lnTo>
                      <a:pt x="109598" y="686178"/>
                    </a:lnTo>
                    <a:lnTo>
                      <a:pt x="114363" y="662352"/>
                    </a:lnTo>
                    <a:lnTo>
                      <a:pt x="114363" y="657588"/>
                    </a:lnTo>
                    <a:lnTo>
                      <a:pt x="128659" y="648058"/>
                    </a:lnTo>
                    <a:close/>
                    <a:moveTo>
                      <a:pt x="319263" y="14296"/>
                    </a:moveTo>
                    <a:lnTo>
                      <a:pt x="324028" y="14296"/>
                    </a:lnTo>
                    <a:lnTo>
                      <a:pt x="324028" y="28592"/>
                    </a:lnTo>
                    <a:lnTo>
                      <a:pt x="314498" y="28592"/>
                    </a:lnTo>
                    <a:lnTo>
                      <a:pt x="309733" y="23826"/>
                    </a:lnTo>
                    <a:close/>
                    <a:moveTo>
                      <a:pt x="328794" y="0"/>
                    </a:moveTo>
                    <a:lnTo>
                      <a:pt x="333559" y="0"/>
                    </a:lnTo>
                    <a:lnTo>
                      <a:pt x="347854" y="14296"/>
                    </a:lnTo>
                    <a:lnTo>
                      <a:pt x="357385" y="23826"/>
                    </a:lnTo>
                    <a:lnTo>
                      <a:pt x="371680" y="33356"/>
                    </a:lnTo>
                    <a:lnTo>
                      <a:pt x="385975" y="38122"/>
                    </a:lnTo>
                    <a:lnTo>
                      <a:pt x="414566" y="61946"/>
                    </a:lnTo>
                    <a:lnTo>
                      <a:pt x="433627" y="76242"/>
                    </a:lnTo>
                    <a:lnTo>
                      <a:pt x="457452" y="85772"/>
                    </a:lnTo>
                    <a:lnTo>
                      <a:pt x="490808" y="95302"/>
                    </a:lnTo>
                    <a:lnTo>
                      <a:pt x="509869" y="95302"/>
                    </a:lnTo>
                    <a:lnTo>
                      <a:pt x="514634" y="104832"/>
                    </a:lnTo>
                    <a:lnTo>
                      <a:pt x="519399" y="114364"/>
                    </a:lnTo>
                    <a:lnTo>
                      <a:pt x="524164" y="119128"/>
                    </a:lnTo>
                    <a:lnTo>
                      <a:pt x="538460" y="123894"/>
                    </a:lnTo>
                    <a:lnTo>
                      <a:pt x="543225" y="123894"/>
                    </a:lnTo>
                    <a:lnTo>
                      <a:pt x="547990" y="123894"/>
                    </a:lnTo>
                    <a:lnTo>
                      <a:pt x="552755" y="157250"/>
                    </a:lnTo>
                    <a:lnTo>
                      <a:pt x="557520" y="162014"/>
                    </a:lnTo>
                    <a:lnTo>
                      <a:pt x="576580" y="166780"/>
                    </a:lnTo>
                    <a:lnTo>
                      <a:pt x="595641" y="171544"/>
                    </a:lnTo>
                    <a:lnTo>
                      <a:pt x="600406" y="171544"/>
                    </a:lnTo>
                    <a:lnTo>
                      <a:pt x="619467" y="181074"/>
                    </a:lnTo>
                    <a:lnTo>
                      <a:pt x="633762" y="185840"/>
                    </a:lnTo>
                    <a:lnTo>
                      <a:pt x="648057" y="185840"/>
                    </a:lnTo>
                    <a:lnTo>
                      <a:pt x="657588" y="185840"/>
                    </a:lnTo>
                    <a:lnTo>
                      <a:pt x="662353" y="185840"/>
                    </a:lnTo>
                    <a:lnTo>
                      <a:pt x="662353" y="181074"/>
                    </a:lnTo>
                    <a:lnTo>
                      <a:pt x="671883" y="185840"/>
                    </a:lnTo>
                    <a:lnTo>
                      <a:pt x="681413" y="185840"/>
                    </a:lnTo>
                    <a:lnTo>
                      <a:pt x="700474" y="190606"/>
                    </a:lnTo>
                    <a:lnTo>
                      <a:pt x="710004" y="185840"/>
                    </a:lnTo>
                    <a:lnTo>
                      <a:pt x="710004" y="176310"/>
                    </a:lnTo>
                    <a:lnTo>
                      <a:pt x="710004" y="166780"/>
                    </a:lnTo>
                    <a:lnTo>
                      <a:pt x="714769" y="162014"/>
                    </a:lnTo>
                    <a:lnTo>
                      <a:pt x="729065" y="157250"/>
                    </a:lnTo>
                    <a:lnTo>
                      <a:pt x="733830" y="157250"/>
                    </a:lnTo>
                    <a:lnTo>
                      <a:pt x="767186" y="171544"/>
                    </a:lnTo>
                    <a:lnTo>
                      <a:pt x="771951" y="176310"/>
                    </a:lnTo>
                    <a:lnTo>
                      <a:pt x="781481" y="185840"/>
                    </a:lnTo>
                    <a:lnTo>
                      <a:pt x="795776" y="200136"/>
                    </a:lnTo>
                    <a:lnTo>
                      <a:pt x="810072" y="209666"/>
                    </a:lnTo>
                    <a:lnTo>
                      <a:pt x="833898" y="214430"/>
                    </a:lnTo>
                    <a:lnTo>
                      <a:pt x="862488" y="233492"/>
                    </a:lnTo>
                    <a:lnTo>
                      <a:pt x="886314" y="243022"/>
                    </a:lnTo>
                    <a:lnTo>
                      <a:pt x="881548" y="247786"/>
                    </a:lnTo>
                    <a:lnTo>
                      <a:pt x="872018" y="247786"/>
                    </a:lnTo>
                    <a:lnTo>
                      <a:pt x="857724" y="247786"/>
                    </a:lnTo>
                    <a:lnTo>
                      <a:pt x="843428" y="243022"/>
                    </a:lnTo>
                    <a:lnTo>
                      <a:pt x="833898" y="243022"/>
                    </a:lnTo>
                    <a:lnTo>
                      <a:pt x="833898" y="247786"/>
                    </a:lnTo>
                    <a:lnTo>
                      <a:pt x="857724" y="262082"/>
                    </a:lnTo>
                    <a:lnTo>
                      <a:pt x="857724" y="276378"/>
                    </a:lnTo>
                    <a:lnTo>
                      <a:pt x="867254" y="290672"/>
                    </a:lnTo>
                    <a:lnTo>
                      <a:pt x="881548" y="304968"/>
                    </a:lnTo>
                    <a:lnTo>
                      <a:pt x="891080" y="309734"/>
                    </a:lnTo>
                    <a:lnTo>
                      <a:pt x="891080" y="319264"/>
                    </a:lnTo>
                    <a:lnTo>
                      <a:pt x="891080" y="328794"/>
                    </a:lnTo>
                    <a:lnTo>
                      <a:pt x="886314" y="333558"/>
                    </a:lnTo>
                    <a:lnTo>
                      <a:pt x="891080" y="371680"/>
                    </a:lnTo>
                    <a:lnTo>
                      <a:pt x="891080" y="376446"/>
                    </a:lnTo>
                    <a:lnTo>
                      <a:pt x="886314" y="376446"/>
                    </a:lnTo>
                    <a:lnTo>
                      <a:pt x="876784" y="376446"/>
                    </a:lnTo>
                    <a:lnTo>
                      <a:pt x="872018" y="371680"/>
                    </a:lnTo>
                    <a:lnTo>
                      <a:pt x="867254" y="371680"/>
                    </a:lnTo>
                    <a:lnTo>
                      <a:pt x="867254" y="376446"/>
                    </a:lnTo>
                    <a:lnTo>
                      <a:pt x="862488" y="390740"/>
                    </a:lnTo>
                    <a:lnTo>
                      <a:pt x="852958" y="428862"/>
                    </a:lnTo>
                    <a:lnTo>
                      <a:pt x="843428" y="462218"/>
                    </a:lnTo>
                    <a:lnTo>
                      <a:pt x="833898" y="476512"/>
                    </a:lnTo>
                    <a:lnTo>
                      <a:pt x="814836" y="495574"/>
                    </a:lnTo>
                    <a:lnTo>
                      <a:pt x="795776" y="519398"/>
                    </a:lnTo>
                    <a:lnTo>
                      <a:pt x="762421" y="557520"/>
                    </a:lnTo>
                    <a:lnTo>
                      <a:pt x="738595" y="576580"/>
                    </a:lnTo>
                    <a:lnTo>
                      <a:pt x="719534" y="590876"/>
                    </a:lnTo>
                    <a:lnTo>
                      <a:pt x="695709" y="605172"/>
                    </a:lnTo>
                    <a:lnTo>
                      <a:pt x="671883" y="624232"/>
                    </a:lnTo>
                    <a:lnTo>
                      <a:pt x="638527" y="638528"/>
                    </a:lnTo>
                    <a:lnTo>
                      <a:pt x="595641" y="652822"/>
                    </a:lnTo>
                    <a:lnTo>
                      <a:pt x="562285" y="662352"/>
                    </a:lnTo>
                    <a:lnTo>
                      <a:pt x="538460" y="671884"/>
                    </a:lnTo>
                    <a:lnTo>
                      <a:pt x="514634" y="681414"/>
                    </a:lnTo>
                    <a:lnTo>
                      <a:pt x="486043" y="690944"/>
                    </a:lnTo>
                    <a:lnTo>
                      <a:pt x="471748" y="700474"/>
                    </a:lnTo>
                    <a:lnTo>
                      <a:pt x="452687" y="724300"/>
                    </a:lnTo>
                    <a:lnTo>
                      <a:pt x="443157" y="738594"/>
                    </a:lnTo>
                    <a:lnTo>
                      <a:pt x="433627" y="748126"/>
                    </a:lnTo>
                    <a:lnTo>
                      <a:pt x="433627" y="752890"/>
                    </a:lnTo>
                    <a:lnTo>
                      <a:pt x="433627" y="757656"/>
                    </a:lnTo>
                    <a:lnTo>
                      <a:pt x="438392" y="762420"/>
                    </a:lnTo>
                    <a:lnTo>
                      <a:pt x="438392" y="767186"/>
                    </a:lnTo>
                    <a:lnTo>
                      <a:pt x="433627" y="771950"/>
                    </a:lnTo>
                    <a:lnTo>
                      <a:pt x="428862" y="771950"/>
                    </a:lnTo>
                    <a:lnTo>
                      <a:pt x="424096" y="767186"/>
                    </a:lnTo>
                    <a:lnTo>
                      <a:pt x="424096" y="762420"/>
                    </a:lnTo>
                    <a:lnTo>
                      <a:pt x="419331" y="757656"/>
                    </a:lnTo>
                    <a:lnTo>
                      <a:pt x="414566" y="752890"/>
                    </a:lnTo>
                    <a:lnTo>
                      <a:pt x="409801" y="757656"/>
                    </a:lnTo>
                    <a:lnTo>
                      <a:pt x="409801" y="762420"/>
                    </a:lnTo>
                    <a:lnTo>
                      <a:pt x="400271" y="786246"/>
                    </a:lnTo>
                    <a:lnTo>
                      <a:pt x="400271" y="800542"/>
                    </a:lnTo>
                    <a:lnTo>
                      <a:pt x="400271" y="805306"/>
                    </a:lnTo>
                    <a:lnTo>
                      <a:pt x="400271" y="814836"/>
                    </a:lnTo>
                    <a:lnTo>
                      <a:pt x="390741" y="824368"/>
                    </a:lnTo>
                    <a:lnTo>
                      <a:pt x="385975" y="833898"/>
                    </a:lnTo>
                    <a:lnTo>
                      <a:pt x="385975" y="843428"/>
                    </a:lnTo>
                    <a:lnTo>
                      <a:pt x="376445" y="848192"/>
                    </a:lnTo>
                    <a:lnTo>
                      <a:pt x="376445" y="857724"/>
                    </a:lnTo>
                    <a:lnTo>
                      <a:pt x="366915" y="876784"/>
                    </a:lnTo>
                    <a:lnTo>
                      <a:pt x="362150" y="891078"/>
                    </a:lnTo>
                    <a:lnTo>
                      <a:pt x="357385" y="900610"/>
                    </a:lnTo>
                    <a:lnTo>
                      <a:pt x="357385" y="910140"/>
                    </a:lnTo>
                    <a:lnTo>
                      <a:pt x="362150" y="914904"/>
                    </a:lnTo>
                    <a:lnTo>
                      <a:pt x="362150" y="924434"/>
                    </a:lnTo>
                    <a:lnTo>
                      <a:pt x="357385" y="933966"/>
                    </a:lnTo>
                    <a:lnTo>
                      <a:pt x="357385" y="938730"/>
                    </a:lnTo>
                    <a:lnTo>
                      <a:pt x="347854" y="943496"/>
                    </a:lnTo>
                    <a:lnTo>
                      <a:pt x="328794" y="953026"/>
                    </a:lnTo>
                    <a:lnTo>
                      <a:pt x="324029" y="962556"/>
                    </a:lnTo>
                    <a:lnTo>
                      <a:pt x="319264" y="972086"/>
                    </a:lnTo>
                    <a:lnTo>
                      <a:pt x="319264" y="976852"/>
                    </a:lnTo>
                    <a:lnTo>
                      <a:pt x="319264" y="986382"/>
                    </a:lnTo>
                    <a:lnTo>
                      <a:pt x="309733" y="986382"/>
                    </a:lnTo>
                    <a:lnTo>
                      <a:pt x="309733" y="991146"/>
                    </a:lnTo>
                    <a:lnTo>
                      <a:pt x="300203" y="1000676"/>
                    </a:lnTo>
                    <a:lnTo>
                      <a:pt x="295438" y="1005442"/>
                    </a:lnTo>
                    <a:lnTo>
                      <a:pt x="276377" y="1000676"/>
                    </a:lnTo>
                    <a:lnTo>
                      <a:pt x="266847" y="1000676"/>
                    </a:lnTo>
                    <a:lnTo>
                      <a:pt x="257317" y="995912"/>
                    </a:lnTo>
                    <a:lnTo>
                      <a:pt x="238256" y="972086"/>
                    </a:lnTo>
                    <a:lnTo>
                      <a:pt x="228726" y="957790"/>
                    </a:lnTo>
                    <a:lnTo>
                      <a:pt x="228726" y="933966"/>
                    </a:lnTo>
                    <a:lnTo>
                      <a:pt x="219196" y="929200"/>
                    </a:lnTo>
                    <a:lnTo>
                      <a:pt x="209666" y="919670"/>
                    </a:lnTo>
                    <a:lnTo>
                      <a:pt x="195370" y="924434"/>
                    </a:lnTo>
                    <a:lnTo>
                      <a:pt x="181075" y="924434"/>
                    </a:lnTo>
                    <a:lnTo>
                      <a:pt x="176310" y="919670"/>
                    </a:lnTo>
                    <a:lnTo>
                      <a:pt x="157249" y="910140"/>
                    </a:lnTo>
                    <a:lnTo>
                      <a:pt x="142954" y="900610"/>
                    </a:lnTo>
                    <a:lnTo>
                      <a:pt x="128658" y="895844"/>
                    </a:lnTo>
                    <a:lnTo>
                      <a:pt x="119128" y="900610"/>
                    </a:lnTo>
                    <a:lnTo>
                      <a:pt x="114363" y="905374"/>
                    </a:lnTo>
                    <a:lnTo>
                      <a:pt x="104833" y="914904"/>
                    </a:lnTo>
                    <a:lnTo>
                      <a:pt x="90537" y="924434"/>
                    </a:lnTo>
                    <a:lnTo>
                      <a:pt x="85772" y="924434"/>
                    </a:lnTo>
                    <a:lnTo>
                      <a:pt x="76242" y="919670"/>
                    </a:lnTo>
                    <a:lnTo>
                      <a:pt x="76242" y="910140"/>
                    </a:lnTo>
                    <a:lnTo>
                      <a:pt x="81007" y="900610"/>
                    </a:lnTo>
                    <a:lnTo>
                      <a:pt x="95303" y="881548"/>
                    </a:lnTo>
                    <a:lnTo>
                      <a:pt x="81007" y="881548"/>
                    </a:lnTo>
                    <a:lnTo>
                      <a:pt x="76242" y="876784"/>
                    </a:lnTo>
                    <a:lnTo>
                      <a:pt x="76242" y="867254"/>
                    </a:lnTo>
                    <a:lnTo>
                      <a:pt x="71477" y="862488"/>
                    </a:lnTo>
                    <a:lnTo>
                      <a:pt x="76242" y="852958"/>
                    </a:lnTo>
                    <a:lnTo>
                      <a:pt x="81007" y="848192"/>
                    </a:lnTo>
                    <a:lnTo>
                      <a:pt x="95303" y="852958"/>
                    </a:lnTo>
                    <a:lnTo>
                      <a:pt x="104833" y="852958"/>
                    </a:lnTo>
                    <a:lnTo>
                      <a:pt x="109598" y="843428"/>
                    </a:lnTo>
                    <a:lnTo>
                      <a:pt x="114363" y="838662"/>
                    </a:lnTo>
                    <a:lnTo>
                      <a:pt x="119128" y="833898"/>
                    </a:lnTo>
                    <a:lnTo>
                      <a:pt x="123893" y="833898"/>
                    </a:lnTo>
                    <a:lnTo>
                      <a:pt x="119128" y="819602"/>
                    </a:lnTo>
                    <a:lnTo>
                      <a:pt x="114363" y="810072"/>
                    </a:lnTo>
                    <a:lnTo>
                      <a:pt x="119128" y="805306"/>
                    </a:lnTo>
                    <a:lnTo>
                      <a:pt x="119128" y="795776"/>
                    </a:lnTo>
                    <a:lnTo>
                      <a:pt x="119128" y="791012"/>
                    </a:lnTo>
                    <a:lnTo>
                      <a:pt x="114363" y="786246"/>
                    </a:lnTo>
                    <a:lnTo>
                      <a:pt x="114363" y="776716"/>
                    </a:lnTo>
                    <a:lnTo>
                      <a:pt x="109598" y="771950"/>
                    </a:lnTo>
                    <a:lnTo>
                      <a:pt x="109598" y="767186"/>
                    </a:lnTo>
                    <a:lnTo>
                      <a:pt x="109598" y="762420"/>
                    </a:lnTo>
                    <a:lnTo>
                      <a:pt x="104833" y="757656"/>
                    </a:lnTo>
                    <a:lnTo>
                      <a:pt x="100068" y="752890"/>
                    </a:lnTo>
                    <a:lnTo>
                      <a:pt x="104833" y="752890"/>
                    </a:lnTo>
                    <a:lnTo>
                      <a:pt x="128658" y="743360"/>
                    </a:lnTo>
                    <a:lnTo>
                      <a:pt x="133424" y="738594"/>
                    </a:lnTo>
                    <a:lnTo>
                      <a:pt x="147719" y="729064"/>
                    </a:lnTo>
                    <a:lnTo>
                      <a:pt x="157249" y="719534"/>
                    </a:lnTo>
                    <a:lnTo>
                      <a:pt x="162014" y="710004"/>
                    </a:lnTo>
                    <a:lnTo>
                      <a:pt x="181075" y="657588"/>
                    </a:lnTo>
                    <a:lnTo>
                      <a:pt x="195370" y="628996"/>
                    </a:lnTo>
                    <a:lnTo>
                      <a:pt x="190605" y="614702"/>
                    </a:lnTo>
                    <a:lnTo>
                      <a:pt x="181075" y="590876"/>
                    </a:lnTo>
                    <a:lnTo>
                      <a:pt x="176310" y="562286"/>
                    </a:lnTo>
                    <a:lnTo>
                      <a:pt x="176310" y="552754"/>
                    </a:lnTo>
                    <a:lnTo>
                      <a:pt x="176310" y="547990"/>
                    </a:lnTo>
                    <a:lnTo>
                      <a:pt x="166779" y="562286"/>
                    </a:lnTo>
                    <a:lnTo>
                      <a:pt x="171545" y="605172"/>
                    </a:lnTo>
                    <a:lnTo>
                      <a:pt x="162014" y="624232"/>
                    </a:lnTo>
                    <a:lnTo>
                      <a:pt x="152484" y="628996"/>
                    </a:lnTo>
                    <a:lnTo>
                      <a:pt x="147719" y="624232"/>
                    </a:lnTo>
                    <a:lnTo>
                      <a:pt x="152484" y="590876"/>
                    </a:lnTo>
                    <a:lnTo>
                      <a:pt x="142954" y="600406"/>
                    </a:lnTo>
                    <a:lnTo>
                      <a:pt x="133424" y="619466"/>
                    </a:lnTo>
                    <a:lnTo>
                      <a:pt x="114363" y="638528"/>
                    </a:lnTo>
                    <a:lnTo>
                      <a:pt x="109598" y="643292"/>
                    </a:lnTo>
                    <a:lnTo>
                      <a:pt x="104833" y="648058"/>
                    </a:lnTo>
                    <a:lnTo>
                      <a:pt x="90537" y="643292"/>
                    </a:lnTo>
                    <a:lnTo>
                      <a:pt x="81007" y="633762"/>
                    </a:lnTo>
                    <a:lnTo>
                      <a:pt x="42886" y="600406"/>
                    </a:lnTo>
                    <a:lnTo>
                      <a:pt x="19061" y="590876"/>
                    </a:lnTo>
                    <a:lnTo>
                      <a:pt x="4765" y="581346"/>
                    </a:lnTo>
                    <a:lnTo>
                      <a:pt x="4765" y="576580"/>
                    </a:lnTo>
                    <a:lnTo>
                      <a:pt x="0" y="567050"/>
                    </a:lnTo>
                    <a:lnTo>
                      <a:pt x="14295" y="562286"/>
                    </a:lnTo>
                    <a:lnTo>
                      <a:pt x="28591" y="547990"/>
                    </a:lnTo>
                    <a:lnTo>
                      <a:pt x="33356" y="528930"/>
                    </a:lnTo>
                    <a:lnTo>
                      <a:pt x="33356" y="509868"/>
                    </a:lnTo>
                    <a:lnTo>
                      <a:pt x="19061" y="481278"/>
                    </a:lnTo>
                    <a:lnTo>
                      <a:pt x="28591" y="443156"/>
                    </a:lnTo>
                    <a:lnTo>
                      <a:pt x="23826" y="424096"/>
                    </a:lnTo>
                    <a:lnTo>
                      <a:pt x="9530" y="395506"/>
                    </a:lnTo>
                    <a:lnTo>
                      <a:pt x="19061" y="376446"/>
                    </a:lnTo>
                    <a:lnTo>
                      <a:pt x="52416" y="366914"/>
                    </a:lnTo>
                    <a:lnTo>
                      <a:pt x="66712" y="357384"/>
                    </a:lnTo>
                    <a:lnTo>
                      <a:pt x="71477" y="333558"/>
                    </a:lnTo>
                    <a:lnTo>
                      <a:pt x="81007" y="314498"/>
                    </a:lnTo>
                    <a:lnTo>
                      <a:pt x="95303" y="324028"/>
                    </a:lnTo>
                    <a:lnTo>
                      <a:pt x="104833" y="324028"/>
                    </a:lnTo>
                    <a:lnTo>
                      <a:pt x="90537" y="314498"/>
                    </a:lnTo>
                    <a:lnTo>
                      <a:pt x="76242" y="295438"/>
                    </a:lnTo>
                    <a:lnTo>
                      <a:pt x="76242" y="281142"/>
                    </a:lnTo>
                    <a:lnTo>
                      <a:pt x="100068" y="252552"/>
                    </a:lnTo>
                    <a:lnTo>
                      <a:pt x="114363" y="243022"/>
                    </a:lnTo>
                    <a:lnTo>
                      <a:pt x="128658" y="228726"/>
                    </a:lnTo>
                    <a:lnTo>
                      <a:pt x="142954" y="200136"/>
                    </a:lnTo>
                    <a:lnTo>
                      <a:pt x="147719" y="162014"/>
                    </a:lnTo>
                    <a:lnTo>
                      <a:pt x="142954" y="133424"/>
                    </a:lnTo>
                    <a:lnTo>
                      <a:pt x="138189" y="100068"/>
                    </a:lnTo>
                    <a:lnTo>
                      <a:pt x="147719" y="95302"/>
                    </a:lnTo>
                    <a:lnTo>
                      <a:pt x="166779" y="90538"/>
                    </a:lnTo>
                    <a:lnTo>
                      <a:pt x="181075" y="81008"/>
                    </a:lnTo>
                    <a:lnTo>
                      <a:pt x="190605" y="71476"/>
                    </a:lnTo>
                    <a:lnTo>
                      <a:pt x="209666" y="71476"/>
                    </a:lnTo>
                    <a:lnTo>
                      <a:pt x="233491" y="57182"/>
                    </a:lnTo>
                    <a:lnTo>
                      <a:pt x="271612" y="52416"/>
                    </a:lnTo>
                    <a:lnTo>
                      <a:pt x="324029" y="38122"/>
                    </a:lnTo>
                    <a:lnTo>
                      <a:pt x="333559" y="2382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95" name="Google Shape;4562;p64">
              <a:extLst>
                <a:ext uri="{FF2B5EF4-FFF2-40B4-BE49-F238E27FC236}">
                  <a16:creationId xmlns:a16="http://schemas.microsoft.com/office/drawing/2014/main" id="{696F6261-5923-33C8-7FB2-1E638EA7355A}"/>
                </a:ext>
              </a:extLst>
            </p:cNvPr>
            <p:cNvSpPr/>
            <p:nvPr/>
          </p:nvSpPr>
          <p:spPr>
            <a:xfrm>
              <a:off x="5056581" y="4270786"/>
              <a:ext cx="261869" cy="233648"/>
            </a:xfrm>
            <a:custGeom>
              <a:avLst/>
              <a:gdLst/>
              <a:ahLst/>
              <a:cxnLst/>
              <a:rect l="l" t="t" r="r" b="b"/>
              <a:pathLst>
                <a:path w="798" h="712" extrusionOk="0">
                  <a:moveTo>
                    <a:pt x="622" y="26"/>
                  </a:moveTo>
                  <a:lnTo>
                    <a:pt x="620" y="28"/>
                  </a:lnTo>
                  <a:lnTo>
                    <a:pt x="602" y="38"/>
                  </a:lnTo>
                  <a:lnTo>
                    <a:pt x="588" y="42"/>
                  </a:lnTo>
                  <a:lnTo>
                    <a:pt x="568" y="42"/>
                  </a:lnTo>
                  <a:lnTo>
                    <a:pt x="556" y="44"/>
                  </a:lnTo>
                  <a:lnTo>
                    <a:pt x="554" y="42"/>
                  </a:lnTo>
                  <a:lnTo>
                    <a:pt x="552" y="38"/>
                  </a:lnTo>
                  <a:lnTo>
                    <a:pt x="538" y="42"/>
                  </a:lnTo>
                  <a:lnTo>
                    <a:pt x="534" y="42"/>
                  </a:lnTo>
                  <a:lnTo>
                    <a:pt x="522" y="46"/>
                  </a:lnTo>
                  <a:lnTo>
                    <a:pt x="518" y="46"/>
                  </a:lnTo>
                  <a:lnTo>
                    <a:pt x="512" y="44"/>
                  </a:lnTo>
                  <a:lnTo>
                    <a:pt x="500" y="32"/>
                  </a:lnTo>
                  <a:lnTo>
                    <a:pt x="494" y="28"/>
                  </a:lnTo>
                  <a:lnTo>
                    <a:pt x="492" y="28"/>
                  </a:lnTo>
                  <a:lnTo>
                    <a:pt x="494" y="32"/>
                  </a:lnTo>
                  <a:lnTo>
                    <a:pt x="496" y="36"/>
                  </a:lnTo>
                  <a:lnTo>
                    <a:pt x="492" y="42"/>
                  </a:lnTo>
                  <a:lnTo>
                    <a:pt x="484" y="44"/>
                  </a:lnTo>
                  <a:lnTo>
                    <a:pt x="482" y="40"/>
                  </a:lnTo>
                  <a:lnTo>
                    <a:pt x="478" y="34"/>
                  </a:lnTo>
                  <a:lnTo>
                    <a:pt x="472" y="32"/>
                  </a:lnTo>
                  <a:lnTo>
                    <a:pt x="464" y="28"/>
                  </a:lnTo>
                  <a:lnTo>
                    <a:pt x="470" y="20"/>
                  </a:lnTo>
                  <a:lnTo>
                    <a:pt x="470" y="14"/>
                  </a:lnTo>
                  <a:lnTo>
                    <a:pt x="482" y="24"/>
                  </a:lnTo>
                  <a:lnTo>
                    <a:pt x="486" y="26"/>
                  </a:lnTo>
                  <a:lnTo>
                    <a:pt x="476" y="12"/>
                  </a:lnTo>
                  <a:lnTo>
                    <a:pt x="470" y="10"/>
                  </a:lnTo>
                  <a:lnTo>
                    <a:pt x="468" y="10"/>
                  </a:lnTo>
                  <a:lnTo>
                    <a:pt x="452" y="16"/>
                  </a:lnTo>
                  <a:lnTo>
                    <a:pt x="446" y="16"/>
                  </a:lnTo>
                  <a:lnTo>
                    <a:pt x="426" y="6"/>
                  </a:lnTo>
                  <a:lnTo>
                    <a:pt x="418" y="4"/>
                  </a:lnTo>
                  <a:lnTo>
                    <a:pt x="416" y="6"/>
                  </a:lnTo>
                  <a:lnTo>
                    <a:pt x="414" y="12"/>
                  </a:lnTo>
                  <a:lnTo>
                    <a:pt x="412" y="16"/>
                  </a:lnTo>
                  <a:lnTo>
                    <a:pt x="402" y="18"/>
                  </a:lnTo>
                  <a:lnTo>
                    <a:pt x="392" y="20"/>
                  </a:lnTo>
                  <a:lnTo>
                    <a:pt x="384" y="20"/>
                  </a:lnTo>
                  <a:lnTo>
                    <a:pt x="404" y="12"/>
                  </a:lnTo>
                  <a:lnTo>
                    <a:pt x="408" y="8"/>
                  </a:lnTo>
                  <a:lnTo>
                    <a:pt x="384" y="14"/>
                  </a:lnTo>
                  <a:lnTo>
                    <a:pt x="372" y="16"/>
                  </a:lnTo>
                  <a:lnTo>
                    <a:pt x="370" y="20"/>
                  </a:lnTo>
                  <a:lnTo>
                    <a:pt x="368" y="24"/>
                  </a:lnTo>
                  <a:lnTo>
                    <a:pt x="364" y="26"/>
                  </a:lnTo>
                  <a:lnTo>
                    <a:pt x="362" y="32"/>
                  </a:lnTo>
                  <a:lnTo>
                    <a:pt x="356" y="32"/>
                  </a:lnTo>
                  <a:lnTo>
                    <a:pt x="350" y="30"/>
                  </a:lnTo>
                  <a:lnTo>
                    <a:pt x="342" y="34"/>
                  </a:lnTo>
                  <a:lnTo>
                    <a:pt x="320" y="50"/>
                  </a:lnTo>
                  <a:lnTo>
                    <a:pt x="310" y="56"/>
                  </a:lnTo>
                  <a:lnTo>
                    <a:pt x="300" y="62"/>
                  </a:lnTo>
                  <a:lnTo>
                    <a:pt x="292" y="64"/>
                  </a:lnTo>
                  <a:lnTo>
                    <a:pt x="286" y="64"/>
                  </a:lnTo>
                  <a:lnTo>
                    <a:pt x="280" y="62"/>
                  </a:lnTo>
                  <a:lnTo>
                    <a:pt x="268" y="56"/>
                  </a:lnTo>
                  <a:lnTo>
                    <a:pt x="250" y="48"/>
                  </a:lnTo>
                  <a:lnTo>
                    <a:pt x="214" y="44"/>
                  </a:lnTo>
                  <a:lnTo>
                    <a:pt x="204" y="36"/>
                  </a:lnTo>
                  <a:lnTo>
                    <a:pt x="190" y="36"/>
                  </a:lnTo>
                  <a:lnTo>
                    <a:pt x="186" y="34"/>
                  </a:lnTo>
                  <a:lnTo>
                    <a:pt x="166" y="22"/>
                  </a:lnTo>
                  <a:lnTo>
                    <a:pt x="136" y="16"/>
                  </a:lnTo>
                  <a:lnTo>
                    <a:pt x="114" y="12"/>
                  </a:lnTo>
                  <a:lnTo>
                    <a:pt x="78" y="4"/>
                  </a:lnTo>
                  <a:lnTo>
                    <a:pt x="44" y="12"/>
                  </a:lnTo>
                  <a:lnTo>
                    <a:pt x="34" y="10"/>
                  </a:lnTo>
                  <a:lnTo>
                    <a:pt x="28" y="0"/>
                  </a:lnTo>
                  <a:lnTo>
                    <a:pt x="26" y="2"/>
                  </a:lnTo>
                  <a:lnTo>
                    <a:pt x="22" y="8"/>
                  </a:lnTo>
                  <a:lnTo>
                    <a:pt x="20" y="12"/>
                  </a:lnTo>
                  <a:lnTo>
                    <a:pt x="14" y="18"/>
                  </a:lnTo>
                  <a:lnTo>
                    <a:pt x="10" y="26"/>
                  </a:lnTo>
                  <a:lnTo>
                    <a:pt x="10" y="36"/>
                  </a:lnTo>
                  <a:lnTo>
                    <a:pt x="12" y="46"/>
                  </a:lnTo>
                  <a:lnTo>
                    <a:pt x="14" y="56"/>
                  </a:lnTo>
                  <a:lnTo>
                    <a:pt x="18" y="68"/>
                  </a:lnTo>
                  <a:lnTo>
                    <a:pt x="16" y="76"/>
                  </a:lnTo>
                  <a:lnTo>
                    <a:pt x="14" y="84"/>
                  </a:lnTo>
                  <a:lnTo>
                    <a:pt x="12" y="92"/>
                  </a:lnTo>
                  <a:lnTo>
                    <a:pt x="0" y="108"/>
                  </a:lnTo>
                  <a:lnTo>
                    <a:pt x="0" y="112"/>
                  </a:lnTo>
                  <a:lnTo>
                    <a:pt x="0" y="118"/>
                  </a:lnTo>
                  <a:lnTo>
                    <a:pt x="6" y="136"/>
                  </a:lnTo>
                  <a:lnTo>
                    <a:pt x="6" y="142"/>
                  </a:lnTo>
                  <a:lnTo>
                    <a:pt x="10" y="160"/>
                  </a:lnTo>
                  <a:lnTo>
                    <a:pt x="14" y="174"/>
                  </a:lnTo>
                  <a:lnTo>
                    <a:pt x="18" y="186"/>
                  </a:lnTo>
                  <a:lnTo>
                    <a:pt x="18" y="188"/>
                  </a:lnTo>
                  <a:lnTo>
                    <a:pt x="18" y="712"/>
                  </a:lnTo>
                  <a:lnTo>
                    <a:pt x="426" y="712"/>
                  </a:lnTo>
                  <a:lnTo>
                    <a:pt x="430" y="712"/>
                  </a:lnTo>
                  <a:lnTo>
                    <a:pt x="436" y="698"/>
                  </a:lnTo>
                  <a:lnTo>
                    <a:pt x="438" y="698"/>
                  </a:lnTo>
                  <a:lnTo>
                    <a:pt x="442" y="698"/>
                  </a:lnTo>
                  <a:lnTo>
                    <a:pt x="444" y="700"/>
                  </a:lnTo>
                  <a:lnTo>
                    <a:pt x="442" y="706"/>
                  </a:lnTo>
                  <a:lnTo>
                    <a:pt x="440" y="712"/>
                  </a:lnTo>
                  <a:lnTo>
                    <a:pt x="626" y="712"/>
                  </a:lnTo>
                  <a:lnTo>
                    <a:pt x="646" y="712"/>
                  </a:lnTo>
                  <a:lnTo>
                    <a:pt x="798" y="712"/>
                  </a:lnTo>
                  <a:lnTo>
                    <a:pt x="798" y="710"/>
                  </a:lnTo>
                  <a:lnTo>
                    <a:pt x="794" y="704"/>
                  </a:lnTo>
                  <a:lnTo>
                    <a:pt x="768" y="684"/>
                  </a:lnTo>
                  <a:lnTo>
                    <a:pt x="756" y="666"/>
                  </a:lnTo>
                  <a:lnTo>
                    <a:pt x="734" y="658"/>
                  </a:lnTo>
                  <a:lnTo>
                    <a:pt x="730" y="656"/>
                  </a:lnTo>
                  <a:lnTo>
                    <a:pt x="726" y="652"/>
                  </a:lnTo>
                  <a:lnTo>
                    <a:pt x="720" y="644"/>
                  </a:lnTo>
                  <a:lnTo>
                    <a:pt x="712" y="622"/>
                  </a:lnTo>
                  <a:lnTo>
                    <a:pt x="708" y="608"/>
                  </a:lnTo>
                  <a:lnTo>
                    <a:pt x="708" y="584"/>
                  </a:lnTo>
                  <a:lnTo>
                    <a:pt x="708" y="580"/>
                  </a:lnTo>
                  <a:lnTo>
                    <a:pt x="710" y="574"/>
                  </a:lnTo>
                  <a:lnTo>
                    <a:pt x="714" y="574"/>
                  </a:lnTo>
                  <a:lnTo>
                    <a:pt x="716" y="572"/>
                  </a:lnTo>
                  <a:lnTo>
                    <a:pt x="726" y="574"/>
                  </a:lnTo>
                  <a:lnTo>
                    <a:pt x="716" y="564"/>
                  </a:lnTo>
                  <a:lnTo>
                    <a:pt x="706" y="558"/>
                  </a:lnTo>
                  <a:lnTo>
                    <a:pt x="700" y="550"/>
                  </a:lnTo>
                  <a:lnTo>
                    <a:pt x="688" y="534"/>
                  </a:lnTo>
                  <a:lnTo>
                    <a:pt x="664" y="486"/>
                  </a:lnTo>
                  <a:lnTo>
                    <a:pt x="654" y="466"/>
                  </a:lnTo>
                  <a:lnTo>
                    <a:pt x="646" y="446"/>
                  </a:lnTo>
                  <a:lnTo>
                    <a:pt x="630" y="422"/>
                  </a:lnTo>
                  <a:lnTo>
                    <a:pt x="612" y="384"/>
                  </a:lnTo>
                  <a:lnTo>
                    <a:pt x="606" y="376"/>
                  </a:lnTo>
                  <a:lnTo>
                    <a:pt x="602" y="348"/>
                  </a:lnTo>
                  <a:lnTo>
                    <a:pt x="600" y="338"/>
                  </a:lnTo>
                  <a:lnTo>
                    <a:pt x="596" y="332"/>
                  </a:lnTo>
                  <a:lnTo>
                    <a:pt x="590" y="326"/>
                  </a:lnTo>
                  <a:lnTo>
                    <a:pt x="586" y="320"/>
                  </a:lnTo>
                  <a:lnTo>
                    <a:pt x="580" y="306"/>
                  </a:lnTo>
                  <a:lnTo>
                    <a:pt x="580" y="300"/>
                  </a:lnTo>
                  <a:lnTo>
                    <a:pt x="580" y="284"/>
                  </a:lnTo>
                  <a:lnTo>
                    <a:pt x="576" y="280"/>
                  </a:lnTo>
                  <a:lnTo>
                    <a:pt x="568" y="274"/>
                  </a:lnTo>
                  <a:lnTo>
                    <a:pt x="556" y="262"/>
                  </a:lnTo>
                  <a:lnTo>
                    <a:pt x="546" y="244"/>
                  </a:lnTo>
                  <a:lnTo>
                    <a:pt x="536" y="234"/>
                  </a:lnTo>
                  <a:lnTo>
                    <a:pt x="534" y="230"/>
                  </a:lnTo>
                  <a:lnTo>
                    <a:pt x="532" y="224"/>
                  </a:lnTo>
                  <a:lnTo>
                    <a:pt x="530" y="218"/>
                  </a:lnTo>
                  <a:lnTo>
                    <a:pt x="522" y="208"/>
                  </a:lnTo>
                  <a:lnTo>
                    <a:pt x="520" y="204"/>
                  </a:lnTo>
                  <a:lnTo>
                    <a:pt x="520" y="188"/>
                  </a:lnTo>
                  <a:lnTo>
                    <a:pt x="518" y="178"/>
                  </a:lnTo>
                  <a:lnTo>
                    <a:pt x="514" y="174"/>
                  </a:lnTo>
                  <a:lnTo>
                    <a:pt x="504" y="162"/>
                  </a:lnTo>
                  <a:lnTo>
                    <a:pt x="502" y="156"/>
                  </a:lnTo>
                  <a:lnTo>
                    <a:pt x="504" y="146"/>
                  </a:lnTo>
                  <a:lnTo>
                    <a:pt x="510" y="138"/>
                  </a:lnTo>
                  <a:lnTo>
                    <a:pt x="508" y="132"/>
                  </a:lnTo>
                  <a:lnTo>
                    <a:pt x="516" y="130"/>
                  </a:lnTo>
                  <a:lnTo>
                    <a:pt x="520" y="142"/>
                  </a:lnTo>
                  <a:lnTo>
                    <a:pt x="526" y="164"/>
                  </a:lnTo>
                  <a:lnTo>
                    <a:pt x="528" y="168"/>
                  </a:lnTo>
                  <a:lnTo>
                    <a:pt x="532" y="172"/>
                  </a:lnTo>
                  <a:lnTo>
                    <a:pt x="536" y="182"/>
                  </a:lnTo>
                  <a:lnTo>
                    <a:pt x="548" y="198"/>
                  </a:lnTo>
                  <a:lnTo>
                    <a:pt x="552" y="204"/>
                  </a:lnTo>
                  <a:lnTo>
                    <a:pt x="556" y="220"/>
                  </a:lnTo>
                  <a:lnTo>
                    <a:pt x="556" y="226"/>
                  </a:lnTo>
                  <a:lnTo>
                    <a:pt x="560" y="234"/>
                  </a:lnTo>
                  <a:lnTo>
                    <a:pt x="570" y="248"/>
                  </a:lnTo>
                  <a:lnTo>
                    <a:pt x="582" y="258"/>
                  </a:lnTo>
                  <a:lnTo>
                    <a:pt x="594" y="274"/>
                  </a:lnTo>
                  <a:lnTo>
                    <a:pt x="612" y="290"/>
                  </a:lnTo>
                  <a:lnTo>
                    <a:pt x="624" y="294"/>
                  </a:lnTo>
                  <a:lnTo>
                    <a:pt x="630" y="286"/>
                  </a:lnTo>
                  <a:lnTo>
                    <a:pt x="636" y="276"/>
                  </a:lnTo>
                  <a:lnTo>
                    <a:pt x="638" y="270"/>
                  </a:lnTo>
                  <a:lnTo>
                    <a:pt x="638" y="250"/>
                  </a:lnTo>
                  <a:lnTo>
                    <a:pt x="650" y="220"/>
                  </a:lnTo>
                  <a:lnTo>
                    <a:pt x="658" y="182"/>
                  </a:lnTo>
                  <a:lnTo>
                    <a:pt x="664" y="170"/>
                  </a:lnTo>
                  <a:lnTo>
                    <a:pt x="668" y="166"/>
                  </a:lnTo>
                  <a:lnTo>
                    <a:pt x="666" y="160"/>
                  </a:lnTo>
                  <a:lnTo>
                    <a:pt x="660" y="142"/>
                  </a:lnTo>
                  <a:lnTo>
                    <a:pt x="658" y="128"/>
                  </a:lnTo>
                  <a:lnTo>
                    <a:pt x="652" y="112"/>
                  </a:lnTo>
                  <a:lnTo>
                    <a:pt x="644" y="94"/>
                  </a:lnTo>
                  <a:lnTo>
                    <a:pt x="644" y="88"/>
                  </a:lnTo>
                  <a:lnTo>
                    <a:pt x="642" y="82"/>
                  </a:lnTo>
                  <a:lnTo>
                    <a:pt x="636" y="64"/>
                  </a:lnTo>
                  <a:lnTo>
                    <a:pt x="630" y="52"/>
                  </a:lnTo>
                  <a:lnTo>
                    <a:pt x="624" y="36"/>
                  </a:lnTo>
                  <a:lnTo>
                    <a:pt x="622" y="28"/>
                  </a:lnTo>
                  <a:lnTo>
                    <a:pt x="622"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6" name="Google Shape;4563;p64">
              <a:extLst>
                <a:ext uri="{FF2B5EF4-FFF2-40B4-BE49-F238E27FC236}">
                  <a16:creationId xmlns:a16="http://schemas.microsoft.com/office/drawing/2014/main" id="{9D04CE96-A5ED-C4DC-384E-2381C1F2A022}"/>
                </a:ext>
              </a:extLst>
            </p:cNvPr>
            <p:cNvSpPr/>
            <p:nvPr/>
          </p:nvSpPr>
          <p:spPr>
            <a:xfrm>
              <a:off x="5384082" y="4643572"/>
              <a:ext cx="10501" cy="6563"/>
            </a:xfrm>
            <a:custGeom>
              <a:avLst/>
              <a:gdLst/>
              <a:ahLst/>
              <a:cxnLst/>
              <a:rect l="l" t="t" r="r" b="b"/>
              <a:pathLst>
                <a:path w="32" h="20" extrusionOk="0">
                  <a:moveTo>
                    <a:pt x="14" y="12"/>
                  </a:moveTo>
                  <a:lnTo>
                    <a:pt x="12" y="6"/>
                  </a:lnTo>
                  <a:lnTo>
                    <a:pt x="10" y="2"/>
                  </a:lnTo>
                  <a:lnTo>
                    <a:pt x="8" y="0"/>
                  </a:lnTo>
                  <a:lnTo>
                    <a:pt x="2" y="0"/>
                  </a:lnTo>
                  <a:lnTo>
                    <a:pt x="4" y="4"/>
                  </a:lnTo>
                  <a:lnTo>
                    <a:pt x="2" y="4"/>
                  </a:lnTo>
                  <a:lnTo>
                    <a:pt x="0" y="6"/>
                  </a:lnTo>
                  <a:lnTo>
                    <a:pt x="0" y="10"/>
                  </a:lnTo>
                  <a:lnTo>
                    <a:pt x="6" y="10"/>
                  </a:lnTo>
                  <a:lnTo>
                    <a:pt x="10" y="14"/>
                  </a:lnTo>
                  <a:lnTo>
                    <a:pt x="8" y="14"/>
                  </a:lnTo>
                  <a:lnTo>
                    <a:pt x="6" y="16"/>
                  </a:lnTo>
                  <a:lnTo>
                    <a:pt x="0" y="12"/>
                  </a:lnTo>
                  <a:lnTo>
                    <a:pt x="2" y="18"/>
                  </a:lnTo>
                  <a:lnTo>
                    <a:pt x="10" y="20"/>
                  </a:lnTo>
                  <a:lnTo>
                    <a:pt x="18" y="18"/>
                  </a:lnTo>
                  <a:lnTo>
                    <a:pt x="24" y="20"/>
                  </a:lnTo>
                  <a:lnTo>
                    <a:pt x="30" y="20"/>
                  </a:lnTo>
                  <a:lnTo>
                    <a:pt x="32" y="16"/>
                  </a:lnTo>
                  <a:lnTo>
                    <a:pt x="20" y="12"/>
                  </a:lnTo>
                  <a:lnTo>
                    <a:pt x="20" y="14"/>
                  </a:lnTo>
                  <a:lnTo>
                    <a:pt x="18" y="16"/>
                  </a:lnTo>
                  <a:lnTo>
                    <a:pt x="16" y="16"/>
                  </a:lnTo>
                  <a:lnTo>
                    <a:pt x="14"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7" name="Google Shape;4564;p64">
              <a:extLst>
                <a:ext uri="{FF2B5EF4-FFF2-40B4-BE49-F238E27FC236}">
                  <a16:creationId xmlns:a16="http://schemas.microsoft.com/office/drawing/2014/main" id="{F320D307-74B8-3CA4-87F5-24CEAE4926BC}"/>
                </a:ext>
              </a:extLst>
            </p:cNvPr>
            <p:cNvSpPr/>
            <p:nvPr/>
          </p:nvSpPr>
          <p:spPr>
            <a:xfrm>
              <a:off x="5385396" y="4638321"/>
              <a:ext cx="2625" cy="2625"/>
            </a:xfrm>
            <a:custGeom>
              <a:avLst/>
              <a:gdLst/>
              <a:ahLst/>
              <a:cxnLst/>
              <a:rect l="l" t="t" r="r" b="b"/>
              <a:pathLst>
                <a:path w="8" h="8" extrusionOk="0">
                  <a:moveTo>
                    <a:pt x="6" y="2"/>
                  </a:moveTo>
                  <a:lnTo>
                    <a:pt x="4" y="0"/>
                  </a:lnTo>
                  <a:lnTo>
                    <a:pt x="4" y="2"/>
                  </a:lnTo>
                  <a:lnTo>
                    <a:pt x="0" y="4"/>
                  </a:lnTo>
                  <a:lnTo>
                    <a:pt x="2" y="6"/>
                  </a:lnTo>
                  <a:lnTo>
                    <a:pt x="8" y="8"/>
                  </a:lnTo>
                  <a:lnTo>
                    <a:pt x="6"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98" name="Google Shape;4565;p64">
              <a:extLst>
                <a:ext uri="{FF2B5EF4-FFF2-40B4-BE49-F238E27FC236}">
                  <a16:creationId xmlns:a16="http://schemas.microsoft.com/office/drawing/2014/main" id="{9BE2083D-B70E-8D5C-DBFC-DDAE9E9E943E}"/>
                </a:ext>
              </a:extLst>
            </p:cNvPr>
            <p:cNvSpPr/>
            <p:nvPr/>
          </p:nvSpPr>
          <p:spPr>
            <a:xfrm>
              <a:off x="5308606" y="4595660"/>
              <a:ext cx="143733" cy="125356"/>
            </a:xfrm>
            <a:custGeom>
              <a:avLst/>
              <a:gdLst/>
              <a:ahLst/>
              <a:cxnLst/>
              <a:rect l="l" t="t" r="r" b="b"/>
              <a:pathLst>
                <a:path w="438" h="382" extrusionOk="0">
                  <a:moveTo>
                    <a:pt x="144" y="0"/>
                  </a:moveTo>
                  <a:lnTo>
                    <a:pt x="138" y="4"/>
                  </a:lnTo>
                  <a:lnTo>
                    <a:pt x="132" y="12"/>
                  </a:lnTo>
                  <a:lnTo>
                    <a:pt x="130" y="16"/>
                  </a:lnTo>
                  <a:lnTo>
                    <a:pt x="128" y="18"/>
                  </a:lnTo>
                  <a:lnTo>
                    <a:pt x="128" y="20"/>
                  </a:lnTo>
                  <a:lnTo>
                    <a:pt x="126" y="22"/>
                  </a:lnTo>
                  <a:lnTo>
                    <a:pt x="122" y="26"/>
                  </a:lnTo>
                  <a:lnTo>
                    <a:pt x="120" y="28"/>
                  </a:lnTo>
                  <a:lnTo>
                    <a:pt x="120" y="30"/>
                  </a:lnTo>
                  <a:lnTo>
                    <a:pt x="118" y="30"/>
                  </a:lnTo>
                  <a:lnTo>
                    <a:pt x="116" y="30"/>
                  </a:lnTo>
                  <a:lnTo>
                    <a:pt x="114" y="32"/>
                  </a:lnTo>
                  <a:lnTo>
                    <a:pt x="110" y="34"/>
                  </a:lnTo>
                  <a:lnTo>
                    <a:pt x="106" y="32"/>
                  </a:lnTo>
                  <a:lnTo>
                    <a:pt x="100" y="34"/>
                  </a:lnTo>
                  <a:lnTo>
                    <a:pt x="98" y="36"/>
                  </a:lnTo>
                  <a:lnTo>
                    <a:pt x="94" y="38"/>
                  </a:lnTo>
                  <a:lnTo>
                    <a:pt x="90" y="38"/>
                  </a:lnTo>
                  <a:lnTo>
                    <a:pt x="90" y="38"/>
                  </a:lnTo>
                  <a:lnTo>
                    <a:pt x="86" y="40"/>
                  </a:lnTo>
                  <a:lnTo>
                    <a:pt x="80" y="44"/>
                  </a:lnTo>
                  <a:lnTo>
                    <a:pt x="76" y="46"/>
                  </a:lnTo>
                  <a:lnTo>
                    <a:pt x="74" y="48"/>
                  </a:lnTo>
                  <a:lnTo>
                    <a:pt x="72" y="50"/>
                  </a:lnTo>
                  <a:lnTo>
                    <a:pt x="68" y="62"/>
                  </a:lnTo>
                  <a:lnTo>
                    <a:pt x="64" y="66"/>
                  </a:lnTo>
                  <a:lnTo>
                    <a:pt x="60" y="66"/>
                  </a:lnTo>
                  <a:lnTo>
                    <a:pt x="54" y="66"/>
                  </a:lnTo>
                  <a:lnTo>
                    <a:pt x="48" y="66"/>
                  </a:lnTo>
                  <a:lnTo>
                    <a:pt x="42" y="66"/>
                  </a:lnTo>
                  <a:lnTo>
                    <a:pt x="38" y="66"/>
                  </a:lnTo>
                  <a:lnTo>
                    <a:pt x="38" y="68"/>
                  </a:lnTo>
                  <a:lnTo>
                    <a:pt x="36" y="78"/>
                  </a:lnTo>
                  <a:lnTo>
                    <a:pt x="36" y="84"/>
                  </a:lnTo>
                  <a:lnTo>
                    <a:pt x="34" y="88"/>
                  </a:lnTo>
                  <a:lnTo>
                    <a:pt x="30" y="96"/>
                  </a:lnTo>
                  <a:lnTo>
                    <a:pt x="32" y="106"/>
                  </a:lnTo>
                  <a:lnTo>
                    <a:pt x="32" y="118"/>
                  </a:lnTo>
                  <a:lnTo>
                    <a:pt x="26" y="134"/>
                  </a:lnTo>
                  <a:lnTo>
                    <a:pt x="26" y="138"/>
                  </a:lnTo>
                  <a:lnTo>
                    <a:pt x="20" y="152"/>
                  </a:lnTo>
                  <a:lnTo>
                    <a:pt x="16" y="156"/>
                  </a:lnTo>
                  <a:lnTo>
                    <a:pt x="10" y="182"/>
                  </a:lnTo>
                  <a:lnTo>
                    <a:pt x="6" y="188"/>
                  </a:lnTo>
                  <a:lnTo>
                    <a:pt x="0" y="196"/>
                  </a:lnTo>
                  <a:lnTo>
                    <a:pt x="2" y="210"/>
                  </a:lnTo>
                  <a:lnTo>
                    <a:pt x="2" y="224"/>
                  </a:lnTo>
                  <a:lnTo>
                    <a:pt x="4" y="236"/>
                  </a:lnTo>
                  <a:lnTo>
                    <a:pt x="6" y="256"/>
                  </a:lnTo>
                  <a:lnTo>
                    <a:pt x="8" y="256"/>
                  </a:lnTo>
                  <a:lnTo>
                    <a:pt x="16" y="252"/>
                  </a:lnTo>
                  <a:lnTo>
                    <a:pt x="26" y="252"/>
                  </a:lnTo>
                  <a:lnTo>
                    <a:pt x="34" y="254"/>
                  </a:lnTo>
                  <a:lnTo>
                    <a:pt x="40" y="256"/>
                  </a:lnTo>
                  <a:lnTo>
                    <a:pt x="42" y="254"/>
                  </a:lnTo>
                  <a:lnTo>
                    <a:pt x="44" y="250"/>
                  </a:lnTo>
                  <a:lnTo>
                    <a:pt x="46" y="246"/>
                  </a:lnTo>
                  <a:lnTo>
                    <a:pt x="50" y="244"/>
                  </a:lnTo>
                  <a:lnTo>
                    <a:pt x="54" y="242"/>
                  </a:lnTo>
                  <a:lnTo>
                    <a:pt x="60" y="248"/>
                  </a:lnTo>
                  <a:lnTo>
                    <a:pt x="72" y="262"/>
                  </a:lnTo>
                  <a:lnTo>
                    <a:pt x="74" y="264"/>
                  </a:lnTo>
                  <a:lnTo>
                    <a:pt x="76" y="264"/>
                  </a:lnTo>
                  <a:lnTo>
                    <a:pt x="80" y="252"/>
                  </a:lnTo>
                  <a:lnTo>
                    <a:pt x="84" y="242"/>
                  </a:lnTo>
                  <a:lnTo>
                    <a:pt x="92" y="226"/>
                  </a:lnTo>
                  <a:lnTo>
                    <a:pt x="96" y="216"/>
                  </a:lnTo>
                  <a:lnTo>
                    <a:pt x="100" y="218"/>
                  </a:lnTo>
                  <a:lnTo>
                    <a:pt x="104" y="224"/>
                  </a:lnTo>
                  <a:lnTo>
                    <a:pt x="108" y="226"/>
                  </a:lnTo>
                  <a:lnTo>
                    <a:pt x="112" y="228"/>
                  </a:lnTo>
                  <a:lnTo>
                    <a:pt x="114" y="228"/>
                  </a:lnTo>
                  <a:lnTo>
                    <a:pt x="118" y="230"/>
                  </a:lnTo>
                  <a:lnTo>
                    <a:pt x="128" y="242"/>
                  </a:lnTo>
                  <a:lnTo>
                    <a:pt x="132" y="244"/>
                  </a:lnTo>
                  <a:lnTo>
                    <a:pt x="136" y="244"/>
                  </a:lnTo>
                  <a:lnTo>
                    <a:pt x="156" y="240"/>
                  </a:lnTo>
                  <a:lnTo>
                    <a:pt x="168" y="234"/>
                  </a:lnTo>
                  <a:lnTo>
                    <a:pt x="170" y="232"/>
                  </a:lnTo>
                  <a:lnTo>
                    <a:pt x="174" y="232"/>
                  </a:lnTo>
                  <a:lnTo>
                    <a:pt x="178" y="234"/>
                  </a:lnTo>
                  <a:lnTo>
                    <a:pt x="180" y="238"/>
                  </a:lnTo>
                  <a:lnTo>
                    <a:pt x="182" y="242"/>
                  </a:lnTo>
                  <a:lnTo>
                    <a:pt x="186" y="242"/>
                  </a:lnTo>
                  <a:lnTo>
                    <a:pt x="198" y="238"/>
                  </a:lnTo>
                  <a:lnTo>
                    <a:pt x="204" y="238"/>
                  </a:lnTo>
                  <a:lnTo>
                    <a:pt x="208" y="238"/>
                  </a:lnTo>
                  <a:lnTo>
                    <a:pt x="214" y="240"/>
                  </a:lnTo>
                  <a:lnTo>
                    <a:pt x="218" y="240"/>
                  </a:lnTo>
                  <a:lnTo>
                    <a:pt x="228" y="244"/>
                  </a:lnTo>
                  <a:lnTo>
                    <a:pt x="238" y="242"/>
                  </a:lnTo>
                  <a:lnTo>
                    <a:pt x="244" y="242"/>
                  </a:lnTo>
                  <a:lnTo>
                    <a:pt x="248" y="244"/>
                  </a:lnTo>
                  <a:lnTo>
                    <a:pt x="258" y="250"/>
                  </a:lnTo>
                  <a:lnTo>
                    <a:pt x="268" y="258"/>
                  </a:lnTo>
                  <a:lnTo>
                    <a:pt x="284" y="264"/>
                  </a:lnTo>
                  <a:lnTo>
                    <a:pt x="288" y="266"/>
                  </a:lnTo>
                  <a:lnTo>
                    <a:pt x="296" y="274"/>
                  </a:lnTo>
                  <a:lnTo>
                    <a:pt x="308" y="292"/>
                  </a:lnTo>
                  <a:lnTo>
                    <a:pt x="324" y="308"/>
                  </a:lnTo>
                  <a:lnTo>
                    <a:pt x="340" y="320"/>
                  </a:lnTo>
                  <a:lnTo>
                    <a:pt x="350" y="328"/>
                  </a:lnTo>
                  <a:lnTo>
                    <a:pt x="356" y="340"/>
                  </a:lnTo>
                  <a:lnTo>
                    <a:pt x="362" y="348"/>
                  </a:lnTo>
                  <a:lnTo>
                    <a:pt x="368" y="354"/>
                  </a:lnTo>
                  <a:lnTo>
                    <a:pt x="374" y="356"/>
                  </a:lnTo>
                  <a:lnTo>
                    <a:pt x="380" y="364"/>
                  </a:lnTo>
                  <a:lnTo>
                    <a:pt x="384" y="370"/>
                  </a:lnTo>
                  <a:lnTo>
                    <a:pt x="390" y="376"/>
                  </a:lnTo>
                  <a:lnTo>
                    <a:pt x="392" y="374"/>
                  </a:lnTo>
                  <a:lnTo>
                    <a:pt x="396" y="374"/>
                  </a:lnTo>
                  <a:lnTo>
                    <a:pt x="396" y="374"/>
                  </a:lnTo>
                  <a:lnTo>
                    <a:pt x="410" y="382"/>
                  </a:lnTo>
                  <a:lnTo>
                    <a:pt x="412" y="382"/>
                  </a:lnTo>
                  <a:lnTo>
                    <a:pt x="416" y="380"/>
                  </a:lnTo>
                  <a:lnTo>
                    <a:pt x="420" y="370"/>
                  </a:lnTo>
                  <a:lnTo>
                    <a:pt x="422" y="366"/>
                  </a:lnTo>
                  <a:lnTo>
                    <a:pt x="424" y="366"/>
                  </a:lnTo>
                  <a:lnTo>
                    <a:pt x="432" y="364"/>
                  </a:lnTo>
                  <a:lnTo>
                    <a:pt x="438" y="360"/>
                  </a:lnTo>
                  <a:lnTo>
                    <a:pt x="436" y="352"/>
                  </a:lnTo>
                  <a:lnTo>
                    <a:pt x="430" y="348"/>
                  </a:lnTo>
                  <a:lnTo>
                    <a:pt x="430" y="354"/>
                  </a:lnTo>
                  <a:lnTo>
                    <a:pt x="418" y="350"/>
                  </a:lnTo>
                  <a:lnTo>
                    <a:pt x="414" y="340"/>
                  </a:lnTo>
                  <a:lnTo>
                    <a:pt x="400" y="326"/>
                  </a:lnTo>
                  <a:lnTo>
                    <a:pt x="392" y="326"/>
                  </a:lnTo>
                  <a:lnTo>
                    <a:pt x="388" y="314"/>
                  </a:lnTo>
                  <a:lnTo>
                    <a:pt x="382" y="302"/>
                  </a:lnTo>
                  <a:lnTo>
                    <a:pt x="344" y="274"/>
                  </a:lnTo>
                  <a:lnTo>
                    <a:pt x="332" y="258"/>
                  </a:lnTo>
                  <a:lnTo>
                    <a:pt x="312" y="232"/>
                  </a:lnTo>
                  <a:lnTo>
                    <a:pt x="286" y="224"/>
                  </a:lnTo>
                  <a:lnTo>
                    <a:pt x="276" y="214"/>
                  </a:lnTo>
                  <a:lnTo>
                    <a:pt x="270" y="210"/>
                  </a:lnTo>
                  <a:lnTo>
                    <a:pt x="264" y="208"/>
                  </a:lnTo>
                  <a:lnTo>
                    <a:pt x="254" y="208"/>
                  </a:lnTo>
                  <a:lnTo>
                    <a:pt x="248" y="204"/>
                  </a:lnTo>
                  <a:lnTo>
                    <a:pt x="240" y="196"/>
                  </a:lnTo>
                  <a:lnTo>
                    <a:pt x="238" y="192"/>
                  </a:lnTo>
                  <a:lnTo>
                    <a:pt x="238" y="184"/>
                  </a:lnTo>
                  <a:lnTo>
                    <a:pt x="232" y="178"/>
                  </a:lnTo>
                  <a:lnTo>
                    <a:pt x="226" y="174"/>
                  </a:lnTo>
                  <a:lnTo>
                    <a:pt x="222" y="178"/>
                  </a:lnTo>
                  <a:lnTo>
                    <a:pt x="220" y="184"/>
                  </a:lnTo>
                  <a:lnTo>
                    <a:pt x="222" y="190"/>
                  </a:lnTo>
                  <a:lnTo>
                    <a:pt x="222" y="192"/>
                  </a:lnTo>
                  <a:lnTo>
                    <a:pt x="220" y="198"/>
                  </a:lnTo>
                  <a:lnTo>
                    <a:pt x="216" y="192"/>
                  </a:lnTo>
                  <a:lnTo>
                    <a:pt x="210" y="176"/>
                  </a:lnTo>
                  <a:lnTo>
                    <a:pt x="206" y="170"/>
                  </a:lnTo>
                  <a:lnTo>
                    <a:pt x="202" y="170"/>
                  </a:lnTo>
                  <a:lnTo>
                    <a:pt x="196" y="152"/>
                  </a:lnTo>
                  <a:lnTo>
                    <a:pt x="188" y="144"/>
                  </a:lnTo>
                  <a:lnTo>
                    <a:pt x="184" y="124"/>
                  </a:lnTo>
                  <a:lnTo>
                    <a:pt x="178" y="88"/>
                  </a:lnTo>
                  <a:lnTo>
                    <a:pt x="172" y="64"/>
                  </a:lnTo>
                  <a:lnTo>
                    <a:pt x="164" y="40"/>
                  </a:lnTo>
                  <a:lnTo>
                    <a:pt x="144"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99" name="Google Shape;4566;p64">
              <a:extLst>
                <a:ext uri="{FF2B5EF4-FFF2-40B4-BE49-F238E27FC236}">
                  <a16:creationId xmlns:a16="http://schemas.microsoft.com/office/drawing/2014/main" id="{4ABC8A4A-77FB-DA37-C661-4EE872980064}"/>
                </a:ext>
              </a:extLst>
            </p:cNvPr>
            <p:cNvGrpSpPr/>
            <p:nvPr/>
          </p:nvGrpSpPr>
          <p:grpSpPr>
            <a:xfrm>
              <a:off x="4134460" y="4331167"/>
              <a:ext cx="101729" cy="39379"/>
              <a:chOff x="25791620" y="22260852"/>
              <a:chExt cx="738595" cy="285907"/>
            </a:xfrm>
            <a:grpFill/>
          </p:grpSpPr>
          <p:sp>
            <p:nvSpPr>
              <p:cNvPr id="100" name="Google Shape;4567;p64">
                <a:extLst>
                  <a:ext uri="{FF2B5EF4-FFF2-40B4-BE49-F238E27FC236}">
                    <a16:creationId xmlns:a16="http://schemas.microsoft.com/office/drawing/2014/main" id="{4036C413-07EA-29B5-DF76-3BB8F9C42D63}"/>
                  </a:ext>
                </a:extLst>
              </p:cNvPr>
              <p:cNvSpPr/>
              <p:nvPr/>
            </p:nvSpPr>
            <p:spPr>
              <a:xfrm>
                <a:off x="25791620" y="22508638"/>
                <a:ext cx="42886" cy="38121"/>
              </a:xfrm>
              <a:custGeom>
                <a:avLst/>
                <a:gdLst/>
                <a:ahLst/>
                <a:cxnLst/>
                <a:rect l="l" t="t" r="r" b="b"/>
                <a:pathLst>
                  <a:path w="18" h="16" extrusionOk="0">
                    <a:moveTo>
                      <a:pt x="18" y="4"/>
                    </a:moveTo>
                    <a:lnTo>
                      <a:pt x="16" y="0"/>
                    </a:lnTo>
                    <a:lnTo>
                      <a:pt x="8" y="6"/>
                    </a:lnTo>
                    <a:lnTo>
                      <a:pt x="0" y="6"/>
                    </a:lnTo>
                    <a:lnTo>
                      <a:pt x="2" y="10"/>
                    </a:lnTo>
                    <a:lnTo>
                      <a:pt x="2" y="10"/>
                    </a:lnTo>
                    <a:lnTo>
                      <a:pt x="12" y="16"/>
                    </a:lnTo>
                    <a:lnTo>
                      <a:pt x="1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1" name="Google Shape;4568;p64">
                <a:extLst>
                  <a:ext uri="{FF2B5EF4-FFF2-40B4-BE49-F238E27FC236}">
                    <a16:creationId xmlns:a16="http://schemas.microsoft.com/office/drawing/2014/main" id="{E5A419F7-6B43-6A76-C43F-9D208447338B}"/>
                  </a:ext>
                </a:extLst>
              </p:cNvPr>
              <p:cNvSpPr/>
              <p:nvPr/>
            </p:nvSpPr>
            <p:spPr>
              <a:xfrm>
                <a:off x="26158534" y="22456220"/>
                <a:ext cx="66712" cy="71477"/>
              </a:xfrm>
              <a:custGeom>
                <a:avLst/>
                <a:gdLst/>
                <a:ahLst/>
                <a:cxnLst/>
                <a:rect l="l" t="t" r="r" b="b"/>
                <a:pathLst>
                  <a:path w="28" h="30" extrusionOk="0">
                    <a:moveTo>
                      <a:pt x="26" y="0"/>
                    </a:moveTo>
                    <a:lnTo>
                      <a:pt x="26" y="0"/>
                    </a:lnTo>
                    <a:lnTo>
                      <a:pt x="24" y="0"/>
                    </a:lnTo>
                    <a:lnTo>
                      <a:pt x="24" y="0"/>
                    </a:lnTo>
                    <a:lnTo>
                      <a:pt x="8" y="0"/>
                    </a:lnTo>
                    <a:lnTo>
                      <a:pt x="6" y="6"/>
                    </a:lnTo>
                    <a:lnTo>
                      <a:pt x="0" y="12"/>
                    </a:lnTo>
                    <a:lnTo>
                      <a:pt x="0" y="20"/>
                    </a:lnTo>
                    <a:lnTo>
                      <a:pt x="6" y="28"/>
                    </a:lnTo>
                    <a:lnTo>
                      <a:pt x="10" y="30"/>
                    </a:lnTo>
                    <a:lnTo>
                      <a:pt x="16" y="30"/>
                    </a:lnTo>
                    <a:lnTo>
                      <a:pt x="24" y="26"/>
                    </a:lnTo>
                    <a:lnTo>
                      <a:pt x="28" y="20"/>
                    </a:lnTo>
                    <a:lnTo>
                      <a:pt x="28" y="12"/>
                    </a:lnTo>
                    <a:lnTo>
                      <a:pt x="26" y="6"/>
                    </a:lnTo>
                    <a:lnTo>
                      <a:pt x="2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2" name="Google Shape;4569;p64">
                <a:extLst>
                  <a:ext uri="{FF2B5EF4-FFF2-40B4-BE49-F238E27FC236}">
                    <a16:creationId xmlns:a16="http://schemas.microsoft.com/office/drawing/2014/main" id="{EEBAF93E-E92F-EF72-AD2D-CDB4AAB5ECC8}"/>
                  </a:ext>
                </a:extLst>
              </p:cNvPr>
              <p:cNvSpPr/>
              <p:nvPr/>
            </p:nvSpPr>
            <p:spPr>
              <a:xfrm>
                <a:off x="25920280" y="22446691"/>
                <a:ext cx="33356" cy="33356"/>
              </a:xfrm>
              <a:custGeom>
                <a:avLst/>
                <a:gdLst/>
                <a:ahLst/>
                <a:cxnLst/>
                <a:rect l="l" t="t" r="r" b="b"/>
                <a:pathLst>
                  <a:path w="14" h="14" extrusionOk="0">
                    <a:moveTo>
                      <a:pt x="10" y="14"/>
                    </a:moveTo>
                    <a:lnTo>
                      <a:pt x="14" y="10"/>
                    </a:lnTo>
                    <a:lnTo>
                      <a:pt x="14" y="8"/>
                    </a:lnTo>
                    <a:lnTo>
                      <a:pt x="14" y="4"/>
                    </a:lnTo>
                    <a:lnTo>
                      <a:pt x="8" y="0"/>
                    </a:lnTo>
                    <a:lnTo>
                      <a:pt x="4" y="0"/>
                    </a:lnTo>
                    <a:lnTo>
                      <a:pt x="2" y="2"/>
                    </a:lnTo>
                    <a:lnTo>
                      <a:pt x="0" y="6"/>
                    </a:lnTo>
                    <a:lnTo>
                      <a:pt x="4" y="12"/>
                    </a:lnTo>
                    <a:lnTo>
                      <a:pt x="6" y="14"/>
                    </a:lnTo>
                    <a:lnTo>
                      <a:pt x="10"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3" name="Google Shape;4570;p64">
                <a:extLst>
                  <a:ext uri="{FF2B5EF4-FFF2-40B4-BE49-F238E27FC236}">
                    <a16:creationId xmlns:a16="http://schemas.microsoft.com/office/drawing/2014/main" id="{5D3D40C7-F134-415F-AE75-9A31E44B88F2}"/>
                  </a:ext>
                </a:extLst>
              </p:cNvPr>
              <p:cNvSpPr/>
              <p:nvPr/>
            </p:nvSpPr>
            <p:spPr>
              <a:xfrm>
                <a:off x="25986991" y="22379980"/>
                <a:ext cx="123893" cy="100068"/>
              </a:xfrm>
              <a:custGeom>
                <a:avLst/>
                <a:gdLst/>
                <a:ahLst/>
                <a:cxnLst/>
                <a:rect l="l" t="t" r="r" b="b"/>
                <a:pathLst>
                  <a:path w="52" h="42" extrusionOk="0">
                    <a:moveTo>
                      <a:pt x="38" y="14"/>
                    </a:moveTo>
                    <a:lnTo>
                      <a:pt x="52" y="4"/>
                    </a:lnTo>
                    <a:lnTo>
                      <a:pt x="50" y="0"/>
                    </a:lnTo>
                    <a:lnTo>
                      <a:pt x="38" y="2"/>
                    </a:lnTo>
                    <a:lnTo>
                      <a:pt x="26" y="12"/>
                    </a:lnTo>
                    <a:lnTo>
                      <a:pt x="22" y="14"/>
                    </a:lnTo>
                    <a:lnTo>
                      <a:pt x="10" y="16"/>
                    </a:lnTo>
                    <a:lnTo>
                      <a:pt x="4" y="16"/>
                    </a:lnTo>
                    <a:lnTo>
                      <a:pt x="0" y="18"/>
                    </a:lnTo>
                    <a:lnTo>
                      <a:pt x="2" y="22"/>
                    </a:lnTo>
                    <a:lnTo>
                      <a:pt x="8" y="32"/>
                    </a:lnTo>
                    <a:lnTo>
                      <a:pt x="16" y="42"/>
                    </a:lnTo>
                    <a:lnTo>
                      <a:pt x="24" y="40"/>
                    </a:lnTo>
                    <a:lnTo>
                      <a:pt x="26" y="38"/>
                    </a:lnTo>
                    <a:lnTo>
                      <a:pt x="32" y="32"/>
                    </a:lnTo>
                    <a:lnTo>
                      <a:pt x="38"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4" name="Google Shape;4571;p64">
                <a:extLst>
                  <a:ext uri="{FF2B5EF4-FFF2-40B4-BE49-F238E27FC236}">
                    <a16:creationId xmlns:a16="http://schemas.microsoft.com/office/drawing/2014/main" id="{9126F39B-BF41-BD2E-A38B-F301BA615166}"/>
                  </a:ext>
                </a:extLst>
              </p:cNvPr>
              <p:cNvSpPr/>
              <p:nvPr/>
            </p:nvSpPr>
            <p:spPr>
              <a:xfrm>
                <a:off x="26363438" y="22351388"/>
                <a:ext cx="104833" cy="119128"/>
              </a:xfrm>
              <a:custGeom>
                <a:avLst/>
                <a:gdLst/>
                <a:ahLst/>
                <a:cxnLst/>
                <a:rect l="l" t="t" r="r" b="b"/>
                <a:pathLst>
                  <a:path w="44" h="50" extrusionOk="0">
                    <a:moveTo>
                      <a:pt x="20" y="42"/>
                    </a:moveTo>
                    <a:lnTo>
                      <a:pt x="38" y="36"/>
                    </a:lnTo>
                    <a:lnTo>
                      <a:pt x="42" y="24"/>
                    </a:lnTo>
                    <a:lnTo>
                      <a:pt x="44" y="12"/>
                    </a:lnTo>
                    <a:lnTo>
                      <a:pt x="44" y="4"/>
                    </a:lnTo>
                    <a:lnTo>
                      <a:pt x="42" y="0"/>
                    </a:lnTo>
                    <a:lnTo>
                      <a:pt x="40" y="0"/>
                    </a:lnTo>
                    <a:lnTo>
                      <a:pt x="36" y="0"/>
                    </a:lnTo>
                    <a:lnTo>
                      <a:pt x="32" y="2"/>
                    </a:lnTo>
                    <a:lnTo>
                      <a:pt x="30" y="10"/>
                    </a:lnTo>
                    <a:lnTo>
                      <a:pt x="22" y="24"/>
                    </a:lnTo>
                    <a:lnTo>
                      <a:pt x="16" y="40"/>
                    </a:lnTo>
                    <a:lnTo>
                      <a:pt x="8" y="46"/>
                    </a:lnTo>
                    <a:lnTo>
                      <a:pt x="0" y="48"/>
                    </a:lnTo>
                    <a:lnTo>
                      <a:pt x="2" y="50"/>
                    </a:lnTo>
                    <a:lnTo>
                      <a:pt x="10" y="50"/>
                    </a:lnTo>
                    <a:lnTo>
                      <a:pt x="20" y="4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5" name="Google Shape;4572;p64">
                <a:extLst>
                  <a:ext uri="{FF2B5EF4-FFF2-40B4-BE49-F238E27FC236}">
                    <a16:creationId xmlns:a16="http://schemas.microsoft.com/office/drawing/2014/main" id="{0A229896-7A23-3475-31D4-9AF702C15634}"/>
                  </a:ext>
                </a:extLst>
              </p:cNvPr>
              <p:cNvSpPr/>
              <p:nvPr/>
            </p:nvSpPr>
            <p:spPr>
              <a:xfrm>
                <a:off x="25815445" y="22332328"/>
                <a:ext cx="42886" cy="61947"/>
              </a:xfrm>
              <a:custGeom>
                <a:avLst/>
                <a:gdLst/>
                <a:ahLst/>
                <a:cxnLst/>
                <a:rect l="l" t="t" r="r" b="b"/>
                <a:pathLst>
                  <a:path w="18" h="26" extrusionOk="0">
                    <a:moveTo>
                      <a:pt x="12" y="26"/>
                    </a:moveTo>
                    <a:lnTo>
                      <a:pt x="16" y="20"/>
                    </a:lnTo>
                    <a:lnTo>
                      <a:pt x="16" y="18"/>
                    </a:lnTo>
                    <a:lnTo>
                      <a:pt x="16" y="12"/>
                    </a:lnTo>
                    <a:lnTo>
                      <a:pt x="18" y="10"/>
                    </a:lnTo>
                    <a:lnTo>
                      <a:pt x="16" y="4"/>
                    </a:lnTo>
                    <a:lnTo>
                      <a:pt x="14" y="0"/>
                    </a:lnTo>
                    <a:lnTo>
                      <a:pt x="4" y="0"/>
                    </a:lnTo>
                    <a:lnTo>
                      <a:pt x="0" y="6"/>
                    </a:lnTo>
                    <a:lnTo>
                      <a:pt x="8" y="22"/>
                    </a:lnTo>
                    <a:lnTo>
                      <a:pt x="10" y="26"/>
                    </a:lnTo>
                    <a:lnTo>
                      <a:pt x="12"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6" name="Google Shape;4573;p64">
                <a:extLst>
                  <a:ext uri="{FF2B5EF4-FFF2-40B4-BE49-F238E27FC236}">
                    <a16:creationId xmlns:a16="http://schemas.microsoft.com/office/drawing/2014/main" id="{9EF728D3-AA57-C2BF-4DD5-5D3A62BD76AA}"/>
                  </a:ext>
                </a:extLst>
              </p:cNvPr>
              <p:cNvSpPr/>
              <p:nvPr/>
            </p:nvSpPr>
            <p:spPr>
              <a:xfrm>
                <a:off x="26463503" y="22260852"/>
                <a:ext cx="66712" cy="71477"/>
              </a:xfrm>
              <a:custGeom>
                <a:avLst/>
                <a:gdLst/>
                <a:ahLst/>
                <a:cxnLst/>
                <a:rect l="l" t="t" r="r" b="b"/>
                <a:pathLst>
                  <a:path w="28" h="30" extrusionOk="0">
                    <a:moveTo>
                      <a:pt x="10" y="26"/>
                    </a:moveTo>
                    <a:lnTo>
                      <a:pt x="20" y="22"/>
                    </a:lnTo>
                    <a:lnTo>
                      <a:pt x="24" y="18"/>
                    </a:lnTo>
                    <a:lnTo>
                      <a:pt x="26" y="8"/>
                    </a:lnTo>
                    <a:lnTo>
                      <a:pt x="28" y="4"/>
                    </a:lnTo>
                    <a:lnTo>
                      <a:pt x="26" y="0"/>
                    </a:lnTo>
                    <a:lnTo>
                      <a:pt x="22" y="2"/>
                    </a:lnTo>
                    <a:lnTo>
                      <a:pt x="20" y="8"/>
                    </a:lnTo>
                    <a:lnTo>
                      <a:pt x="14" y="10"/>
                    </a:lnTo>
                    <a:lnTo>
                      <a:pt x="4" y="14"/>
                    </a:lnTo>
                    <a:lnTo>
                      <a:pt x="2" y="18"/>
                    </a:lnTo>
                    <a:lnTo>
                      <a:pt x="0" y="28"/>
                    </a:lnTo>
                    <a:lnTo>
                      <a:pt x="4" y="30"/>
                    </a:lnTo>
                    <a:lnTo>
                      <a:pt x="10"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107" name="Google Shape;4574;p64">
              <a:extLst>
                <a:ext uri="{FF2B5EF4-FFF2-40B4-BE49-F238E27FC236}">
                  <a16:creationId xmlns:a16="http://schemas.microsoft.com/office/drawing/2014/main" id="{40C80748-7379-EAEE-F708-7BA4E11A9AD4}"/>
                </a:ext>
              </a:extLst>
            </p:cNvPr>
            <p:cNvSpPr/>
            <p:nvPr/>
          </p:nvSpPr>
          <p:spPr>
            <a:xfrm>
              <a:off x="4326103" y="3940659"/>
              <a:ext cx="292060" cy="217240"/>
            </a:xfrm>
            <a:custGeom>
              <a:avLst/>
              <a:gdLst/>
              <a:ahLst/>
              <a:cxnLst/>
              <a:rect l="l" t="t" r="r" b="b"/>
              <a:pathLst>
                <a:path w="2120482" h="1577258" extrusionOk="0">
                  <a:moveTo>
                    <a:pt x="1667794" y="1038798"/>
                  </a:moveTo>
                  <a:lnTo>
                    <a:pt x="1677324" y="1048328"/>
                  </a:lnTo>
                  <a:lnTo>
                    <a:pt x="1691620" y="1053094"/>
                  </a:lnTo>
                  <a:lnTo>
                    <a:pt x="1691620" y="1057860"/>
                  </a:lnTo>
                  <a:lnTo>
                    <a:pt x="1677324" y="1057860"/>
                  </a:lnTo>
                  <a:lnTo>
                    <a:pt x="1663030" y="1057860"/>
                  </a:lnTo>
                  <a:lnTo>
                    <a:pt x="1663030" y="1048328"/>
                  </a:lnTo>
                  <a:lnTo>
                    <a:pt x="1663030" y="1043564"/>
                  </a:lnTo>
                  <a:close/>
                  <a:moveTo>
                    <a:pt x="1686854" y="967320"/>
                  </a:moveTo>
                  <a:lnTo>
                    <a:pt x="1696386" y="972086"/>
                  </a:lnTo>
                  <a:lnTo>
                    <a:pt x="1696386" y="981616"/>
                  </a:lnTo>
                  <a:lnTo>
                    <a:pt x="1677324" y="1005442"/>
                  </a:lnTo>
                  <a:lnTo>
                    <a:pt x="1667794" y="1005442"/>
                  </a:lnTo>
                  <a:lnTo>
                    <a:pt x="1663028" y="1019736"/>
                  </a:lnTo>
                  <a:lnTo>
                    <a:pt x="1639204" y="1014972"/>
                  </a:lnTo>
                  <a:lnTo>
                    <a:pt x="1634438" y="1010206"/>
                  </a:lnTo>
                  <a:lnTo>
                    <a:pt x="1639204" y="995912"/>
                  </a:lnTo>
                  <a:lnTo>
                    <a:pt x="1648734" y="995912"/>
                  </a:lnTo>
                  <a:lnTo>
                    <a:pt x="1648734" y="986382"/>
                  </a:lnTo>
                  <a:lnTo>
                    <a:pt x="1653498" y="976852"/>
                  </a:lnTo>
                  <a:close/>
                  <a:moveTo>
                    <a:pt x="1939406" y="795776"/>
                  </a:moveTo>
                  <a:lnTo>
                    <a:pt x="1944172" y="795776"/>
                  </a:lnTo>
                  <a:lnTo>
                    <a:pt x="1939406" y="805308"/>
                  </a:lnTo>
                  <a:lnTo>
                    <a:pt x="1944172" y="810072"/>
                  </a:lnTo>
                  <a:lnTo>
                    <a:pt x="1944172" y="814838"/>
                  </a:lnTo>
                  <a:lnTo>
                    <a:pt x="1939406" y="819602"/>
                  </a:lnTo>
                  <a:lnTo>
                    <a:pt x="1934642" y="829132"/>
                  </a:lnTo>
                  <a:lnTo>
                    <a:pt x="1948936" y="838664"/>
                  </a:lnTo>
                  <a:lnTo>
                    <a:pt x="1967998" y="833898"/>
                  </a:lnTo>
                  <a:lnTo>
                    <a:pt x="1972762" y="833898"/>
                  </a:lnTo>
                  <a:lnTo>
                    <a:pt x="1982292" y="838664"/>
                  </a:lnTo>
                  <a:lnTo>
                    <a:pt x="1987058" y="848194"/>
                  </a:lnTo>
                  <a:lnTo>
                    <a:pt x="1977528" y="862488"/>
                  </a:lnTo>
                  <a:lnTo>
                    <a:pt x="1967998" y="876784"/>
                  </a:lnTo>
                  <a:lnTo>
                    <a:pt x="1958468" y="895844"/>
                  </a:lnTo>
                  <a:lnTo>
                    <a:pt x="1948936" y="914906"/>
                  </a:lnTo>
                  <a:lnTo>
                    <a:pt x="1934642" y="924436"/>
                  </a:lnTo>
                  <a:lnTo>
                    <a:pt x="1925112" y="929200"/>
                  </a:lnTo>
                  <a:lnTo>
                    <a:pt x="1896520" y="914906"/>
                  </a:lnTo>
                  <a:lnTo>
                    <a:pt x="1882224" y="914906"/>
                  </a:lnTo>
                  <a:lnTo>
                    <a:pt x="1877460" y="910140"/>
                  </a:lnTo>
                  <a:lnTo>
                    <a:pt x="1872694" y="886314"/>
                  </a:lnTo>
                  <a:lnTo>
                    <a:pt x="1867930" y="881550"/>
                  </a:lnTo>
                  <a:lnTo>
                    <a:pt x="1853634" y="876784"/>
                  </a:lnTo>
                  <a:lnTo>
                    <a:pt x="1848868" y="886314"/>
                  </a:lnTo>
                  <a:lnTo>
                    <a:pt x="1834574" y="895844"/>
                  </a:lnTo>
                  <a:lnTo>
                    <a:pt x="1829808" y="886314"/>
                  </a:lnTo>
                  <a:lnTo>
                    <a:pt x="1820278" y="881550"/>
                  </a:lnTo>
                  <a:lnTo>
                    <a:pt x="1815514" y="876784"/>
                  </a:lnTo>
                  <a:lnTo>
                    <a:pt x="1815514" y="867254"/>
                  </a:lnTo>
                  <a:lnTo>
                    <a:pt x="1877460" y="819602"/>
                  </a:lnTo>
                  <a:lnTo>
                    <a:pt x="1896520" y="805308"/>
                  </a:lnTo>
                  <a:close/>
                  <a:moveTo>
                    <a:pt x="2077594" y="771952"/>
                  </a:moveTo>
                  <a:lnTo>
                    <a:pt x="2106186" y="781482"/>
                  </a:lnTo>
                  <a:lnTo>
                    <a:pt x="2120482" y="805306"/>
                  </a:lnTo>
                  <a:lnTo>
                    <a:pt x="2120482" y="810072"/>
                  </a:lnTo>
                  <a:lnTo>
                    <a:pt x="2115716" y="819602"/>
                  </a:lnTo>
                  <a:lnTo>
                    <a:pt x="2110950" y="824368"/>
                  </a:lnTo>
                  <a:lnTo>
                    <a:pt x="2063300" y="800542"/>
                  </a:lnTo>
                  <a:lnTo>
                    <a:pt x="2049004" y="795776"/>
                  </a:lnTo>
                  <a:lnTo>
                    <a:pt x="2044238" y="791012"/>
                  </a:lnTo>
                  <a:lnTo>
                    <a:pt x="2044238" y="781482"/>
                  </a:lnTo>
                  <a:lnTo>
                    <a:pt x="2044238" y="776716"/>
                  </a:lnTo>
                  <a:close/>
                  <a:moveTo>
                    <a:pt x="243022" y="0"/>
                  </a:moveTo>
                  <a:lnTo>
                    <a:pt x="257316" y="4766"/>
                  </a:lnTo>
                  <a:lnTo>
                    <a:pt x="271612" y="4766"/>
                  </a:lnTo>
                  <a:lnTo>
                    <a:pt x="290672" y="14296"/>
                  </a:lnTo>
                  <a:lnTo>
                    <a:pt x="309734" y="33356"/>
                  </a:lnTo>
                  <a:lnTo>
                    <a:pt x="343090" y="42888"/>
                  </a:lnTo>
                  <a:lnTo>
                    <a:pt x="366914" y="38122"/>
                  </a:lnTo>
                  <a:lnTo>
                    <a:pt x="409800" y="33356"/>
                  </a:lnTo>
                  <a:lnTo>
                    <a:pt x="433626" y="38122"/>
                  </a:lnTo>
                  <a:lnTo>
                    <a:pt x="471748" y="33356"/>
                  </a:lnTo>
                  <a:lnTo>
                    <a:pt x="495574" y="33356"/>
                  </a:lnTo>
                  <a:lnTo>
                    <a:pt x="528930" y="23826"/>
                  </a:lnTo>
                  <a:lnTo>
                    <a:pt x="557520" y="38122"/>
                  </a:lnTo>
                  <a:lnTo>
                    <a:pt x="614702" y="42888"/>
                  </a:lnTo>
                  <a:lnTo>
                    <a:pt x="648058" y="57182"/>
                  </a:lnTo>
                  <a:lnTo>
                    <a:pt x="738594" y="71478"/>
                  </a:lnTo>
                  <a:lnTo>
                    <a:pt x="771950" y="71478"/>
                  </a:lnTo>
                  <a:lnTo>
                    <a:pt x="814836" y="61948"/>
                  </a:lnTo>
                  <a:lnTo>
                    <a:pt x="838662" y="57182"/>
                  </a:lnTo>
                  <a:lnTo>
                    <a:pt x="852958" y="61948"/>
                  </a:lnTo>
                  <a:lnTo>
                    <a:pt x="881548" y="52418"/>
                  </a:lnTo>
                  <a:lnTo>
                    <a:pt x="895844" y="52418"/>
                  </a:lnTo>
                  <a:lnTo>
                    <a:pt x="910140" y="66712"/>
                  </a:lnTo>
                  <a:lnTo>
                    <a:pt x="967320" y="81008"/>
                  </a:lnTo>
                  <a:lnTo>
                    <a:pt x="981616" y="66712"/>
                  </a:lnTo>
                  <a:lnTo>
                    <a:pt x="995912" y="66712"/>
                  </a:lnTo>
                  <a:lnTo>
                    <a:pt x="1038798" y="76244"/>
                  </a:lnTo>
                  <a:lnTo>
                    <a:pt x="1076918" y="90538"/>
                  </a:lnTo>
                  <a:lnTo>
                    <a:pt x="1100744" y="95304"/>
                  </a:lnTo>
                  <a:lnTo>
                    <a:pt x="1134100" y="90538"/>
                  </a:lnTo>
                  <a:lnTo>
                    <a:pt x="1157926" y="76244"/>
                  </a:lnTo>
                  <a:lnTo>
                    <a:pt x="1162690" y="76244"/>
                  </a:lnTo>
                  <a:lnTo>
                    <a:pt x="1162690" y="81008"/>
                  </a:lnTo>
                  <a:lnTo>
                    <a:pt x="1172222" y="95304"/>
                  </a:lnTo>
                  <a:lnTo>
                    <a:pt x="1176986" y="95304"/>
                  </a:lnTo>
                  <a:lnTo>
                    <a:pt x="1191282" y="100068"/>
                  </a:lnTo>
                  <a:lnTo>
                    <a:pt x="1200812" y="104834"/>
                  </a:lnTo>
                  <a:lnTo>
                    <a:pt x="1215108" y="104834"/>
                  </a:lnTo>
                  <a:lnTo>
                    <a:pt x="1224638" y="109598"/>
                  </a:lnTo>
                  <a:lnTo>
                    <a:pt x="1224638" y="119130"/>
                  </a:lnTo>
                  <a:lnTo>
                    <a:pt x="1219872" y="128660"/>
                  </a:lnTo>
                  <a:lnTo>
                    <a:pt x="1215108" y="138190"/>
                  </a:lnTo>
                  <a:lnTo>
                    <a:pt x="1210342" y="147720"/>
                  </a:lnTo>
                  <a:lnTo>
                    <a:pt x="1215108" y="152486"/>
                  </a:lnTo>
                  <a:lnTo>
                    <a:pt x="1219872" y="152486"/>
                  </a:lnTo>
                  <a:lnTo>
                    <a:pt x="1224638" y="157250"/>
                  </a:lnTo>
                  <a:lnTo>
                    <a:pt x="1229402" y="152486"/>
                  </a:lnTo>
                  <a:lnTo>
                    <a:pt x="1234168" y="147720"/>
                  </a:lnTo>
                  <a:lnTo>
                    <a:pt x="1238932" y="142954"/>
                  </a:lnTo>
                  <a:lnTo>
                    <a:pt x="1243698" y="147720"/>
                  </a:lnTo>
                  <a:lnTo>
                    <a:pt x="1262758" y="157250"/>
                  </a:lnTo>
                  <a:lnTo>
                    <a:pt x="1296114" y="171546"/>
                  </a:lnTo>
                  <a:lnTo>
                    <a:pt x="1310410" y="171546"/>
                  </a:lnTo>
                  <a:lnTo>
                    <a:pt x="1324706" y="176310"/>
                  </a:lnTo>
                  <a:lnTo>
                    <a:pt x="1329470" y="181076"/>
                  </a:lnTo>
                  <a:lnTo>
                    <a:pt x="1353296" y="204902"/>
                  </a:lnTo>
                  <a:lnTo>
                    <a:pt x="1358062" y="204902"/>
                  </a:lnTo>
                  <a:lnTo>
                    <a:pt x="1367592" y="204902"/>
                  </a:lnTo>
                  <a:lnTo>
                    <a:pt x="1381886" y="204902"/>
                  </a:lnTo>
                  <a:lnTo>
                    <a:pt x="1391416" y="200136"/>
                  </a:lnTo>
                  <a:lnTo>
                    <a:pt x="1396182" y="200136"/>
                  </a:lnTo>
                  <a:lnTo>
                    <a:pt x="1405712" y="204902"/>
                  </a:lnTo>
                  <a:lnTo>
                    <a:pt x="1410478" y="209666"/>
                  </a:lnTo>
                  <a:lnTo>
                    <a:pt x="1420008" y="214432"/>
                  </a:lnTo>
                  <a:lnTo>
                    <a:pt x="1429538" y="223962"/>
                  </a:lnTo>
                  <a:lnTo>
                    <a:pt x="1439068" y="228728"/>
                  </a:lnTo>
                  <a:lnTo>
                    <a:pt x="1477190" y="223962"/>
                  </a:lnTo>
                  <a:lnTo>
                    <a:pt x="1481954" y="228728"/>
                  </a:lnTo>
                  <a:lnTo>
                    <a:pt x="1491484" y="228728"/>
                  </a:lnTo>
                  <a:lnTo>
                    <a:pt x="1501014" y="228728"/>
                  </a:lnTo>
                  <a:lnTo>
                    <a:pt x="1524840" y="228728"/>
                  </a:lnTo>
                  <a:lnTo>
                    <a:pt x="1543900" y="228728"/>
                  </a:lnTo>
                  <a:lnTo>
                    <a:pt x="1543900" y="204902"/>
                  </a:lnTo>
                  <a:lnTo>
                    <a:pt x="1548666" y="195372"/>
                  </a:lnTo>
                  <a:lnTo>
                    <a:pt x="1553432" y="195372"/>
                  </a:lnTo>
                  <a:lnTo>
                    <a:pt x="1562962" y="195372"/>
                  </a:lnTo>
                  <a:lnTo>
                    <a:pt x="1601082" y="209666"/>
                  </a:lnTo>
                  <a:lnTo>
                    <a:pt x="1615378" y="219196"/>
                  </a:lnTo>
                  <a:lnTo>
                    <a:pt x="1634438" y="223962"/>
                  </a:lnTo>
                  <a:lnTo>
                    <a:pt x="1643968" y="223962"/>
                  </a:lnTo>
                  <a:lnTo>
                    <a:pt x="1653498" y="228728"/>
                  </a:lnTo>
                  <a:lnTo>
                    <a:pt x="1667794" y="247788"/>
                  </a:lnTo>
                  <a:lnTo>
                    <a:pt x="1663030" y="257318"/>
                  </a:lnTo>
                  <a:lnTo>
                    <a:pt x="1667794" y="262082"/>
                  </a:lnTo>
                  <a:lnTo>
                    <a:pt x="1667794" y="271614"/>
                  </a:lnTo>
                  <a:lnTo>
                    <a:pt x="1667794" y="276378"/>
                  </a:lnTo>
                  <a:lnTo>
                    <a:pt x="1672560" y="281144"/>
                  </a:lnTo>
                  <a:lnTo>
                    <a:pt x="1677324" y="281144"/>
                  </a:lnTo>
                  <a:lnTo>
                    <a:pt x="1682090" y="281144"/>
                  </a:lnTo>
                  <a:lnTo>
                    <a:pt x="1691620" y="276378"/>
                  </a:lnTo>
                  <a:lnTo>
                    <a:pt x="1705916" y="271614"/>
                  </a:lnTo>
                  <a:lnTo>
                    <a:pt x="1710680" y="266848"/>
                  </a:lnTo>
                  <a:lnTo>
                    <a:pt x="1734506" y="276378"/>
                  </a:lnTo>
                  <a:lnTo>
                    <a:pt x="1744036" y="285908"/>
                  </a:lnTo>
                  <a:lnTo>
                    <a:pt x="1748802" y="290674"/>
                  </a:lnTo>
                  <a:lnTo>
                    <a:pt x="1753566" y="300204"/>
                  </a:lnTo>
                  <a:lnTo>
                    <a:pt x="1763096" y="300204"/>
                  </a:lnTo>
                  <a:lnTo>
                    <a:pt x="1772626" y="290674"/>
                  </a:lnTo>
                  <a:lnTo>
                    <a:pt x="1786922" y="285908"/>
                  </a:lnTo>
                  <a:lnTo>
                    <a:pt x="1815514" y="290674"/>
                  </a:lnTo>
                  <a:lnTo>
                    <a:pt x="1844104" y="300204"/>
                  </a:lnTo>
                  <a:lnTo>
                    <a:pt x="1858400" y="304970"/>
                  </a:lnTo>
                  <a:lnTo>
                    <a:pt x="1858400" y="300204"/>
                  </a:lnTo>
                  <a:lnTo>
                    <a:pt x="1863164" y="290674"/>
                  </a:lnTo>
                  <a:lnTo>
                    <a:pt x="1867930" y="285908"/>
                  </a:lnTo>
                  <a:lnTo>
                    <a:pt x="1872694" y="285908"/>
                  </a:lnTo>
                  <a:lnTo>
                    <a:pt x="1882224" y="285908"/>
                  </a:lnTo>
                  <a:lnTo>
                    <a:pt x="1896520" y="276378"/>
                  </a:lnTo>
                  <a:lnTo>
                    <a:pt x="1906050" y="276378"/>
                  </a:lnTo>
                  <a:lnTo>
                    <a:pt x="1920346" y="281144"/>
                  </a:lnTo>
                  <a:lnTo>
                    <a:pt x="1934642" y="285908"/>
                  </a:lnTo>
                  <a:lnTo>
                    <a:pt x="1944172" y="285908"/>
                  </a:lnTo>
                  <a:lnTo>
                    <a:pt x="1948936" y="295438"/>
                  </a:lnTo>
                  <a:lnTo>
                    <a:pt x="1958466" y="300204"/>
                  </a:lnTo>
                  <a:lnTo>
                    <a:pt x="1963232" y="314500"/>
                  </a:lnTo>
                  <a:lnTo>
                    <a:pt x="1948936" y="319264"/>
                  </a:lnTo>
                  <a:lnTo>
                    <a:pt x="1939406" y="319264"/>
                  </a:lnTo>
                  <a:lnTo>
                    <a:pt x="1934642" y="338324"/>
                  </a:lnTo>
                  <a:lnTo>
                    <a:pt x="1939406" y="347856"/>
                  </a:lnTo>
                  <a:lnTo>
                    <a:pt x="1948936" y="352620"/>
                  </a:lnTo>
                  <a:lnTo>
                    <a:pt x="1948936" y="357386"/>
                  </a:lnTo>
                  <a:lnTo>
                    <a:pt x="1953702" y="385976"/>
                  </a:lnTo>
                  <a:lnTo>
                    <a:pt x="1934642" y="405036"/>
                  </a:lnTo>
                  <a:lnTo>
                    <a:pt x="1915580" y="424098"/>
                  </a:lnTo>
                  <a:lnTo>
                    <a:pt x="1805982" y="486044"/>
                  </a:lnTo>
                  <a:lnTo>
                    <a:pt x="1777392" y="514634"/>
                  </a:lnTo>
                  <a:lnTo>
                    <a:pt x="1767862" y="524164"/>
                  </a:lnTo>
                  <a:lnTo>
                    <a:pt x="1686854" y="543226"/>
                  </a:lnTo>
                  <a:lnTo>
                    <a:pt x="1634438" y="562286"/>
                  </a:lnTo>
                  <a:lnTo>
                    <a:pt x="1605848" y="571816"/>
                  </a:lnTo>
                  <a:lnTo>
                    <a:pt x="1572492" y="605172"/>
                  </a:lnTo>
                  <a:lnTo>
                    <a:pt x="1558196" y="619468"/>
                  </a:lnTo>
                  <a:lnTo>
                    <a:pt x="1567726" y="624232"/>
                  </a:lnTo>
                  <a:lnTo>
                    <a:pt x="1582022" y="638528"/>
                  </a:lnTo>
                  <a:lnTo>
                    <a:pt x="1577256" y="648058"/>
                  </a:lnTo>
                  <a:lnTo>
                    <a:pt x="1558196" y="657588"/>
                  </a:lnTo>
                  <a:lnTo>
                    <a:pt x="1548666" y="662354"/>
                  </a:lnTo>
                  <a:lnTo>
                    <a:pt x="1543900" y="662354"/>
                  </a:lnTo>
                  <a:lnTo>
                    <a:pt x="1539136" y="662354"/>
                  </a:lnTo>
                  <a:lnTo>
                    <a:pt x="1501014" y="724300"/>
                  </a:lnTo>
                  <a:lnTo>
                    <a:pt x="1467658" y="767186"/>
                  </a:lnTo>
                  <a:lnTo>
                    <a:pt x="1448598" y="786246"/>
                  </a:lnTo>
                  <a:lnTo>
                    <a:pt x="1434302" y="814838"/>
                  </a:lnTo>
                  <a:lnTo>
                    <a:pt x="1391416" y="886314"/>
                  </a:lnTo>
                  <a:lnTo>
                    <a:pt x="1391416" y="905376"/>
                  </a:lnTo>
                  <a:lnTo>
                    <a:pt x="1410478" y="976852"/>
                  </a:lnTo>
                  <a:lnTo>
                    <a:pt x="1424772" y="995912"/>
                  </a:lnTo>
                  <a:lnTo>
                    <a:pt x="1439068" y="1014972"/>
                  </a:lnTo>
                  <a:lnTo>
                    <a:pt x="1467658" y="1024504"/>
                  </a:lnTo>
                  <a:lnTo>
                    <a:pt x="1477190" y="1038798"/>
                  </a:lnTo>
                  <a:lnTo>
                    <a:pt x="1462894" y="1053094"/>
                  </a:lnTo>
                  <a:lnTo>
                    <a:pt x="1434302" y="1072154"/>
                  </a:lnTo>
                  <a:lnTo>
                    <a:pt x="1386652" y="1105510"/>
                  </a:lnTo>
                  <a:lnTo>
                    <a:pt x="1362826" y="1129336"/>
                  </a:lnTo>
                  <a:lnTo>
                    <a:pt x="1358062" y="1148396"/>
                  </a:lnTo>
                  <a:lnTo>
                    <a:pt x="1343766" y="1162692"/>
                  </a:lnTo>
                  <a:lnTo>
                    <a:pt x="1339000" y="1191282"/>
                  </a:lnTo>
                  <a:lnTo>
                    <a:pt x="1329470" y="1215108"/>
                  </a:lnTo>
                  <a:lnTo>
                    <a:pt x="1324706" y="1219874"/>
                  </a:lnTo>
                  <a:lnTo>
                    <a:pt x="1315174" y="1234168"/>
                  </a:lnTo>
                  <a:lnTo>
                    <a:pt x="1315174" y="1248464"/>
                  </a:lnTo>
                  <a:lnTo>
                    <a:pt x="1329470" y="1262760"/>
                  </a:lnTo>
                  <a:lnTo>
                    <a:pt x="1324706" y="1272290"/>
                  </a:lnTo>
                  <a:lnTo>
                    <a:pt x="1315174" y="1272290"/>
                  </a:lnTo>
                  <a:lnTo>
                    <a:pt x="1296114" y="1277056"/>
                  </a:lnTo>
                  <a:lnTo>
                    <a:pt x="1234168" y="1277056"/>
                  </a:lnTo>
                  <a:lnTo>
                    <a:pt x="1186516" y="1310410"/>
                  </a:lnTo>
                  <a:lnTo>
                    <a:pt x="1162690" y="1343766"/>
                  </a:lnTo>
                  <a:lnTo>
                    <a:pt x="1143630" y="1396184"/>
                  </a:lnTo>
                  <a:lnTo>
                    <a:pt x="1115040" y="1429540"/>
                  </a:lnTo>
                  <a:lnTo>
                    <a:pt x="1100744" y="1439070"/>
                  </a:lnTo>
                  <a:lnTo>
                    <a:pt x="1086448" y="1424774"/>
                  </a:lnTo>
                  <a:lnTo>
                    <a:pt x="1062624" y="1420008"/>
                  </a:lnTo>
                  <a:lnTo>
                    <a:pt x="1038798" y="1424774"/>
                  </a:lnTo>
                  <a:lnTo>
                    <a:pt x="1029268" y="1439070"/>
                  </a:lnTo>
                  <a:lnTo>
                    <a:pt x="1010206" y="1443834"/>
                  </a:lnTo>
                  <a:lnTo>
                    <a:pt x="991146" y="1439070"/>
                  </a:lnTo>
                  <a:lnTo>
                    <a:pt x="953026" y="1434304"/>
                  </a:lnTo>
                  <a:lnTo>
                    <a:pt x="933964" y="1434304"/>
                  </a:lnTo>
                  <a:lnTo>
                    <a:pt x="910140" y="1443834"/>
                  </a:lnTo>
                  <a:lnTo>
                    <a:pt x="886314" y="1439070"/>
                  </a:lnTo>
                  <a:lnTo>
                    <a:pt x="848192" y="1434304"/>
                  </a:lnTo>
                  <a:lnTo>
                    <a:pt x="762420" y="1443834"/>
                  </a:lnTo>
                  <a:lnTo>
                    <a:pt x="752890" y="1443834"/>
                  </a:lnTo>
                  <a:lnTo>
                    <a:pt x="738594" y="1458130"/>
                  </a:lnTo>
                  <a:lnTo>
                    <a:pt x="714768" y="1481956"/>
                  </a:lnTo>
                  <a:lnTo>
                    <a:pt x="671882" y="1481956"/>
                  </a:lnTo>
                  <a:lnTo>
                    <a:pt x="638526" y="1501016"/>
                  </a:lnTo>
                  <a:lnTo>
                    <a:pt x="628996" y="1510546"/>
                  </a:lnTo>
                  <a:lnTo>
                    <a:pt x="609936" y="1534372"/>
                  </a:lnTo>
                  <a:lnTo>
                    <a:pt x="605170" y="1553432"/>
                  </a:lnTo>
                  <a:lnTo>
                    <a:pt x="605170" y="1558198"/>
                  </a:lnTo>
                  <a:lnTo>
                    <a:pt x="600406" y="1553432"/>
                  </a:lnTo>
                  <a:lnTo>
                    <a:pt x="595640" y="1553432"/>
                  </a:lnTo>
                  <a:lnTo>
                    <a:pt x="590876" y="1567728"/>
                  </a:lnTo>
                  <a:lnTo>
                    <a:pt x="576580" y="1572492"/>
                  </a:lnTo>
                  <a:lnTo>
                    <a:pt x="567050" y="1577258"/>
                  </a:lnTo>
                  <a:lnTo>
                    <a:pt x="538460" y="1562962"/>
                  </a:lnTo>
                  <a:lnTo>
                    <a:pt x="514634" y="1543902"/>
                  </a:lnTo>
                  <a:lnTo>
                    <a:pt x="500338" y="1543902"/>
                  </a:lnTo>
                  <a:lnTo>
                    <a:pt x="481278" y="1515312"/>
                  </a:lnTo>
                  <a:lnTo>
                    <a:pt x="471748" y="1501016"/>
                  </a:lnTo>
                  <a:lnTo>
                    <a:pt x="466982" y="1481956"/>
                  </a:lnTo>
                  <a:lnTo>
                    <a:pt x="466982" y="1472426"/>
                  </a:lnTo>
                  <a:lnTo>
                    <a:pt x="466982" y="1467660"/>
                  </a:lnTo>
                  <a:lnTo>
                    <a:pt x="447922" y="1458130"/>
                  </a:lnTo>
                  <a:lnTo>
                    <a:pt x="443156" y="1439070"/>
                  </a:lnTo>
                  <a:lnTo>
                    <a:pt x="457452" y="1415244"/>
                  </a:lnTo>
                  <a:lnTo>
                    <a:pt x="466982" y="1405714"/>
                  </a:lnTo>
                  <a:lnTo>
                    <a:pt x="457452" y="1405714"/>
                  </a:lnTo>
                  <a:lnTo>
                    <a:pt x="443156" y="1420008"/>
                  </a:lnTo>
                  <a:lnTo>
                    <a:pt x="428862" y="1396184"/>
                  </a:lnTo>
                  <a:lnTo>
                    <a:pt x="366914" y="1348532"/>
                  </a:lnTo>
                  <a:lnTo>
                    <a:pt x="371680" y="1339002"/>
                  </a:lnTo>
                  <a:lnTo>
                    <a:pt x="371680" y="1334236"/>
                  </a:lnTo>
                  <a:lnTo>
                    <a:pt x="362150" y="1343766"/>
                  </a:lnTo>
                  <a:lnTo>
                    <a:pt x="352620" y="1348532"/>
                  </a:lnTo>
                  <a:lnTo>
                    <a:pt x="324028" y="1348532"/>
                  </a:lnTo>
                  <a:lnTo>
                    <a:pt x="285908" y="1353296"/>
                  </a:lnTo>
                  <a:lnTo>
                    <a:pt x="276378" y="1305646"/>
                  </a:lnTo>
                  <a:lnTo>
                    <a:pt x="271612" y="1286586"/>
                  </a:lnTo>
                  <a:lnTo>
                    <a:pt x="271612" y="1272290"/>
                  </a:lnTo>
                  <a:lnTo>
                    <a:pt x="281142" y="1243700"/>
                  </a:lnTo>
                  <a:lnTo>
                    <a:pt x="290672" y="1234168"/>
                  </a:lnTo>
                  <a:lnTo>
                    <a:pt x="304968" y="1210344"/>
                  </a:lnTo>
                  <a:lnTo>
                    <a:pt x="324028" y="1191282"/>
                  </a:lnTo>
                  <a:lnTo>
                    <a:pt x="338324" y="1186518"/>
                  </a:lnTo>
                  <a:lnTo>
                    <a:pt x="347854" y="1181752"/>
                  </a:lnTo>
                  <a:lnTo>
                    <a:pt x="352620" y="1167458"/>
                  </a:lnTo>
                  <a:lnTo>
                    <a:pt x="357384" y="1153162"/>
                  </a:lnTo>
                  <a:lnTo>
                    <a:pt x="352620" y="1153162"/>
                  </a:lnTo>
                  <a:lnTo>
                    <a:pt x="333558" y="1153162"/>
                  </a:lnTo>
                  <a:lnTo>
                    <a:pt x="295438" y="1100746"/>
                  </a:lnTo>
                  <a:lnTo>
                    <a:pt x="300202" y="1091216"/>
                  </a:lnTo>
                  <a:lnTo>
                    <a:pt x="304968" y="1076920"/>
                  </a:lnTo>
                  <a:lnTo>
                    <a:pt x="304968" y="1062624"/>
                  </a:lnTo>
                  <a:lnTo>
                    <a:pt x="304968" y="1048328"/>
                  </a:lnTo>
                  <a:lnTo>
                    <a:pt x="314498" y="1038798"/>
                  </a:lnTo>
                  <a:lnTo>
                    <a:pt x="328794" y="1024504"/>
                  </a:lnTo>
                  <a:lnTo>
                    <a:pt x="343090" y="1010208"/>
                  </a:lnTo>
                  <a:lnTo>
                    <a:pt x="347854" y="995912"/>
                  </a:lnTo>
                  <a:lnTo>
                    <a:pt x="352620" y="981618"/>
                  </a:lnTo>
                  <a:lnTo>
                    <a:pt x="343090" y="967322"/>
                  </a:lnTo>
                  <a:lnTo>
                    <a:pt x="324028" y="962556"/>
                  </a:lnTo>
                  <a:lnTo>
                    <a:pt x="304968" y="924436"/>
                  </a:lnTo>
                  <a:lnTo>
                    <a:pt x="300202" y="895844"/>
                  </a:lnTo>
                  <a:lnTo>
                    <a:pt x="295438" y="895844"/>
                  </a:lnTo>
                  <a:lnTo>
                    <a:pt x="281142" y="881550"/>
                  </a:lnTo>
                  <a:lnTo>
                    <a:pt x="266848" y="862488"/>
                  </a:lnTo>
                  <a:lnTo>
                    <a:pt x="266848" y="857724"/>
                  </a:lnTo>
                  <a:lnTo>
                    <a:pt x="281142" y="852958"/>
                  </a:lnTo>
                  <a:lnTo>
                    <a:pt x="333558" y="852958"/>
                  </a:lnTo>
                  <a:lnTo>
                    <a:pt x="343090" y="848194"/>
                  </a:lnTo>
                  <a:lnTo>
                    <a:pt x="352620" y="829134"/>
                  </a:lnTo>
                  <a:lnTo>
                    <a:pt x="366914" y="800542"/>
                  </a:lnTo>
                  <a:lnTo>
                    <a:pt x="366914" y="781482"/>
                  </a:lnTo>
                  <a:lnTo>
                    <a:pt x="362150" y="776716"/>
                  </a:lnTo>
                  <a:lnTo>
                    <a:pt x="347854" y="757656"/>
                  </a:lnTo>
                  <a:lnTo>
                    <a:pt x="347854" y="752892"/>
                  </a:lnTo>
                  <a:lnTo>
                    <a:pt x="347854" y="743360"/>
                  </a:lnTo>
                  <a:lnTo>
                    <a:pt x="357384" y="738596"/>
                  </a:lnTo>
                  <a:lnTo>
                    <a:pt x="371680" y="729066"/>
                  </a:lnTo>
                  <a:lnTo>
                    <a:pt x="381210" y="719536"/>
                  </a:lnTo>
                  <a:lnTo>
                    <a:pt x="381210" y="710004"/>
                  </a:lnTo>
                  <a:lnTo>
                    <a:pt x="376444" y="705240"/>
                  </a:lnTo>
                  <a:lnTo>
                    <a:pt x="371680" y="695710"/>
                  </a:lnTo>
                  <a:lnTo>
                    <a:pt x="376444" y="690944"/>
                  </a:lnTo>
                  <a:lnTo>
                    <a:pt x="376444" y="662354"/>
                  </a:lnTo>
                  <a:lnTo>
                    <a:pt x="381210" y="652824"/>
                  </a:lnTo>
                  <a:lnTo>
                    <a:pt x="376444" y="628998"/>
                  </a:lnTo>
                  <a:lnTo>
                    <a:pt x="371680" y="609938"/>
                  </a:lnTo>
                  <a:lnTo>
                    <a:pt x="362150" y="581346"/>
                  </a:lnTo>
                  <a:lnTo>
                    <a:pt x="362150" y="576582"/>
                  </a:lnTo>
                  <a:lnTo>
                    <a:pt x="366914" y="571816"/>
                  </a:lnTo>
                  <a:lnTo>
                    <a:pt x="385976" y="562286"/>
                  </a:lnTo>
                  <a:lnTo>
                    <a:pt x="400270" y="538460"/>
                  </a:lnTo>
                  <a:lnTo>
                    <a:pt x="419332" y="519400"/>
                  </a:lnTo>
                  <a:lnTo>
                    <a:pt x="443156" y="505104"/>
                  </a:lnTo>
                  <a:lnTo>
                    <a:pt x="462218" y="486044"/>
                  </a:lnTo>
                  <a:lnTo>
                    <a:pt x="466982" y="476514"/>
                  </a:lnTo>
                  <a:lnTo>
                    <a:pt x="471748" y="471748"/>
                  </a:lnTo>
                  <a:lnTo>
                    <a:pt x="471748" y="466984"/>
                  </a:lnTo>
                  <a:lnTo>
                    <a:pt x="466982" y="457454"/>
                  </a:lnTo>
                  <a:lnTo>
                    <a:pt x="457452" y="447922"/>
                  </a:lnTo>
                  <a:lnTo>
                    <a:pt x="447922" y="443158"/>
                  </a:lnTo>
                  <a:lnTo>
                    <a:pt x="428862" y="443158"/>
                  </a:lnTo>
                  <a:lnTo>
                    <a:pt x="424096" y="443158"/>
                  </a:lnTo>
                  <a:lnTo>
                    <a:pt x="419332" y="438392"/>
                  </a:lnTo>
                  <a:lnTo>
                    <a:pt x="419332" y="419332"/>
                  </a:lnTo>
                  <a:lnTo>
                    <a:pt x="419332" y="400272"/>
                  </a:lnTo>
                  <a:lnTo>
                    <a:pt x="419332" y="390742"/>
                  </a:lnTo>
                  <a:lnTo>
                    <a:pt x="409800" y="385976"/>
                  </a:lnTo>
                  <a:lnTo>
                    <a:pt x="395506" y="385976"/>
                  </a:lnTo>
                  <a:lnTo>
                    <a:pt x="385976" y="381212"/>
                  </a:lnTo>
                  <a:lnTo>
                    <a:pt x="376444" y="381212"/>
                  </a:lnTo>
                  <a:lnTo>
                    <a:pt x="371680" y="385976"/>
                  </a:lnTo>
                  <a:lnTo>
                    <a:pt x="347854" y="385976"/>
                  </a:lnTo>
                  <a:lnTo>
                    <a:pt x="333558" y="381212"/>
                  </a:lnTo>
                  <a:lnTo>
                    <a:pt x="328794" y="376446"/>
                  </a:lnTo>
                  <a:lnTo>
                    <a:pt x="324028" y="381212"/>
                  </a:lnTo>
                  <a:lnTo>
                    <a:pt x="319264" y="385976"/>
                  </a:lnTo>
                  <a:lnTo>
                    <a:pt x="319264" y="390742"/>
                  </a:lnTo>
                  <a:lnTo>
                    <a:pt x="319264" y="395506"/>
                  </a:lnTo>
                  <a:lnTo>
                    <a:pt x="309734" y="405036"/>
                  </a:lnTo>
                  <a:lnTo>
                    <a:pt x="285908" y="409802"/>
                  </a:lnTo>
                  <a:lnTo>
                    <a:pt x="271612" y="409802"/>
                  </a:lnTo>
                  <a:lnTo>
                    <a:pt x="252552" y="405036"/>
                  </a:lnTo>
                  <a:lnTo>
                    <a:pt x="247786" y="400272"/>
                  </a:lnTo>
                  <a:lnTo>
                    <a:pt x="243022" y="400272"/>
                  </a:lnTo>
                  <a:lnTo>
                    <a:pt x="209666" y="400272"/>
                  </a:lnTo>
                  <a:lnTo>
                    <a:pt x="204900" y="400272"/>
                  </a:lnTo>
                  <a:lnTo>
                    <a:pt x="195370" y="405036"/>
                  </a:lnTo>
                  <a:lnTo>
                    <a:pt x="181074" y="414568"/>
                  </a:lnTo>
                  <a:lnTo>
                    <a:pt x="171544" y="414568"/>
                  </a:lnTo>
                  <a:lnTo>
                    <a:pt x="166780" y="409802"/>
                  </a:lnTo>
                  <a:lnTo>
                    <a:pt x="157250" y="395506"/>
                  </a:lnTo>
                  <a:lnTo>
                    <a:pt x="162014" y="390742"/>
                  </a:lnTo>
                  <a:lnTo>
                    <a:pt x="176310" y="371680"/>
                  </a:lnTo>
                  <a:lnTo>
                    <a:pt x="171544" y="366916"/>
                  </a:lnTo>
                  <a:lnTo>
                    <a:pt x="166780" y="362150"/>
                  </a:lnTo>
                  <a:lnTo>
                    <a:pt x="162014" y="352620"/>
                  </a:lnTo>
                  <a:lnTo>
                    <a:pt x="162014" y="347856"/>
                  </a:lnTo>
                  <a:lnTo>
                    <a:pt x="152484" y="347856"/>
                  </a:lnTo>
                  <a:lnTo>
                    <a:pt x="142954" y="347856"/>
                  </a:lnTo>
                  <a:lnTo>
                    <a:pt x="109598" y="362150"/>
                  </a:lnTo>
                  <a:lnTo>
                    <a:pt x="104832" y="362150"/>
                  </a:lnTo>
                  <a:lnTo>
                    <a:pt x="85772" y="371680"/>
                  </a:lnTo>
                  <a:lnTo>
                    <a:pt x="71476" y="385976"/>
                  </a:lnTo>
                  <a:lnTo>
                    <a:pt x="61946" y="390742"/>
                  </a:lnTo>
                  <a:lnTo>
                    <a:pt x="57182" y="385976"/>
                  </a:lnTo>
                  <a:lnTo>
                    <a:pt x="57182" y="352620"/>
                  </a:lnTo>
                  <a:lnTo>
                    <a:pt x="71476" y="328794"/>
                  </a:lnTo>
                  <a:lnTo>
                    <a:pt x="85772" y="314500"/>
                  </a:lnTo>
                  <a:lnTo>
                    <a:pt x="81008" y="314500"/>
                  </a:lnTo>
                  <a:lnTo>
                    <a:pt x="66712" y="314500"/>
                  </a:lnTo>
                  <a:lnTo>
                    <a:pt x="66712" y="304970"/>
                  </a:lnTo>
                  <a:lnTo>
                    <a:pt x="76242" y="300204"/>
                  </a:lnTo>
                  <a:lnTo>
                    <a:pt x="81008" y="285908"/>
                  </a:lnTo>
                  <a:lnTo>
                    <a:pt x="71476" y="281144"/>
                  </a:lnTo>
                  <a:lnTo>
                    <a:pt x="66712" y="276378"/>
                  </a:lnTo>
                  <a:lnTo>
                    <a:pt x="66712" y="257318"/>
                  </a:lnTo>
                  <a:lnTo>
                    <a:pt x="71476" y="247788"/>
                  </a:lnTo>
                  <a:lnTo>
                    <a:pt x="66712" y="238258"/>
                  </a:lnTo>
                  <a:lnTo>
                    <a:pt x="38122" y="252552"/>
                  </a:lnTo>
                  <a:lnTo>
                    <a:pt x="33356" y="247788"/>
                  </a:lnTo>
                  <a:lnTo>
                    <a:pt x="33356" y="233492"/>
                  </a:lnTo>
                  <a:lnTo>
                    <a:pt x="47652" y="214432"/>
                  </a:lnTo>
                  <a:lnTo>
                    <a:pt x="47652" y="204902"/>
                  </a:lnTo>
                  <a:lnTo>
                    <a:pt x="33356" y="200136"/>
                  </a:lnTo>
                  <a:lnTo>
                    <a:pt x="19060" y="190606"/>
                  </a:lnTo>
                  <a:lnTo>
                    <a:pt x="9530" y="181076"/>
                  </a:lnTo>
                  <a:lnTo>
                    <a:pt x="0" y="166780"/>
                  </a:lnTo>
                  <a:lnTo>
                    <a:pt x="0" y="152486"/>
                  </a:lnTo>
                  <a:lnTo>
                    <a:pt x="9530" y="123894"/>
                  </a:lnTo>
                  <a:lnTo>
                    <a:pt x="23826" y="114364"/>
                  </a:lnTo>
                  <a:lnTo>
                    <a:pt x="33356" y="109598"/>
                  </a:lnTo>
                  <a:lnTo>
                    <a:pt x="57182" y="90538"/>
                  </a:lnTo>
                  <a:lnTo>
                    <a:pt x="90538" y="95304"/>
                  </a:lnTo>
                  <a:lnTo>
                    <a:pt x="109598" y="90538"/>
                  </a:lnTo>
                  <a:lnTo>
                    <a:pt x="128658" y="81008"/>
                  </a:lnTo>
                  <a:lnTo>
                    <a:pt x="138188" y="76244"/>
                  </a:lnTo>
                  <a:lnTo>
                    <a:pt x="157250" y="66712"/>
                  </a:lnTo>
                  <a:lnTo>
                    <a:pt x="157250" y="57182"/>
                  </a:lnTo>
                  <a:lnTo>
                    <a:pt x="147718" y="47652"/>
                  </a:lnTo>
                  <a:lnTo>
                    <a:pt x="152484" y="38122"/>
                  </a:lnTo>
                  <a:lnTo>
                    <a:pt x="171544" y="28592"/>
                  </a:lnTo>
                  <a:lnTo>
                    <a:pt x="195370" y="14296"/>
                  </a:lnTo>
                  <a:lnTo>
                    <a:pt x="219196" y="953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8" name="Google Shape;4575;p64">
              <a:extLst>
                <a:ext uri="{FF2B5EF4-FFF2-40B4-BE49-F238E27FC236}">
                  <a16:creationId xmlns:a16="http://schemas.microsoft.com/office/drawing/2014/main" id="{C8B4860E-8F8E-60BD-7C8F-C37E90E4750C}"/>
                </a:ext>
              </a:extLst>
            </p:cNvPr>
            <p:cNvSpPr/>
            <p:nvPr/>
          </p:nvSpPr>
          <p:spPr>
            <a:xfrm>
              <a:off x="4994888" y="3381480"/>
              <a:ext cx="135858" cy="87290"/>
            </a:xfrm>
            <a:custGeom>
              <a:avLst/>
              <a:gdLst/>
              <a:ahLst/>
              <a:cxnLst/>
              <a:rect l="l" t="t" r="r" b="b"/>
              <a:pathLst>
                <a:path w="986382" h="633762" extrusionOk="0">
                  <a:moveTo>
                    <a:pt x="109598" y="309734"/>
                  </a:moveTo>
                  <a:lnTo>
                    <a:pt x="119128" y="314499"/>
                  </a:lnTo>
                  <a:lnTo>
                    <a:pt x="133424" y="319264"/>
                  </a:lnTo>
                  <a:lnTo>
                    <a:pt x="142954" y="319264"/>
                  </a:lnTo>
                  <a:lnTo>
                    <a:pt x="152484" y="309734"/>
                  </a:lnTo>
                  <a:lnTo>
                    <a:pt x="176310" y="314499"/>
                  </a:lnTo>
                  <a:lnTo>
                    <a:pt x="228726" y="352620"/>
                  </a:lnTo>
                  <a:lnTo>
                    <a:pt x="233490" y="362150"/>
                  </a:lnTo>
                  <a:lnTo>
                    <a:pt x="200136" y="366915"/>
                  </a:lnTo>
                  <a:lnTo>
                    <a:pt x="195370" y="376446"/>
                  </a:lnTo>
                  <a:lnTo>
                    <a:pt x="185840" y="385976"/>
                  </a:lnTo>
                  <a:lnTo>
                    <a:pt x="176310" y="390741"/>
                  </a:lnTo>
                  <a:lnTo>
                    <a:pt x="162014" y="405036"/>
                  </a:lnTo>
                  <a:lnTo>
                    <a:pt x="142954" y="419332"/>
                  </a:lnTo>
                  <a:lnTo>
                    <a:pt x="138188" y="428862"/>
                  </a:lnTo>
                  <a:lnTo>
                    <a:pt x="104832" y="428862"/>
                  </a:lnTo>
                  <a:lnTo>
                    <a:pt x="81008" y="433627"/>
                  </a:lnTo>
                  <a:lnTo>
                    <a:pt x="66712" y="447922"/>
                  </a:lnTo>
                  <a:lnTo>
                    <a:pt x="61946" y="481278"/>
                  </a:lnTo>
                  <a:lnTo>
                    <a:pt x="47652" y="505104"/>
                  </a:lnTo>
                  <a:lnTo>
                    <a:pt x="38120" y="514634"/>
                  </a:lnTo>
                  <a:lnTo>
                    <a:pt x="23826" y="514634"/>
                  </a:lnTo>
                  <a:lnTo>
                    <a:pt x="23826" y="509869"/>
                  </a:lnTo>
                  <a:lnTo>
                    <a:pt x="23826" y="500339"/>
                  </a:lnTo>
                  <a:lnTo>
                    <a:pt x="47652" y="462218"/>
                  </a:lnTo>
                  <a:lnTo>
                    <a:pt x="52416" y="452687"/>
                  </a:lnTo>
                  <a:lnTo>
                    <a:pt x="42886" y="447922"/>
                  </a:lnTo>
                  <a:lnTo>
                    <a:pt x="28590" y="433627"/>
                  </a:lnTo>
                  <a:lnTo>
                    <a:pt x="4766" y="419332"/>
                  </a:lnTo>
                  <a:lnTo>
                    <a:pt x="0" y="409801"/>
                  </a:lnTo>
                  <a:lnTo>
                    <a:pt x="9530" y="405036"/>
                  </a:lnTo>
                  <a:lnTo>
                    <a:pt x="14296" y="405036"/>
                  </a:lnTo>
                  <a:lnTo>
                    <a:pt x="19060" y="395506"/>
                  </a:lnTo>
                  <a:lnTo>
                    <a:pt x="23826" y="381211"/>
                  </a:lnTo>
                  <a:lnTo>
                    <a:pt x="4766" y="347855"/>
                  </a:lnTo>
                  <a:lnTo>
                    <a:pt x="14296" y="343090"/>
                  </a:lnTo>
                  <a:lnTo>
                    <a:pt x="23826" y="343090"/>
                  </a:lnTo>
                  <a:lnTo>
                    <a:pt x="38120" y="352620"/>
                  </a:lnTo>
                  <a:lnTo>
                    <a:pt x="52416" y="343090"/>
                  </a:lnTo>
                  <a:lnTo>
                    <a:pt x="57182" y="343090"/>
                  </a:lnTo>
                  <a:lnTo>
                    <a:pt x="66712" y="347855"/>
                  </a:lnTo>
                  <a:lnTo>
                    <a:pt x="76242" y="324029"/>
                  </a:lnTo>
                  <a:lnTo>
                    <a:pt x="100068" y="319264"/>
                  </a:lnTo>
                  <a:close/>
                  <a:moveTo>
                    <a:pt x="204900" y="295438"/>
                  </a:moveTo>
                  <a:lnTo>
                    <a:pt x="233490" y="304968"/>
                  </a:lnTo>
                  <a:lnTo>
                    <a:pt x="238256" y="324029"/>
                  </a:lnTo>
                  <a:lnTo>
                    <a:pt x="233490" y="333559"/>
                  </a:lnTo>
                  <a:lnTo>
                    <a:pt x="223960" y="338324"/>
                  </a:lnTo>
                  <a:lnTo>
                    <a:pt x="190606" y="314498"/>
                  </a:lnTo>
                  <a:lnTo>
                    <a:pt x="200136" y="300203"/>
                  </a:lnTo>
                  <a:close/>
                  <a:moveTo>
                    <a:pt x="114364" y="171545"/>
                  </a:moveTo>
                  <a:lnTo>
                    <a:pt x="123894" y="171545"/>
                  </a:lnTo>
                  <a:lnTo>
                    <a:pt x="133424" y="176310"/>
                  </a:lnTo>
                  <a:lnTo>
                    <a:pt x="133424" y="185840"/>
                  </a:lnTo>
                  <a:lnTo>
                    <a:pt x="138188" y="195371"/>
                  </a:lnTo>
                  <a:lnTo>
                    <a:pt x="166780" y="200136"/>
                  </a:lnTo>
                  <a:lnTo>
                    <a:pt x="176310" y="223961"/>
                  </a:lnTo>
                  <a:lnTo>
                    <a:pt x="181074" y="247787"/>
                  </a:lnTo>
                  <a:lnTo>
                    <a:pt x="166780" y="252552"/>
                  </a:lnTo>
                  <a:lnTo>
                    <a:pt x="157250" y="266847"/>
                  </a:lnTo>
                  <a:lnTo>
                    <a:pt x="147720" y="257317"/>
                  </a:lnTo>
                  <a:lnTo>
                    <a:pt x="142954" y="252552"/>
                  </a:lnTo>
                  <a:lnTo>
                    <a:pt x="128658" y="285908"/>
                  </a:lnTo>
                  <a:lnTo>
                    <a:pt x="109598" y="290673"/>
                  </a:lnTo>
                  <a:lnTo>
                    <a:pt x="100068" y="285908"/>
                  </a:lnTo>
                  <a:lnTo>
                    <a:pt x="100068" y="271613"/>
                  </a:lnTo>
                  <a:lnTo>
                    <a:pt x="90538" y="238257"/>
                  </a:lnTo>
                  <a:lnTo>
                    <a:pt x="71478" y="228726"/>
                  </a:lnTo>
                  <a:lnTo>
                    <a:pt x="47652" y="228726"/>
                  </a:lnTo>
                  <a:lnTo>
                    <a:pt x="33356" y="214431"/>
                  </a:lnTo>
                  <a:lnTo>
                    <a:pt x="95302" y="204901"/>
                  </a:lnTo>
                  <a:lnTo>
                    <a:pt x="104832" y="190605"/>
                  </a:lnTo>
                  <a:close/>
                  <a:moveTo>
                    <a:pt x="571816" y="0"/>
                  </a:moveTo>
                  <a:lnTo>
                    <a:pt x="590876" y="4765"/>
                  </a:lnTo>
                  <a:lnTo>
                    <a:pt x="619468" y="4765"/>
                  </a:lnTo>
                  <a:lnTo>
                    <a:pt x="719534" y="28591"/>
                  </a:lnTo>
                  <a:lnTo>
                    <a:pt x="748126" y="28591"/>
                  </a:lnTo>
                  <a:lnTo>
                    <a:pt x="781482" y="52416"/>
                  </a:lnTo>
                  <a:lnTo>
                    <a:pt x="800542" y="61947"/>
                  </a:lnTo>
                  <a:lnTo>
                    <a:pt x="857724" y="61947"/>
                  </a:lnTo>
                  <a:lnTo>
                    <a:pt x="943496" y="71477"/>
                  </a:lnTo>
                  <a:lnTo>
                    <a:pt x="962556" y="52416"/>
                  </a:lnTo>
                  <a:lnTo>
                    <a:pt x="972086" y="57182"/>
                  </a:lnTo>
                  <a:lnTo>
                    <a:pt x="981616" y="76242"/>
                  </a:lnTo>
                  <a:lnTo>
                    <a:pt x="986382" y="85772"/>
                  </a:lnTo>
                  <a:lnTo>
                    <a:pt x="981616" y="90537"/>
                  </a:lnTo>
                  <a:lnTo>
                    <a:pt x="972086" y="95303"/>
                  </a:lnTo>
                  <a:lnTo>
                    <a:pt x="967322" y="100068"/>
                  </a:lnTo>
                  <a:lnTo>
                    <a:pt x="962556" y="104833"/>
                  </a:lnTo>
                  <a:lnTo>
                    <a:pt x="953026" y="104833"/>
                  </a:lnTo>
                  <a:lnTo>
                    <a:pt x="948260" y="114363"/>
                  </a:lnTo>
                  <a:lnTo>
                    <a:pt x="938730" y="138189"/>
                  </a:lnTo>
                  <a:lnTo>
                    <a:pt x="924436" y="181075"/>
                  </a:lnTo>
                  <a:lnTo>
                    <a:pt x="910140" y="204900"/>
                  </a:lnTo>
                  <a:lnTo>
                    <a:pt x="886314" y="195370"/>
                  </a:lnTo>
                  <a:lnTo>
                    <a:pt x="852958" y="200135"/>
                  </a:lnTo>
                  <a:lnTo>
                    <a:pt x="824368" y="209666"/>
                  </a:lnTo>
                  <a:lnTo>
                    <a:pt x="800542" y="233491"/>
                  </a:lnTo>
                  <a:lnTo>
                    <a:pt x="800542" y="257317"/>
                  </a:lnTo>
                  <a:lnTo>
                    <a:pt x="829132" y="304968"/>
                  </a:lnTo>
                  <a:lnTo>
                    <a:pt x="843428" y="362150"/>
                  </a:lnTo>
                  <a:lnTo>
                    <a:pt x="857724" y="376445"/>
                  </a:lnTo>
                  <a:lnTo>
                    <a:pt x="872018" y="405036"/>
                  </a:lnTo>
                  <a:lnTo>
                    <a:pt x="881550" y="433627"/>
                  </a:lnTo>
                  <a:lnTo>
                    <a:pt x="881550" y="443157"/>
                  </a:lnTo>
                  <a:lnTo>
                    <a:pt x="905374" y="490808"/>
                  </a:lnTo>
                  <a:lnTo>
                    <a:pt x="910140" y="514634"/>
                  </a:lnTo>
                  <a:lnTo>
                    <a:pt x="919670" y="524164"/>
                  </a:lnTo>
                  <a:lnTo>
                    <a:pt x="924436" y="528929"/>
                  </a:lnTo>
                  <a:lnTo>
                    <a:pt x="929200" y="533694"/>
                  </a:lnTo>
                  <a:lnTo>
                    <a:pt x="929200" y="538459"/>
                  </a:lnTo>
                  <a:lnTo>
                    <a:pt x="924436" y="543225"/>
                  </a:lnTo>
                  <a:lnTo>
                    <a:pt x="891080" y="557520"/>
                  </a:lnTo>
                  <a:lnTo>
                    <a:pt x="886314" y="567050"/>
                  </a:lnTo>
                  <a:lnTo>
                    <a:pt x="881550" y="576580"/>
                  </a:lnTo>
                  <a:lnTo>
                    <a:pt x="867254" y="595641"/>
                  </a:lnTo>
                  <a:lnTo>
                    <a:pt x="862488" y="609936"/>
                  </a:lnTo>
                  <a:lnTo>
                    <a:pt x="862488" y="628997"/>
                  </a:lnTo>
                  <a:lnTo>
                    <a:pt x="862488" y="633762"/>
                  </a:lnTo>
                  <a:lnTo>
                    <a:pt x="857724" y="633762"/>
                  </a:lnTo>
                  <a:lnTo>
                    <a:pt x="833898" y="633762"/>
                  </a:lnTo>
                  <a:lnTo>
                    <a:pt x="810072" y="619467"/>
                  </a:lnTo>
                  <a:lnTo>
                    <a:pt x="800542" y="609936"/>
                  </a:lnTo>
                  <a:lnTo>
                    <a:pt x="791012" y="609936"/>
                  </a:lnTo>
                  <a:lnTo>
                    <a:pt x="776716" y="614702"/>
                  </a:lnTo>
                  <a:lnTo>
                    <a:pt x="733830" y="633762"/>
                  </a:lnTo>
                  <a:lnTo>
                    <a:pt x="719534" y="628997"/>
                  </a:lnTo>
                  <a:lnTo>
                    <a:pt x="695710" y="614702"/>
                  </a:lnTo>
                  <a:lnTo>
                    <a:pt x="681414" y="595641"/>
                  </a:lnTo>
                  <a:lnTo>
                    <a:pt x="652822" y="562285"/>
                  </a:lnTo>
                  <a:lnTo>
                    <a:pt x="652822" y="552755"/>
                  </a:lnTo>
                  <a:lnTo>
                    <a:pt x="648058" y="543225"/>
                  </a:lnTo>
                  <a:lnTo>
                    <a:pt x="619468" y="533694"/>
                  </a:lnTo>
                  <a:lnTo>
                    <a:pt x="605172" y="524164"/>
                  </a:lnTo>
                  <a:lnTo>
                    <a:pt x="595642" y="519399"/>
                  </a:lnTo>
                  <a:lnTo>
                    <a:pt x="581346" y="514634"/>
                  </a:lnTo>
                  <a:lnTo>
                    <a:pt x="547990" y="486043"/>
                  </a:lnTo>
                  <a:lnTo>
                    <a:pt x="538460" y="481278"/>
                  </a:lnTo>
                  <a:lnTo>
                    <a:pt x="533694" y="486043"/>
                  </a:lnTo>
                  <a:lnTo>
                    <a:pt x="533694" y="495573"/>
                  </a:lnTo>
                  <a:lnTo>
                    <a:pt x="528930" y="495573"/>
                  </a:lnTo>
                  <a:lnTo>
                    <a:pt x="519400" y="486043"/>
                  </a:lnTo>
                  <a:lnTo>
                    <a:pt x="509870" y="476513"/>
                  </a:lnTo>
                  <a:lnTo>
                    <a:pt x="481278" y="495573"/>
                  </a:lnTo>
                  <a:lnTo>
                    <a:pt x="466982" y="500338"/>
                  </a:lnTo>
                  <a:lnTo>
                    <a:pt x="457452" y="500338"/>
                  </a:lnTo>
                  <a:lnTo>
                    <a:pt x="409802" y="524164"/>
                  </a:lnTo>
                  <a:lnTo>
                    <a:pt x="395506" y="533694"/>
                  </a:lnTo>
                  <a:lnTo>
                    <a:pt x="385976" y="533694"/>
                  </a:lnTo>
                  <a:lnTo>
                    <a:pt x="390740" y="524164"/>
                  </a:lnTo>
                  <a:lnTo>
                    <a:pt x="409802" y="466983"/>
                  </a:lnTo>
                  <a:lnTo>
                    <a:pt x="414566" y="419331"/>
                  </a:lnTo>
                  <a:lnTo>
                    <a:pt x="419332" y="414566"/>
                  </a:lnTo>
                  <a:lnTo>
                    <a:pt x="424096" y="405036"/>
                  </a:lnTo>
                  <a:lnTo>
                    <a:pt x="419332" y="390740"/>
                  </a:lnTo>
                  <a:lnTo>
                    <a:pt x="400272" y="381210"/>
                  </a:lnTo>
                  <a:lnTo>
                    <a:pt x="390740" y="381210"/>
                  </a:lnTo>
                  <a:lnTo>
                    <a:pt x="381210" y="400271"/>
                  </a:lnTo>
                  <a:lnTo>
                    <a:pt x="376446" y="409801"/>
                  </a:lnTo>
                  <a:lnTo>
                    <a:pt x="357384" y="419331"/>
                  </a:lnTo>
                  <a:lnTo>
                    <a:pt x="338324" y="405036"/>
                  </a:lnTo>
                  <a:lnTo>
                    <a:pt x="300204" y="390740"/>
                  </a:lnTo>
                  <a:lnTo>
                    <a:pt x="290674" y="366915"/>
                  </a:lnTo>
                  <a:lnTo>
                    <a:pt x="290674" y="347854"/>
                  </a:lnTo>
                  <a:lnTo>
                    <a:pt x="266848" y="324029"/>
                  </a:lnTo>
                  <a:lnTo>
                    <a:pt x="262082" y="300203"/>
                  </a:lnTo>
                  <a:lnTo>
                    <a:pt x="262082" y="281143"/>
                  </a:lnTo>
                  <a:lnTo>
                    <a:pt x="281142" y="271612"/>
                  </a:lnTo>
                  <a:lnTo>
                    <a:pt x="285908" y="262082"/>
                  </a:lnTo>
                  <a:lnTo>
                    <a:pt x="262082" y="262082"/>
                  </a:lnTo>
                  <a:lnTo>
                    <a:pt x="257318" y="252552"/>
                  </a:lnTo>
                  <a:lnTo>
                    <a:pt x="247786" y="223961"/>
                  </a:lnTo>
                  <a:lnTo>
                    <a:pt x="257318" y="209666"/>
                  </a:lnTo>
                  <a:lnTo>
                    <a:pt x="262082" y="200135"/>
                  </a:lnTo>
                  <a:lnTo>
                    <a:pt x="252552" y="185840"/>
                  </a:lnTo>
                  <a:lnTo>
                    <a:pt x="257318" y="176310"/>
                  </a:lnTo>
                  <a:lnTo>
                    <a:pt x="262082" y="166779"/>
                  </a:lnTo>
                  <a:lnTo>
                    <a:pt x="257318" y="138189"/>
                  </a:lnTo>
                  <a:lnTo>
                    <a:pt x="281142" y="123893"/>
                  </a:lnTo>
                  <a:lnTo>
                    <a:pt x="304968" y="114363"/>
                  </a:lnTo>
                  <a:lnTo>
                    <a:pt x="347854" y="109598"/>
                  </a:lnTo>
                  <a:lnTo>
                    <a:pt x="343090" y="85772"/>
                  </a:lnTo>
                  <a:lnTo>
                    <a:pt x="362150" y="81007"/>
                  </a:lnTo>
                  <a:lnTo>
                    <a:pt x="395506" y="52416"/>
                  </a:lnTo>
                  <a:lnTo>
                    <a:pt x="428862" y="57182"/>
                  </a:lnTo>
                  <a:lnTo>
                    <a:pt x="476514" y="38121"/>
                  </a:lnTo>
                  <a:lnTo>
                    <a:pt x="562286" y="38121"/>
                  </a:lnTo>
                  <a:lnTo>
                    <a:pt x="576580" y="28591"/>
                  </a:lnTo>
                  <a:lnTo>
                    <a:pt x="571816" y="1429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09" name="Google Shape;4576;p64">
              <a:extLst>
                <a:ext uri="{FF2B5EF4-FFF2-40B4-BE49-F238E27FC236}">
                  <a16:creationId xmlns:a16="http://schemas.microsoft.com/office/drawing/2014/main" id="{6F6E6737-E543-5D06-75B2-846151BD6A81}"/>
                </a:ext>
              </a:extLst>
            </p:cNvPr>
            <p:cNvSpPr/>
            <p:nvPr/>
          </p:nvSpPr>
          <p:spPr>
            <a:xfrm>
              <a:off x="5235099" y="4666543"/>
              <a:ext cx="322250" cy="248743"/>
            </a:xfrm>
            <a:custGeom>
              <a:avLst/>
              <a:gdLst/>
              <a:ahLst/>
              <a:cxnLst/>
              <a:rect l="l" t="t" r="r" b="b"/>
              <a:pathLst>
                <a:path w="982" h="758" extrusionOk="0">
                  <a:moveTo>
                    <a:pt x="614" y="160"/>
                  </a:moveTo>
                  <a:lnTo>
                    <a:pt x="608" y="154"/>
                  </a:lnTo>
                  <a:lnTo>
                    <a:pt x="604" y="148"/>
                  </a:lnTo>
                  <a:lnTo>
                    <a:pt x="598" y="140"/>
                  </a:lnTo>
                  <a:lnTo>
                    <a:pt x="592" y="138"/>
                  </a:lnTo>
                  <a:lnTo>
                    <a:pt x="586" y="132"/>
                  </a:lnTo>
                  <a:lnTo>
                    <a:pt x="580" y="124"/>
                  </a:lnTo>
                  <a:lnTo>
                    <a:pt x="574" y="112"/>
                  </a:lnTo>
                  <a:lnTo>
                    <a:pt x="564" y="104"/>
                  </a:lnTo>
                  <a:lnTo>
                    <a:pt x="548" y="92"/>
                  </a:lnTo>
                  <a:lnTo>
                    <a:pt x="532" y="76"/>
                  </a:lnTo>
                  <a:lnTo>
                    <a:pt x="520" y="58"/>
                  </a:lnTo>
                  <a:lnTo>
                    <a:pt x="512" y="50"/>
                  </a:lnTo>
                  <a:lnTo>
                    <a:pt x="508" y="48"/>
                  </a:lnTo>
                  <a:lnTo>
                    <a:pt x="492" y="42"/>
                  </a:lnTo>
                  <a:lnTo>
                    <a:pt x="482" y="34"/>
                  </a:lnTo>
                  <a:lnTo>
                    <a:pt x="472" y="28"/>
                  </a:lnTo>
                  <a:lnTo>
                    <a:pt x="468" y="26"/>
                  </a:lnTo>
                  <a:lnTo>
                    <a:pt x="462" y="26"/>
                  </a:lnTo>
                  <a:lnTo>
                    <a:pt x="452" y="28"/>
                  </a:lnTo>
                  <a:lnTo>
                    <a:pt x="442" y="24"/>
                  </a:lnTo>
                  <a:lnTo>
                    <a:pt x="438" y="24"/>
                  </a:lnTo>
                  <a:lnTo>
                    <a:pt x="432" y="22"/>
                  </a:lnTo>
                  <a:lnTo>
                    <a:pt x="428" y="22"/>
                  </a:lnTo>
                  <a:lnTo>
                    <a:pt x="422" y="22"/>
                  </a:lnTo>
                  <a:lnTo>
                    <a:pt x="410" y="26"/>
                  </a:lnTo>
                  <a:lnTo>
                    <a:pt x="406" y="26"/>
                  </a:lnTo>
                  <a:lnTo>
                    <a:pt x="404" y="22"/>
                  </a:lnTo>
                  <a:lnTo>
                    <a:pt x="402" y="18"/>
                  </a:lnTo>
                  <a:lnTo>
                    <a:pt x="398" y="16"/>
                  </a:lnTo>
                  <a:lnTo>
                    <a:pt x="394" y="16"/>
                  </a:lnTo>
                  <a:lnTo>
                    <a:pt x="392" y="18"/>
                  </a:lnTo>
                  <a:lnTo>
                    <a:pt x="380" y="24"/>
                  </a:lnTo>
                  <a:lnTo>
                    <a:pt x="360" y="28"/>
                  </a:lnTo>
                  <a:lnTo>
                    <a:pt x="356" y="28"/>
                  </a:lnTo>
                  <a:lnTo>
                    <a:pt x="352" y="26"/>
                  </a:lnTo>
                  <a:lnTo>
                    <a:pt x="342" y="14"/>
                  </a:lnTo>
                  <a:lnTo>
                    <a:pt x="338" y="12"/>
                  </a:lnTo>
                  <a:lnTo>
                    <a:pt x="336" y="12"/>
                  </a:lnTo>
                  <a:lnTo>
                    <a:pt x="332" y="10"/>
                  </a:lnTo>
                  <a:lnTo>
                    <a:pt x="328" y="8"/>
                  </a:lnTo>
                  <a:lnTo>
                    <a:pt x="324" y="2"/>
                  </a:lnTo>
                  <a:lnTo>
                    <a:pt x="320" y="0"/>
                  </a:lnTo>
                  <a:lnTo>
                    <a:pt x="316" y="10"/>
                  </a:lnTo>
                  <a:lnTo>
                    <a:pt x="308" y="26"/>
                  </a:lnTo>
                  <a:lnTo>
                    <a:pt x="304" y="36"/>
                  </a:lnTo>
                  <a:lnTo>
                    <a:pt x="300" y="48"/>
                  </a:lnTo>
                  <a:lnTo>
                    <a:pt x="298" y="48"/>
                  </a:lnTo>
                  <a:lnTo>
                    <a:pt x="296" y="46"/>
                  </a:lnTo>
                  <a:lnTo>
                    <a:pt x="284" y="32"/>
                  </a:lnTo>
                  <a:lnTo>
                    <a:pt x="278" y="26"/>
                  </a:lnTo>
                  <a:lnTo>
                    <a:pt x="274" y="28"/>
                  </a:lnTo>
                  <a:lnTo>
                    <a:pt x="270" y="30"/>
                  </a:lnTo>
                  <a:lnTo>
                    <a:pt x="268" y="34"/>
                  </a:lnTo>
                  <a:lnTo>
                    <a:pt x="266" y="38"/>
                  </a:lnTo>
                  <a:lnTo>
                    <a:pt x="264" y="40"/>
                  </a:lnTo>
                  <a:lnTo>
                    <a:pt x="258" y="38"/>
                  </a:lnTo>
                  <a:lnTo>
                    <a:pt x="250" y="36"/>
                  </a:lnTo>
                  <a:lnTo>
                    <a:pt x="240" y="36"/>
                  </a:lnTo>
                  <a:lnTo>
                    <a:pt x="232" y="40"/>
                  </a:lnTo>
                  <a:lnTo>
                    <a:pt x="230" y="40"/>
                  </a:lnTo>
                  <a:lnTo>
                    <a:pt x="226" y="58"/>
                  </a:lnTo>
                  <a:lnTo>
                    <a:pt x="226" y="68"/>
                  </a:lnTo>
                  <a:lnTo>
                    <a:pt x="222" y="82"/>
                  </a:lnTo>
                  <a:lnTo>
                    <a:pt x="218" y="90"/>
                  </a:lnTo>
                  <a:lnTo>
                    <a:pt x="216" y="94"/>
                  </a:lnTo>
                  <a:lnTo>
                    <a:pt x="214" y="98"/>
                  </a:lnTo>
                  <a:lnTo>
                    <a:pt x="210" y="106"/>
                  </a:lnTo>
                  <a:lnTo>
                    <a:pt x="206" y="118"/>
                  </a:lnTo>
                  <a:lnTo>
                    <a:pt x="206" y="130"/>
                  </a:lnTo>
                  <a:lnTo>
                    <a:pt x="206" y="138"/>
                  </a:lnTo>
                  <a:lnTo>
                    <a:pt x="204" y="142"/>
                  </a:lnTo>
                  <a:lnTo>
                    <a:pt x="204" y="144"/>
                  </a:lnTo>
                  <a:lnTo>
                    <a:pt x="196" y="144"/>
                  </a:lnTo>
                  <a:lnTo>
                    <a:pt x="184" y="146"/>
                  </a:lnTo>
                  <a:lnTo>
                    <a:pt x="178" y="148"/>
                  </a:lnTo>
                  <a:lnTo>
                    <a:pt x="174" y="150"/>
                  </a:lnTo>
                  <a:lnTo>
                    <a:pt x="170" y="156"/>
                  </a:lnTo>
                  <a:lnTo>
                    <a:pt x="160" y="172"/>
                  </a:lnTo>
                  <a:lnTo>
                    <a:pt x="154" y="182"/>
                  </a:lnTo>
                  <a:lnTo>
                    <a:pt x="148" y="194"/>
                  </a:lnTo>
                  <a:lnTo>
                    <a:pt x="138" y="204"/>
                  </a:lnTo>
                  <a:lnTo>
                    <a:pt x="136" y="208"/>
                  </a:lnTo>
                  <a:lnTo>
                    <a:pt x="134" y="218"/>
                  </a:lnTo>
                  <a:lnTo>
                    <a:pt x="130" y="230"/>
                  </a:lnTo>
                  <a:lnTo>
                    <a:pt x="128" y="240"/>
                  </a:lnTo>
                  <a:lnTo>
                    <a:pt x="128" y="248"/>
                  </a:lnTo>
                  <a:lnTo>
                    <a:pt x="126" y="262"/>
                  </a:lnTo>
                  <a:lnTo>
                    <a:pt x="126" y="268"/>
                  </a:lnTo>
                  <a:lnTo>
                    <a:pt x="124" y="272"/>
                  </a:lnTo>
                  <a:lnTo>
                    <a:pt x="118" y="274"/>
                  </a:lnTo>
                  <a:lnTo>
                    <a:pt x="116" y="276"/>
                  </a:lnTo>
                  <a:lnTo>
                    <a:pt x="110" y="272"/>
                  </a:lnTo>
                  <a:lnTo>
                    <a:pt x="104" y="268"/>
                  </a:lnTo>
                  <a:lnTo>
                    <a:pt x="102" y="266"/>
                  </a:lnTo>
                  <a:lnTo>
                    <a:pt x="98" y="270"/>
                  </a:lnTo>
                  <a:lnTo>
                    <a:pt x="94" y="274"/>
                  </a:lnTo>
                  <a:lnTo>
                    <a:pt x="88" y="282"/>
                  </a:lnTo>
                  <a:lnTo>
                    <a:pt x="84" y="290"/>
                  </a:lnTo>
                  <a:lnTo>
                    <a:pt x="86" y="308"/>
                  </a:lnTo>
                  <a:lnTo>
                    <a:pt x="86" y="312"/>
                  </a:lnTo>
                  <a:lnTo>
                    <a:pt x="84" y="318"/>
                  </a:lnTo>
                  <a:lnTo>
                    <a:pt x="78" y="332"/>
                  </a:lnTo>
                  <a:lnTo>
                    <a:pt x="76" y="336"/>
                  </a:lnTo>
                  <a:lnTo>
                    <a:pt x="72" y="344"/>
                  </a:lnTo>
                  <a:lnTo>
                    <a:pt x="70" y="358"/>
                  </a:lnTo>
                  <a:lnTo>
                    <a:pt x="70" y="362"/>
                  </a:lnTo>
                  <a:lnTo>
                    <a:pt x="70" y="364"/>
                  </a:lnTo>
                  <a:lnTo>
                    <a:pt x="70" y="378"/>
                  </a:lnTo>
                  <a:lnTo>
                    <a:pt x="70" y="390"/>
                  </a:lnTo>
                  <a:lnTo>
                    <a:pt x="72" y="408"/>
                  </a:lnTo>
                  <a:lnTo>
                    <a:pt x="72" y="414"/>
                  </a:lnTo>
                  <a:lnTo>
                    <a:pt x="72" y="420"/>
                  </a:lnTo>
                  <a:lnTo>
                    <a:pt x="70" y="422"/>
                  </a:lnTo>
                  <a:lnTo>
                    <a:pt x="66" y="426"/>
                  </a:lnTo>
                  <a:lnTo>
                    <a:pt x="62" y="428"/>
                  </a:lnTo>
                  <a:lnTo>
                    <a:pt x="52" y="430"/>
                  </a:lnTo>
                  <a:lnTo>
                    <a:pt x="42" y="430"/>
                  </a:lnTo>
                  <a:lnTo>
                    <a:pt x="36" y="428"/>
                  </a:lnTo>
                  <a:lnTo>
                    <a:pt x="26" y="428"/>
                  </a:lnTo>
                  <a:lnTo>
                    <a:pt x="18" y="430"/>
                  </a:lnTo>
                  <a:lnTo>
                    <a:pt x="14" y="432"/>
                  </a:lnTo>
                  <a:lnTo>
                    <a:pt x="10" y="442"/>
                  </a:lnTo>
                  <a:lnTo>
                    <a:pt x="4" y="456"/>
                  </a:lnTo>
                  <a:lnTo>
                    <a:pt x="0" y="462"/>
                  </a:lnTo>
                  <a:lnTo>
                    <a:pt x="0" y="464"/>
                  </a:lnTo>
                  <a:lnTo>
                    <a:pt x="0" y="468"/>
                  </a:lnTo>
                  <a:lnTo>
                    <a:pt x="4" y="470"/>
                  </a:lnTo>
                  <a:lnTo>
                    <a:pt x="14" y="474"/>
                  </a:lnTo>
                  <a:lnTo>
                    <a:pt x="26" y="476"/>
                  </a:lnTo>
                  <a:lnTo>
                    <a:pt x="34" y="478"/>
                  </a:lnTo>
                  <a:lnTo>
                    <a:pt x="38" y="478"/>
                  </a:lnTo>
                  <a:lnTo>
                    <a:pt x="44" y="480"/>
                  </a:lnTo>
                  <a:lnTo>
                    <a:pt x="58" y="490"/>
                  </a:lnTo>
                  <a:lnTo>
                    <a:pt x="64" y="496"/>
                  </a:lnTo>
                  <a:lnTo>
                    <a:pt x="66" y="500"/>
                  </a:lnTo>
                  <a:lnTo>
                    <a:pt x="68" y="504"/>
                  </a:lnTo>
                  <a:lnTo>
                    <a:pt x="70" y="510"/>
                  </a:lnTo>
                  <a:lnTo>
                    <a:pt x="78" y="518"/>
                  </a:lnTo>
                  <a:lnTo>
                    <a:pt x="84" y="524"/>
                  </a:lnTo>
                  <a:lnTo>
                    <a:pt x="96" y="532"/>
                  </a:lnTo>
                  <a:lnTo>
                    <a:pt x="102" y="538"/>
                  </a:lnTo>
                  <a:lnTo>
                    <a:pt x="108" y="542"/>
                  </a:lnTo>
                  <a:lnTo>
                    <a:pt x="112" y="546"/>
                  </a:lnTo>
                  <a:lnTo>
                    <a:pt x="114" y="552"/>
                  </a:lnTo>
                  <a:lnTo>
                    <a:pt x="120" y="570"/>
                  </a:lnTo>
                  <a:lnTo>
                    <a:pt x="124" y="580"/>
                  </a:lnTo>
                  <a:lnTo>
                    <a:pt x="128" y="588"/>
                  </a:lnTo>
                  <a:lnTo>
                    <a:pt x="130" y="600"/>
                  </a:lnTo>
                  <a:lnTo>
                    <a:pt x="132" y="606"/>
                  </a:lnTo>
                  <a:lnTo>
                    <a:pt x="136" y="612"/>
                  </a:lnTo>
                  <a:lnTo>
                    <a:pt x="142" y="618"/>
                  </a:lnTo>
                  <a:lnTo>
                    <a:pt x="148" y="622"/>
                  </a:lnTo>
                  <a:lnTo>
                    <a:pt x="148" y="624"/>
                  </a:lnTo>
                  <a:lnTo>
                    <a:pt x="148" y="626"/>
                  </a:lnTo>
                  <a:lnTo>
                    <a:pt x="148" y="630"/>
                  </a:lnTo>
                  <a:lnTo>
                    <a:pt x="150" y="632"/>
                  </a:lnTo>
                  <a:lnTo>
                    <a:pt x="152" y="632"/>
                  </a:lnTo>
                  <a:lnTo>
                    <a:pt x="156" y="632"/>
                  </a:lnTo>
                  <a:lnTo>
                    <a:pt x="158" y="630"/>
                  </a:lnTo>
                  <a:lnTo>
                    <a:pt x="162" y="628"/>
                  </a:lnTo>
                  <a:lnTo>
                    <a:pt x="180" y="634"/>
                  </a:lnTo>
                  <a:lnTo>
                    <a:pt x="182" y="638"/>
                  </a:lnTo>
                  <a:lnTo>
                    <a:pt x="182" y="642"/>
                  </a:lnTo>
                  <a:lnTo>
                    <a:pt x="184" y="646"/>
                  </a:lnTo>
                  <a:lnTo>
                    <a:pt x="182" y="650"/>
                  </a:lnTo>
                  <a:lnTo>
                    <a:pt x="180" y="660"/>
                  </a:lnTo>
                  <a:lnTo>
                    <a:pt x="180" y="668"/>
                  </a:lnTo>
                  <a:lnTo>
                    <a:pt x="186" y="676"/>
                  </a:lnTo>
                  <a:lnTo>
                    <a:pt x="190" y="682"/>
                  </a:lnTo>
                  <a:lnTo>
                    <a:pt x="194" y="690"/>
                  </a:lnTo>
                  <a:lnTo>
                    <a:pt x="198" y="692"/>
                  </a:lnTo>
                  <a:lnTo>
                    <a:pt x="202" y="692"/>
                  </a:lnTo>
                  <a:lnTo>
                    <a:pt x="214" y="692"/>
                  </a:lnTo>
                  <a:lnTo>
                    <a:pt x="232" y="694"/>
                  </a:lnTo>
                  <a:lnTo>
                    <a:pt x="250" y="694"/>
                  </a:lnTo>
                  <a:lnTo>
                    <a:pt x="252" y="694"/>
                  </a:lnTo>
                  <a:lnTo>
                    <a:pt x="256" y="694"/>
                  </a:lnTo>
                  <a:lnTo>
                    <a:pt x="272" y="706"/>
                  </a:lnTo>
                  <a:lnTo>
                    <a:pt x="286" y="714"/>
                  </a:lnTo>
                  <a:lnTo>
                    <a:pt x="300" y="724"/>
                  </a:lnTo>
                  <a:lnTo>
                    <a:pt x="312" y="732"/>
                  </a:lnTo>
                  <a:lnTo>
                    <a:pt x="324" y="738"/>
                  </a:lnTo>
                  <a:lnTo>
                    <a:pt x="332" y="746"/>
                  </a:lnTo>
                  <a:lnTo>
                    <a:pt x="342" y="748"/>
                  </a:lnTo>
                  <a:lnTo>
                    <a:pt x="356" y="748"/>
                  </a:lnTo>
                  <a:lnTo>
                    <a:pt x="368" y="748"/>
                  </a:lnTo>
                  <a:lnTo>
                    <a:pt x="376" y="752"/>
                  </a:lnTo>
                  <a:lnTo>
                    <a:pt x="390" y="754"/>
                  </a:lnTo>
                  <a:lnTo>
                    <a:pt x="402" y="754"/>
                  </a:lnTo>
                  <a:lnTo>
                    <a:pt x="408" y="756"/>
                  </a:lnTo>
                  <a:lnTo>
                    <a:pt x="426" y="758"/>
                  </a:lnTo>
                  <a:lnTo>
                    <a:pt x="428" y="756"/>
                  </a:lnTo>
                  <a:lnTo>
                    <a:pt x="436" y="750"/>
                  </a:lnTo>
                  <a:lnTo>
                    <a:pt x="444" y="738"/>
                  </a:lnTo>
                  <a:lnTo>
                    <a:pt x="448" y="732"/>
                  </a:lnTo>
                  <a:lnTo>
                    <a:pt x="460" y="726"/>
                  </a:lnTo>
                  <a:lnTo>
                    <a:pt x="480" y="716"/>
                  </a:lnTo>
                  <a:lnTo>
                    <a:pt x="494" y="710"/>
                  </a:lnTo>
                  <a:lnTo>
                    <a:pt x="508" y="704"/>
                  </a:lnTo>
                  <a:lnTo>
                    <a:pt x="516" y="710"/>
                  </a:lnTo>
                  <a:lnTo>
                    <a:pt x="526" y="718"/>
                  </a:lnTo>
                  <a:lnTo>
                    <a:pt x="530" y="722"/>
                  </a:lnTo>
                  <a:lnTo>
                    <a:pt x="534" y="724"/>
                  </a:lnTo>
                  <a:lnTo>
                    <a:pt x="538" y="726"/>
                  </a:lnTo>
                  <a:lnTo>
                    <a:pt x="548" y="726"/>
                  </a:lnTo>
                  <a:lnTo>
                    <a:pt x="556" y="724"/>
                  </a:lnTo>
                  <a:lnTo>
                    <a:pt x="572" y="724"/>
                  </a:lnTo>
                  <a:lnTo>
                    <a:pt x="582" y="724"/>
                  </a:lnTo>
                  <a:lnTo>
                    <a:pt x="584" y="720"/>
                  </a:lnTo>
                  <a:lnTo>
                    <a:pt x="592" y="714"/>
                  </a:lnTo>
                  <a:lnTo>
                    <a:pt x="604" y="708"/>
                  </a:lnTo>
                  <a:lnTo>
                    <a:pt x="612" y="708"/>
                  </a:lnTo>
                  <a:lnTo>
                    <a:pt x="642" y="702"/>
                  </a:lnTo>
                  <a:lnTo>
                    <a:pt x="646" y="700"/>
                  </a:lnTo>
                  <a:lnTo>
                    <a:pt x="648" y="698"/>
                  </a:lnTo>
                  <a:lnTo>
                    <a:pt x="650" y="692"/>
                  </a:lnTo>
                  <a:lnTo>
                    <a:pt x="656" y="686"/>
                  </a:lnTo>
                  <a:lnTo>
                    <a:pt x="664" y="680"/>
                  </a:lnTo>
                  <a:lnTo>
                    <a:pt x="676" y="672"/>
                  </a:lnTo>
                  <a:lnTo>
                    <a:pt x="690" y="666"/>
                  </a:lnTo>
                  <a:lnTo>
                    <a:pt x="694" y="666"/>
                  </a:lnTo>
                  <a:lnTo>
                    <a:pt x="710" y="662"/>
                  </a:lnTo>
                  <a:lnTo>
                    <a:pt x="714" y="660"/>
                  </a:lnTo>
                  <a:lnTo>
                    <a:pt x="720" y="660"/>
                  </a:lnTo>
                  <a:lnTo>
                    <a:pt x="722" y="660"/>
                  </a:lnTo>
                  <a:lnTo>
                    <a:pt x="744" y="660"/>
                  </a:lnTo>
                  <a:lnTo>
                    <a:pt x="762" y="662"/>
                  </a:lnTo>
                  <a:lnTo>
                    <a:pt x="780" y="662"/>
                  </a:lnTo>
                  <a:lnTo>
                    <a:pt x="782" y="662"/>
                  </a:lnTo>
                  <a:lnTo>
                    <a:pt x="794" y="648"/>
                  </a:lnTo>
                  <a:lnTo>
                    <a:pt x="814" y="626"/>
                  </a:lnTo>
                  <a:lnTo>
                    <a:pt x="828" y="612"/>
                  </a:lnTo>
                  <a:lnTo>
                    <a:pt x="848" y="590"/>
                  </a:lnTo>
                  <a:lnTo>
                    <a:pt x="862" y="576"/>
                  </a:lnTo>
                  <a:lnTo>
                    <a:pt x="880" y="558"/>
                  </a:lnTo>
                  <a:lnTo>
                    <a:pt x="896" y="542"/>
                  </a:lnTo>
                  <a:lnTo>
                    <a:pt x="916" y="522"/>
                  </a:lnTo>
                  <a:lnTo>
                    <a:pt x="928" y="510"/>
                  </a:lnTo>
                  <a:lnTo>
                    <a:pt x="946" y="492"/>
                  </a:lnTo>
                  <a:lnTo>
                    <a:pt x="966" y="474"/>
                  </a:lnTo>
                  <a:lnTo>
                    <a:pt x="982" y="458"/>
                  </a:lnTo>
                  <a:lnTo>
                    <a:pt x="916" y="458"/>
                  </a:lnTo>
                  <a:lnTo>
                    <a:pt x="912" y="456"/>
                  </a:lnTo>
                  <a:lnTo>
                    <a:pt x="894" y="450"/>
                  </a:lnTo>
                  <a:lnTo>
                    <a:pt x="842" y="434"/>
                  </a:lnTo>
                  <a:lnTo>
                    <a:pt x="822" y="426"/>
                  </a:lnTo>
                  <a:lnTo>
                    <a:pt x="802" y="420"/>
                  </a:lnTo>
                  <a:lnTo>
                    <a:pt x="780" y="412"/>
                  </a:lnTo>
                  <a:lnTo>
                    <a:pt x="762" y="406"/>
                  </a:lnTo>
                  <a:lnTo>
                    <a:pt x="722" y="392"/>
                  </a:lnTo>
                  <a:lnTo>
                    <a:pt x="720" y="392"/>
                  </a:lnTo>
                  <a:lnTo>
                    <a:pt x="710" y="382"/>
                  </a:lnTo>
                  <a:lnTo>
                    <a:pt x="696" y="370"/>
                  </a:lnTo>
                  <a:lnTo>
                    <a:pt x="694" y="370"/>
                  </a:lnTo>
                  <a:lnTo>
                    <a:pt x="686" y="366"/>
                  </a:lnTo>
                  <a:lnTo>
                    <a:pt x="680" y="360"/>
                  </a:lnTo>
                  <a:lnTo>
                    <a:pt x="674" y="352"/>
                  </a:lnTo>
                  <a:lnTo>
                    <a:pt x="670" y="340"/>
                  </a:lnTo>
                  <a:lnTo>
                    <a:pt x="668" y="334"/>
                  </a:lnTo>
                  <a:lnTo>
                    <a:pt x="660" y="330"/>
                  </a:lnTo>
                  <a:lnTo>
                    <a:pt x="656" y="324"/>
                  </a:lnTo>
                  <a:lnTo>
                    <a:pt x="650" y="316"/>
                  </a:lnTo>
                  <a:lnTo>
                    <a:pt x="644" y="312"/>
                  </a:lnTo>
                  <a:lnTo>
                    <a:pt x="644" y="308"/>
                  </a:lnTo>
                  <a:lnTo>
                    <a:pt x="640" y="300"/>
                  </a:lnTo>
                  <a:lnTo>
                    <a:pt x="636" y="292"/>
                  </a:lnTo>
                  <a:lnTo>
                    <a:pt x="634" y="288"/>
                  </a:lnTo>
                  <a:lnTo>
                    <a:pt x="632" y="286"/>
                  </a:lnTo>
                  <a:lnTo>
                    <a:pt x="632" y="284"/>
                  </a:lnTo>
                  <a:lnTo>
                    <a:pt x="640" y="274"/>
                  </a:lnTo>
                  <a:lnTo>
                    <a:pt x="642" y="270"/>
                  </a:lnTo>
                  <a:lnTo>
                    <a:pt x="646" y="266"/>
                  </a:lnTo>
                  <a:lnTo>
                    <a:pt x="648" y="262"/>
                  </a:lnTo>
                  <a:lnTo>
                    <a:pt x="650" y="258"/>
                  </a:lnTo>
                  <a:lnTo>
                    <a:pt x="644" y="258"/>
                  </a:lnTo>
                  <a:lnTo>
                    <a:pt x="640" y="258"/>
                  </a:lnTo>
                  <a:lnTo>
                    <a:pt x="638" y="256"/>
                  </a:lnTo>
                  <a:lnTo>
                    <a:pt x="632" y="254"/>
                  </a:lnTo>
                  <a:lnTo>
                    <a:pt x="626" y="254"/>
                  </a:lnTo>
                  <a:lnTo>
                    <a:pt x="620" y="256"/>
                  </a:lnTo>
                  <a:lnTo>
                    <a:pt x="610" y="258"/>
                  </a:lnTo>
                  <a:lnTo>
                    <a:pt x="600" y="260"/>
                  </a:lnTo>
                  <a:lnTo>
                    <a:pt x="592" y="260"/>
                  </a:lnTo>
                  <a:lnTo>
                    <a:pt x="586" y="262"/>
                  </a:lnTo>
                  <a:lnTo>
                    <a:pt x="582" y="262"/>
                  </a:lnTo>
                  <a:lnTo>
                    <a:pt x="576" y="260"/>
                  </a:lnTo>
                  <a:lnTo>
                    <a:pt x="576" y="246"/>
                  </a:lnTo>
                  <a:lnTo>
                    <a:pt x="574" y="232"/>
                  </a:lnTo>
                  <a:lnTo>
                    <a:pt x="574" y="220"/>
                  </a:lnTo>
                  <a:lnTo>
                    <a:pt x="576" y="214"/>
                  </a:lnTo>
                  <a:lnTo>
                    <a:pt x="578" y="210"/>
                  </a:lnTo>
                  <a:lnTo>
                    <a:pt x="586" y="202"/>
                  </a:lnTo>
                  <a:lnTo>
                    <a:pt x="590" y="198"/>
                  </a:lnTo>
                  <a:lnTo>
                    <a:pt x="600" y="184"/>
                  </a:lnTo>
                  <a:lnTo>
                    <a:pt x="608" y="170"/>
                  </a:lnTo>
                  <a:lnTo>
                    <a:pt x="614" y="16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10" name="Google Shape;4577;p64">
              <a:extLst>
                <a:ext uri="{FF2B5EF4-FFF2-40B4-BE49-F238E27FC236}">
                  <a16:creationId xmlns:a16="http://schemas.microsoft.com/office/drawing/2014/main" id="{123DFC87-60F7-92D9-C361-7DCA3E0B674F}"/>
                </a:ext>
              </a:extLst>
            </p:cNvPr>
            <p:cNvCxnSpPr/>
            <p:nvPr/>
          </p:nvCxnSpPr>
          <p:spPr>
            <a:xfrm>
              <a:off x="5436588" y="4719047"/>
              <a:ext cx="0" cy="0"/>
            </a:xfrm>
            <a:prstGeom prst="straightConnector1">
              <a:avLst/>
            </a:prstGeom>
            <a:grpFill/>
            <a:ln w="9525" cap="flat" cmpd="sng">
              <a:solidFill>
                <a:schemeClr val="bg2"/>
              </a:solidFill>
              <a:prstDash val="solid"/>
              <a:round/>
              <a:headEnd type="none" w="med" len="med"/>
              <a:tailEnd type="none" w="med" len="med"/>
            </a:ln>
          </p:spPr>
        </p:cxnSp>
        <p:cxnSp>
          <p:nvCxnSpPr>
            <p:cNvPr id="111" name="Google Shape;4578;p64">
              <a:extLst>
                <a:ext uri="{FF2B5EF4-FFF2-40B4-BE49-F238E27FC236}">
                  <a16:creationId xmlns:a16="http://schemas.microsoft.com/office/drawing/2014/main" id="{6DA1E4E7-4D35-1C32-450E-6A47EDA9B02E}"/>
                </a:ext>
              </a:extLst>
            </p:cNvPr>
            <p:cNvCxnSpPr/>
            <p:nvPr/>
          </p:nvCxnSpPr>
          <p:spPr>
            <a:xfrm>
              <a:off x="5436588" y="4719047"/>
              <a:ext cx="0" cy="0"/>
            </a:xfrm>
            <a:prstGeom prst="straightConnector1">
              <a:avLst/>
            </a:prstGeom>
            <a:grpFill/>
            <a:ln w="9525" cap="flat" cmpd="sng">
              <a:solidFill>
                <a:schemeClr val="bg2"/>
              </a:solidFill>
              <a:prstDash val="solid"/>
              <a:round/>
              <a:headEnd type="none" w="med" len="med"/>
              <a:tailEnd type="none" w="med" len="med"/>
            </a:ln>
          </p:spPr>
        </p:cxnSp>
        <p:sp>
          <p:nvSpPr>
            <p:cNvPr id="112" name="Google Shape;4579;p64">
              <a:extLst>
                <a:ext uri="{FF2B5EF4-FFF2-40B4-BE49-F238E27FC236}">
                  <a16:creationId xmlns:a16="http://schemas.microsoft.com/office/drawing/2014/main" id="{2A3FED09-6F4B-7FC2-BB2F-3AEF49E3654F}"/>
                </a:ext>
              </a:extLst>
            </p:cNvPr>
            <p:cNvSpPr/>
            <p:nvPr/>
          </p:nvSpPr>
          <p:spPr>
            <a:xfrm>
              <a:off x="4945008" y="2846583"/>
              <a:ext cx="258587" cy="527677"/>
            </a:xfrm>
            <a:custGeom>
              <a:avLst/>
              <a:gdLst/>
              <a:ahLst/>
              <a:cxnLst/>
              <a:rect l="l" t="t" r="r" b="b"/>
              <a:pathLst>
                <a:path w="1877460" h="3831162" extrusionOk="0">
                  <a:moveTo>
                    <a:pt x="152484" y="3750155"/>
                  </a:moveTo>
                  <a:lnTo>
                    <a:pt x="162014" y="3750155"/>
                  </a:lnTo>
                  <a:lnTo>
                    <a:pt x="171544" y="3759686"/>
                  </a:lnTo>
                  <a:lnTo>
                    <a:pt x="166780" y="3769216"/>
                  </a:lnTo>
                  <a:lnTo>
                    <a:pt x="157250" y="3769216"/>
                  </a:lnTo>
                  <a:lnTo>
                    <a:pt x="152484" y="3764451"/>
                  </a:lnTo>
                  <a:lnTo>
                    <a:pt x="138188" y="3764451"/>
                  </a:lnTo>
                  <a:lnTo>
                    <a:pt x="138188" y="3759686"/>
                  </a:lnTo>
                  <a:lnTo>
                    <a:pt x="142954" y="3754920"/>
                  </a:lnTo>
                  <a:close/>
                  <a:moveTo>
                    <a:pt x="319264" y="3721564"/>
                  </a:moveTo>
                  <a:lnTo>
                    <a:pt x="328794" y="3721564"/>
                  </a:lnTo>
                  <a:lnTo>
                    <a:pt x="333560" y="3731094"/>
                  </a:lnTo>
                  <a:lnTo>
                    <a:pt x="328794" y="3740625"/>
                  </a:lnTo>
                  <a:lnTo>
                    <a:pt x="314500" y="3745390"/>
                  </a:lnTo>
                  <a:lnTo>
                    <a:pt x="304968" y="3735860"/>
                  </a:lnTo>
                  <a:lnTo>
                    <a:pt x="309734" y="3726329"/>
                  </a:lnTo>
                  <a:close/>
                  <a:moveTo>
                    <a:pt x="347856" y="3712034"/>
                  </a:moveTo>
                  <a:lnTo>
                    <a:pt x="366916" y="3712034"/>
                  </a:lnTo>
                  <a:lnTo>
                    <a:pt x="362150" y="3731095"/>
                  </a:lnTo>
                  <a:lnTo>
                    <a:pt x="343090" y="3740625"/>
                  </a:lnTo>
                  <a:lnTo>
                    <a:pt x="338324" y="3735860"/>
                  </a:lnTo>
                  <a:lnTo>
                    <a:pt x="338324" y="3721564"/>
                  </a:lnTo>
                  <a:close/>
                  <a:moveTo>
                    <a:pt x="4766" y="3697739"/>
                  </a:moveTo>
                  <a:lnTo>
                    <a:pt x="14296" y="3697739"/>
                  </a:lnTo>
                  <a:lnTo>
                    <a:pt x="23828" y="3716800"/>
                  </a:lnTo>
                  <a:lnTo>
                    <a:pt x="23828" y="3721565"/>
                  </a:lnTo>
                  <a:lnTo>
                    <a:pt x="14296" y="3721565"/>
                  </a:lnTo>
                  <a:lnTo>
                    <a:pt x="9532" y="3721565"/>
                  </a:lnTo>
                  <a:lnTo>
                    <a:pt x="9532" y="3731095"/>
                  </a:lnTo>
                  <a:lnTo>
                    <a:pt x="0" y="3726330"/>
                  </a:lnTo>
                  <a:lnTo>
                    <a:pt x="0" y="3716800"/>
                  </a:lnTo>
                  <a:close/>
                  <a:moveTo>
                    <a:pt x="414566" y="3654852"/>
                  </a:moveTo>
                  <a:lnTo>
                    <a:pt x="433626" y="3664382"/>
                  </a:lnTo>
                  <a:lnTo>
                    <a:pt x="443156" y="3664382"/>
                  </a:lnTo>
                  <a:lnTo>
                    <a:pt x="452688" y="3678678"/>
                  </a:lnTo>
                  <a:lnTo>
                    <a:pt x="433626" y="3688208"/>
                  </a:lnTo>
                  <a:lnTo>
                    <a:pt x="433626" y="3702503"/>
                  </a:lnTo>
                  <a:lnTo>
                    <a:pt x="438392" y="3712034"/>
                  </a:lnTo>
                  <a:lnTo>
                    <a:pt x="443156" y="3721564"/>
                  </a:lnTo>
                  <a:lnTo>
                    <a:pt x="428862" y="3721564"/>
                  </a:lnTo>
                  <a:lnTo>
                    <a:pt x="419332" y="3712034"/>
                  </a:lnTo>
                  <a:lnTo>
                    <a:pt x="414566" y="3697738"/>
                  </a:lnTo>
                  <a:lnTo>
                    <a:pt x="409802" y="3688208"/>
                  </a:lnTo>
                  <a:lnTo>
                    <a:pt x="400272" y="3683443"/>
                  </a:lnTo>
                  <a:lnTo>
                    <a:pt x="405036" y="3673913"/>
                  </a:lnTo>
                  <a:lnTo>
                    <a:pt x="405036" y="3664382"/>
                  </a:lnTo>
                  <a:close/>
                  <a:moveTo>
                    <a:pt x="57182" y="3645322"/>
                  </a:moveTo>
                  <a:lnTo>
                    <a:pt x="66712" y="3659617"/>
                  </a:lnTo>
                  <a:lnTo>
                    <a:pt x="71478" y="3664383"/>
                  </a:lnTo>
                  <a:lnTo>
                    <a:pt x="76242" y="3664383"/>
                  </a:lnTo>
                  <a:lnTo>
                    <a:pt x="81008" y="3659617"/>
                  </a:lnTo>
                  <a:lnTo>
                    <a:pt x="85772" y="3664383"/>
                  </a:lnTo>
                  <a:lnTo>
                    <a:pt x="100068" y="3673913"/>
                  </a:lnTo>
                  <a:lnTo>
                    <a:pt x="104832" y="3683443"/>
                  </a:lnTo>
                  <a:lnTo>
                    <a:pt x="114364" y="3683443"/>
                  </a:lnTo>
                  <a:lnTo>
                    <a:pt x="114364" y="3692973"/>
                  </a:lnTo>
                  <a:lnTo>
                    <a:pt x="104832" y="3712034"/>
                  </a:lnTo>
                  <a:lnTo>
                    <a:pt x="100068" y="3712034"/>
                  </a:lnTo>
                  <a:lnTo>
                    <a:pt x="95302" y="3712034"/>
                  </a:lnTo>
                  <a:lnTo>
                    <a:pt x="85772" y="3712034"/>
                  </a:lnTo>
                  <a:lnTo>
                    <a:pt x="81008" y="3716799"/>
                  </a:lnTo>
                  <a:lnTo>
                    <a:pt x="81008" y="3726329"/>
                  </a:lnTo>
                  <a:lnTo>
                    <a:pt x="81008" y="3745390"/>
                  </a:lnTo>
                  <a:lnTo>
                    <a:pt x="42886" y="3750155"/>
                  </a:lnTo>
                  <a:lnTo>
                    <a:pt x="33356" y="3740625"/>
                  </a:lnTo>
                  <a:lnTo>
                    <a:pt x="23826" y="3702504"/>
                  </a:lnTo>
                  <a:lnTo>
                    <a:pt x="23826" y="3688208"/>
                  </a:lnTo>
                  <a:lnTo>
                    <a:pt x="33356" y="3683443"/>
                  </a:lnTo>
                  <a:lnTo>
                    <a:pt x="38122" y="3683443"/>
                  </a:lnTo>
                  <a:lnTo>
                    <a:pt x="42886" y="3707269"/>
                  </a:lnTo>
                  <a:lnTo>
                    <a:pt x="52416" y="3702504"/>
                  </a:lnTo>
                  <a:lnTo>
                    <a:pt x="52416" y="3688208"/>
                  </a:lnTo>
                  <a:lnTo>
                    <a:pt x="52416" y="3678678"/>
                  </a:lnTo>
                  <a:lnTo>
                    <a:pt x="52416" y="3673913"/>
                  </a:lnTo>
                  <a:lnTo>
                    <a:pt x="42886" y="3669148"/>
                  </a:lnTo>
                  <a:lnTo>
                    <a:pt x="42886" y="3664383"/>
                  </a:lnTo>
                  <a:lnTo>
                    <a:pt x="47652" y="3650087"/>
                  </a:lnTo>
                  <a:close/>
                  <a:moveTo>
                    <a:pt x="357384" y="3626262"/>
                  </a:moveTo>
                  <a:lnTo>
                    <a:pt x="371680" y="3635792"/>
                  </a:lnTo>
                  <a:lnTo>
                    <a:pt x="381210" y="3645322"/>
                  </a:lnTo>
                  <a:lnTo>
                    <a:pt x="371680" y="3650088"/>
                  </a:lnTo>
                  <a:lnTo>
                    <a:pt x="385976" y="3664383"/>
                  </a:lnTo>
                  <a:lnTo>
                    <a:pt x="385976" y="3669148"/>
                  </a:lnTo>
                  <a:lnTo>
                    <a:pt x="376446" y="3669148"/>
                  </a:lnTo>
                  <a:lnTo>
                    <a:pt x="357384" y="3654853"/>
                  </a:lnTo>
                  <a:lnTo>
                    <a:pt x="357384" y="3645322"/>
                  </a:lnTo>
                  <a:lnTo>
                    <a:pt x="362150" y="3645322"/>
                  </a:lnTo>
                  <a:lnTo>
                    <a:pt x="357384" y="3631027"/>
                  </a:lnTo>
                  <a:close/>
                  <a:moveTo>
                    <a:pt x="271614" y="3573845"/>
                  </a:moveTo>
                  <a:lnTo>
                    <a:pt x="276378" y="3588140"/>
                  </a:lnTo>
                  <a:lnTo>
                    <a:pt x="300204" y="3607201"/>
                  </a:lnTo>
                  <a:lnTo>
                    <a:pt x="300204" y="3621496"/>
                  </a:lnTo>
                  <a:lnTo>
                    <a:pt x="290674" y="3621496"/>
                  </a:lnTo>
                  <a:lnTo>
                    <a:pt x="276378" y="3621496"/>
                  </a:lnTo>
                  <a:lnTo>
                    <a:pt x="266848" y="3607201"/>
                  </a:lnTo>
                  <a:lnTo>
                    <a:pt x="262084" y="3583375"/>
                  </a:lnTo>
                  <a:lnTo>
                    <a:pt x="266848" y="3578610"/>
                  </a:lnTo>
                  <a:close/>
                  <a:moveTo>
                    <a:pt x="266848" y="2692297"/>
                  </a:moveTo>
                  <a:lnTo>
                    <a:pt x="266848" y="2701827"/>
                  </a:lnTo>
                  <a:lnTo>
                    <a:pt x="262082" y="2706592"/>
                  </a:lnTo>
                  <a:lnTo>
                    <a:pt x="266848" y="2716122"/>
                  </a:lnTo>
                  <a:lnTo>
                    <a:pt x="276378" y="2711357"/>
                  </a:lnTo>
                  <a:lnTo>
                    <a:pt x="285908" y="2701827"/>
                  </a:lnTo>
                  <a:lnTo>
                    <a:pt x="295438" y="2706592"/>
                  </a:lnTo>
                  <a:lnTo>
                    <a:pt x="295438" y="2720888"/>
                  </a:lnTo>
                  <a:lnTo>
                    <a:pt x="290672" y="2720888"/>
                  </a:lnTo>
                  <a:lnTo>
                    <a:pt x="285908" y="2720888"/>
                  </a:lnTo>
                  <a:lnTo>
                    <a:pt x="281142" y="2730418"/>
                  </a:lnTo>
                  <a:lnTo>
                    <a:pt x="281142" y="2735183"/>
                  </a:lnTo>
                  <a:lnTo>
                    <a:pt x="271612" y="2739948"/>
                  </a:lnTo>
                  <a:lnTo>
                    <a:pt x="252552" y="2720888"/>
                  </a:lnTo>
                  <a:lnTo>
                    <a:pt x="243022" y="2697062"/>
                  </a:lnTo>
                  <a:close/>
                  <a:moveTo>
                    <a:pt x="824368" y="2044239"/>
                  </a:moveTo>
                  <a:lnTo>
                    <a:pt x="848194" y="2058534"/>
                  </a:lnTo>
                  <a:lnTo>
                    <a:pt x="852960" y="2063299"/>
                  </a:lnTo>
                  <a:lnTo>
                    <a:pt x="838664" y="2068064"/>
                  </a:lnTo>
                  <a:lnTo>
                    <a:pt x="829134" y="2082360"/>
                  </a:lnTo>
                  <a:lnTo>
                    <a:pt x="810072" y="2091890"/>
                  </a:lnTo>
                  <a:lnTo>
                    <a:pt x="791012" y="2087125"/>
                  </a:lnTo>
                  <a:lnTo>
                    <a:pt x="791012" y="2063299"/>
                  </a:lnTo>
                  <a:lnTo>
                    <a:pt x="800542" y="2049004"/>
                  </a:lnTo>
                  <a:close/>
                  <a:moveTo>
                    <a:pt x="1286586" y="0"/>
                  </a:moveTo>
                  <a:lnTo>
                    <a:pt x="1305646" y="0"/>
                  </a:lnTo>
                  <a:lnTo>
                    <a:pt x="1329472" y="42886"/>
                  </a:lnTo>
                  <a:lnTo>
                    <a:pt x="1367592" y="85772"/>
                  </a:lnTo>
                  <a:lnTo>
                    <a:pt x="1386652" y="109598"/>
                  </a:lnTo>
                  <a:lnTo>
                    <a:pt x="1448600" y="152484"/>
                  </a:lnTo>
                  <a:lnTo>
                    <a:pt x="1501016" y="176310"/>
                  </a:lnTo>
                  <a:lnTo>
                    <a:pt x="1534372" y="266847"/>
                  </a:lnTo>
                  <a:lnTo>
                    <a:pt x="1515312" y="300203"/>
                  </a:lnTo>
                  <a:lnTo>
                    <a:pt x="1510546" y="314498"/>
                  </a:lnTo>
                  <a:lnTo>
                    <a:pt x="1481956" y="347854"/>
                  </a:lnTo>
                  <a:lnTo>
                    <a:pt x="1458130" y="395506"/>
                  </a:lnTo>
                  <a:lnTo>
                    <a:pt x="1453364" y="424096"/>
                  </a:lnTo>
                  <a:lnTo>
                    <a:pt x="1462894" y="447922"/>
                  </a:lnTo>
                  <a:lnTo>
                    <a:pt x="1472426" y="466982"/>
                  </a:lnTo>
                  <a:lnTo>
                    <a:pt x="1462894" y="471748"/>
                  </a:lnTo>
                  <a:lnTo>
                    <a:pt x="1434304" y="490808"/>
                  </a:lnTo>
                  <a:lnTo>
                    <a:pt x="1410478" y="505103"/>
                  </a:lnTo>
                  <a:lnTo>
                    <a:pt x="1386652" y="514634"/>
                  </a:lnTo>
                  <a:lnTo>
                    <a:pt x="1396184" y="528929"/>
                  </a:lnTo>
                  <a:lnTo>
                    <a:pt x="1434304" y="533694"/>
                  </a:lnTo>
                  <a:lnTo>
                    <a:pt x="1439070" y="538459"/>
                  </a:lnTo>
                  <a:lnTo>
                    <a:pt x="1443834" y="543224"/>
                  </a:lnTo>
                  <a:lnTo>
                    <a:pt x="1443834" y="557520"/>
                  </a:lnTo>
                  <a:lnTo>
                    <a:pt x="1443834" y="571815"/>
                  </a:lnTo>
                  <a:lnTo>
                    <a:pt x="1396184" y="676648"/>
                  </a:lnTo>
                  <a:lnTo>
                    <a:pt x="1396184" y="695708"/>
                  </a:lnTo>
                  <a:lnTo>
                    <a:pt x="1410478" y="752890"/>
                  </a:lnTo>
                  <a:lnTo>
                    <a:pt x="1429538" y="819602"/>
                  </a:lnTo>
                  <a:lnTo>
                    <a:pt x="1491486" y="852958"/>
                  </a:lnTo>
                  <a:lnTo>
                    <a:pt x="1534372" y="876783"/>
                  </a:lnTo>
                  <a:lnTo>
                    <a:pt x="1562962" y="929200"/>
                  </a:lnTo>
                  <a:lnTo>
                    <a:pt x="1610614" y="1005442"/>
                  </a:lnTo>
                  <a:lnTo>
                    <a:pt x="1634440" y="1029267"/>
                  </a:lnTo>
                  <a:lnTo>
                    <a:pt x="1634440" y="1038798"/>
                  </a:lnTo>
                  <a:lnTo>
                    <a:pt x="1624910" y="1086449"/>
                  </a:lnTo>
                  <a:lnTo>
                    <a:pt x="1596318" y="1138865"/>
                  </a:lnTo>
                  <a:lnTo>
                    <a:pt x="1567728" y="1176986"/>
                  </a:lnTo>
                  <a:lnTo>
                    <a:pt x="1539136" y="1229403"/>
                  </a:lnTo>
                  <a:lnTo>
                    <a:pt x="1520076" y="1272289"/>
                  </a:lnTo>
                  <a:lnTo>
                    <a:pt x="1491486" y="1319940"/>
                  </a:lnTo>
                  <a:lnTo>
                    <a:pt x="1491486" y="1339001"/>
                  </a:lnTo>
                  <a:lnTo>
                    <a:pt x="1491486" y="1353296"/>
                  </a:lnTo>
                  <a:lnTo>
                    <a:pt x="1496250" y="1367591"/>
                  </a:lnTo>
                  <a:lnTo>
                    <a:pt x="1524842" y="1429538"/>
                  </a:lnTo>
                  <a:lnTo>
                    <a:pt x="1539136" y="1462894"/>
                  </a:lnTo>
                  <a:lnTo>
                    <a:pt x="1553432" y="1496250"/>
                  </a:lnTo>
                  <a:lnTo>
                    <a:pt x="1562962" y="1529606"/>
                  </a:lnTo>
                  <a:lnTo>
                    <a:pt x="1572492" y="1562962"/>
                  </a:lnTo>
                  <a:lnTo>
                    <a:pt x="1586788" y="1596318"/>
                  </a:lnTo>
                  <a:lnTo>
                    <a:pt x="1591554" y="1610613"/>
                  </a:lnTo>
                  <a:lnTo>
                    <a:pt x="1605848" y="1634438"/>
                  </a:lnTo>
                  <a:lnTo>
                    <a:pt x="1620144" y="1667794"/>
                  </a:lnTo>
                  <a:lnTo>
                    <a:pt x="1624910" y="1691620"/>
                  </a:lnTo>
                  <a:lnTo>
                    <a:pt x="1648734" y="1782158"/>
                  </a:lnTo>
                  <a:lnTo>
                    <a:pt x="1653500" y="1805983"/>
                  </a:lnTo>
                  <a:lnTo>
                    <a:pt x="1648734" y="1820278"/>
                  </a:lnTo>
                  <a:lnTo>
                    <a:pt x="1639204" y="1825044"/>
                  </a:lnTo>
                  <a:lnTo>
                    <a:pt x="1620144" y="1829809"/>
                  </a:lnTo>
                  <a:lnTo>
                    <a:pt x="1591554" y="1839339"/>
                  </a:lnTo>
                  <a:lnTo>
                    <a:pt x="1591554" y="1844104"/>
                  </a:lnTo>
                  <a:lnTo>
                    <a:pt x="1605848" y="1863165"/>
                  </a:lnTo>
                  <a:lnTo>
                    <a:pt x="1591554" y="1901286"/>
                  </a:lnTo>
                  <a:lnTo>
                    <a:pt x="1591554" y="1953702"/>
                  </a:lnTo>
                  <a:lnTo>
                    <a:pt x="1577258" y="1977528"/>
                  </a:lnTo>
                  <a:lnTo>
                    <a:pt x="1577258" y="1987058"/>
                  </a:lnTo>
                  <a:lnTo>
                    <a:pt x="1577258" y="1991823"/>
                  </a:lnTo>
                  <a:lnTo>
                    <a:pt x="1577258" y="1996588"/>
                  </a:lnTo>
                  <a:lnTo>
                    <a:pt x="1605848" y="2001353"/>
                  </a:lnTo>
                  <a:lnTo>
                    <a:pt x="1610614" y="2010884"/>
                  </a:lnTo>
                  <a:lnTo>
                    <a:pt x="1610614" y="2025179"/>
                  </a:lnTo>
                  <a:lnTo>
                    <a:pt x="1605848" y="2039474"/>
                  </a:lnTo>
                  <a:lnTo>
                    <a:pt x="1591554" y="2049004"/>
                  </a:lnTo>
                  <a:lnTo>
                    <a:pt x="1577258" y="2063300"/>
                  </a:lnTo>
                  <a:lnTo>
                    <a:pt x="1572492" y="2077595"/>
                  </a:lnTo>
                  <a:lnTo>
                    <a:pt x="1577258" y="2087126"/>
                  </a:lnTo>
                  <a:lnTo>
                    <a:pt x="1582024" y="2110951"/>
                  </a:lnTo>
                  <a:lnTo>
                    <a:pt x="1591554" y="2134777"/>
                  </a:lnTo>
                  <a:lnTo>
                    <a:pt x="1601084" y="2149072"/>
                  </a:lnTo>
                  <a:lnTo>
                    <a:pt x="1648734" y="2163368"/>
                  </a:lnTo>
                  <a:lnTo>
                    <a:pt x="1653500" y="2177663"/>
                  </a:lnTo>
                  <a:lnTo>
                    <a:pt x="1658266" y="2191958"/>
                  </a:lnTo>
                  <a:lnTo>
                    <a:pt x="1653500" y="2206254"/>
                  </a:lnTo>
                  <a:lnTo>
                    <a:pt x="1634440" y="2239610"/>
                  </a:lnTo>
                  <a:lnTo>
                    <a:pt x="1634440" y="2253905"/>
                  </a:lnTo>
                  <a:lnTo>
                    <a:pt x="1643970" y="2282496"/>
                  </a:lnTo>
                  <a:lnTo>
                    <a:pt x="1653500" y="2311086"/>
                  </a:lnTo>
                  <a:lnTo>
                    <a:pt x="1696386" y="2339677"/>
                  </a:lnTo>
                  <a:lnTo>
                    <a:pt x="1710682" y="2353973"/>
                  </a:lnTo>
                  <a:lnTo>
                    <a:pt x="1715446" y="2368268"/>
                  </a:lnTo>
                  <a:lnTo>
                    <a:pt x="1720212" y="2392094"/>
                  </a:lnTo>
                  <a:lnTo>
                    <a:pt x="1720212" y="2411154"/>
                  </a:lnTo>
                  <a:lnTo>
                    <a:pt x="1715446" y="2434980"/>
                  </a:lnTo>
                  <a:lnTo>
                    <a:pt x="1701152" y="2458806"/>
                  </a:lnTo>
                  <a:lnTo>
                    <a:pt x="1667796" y="2511222"/>
                  </a:lnTo>
                  <a:lnTo>
                    <a:pt x="1634440" y="2530282"/>
                  </a:lnTo>
                  <a:lnTo>
                    <a:pt x="1634440" y="2535048"/>
                  </a:lnTo>
                  <a:lnTo>
                    <a:pt x="1643970" y="2549343"/>
                  </a:lnTo>
                  <a:lnTo>
                    <a:pt x="1701152" y="2616055"/>
                  </a:lnTo>
                  <a:lnTo>
                    <a:pt x="1739272" y="2644646"/>
                  </a:lnTo>
                  <a:lnTo>
                    <a:pt x="1786924" y="2687532"/>
                  </a:lnTo>
                  <a:lnTo>
                    <a:pt x="1820280" y="2720888"/>
                  </a:lnTo>
                  <a:lnTo>
                    <a:pt x="1829810" y="2739948"/>
                  </a:lnTo>
                  <a:lnTo>
                    <a:pt x="1844106" y="2768539"/>
                  </a:lnTo>
                  <a:lnTo>
                    <a:pt x="1863166" y="2787599"/>
                  </a:lnTo>
                  <a:lnTo>
                    <a:pt x="1872696" y="2806660"/>
                  </a:lnTo>
                  <a:lnTo>
                    <a:pt x="1877460" y="2816190"/>
                  </a:lnTo>
                  <a:lnTo>
                    <a:pt x="1877460" y="2830485"/>
                  </a:lnTo>
                  <a:lnTo>
                    <a:pt x="1863166" y="2868606"/>
                  </a:lnTo>
                  <a:lnTo>
                    <a:pt x="1853636" y="2897197"/>
                  </a:lnTo>
                  <a:lnTo>
                    <a:pt x="1839340" y="2940083"/>
                  </a:lnTo>
                  <a:lnTo>
                    <a:pt x="1820280" y="2968674"/>
                  </a:lnTo>
                  <a:lnTo>
                    <a:pt x="1782158" y="3021090"/>
                  </a:lnTo>
                  <a:lnTo>
                    <a:pt x="1724976" y="3087802"/>
                  </a:lnTo>
                  <a:lnTo>
                    <a:pt x="1710682" y="3106863"/>
                  </a:lnTo>
                  <a:lnTo>
                    <a:pt x="1682090" y="3140218"/>
                  </a:lnTo>
                  <a:lnTo>
                    <a:pt x="1639204" y="3206930"/>
                  </a:lnTo>
                  <a:lnTo>
                    <a:pt x="1624910" y="3225991"/>
                  </a:lnTo>
                  <a:lnTo>
                    <a:pt x="1586788" y="3278407"/>
                  </a:lnTo>
                  <a:lnTo>
                    <a:pt x="1572492" y="3297468"/>
                  </a:lnTo>
                  <a:lnTo>
                    <a:pt x="1558198" y="3311763"/>
                  </a:lnTo>
                  <a:lnTo>
                    <a:pt x="1520076" y="3364180"/>
                  </a:lnTo>
                  <a:lnTo>
                    <a:pt x="1477190" y="3402300"/>
                  </a:lnTo>
                  <a:lnTo>
                    <a:pt x="1439070" y="3435656"/>
                  </a:lnTo>
                  <a:lnTo>
                    <a:pt x="1429538" y="3454717"/>
                  </a:lnTo>
                  <a:lnTo>
                    <a:pt x="1410478" y="3469012"/>
                  </a:lnTo>
                  <a:lnTo>
                    <a:pt x="1396184" y="3483308"/>
                  </a:lnTo>
                  <a:lnTo>
                    <a:pt x="1386652" y="3488073"/>
                  </a:lnTo>
                  <a:lnTo>
                    <a:pt x="1348532" y="3535724"/>
                  </a:lnTo>
                  <a:lnTo>
                    <a:pt x="1291350" y="3607201"/>
                  </a:lnTo>
                  <a:lnTo>
                    <a:pt x="1286586" y="3607201"/>
                  </a:lnTo>
                  <a:lnTo>
                    <a:pt x="1272290" y="3616731"/>
                  </a:lnTo>
                  <a:lnTo>
                    <a:pt x="1248464" y="3616731"/>
                  </a:lnTo>
                  <a:lnTo>
                    <a:pt x="1238934" y="3626262"/>
                  </a:lnTo>
                  <a:lnTo>
                    <a:pt x="1205578" y="3602436"/>
                  </a:lnTo>
                  <a:lnTo>
                    <a:pt x="1200812" y="3602436"/>
                  </a:lnTo>
                  <a:lnTo>
                    <a:pt x="1181752" y="3607201"/>
                  </a:lnTo>
                  <a:lnTo>
                    <a:pt x="1157926" y="3626262"/>
                  </a:lnTo>
                  <a:lnTo>
                    <a:pt x="1124570" y="3631027"/>
                  </a:lnTo>
                  <a:lnTo>
                    <a:pt x="1105510" y="3635792"/>
                  </a:lnTo>
                  <a:lnTo>
                    <a:pt x="1095980" y="3645322"/>
                  </a:lnTo>
                  <a:lnTo>
                    <a:pt x="1091214" y="3626262"/>
                  </a:lnTo>
                  <a:lnTo>
                    <a:pt x="1095980" y="3602436"/>
                  </a:lnTo>
                  <a:lnTo>
                    <a:pt x="1105510" y="3588140"/>
                  </a:lnTo>
                  <a:lnTo>
                    <a:pt x="1105510" y="3573845"/>
                  </a:lnTo>
                  <a:lnTo>
                    <a:pt x="1100746" y="3578610"/>
                  </a:lnTo>
                  <a:lnTo>
                    <a:pt x="1091214" y="3597671"/>
                  </a:lnTo>
                  <a:lnTo>
                    <a:pt x="1081684" y="3626262"/>
                  </a:lnTo>
                  <a:lnTo>
                    <a:pt x="1072154" y="3640557"/>
                  </a:lnTo>
                  <a:lnTo>
                    <a:pt x="1043564" y="3645322"/>
                  </a:lnTo>
                  <a:lnTo>
                    <a:pt x="1014972" y="3626262"/>
                  </a:lnTo>
                  <a:lnTo>
                    <a:pt x="1005442" y="3626262"/>
                  </a:lnTo>
                  <a:lnTo>
                    <a:pt x="1014972" y="3640557"/>
                  </a:lnTo>
                  <a:lnTo>
                    <a:pt x="1019738" y="3654852"/>
                  </a:lnTo>
                  <a:lnTo>
                    <a:pt x="1014972" y="3664382"/>
                  </a:lnTo>
                  <a:lnTo>
                    <a:pt x="1000678" y="3664382"/>
                  </a:lnTo>
                  <a:lnTo>
                    <a:pt x="986382" y="3673913"/>
                  </a:lnTo>
                  <a:lnTo>
                    <a:pt x="972086" y="3688208"/>
                  </a:lnTo>
                  <a:lnTo>
                    <a:pt x="967322" y="3688208"/>
                  </a:lnTo>
                  <a:lnTo>
                    <a:pt x="957792" y="3669148"/>
                  </a:lnTo>
                  <a:lnTo>
                    <a:pt x="938730" y="3678678"/>
                  </a:lnTo>
                  <a:lnTo>
                    <a:pt x="924436" y="3692973"/>
                  </a:lnTo>
                  <a:lnTo>
                    <a:pt x="895844" y="3697738"/>
                  </a:lnTo>
                  <a:lnTo>
                    <a:pt x="881550" y="3712034"/>
                  </a:lnTo>
                  <a:lnTo>
                    <a:pt x="848194" y="3726329"/>
                  </a:lnTo>
                  <a:lnTo>
                    <a:pt x="829132" y="3726329"/>
                  </a:lnTo>
                  <a:lnTo>
                    <a:pt x="791012" y="3740624"/>
                  </a:lnTo>
                  <a:lnTo>
                    <a:pt x="781482" y="3759685"/>
                  </a:lnTo>
                  <a:lnTo>
                    <a:pt x="767186" y="3769215"/>
                  </a:lnTo>
                  <a:lnTo>
                    <a:pt x="752890" y="3759685"/>
                  </a:lnTo>
                  <a:lnTo>
                    <a:pt x="705240" y="3769215"/>
                  </a:lnTo>
                  <a:lnTo>
                    <a:pt x="657588" y="3783511"/>
                  </a:lnTo>
                  <a:lnTo>
                    <a:pt x="633762" y="3783511"/>
                  </a:lnTo>
                  <a:lnTo>
                    <a:pt x="614702" y="3778746"/>
                  </a:lnTo>
                  <a:lnTo>
                    <a:pt x="595642" y="3797806"/>
                  </a:lnTo>
                  <a:lnTo>
                    <a:pt x="571816" y="3821632"/>
                  </a:lnTo>
                  <a:lnTo>
                    <a:pt x="547990" y="3831162"/>
                  </a:lnTo>
                  <a:lnTo>
                    <a:pt x="538460" y="3826397"/>
                  </a:lnTo>
                  <a:lnTo>
                    <a:pt x="543226" y="3812102"/>
                  </a:lnTo>
                  <a:lnTo>
                    <a:pt x="562286" y="3802571"/>
                  </a:lnTo>
                  <a:lnTo>
                    <a:pt x="571816" y="3783511"/>
                  </a:lnTo>
                  <a:lnTo>
                    <a:pt x="571816" y="3769215"/>
                  </a:lnTo>
                  <a:lnTo>
                    <a:pt x="567050" y="3759685"/>
                  </a:lnTo>
                  <a:lnTo>
                    <a:pt x="557520" y="3759685"/>
                  </a:lnTo>
                  <a:lnTo>
                    <a:pt x="543226" y="3745390"/>
                  </a:lnTo>
                  <a:lnTo>
                    <a:pt x="528930" y="3707269"/>
                  </a:lnTo>
                  <a:lnTo>
                    <a:pt x="524164" y="3707269"/>
                  </a:lnTo>
                  <a:lnTo>
                    <a:pt x="519400" y="3716799"/>
                  </a:lnTo>
                  <a:lnTo>
                    <a:pt x="514634" y="3740624"/>
                  </a:lnTo>
                  <a:lnTo>
                    <a:pt x="509870" y="3750155"/>
                  </a:lnTo>
                  <a:lnTo>
                    <a:pt x="505104" y="3754920"/>
                  </a:lnTo>
                  <a:lnTo>
                    <a:pt x="495574" y="3764450"/>
                  </a:lnTo>
                  <a:lnTo>
                    <a:pt x="486044" y="3764450"/>
                  </a:lnTo>
                  <a:lnTo>
                    <a:pt x="457452" y="3764450"/>
                  </a:lnTo>
                  <a:lnTo>
                    <a:pt x="457452" y="3750155"/>
                  </a:lnTo>
                  <a:lnTo>
                    <a:pt x="457452" y="3745390"/>
                  </a:lnTo>
                  <a:lnTo>
                    <a:pt x="462218" y="3726329"/>
                  </a:lnTo>
                  <a:lnTo>
                    <a:pt x="457452" y="3726329"/>
                  </a:lnTo>
                  <a:lnTo>
                    <a:pt x="462218" y="3712034"/>
                  </a:lnTo>
                  <a:lnTo>
                    <a:pt x="466982" y="3712034"/>
                  </a:lnTo>
                  <a:lnTo>
                    <a:pt x="476514" y="3707269"/>
                  </a:lnTo>
                  <a:lnTo>
                    <a:pt x="476514" y="3702504"/>
                  </a:lnTo>
                  <a:lnTo>
                    <a:pt x="476514" y="3692973"/>
                  </a:lnTo>
                  <a:lnTo>
                    <a:pt x="466982" y="3692973"/>
                  </a:lnTo>
                  <a:lnTo>
                    <a:pt x="466982" y="3683443"/>
                  </a:lnTo>
                  <a:lnTo>
                    <a:pt x="476514" y="3659618"/>
                  </a:lnTo>
                  <a:lnTo>
                    <a:pt x="476514" y="3654852"/>
                  </a:lnTo>
                  <a:lnTo>
                    <a:pt x="466982" y="3654852"/>
                  </a:lnTo>
                  <a:lnTo>
                    <a:pt x="428862" y="3650087"/>
                  </a:lnTo>
                  <a:lnTo>
                    <a:pt x="376446" y="3616731"/>
                  </a:lnTo>
                  <a:lnTo>
                    <a:pt x="362150" y="3616731"/>
                  </a:lnTo>
                  <a:lnTo>
                    <a:pt x="357386" y="3588140"/>
                  </a:lnTo>
                  <a:lnTo>
                    <a:pt x="343090" y="3588140"/>
                  </a:lnTo>
                  <a:lnTo>
                    <a:pt x="328794" y="3607201"/>
                  </a:lnTo>
                  <a:lnTo>
                    <a:pt x="314498" y="3592906"/>
                  </a:lnTo>
                  <a:lnTo>
                    <a:pt x="300204" y="3588140"/>
                  </a:lnTo>
                  <a:lnTo>
                    <a:pt x="295438" y="3573845"/>
                  </a:lnTo>
                  <a:lnTo>
                    <a:pt x="295438" y="3554785"/>
                  </a:lnTo>
                  <a:lnTo>
                    <a:pt x="295438" y="3530959"/>
                  </a:lnTo>
                  <a:lnTo>
                    <a:pt x="290674" y="3507133"/>
                  </a:lnTo>
                  <a:lnTo>
                    <a:pt x="285908" y="3469012"/>
                  </a:lnTo>
                  <a:lnTo>
                    <a:pt x="290674" y="3435656"/>
                  </a:lnTo>
                  <a:lnTo>
                    <a:pt x="300204" y="3416596"/>
                  </a:lnTo>
                  <a:lnTo>
                    <a:pt x="304968" y="3402300"/>
                  </a:lnTo>
                  <a:lnTo>
                    <a:pt x="309734" y="3364180"/>
                  </a:lnTo>
                  <a:lnTo>
                    <a:pt x="314498" y="3321294"/>
                  </a:lnTo>
                  <a:lnTo>
                    <a:pt x="309734" y="3306998"/>
                  </a:lnTo>
                  <a:lnTo>
                    <a:pt x="309734" y="3297468"/>
                  </a:lnTo>
                  <a:lnTo>
                    <a:pt x="319264" y="3297468"/>
                  </a:lnTo>
                  <a:lnTo>
                    <a:pt x="314498" y="3292703"/>
                  </a:lnTo>
                  <a:lnTo>
                    <a:pt x="314498" y="3287938"/>
                  </a:lnTo>
                  <a:lnTo>
                    <a:pt x="309734" y="3278407"/>
                  </a:lnTo>
                  <a:lnTo>
                    <a:pt x="314498" y="3273642"/>
                  </a:lnTo>
                  <a:lnTo>
                    <a:pt x="324030" y="3273642"/>
                  </a:lnTo>
                  <a:lnTo>
                    <a:pt x="324030" y="3268877"/>
                  </a:lnTo>
                  <a:lnTo>
                    <a:pt x="324030" y="3264112"/>
                  </a:lnTo>
                  <a:lnTo>
                    <a:pt x="314498" y="3240286"/>
                  </a:lnTo>
                  <a:lnTo>
                    <a:pt x="314498" y="3225991"/>
                  </a:lnTo>
                  <a:lnTo>
                    <a:pt x="304968" y="3192635"/>
                  </a:lnTo>
                  <a:lnTo>
                    <a:pt x="290674" y="3159279"/>
                  </a:lnTo>
                  <a:lnTo>
                    <a:pt x="271612" y="3130688"/>
                  </a:lnTo>
                  <a:lnTo>
                    <a:pt x="276378" y="3092567"/>
                  </a:lnTo>
                  <a:lnTo>
                    <a:pt x="285908" y="3054446"/>
                  </a:lnTo>
                  <a:lnTo>
                    <a:pt x="285908" y="3035386"/>
                  </a:lnTo>
                  <a:lnTo>
                    <a:pt x="281142" y="3016325"/>
                  </a:lnTo>
                  <a:lnTo>
                    <a:pt x="257318" y="2992500"/>
                  </a:lnTo>
                  <a:lnTo>
                    <a:pt x="252552" y="2954379"/>
                  </a:lnTo>
                  <a:lnTo>
                    <a:pt x="247788" y="2921023"/>
                  </a:lnTo>
                  <a:lnTo>
                    <a:pt x="247788" y="2897197"/>
                  </a:lnTo>
                  <a:lnTo>
                    <a:pt x="252552" y="2878137"/>
                  </a:lnTo>
                  <a:lnTo>
                    <a:pt x="262082" y="2863841"/>
                  </a:lnTo>
                  <a:lnTo>
                    <a:pt x="300204" y="2806660"/>
                  </a:lnTo>
                  <a:lnTo>
                    <a:pt x="304968" y="2778069"/>
                  </a:lnTo>
                  <a:lnTo>
                    <a:pt x="333560" y="2778069"/>
                  </a:lnTo>
                  <a:lnTo>
                    <a:pt x="319264" y="2749478"/>
                  </a:lnTo>
                  <a:lnTo>
                    <a:pt x="314498" y="2735183"/>
                  </a:lnTo>
                  <a:lnTo>
                    <a:pt x="314498" y="2720888"/>
                  </a:lnTo>
                  <a:lnTo>
                    <a:pt x="357386" y="2706592"/>
                  </a:lnTo>
                  <a:lnTo>
                    <a:pt x="371680" y="2716122"/>
                  </a:lnTo>
                  <a:lnTo>
                    <a:pt x="405036" y="2706592"/>
                  </a:lnTo>
                  <a:lnTo>
                    <a:pt x="438392" y="2682766"/>
                  </a:lnTo>
                  <a:lnTo>
                    <a:pt x="438392" y="2673236"/>
                  </a:lnTo>
                  <a:lnTo>
                    <a:pt x="433628" y="2658941"/>
                  </a:lnTo>
                  <a:lnTo>
                    <a:pt x="424096" y="2639880"/>
                  </a:lnTo>
                  <a:lnTo>
                    <a:pt x="428862" y="2635115"/>
                  </a:lnTo>
                  <a:lnTo>
                    <a:pt x="438392" y="2635115"/>
                  </a:lnTo>
                  <a:lnTo>
                    <a:pt x="433628" y="2625585"/>
                  </a:lnTo>
                  <a:lnTo>
                    <a:pt x="438392" y="2616055"/>
                  </a:lnTo>
                  <a:lnTo>
                    <a:pt x="447922" y="2620820"/>
                  </a:lnTo>
                  <a:lnTo>
                    <a:pt x="466982" y="2587464"/>
                  </a:lnTo>
                  <a:lnTo>
                    <a:pt x="471748" y="2563638"/>
                  </a:lnTo>
                  <a:lnTo>
                    <a:pt x="505104" y="2554108"/>
                  </a:lnTo>
                  <a:lnTo>
                    <a:pt x="543226" y="2501692"/>
                  </a:lnTo>
                  <a:lnTo>
                    <a:pt x="562286" y="2487396"/>
                  </a:lnTo>
                  <a:lnTo>
                    <a:pt x="581346" y="2477866"/>
                  </a:lnTo>
                  <a:lnTo>
                    <a:pt x="619468" y="2430215"/>
                  </a:lnTo>
                  <a:lnTo>
                    <a:pt x="638528" y="2425450"/>
                  </a:lnTo>
                  <a:lnTo>
                    <a:pt x="643292" y="2392094"/>
                  </a:lnTo>
                  <a:lnTo>
                    <a:pt x="676648" y="2349208"/>
                  </a:lnTo>
                  <a:lnTo>
                    <a:pt x="686178" y="2344442"/>
                  </a:lnTo>
                  <a:lnTo>
                    <a:pt x="700474" y="2301556"/>
                  </a:lnTo>
                  <a:lnTo>
                    <a:pt x="743360" y="2253905"/>
                  </a:lnTo>
                  <a:lnTo>
                    <a:pt x="767186" y="2196724"/>
                  </a:lnTo>
                  <a:lnTo>
                    <a:pt x="781482" y="2172898"/>
                  </a:lnTo>
                  <a:lnTo>
                    <a:pt x="786246" y="2149072"/>
                  </a:lnTo>
                  <a:lnTo>
                    <a:pt x="800542" y="2149072"/>
                  </a:lnTo>
                  <a:lnTo>
                    <a:pt x="814838" y="2130012"/>
                  </a:lnTo>
                  <a:lnTo>
                    <a:pt x="848194" y="2120482"/>
                  </a:lnTo>
                  <a:lnTo>
                    <a:pt x="876784" y="2125246"/>
                  </a:lnTo>
                  <a:lnTo>
                    <a:pt x="886314" y="2130012"/>
                  </a:lnTo>
                  <a:lnTo>
                    <a:pt x="900610" y="2130012"/>
                  </a:lnTo>
                  <a:lnTo>
                    <a:pt x="900610" y="2106186"/>
                  </a:lnTo>
                  <a:lnTo>
                    <a:pt x="891080" y="2096656"/>
                  </a:lnTo>
                  <a:lnTo>
                    <a:pt x="895844" y="2082360"/>
                  </a:lnTo>
                  <a:lnTo>
                    <a:pt x="914906" y="2072830"/>
                  </a:lnTo>
                  <a:lnTo>
                    <a:pt x="910140" y="2053770"/>
                  </a:lnTo>
                  <a:lnTo>
                    <a:pt x="910140" y="2039474"/>
                  </a:lnTo>
                  <a:lnTo>
                    <a:pt x="895844" y="2025179"/>
                  </a:lnTo>
                  <a:lnTo>
                    <a:pt x="900610" y="1987058"/>
                  </a:lnTo>
                  <a:lnTo>
                    <a:pt x="905374" y="1948937"/>
                  </a:lnTo>
                  <a:lnTo>
                    <a:pt x="910140" y="1896520"/>
                  </a:lnTo>
                  <a:lnTo>
                    <a:pt x="891080" y="1872695"/>
                  </a:lnTo>
                  <a:lnTo>
                    <a:pt x="829132" y="1829809"/>
                  </a:lnTo>
                  <a:lnTo>
                    <a:pt x="819602" y="1829809"/>
                  </a:lnTo>
                  <a:lnTo>
                    <a:pt x="805308" y="1825044"/>
                  </a:lnTo>
                  <a:lnTo>
                    <a:pt x="791012" y="1791688"/>
                  </a:lnTo>
                  <a:lnTo>
                    <a:pt x="795776" y="1767862"/>
                  </a:lnTo>
                  <a:lnTo>
                    <a:pt x="795776" y="1753567"/>
                  </a:lnTo>
                  <a:lnTo>
                    <a:pt x="791012" y="1753567"/>
                  </a:lnTo>
                  <a:lnTo>
                    <a:pt x="781482" y="1767862"/>
                  </a:lnTo>
                  <a:lnTo>
                    <a:pt x="762420" y="1786923"/>
                  </a:lnTo>
                  <a:lnTo>
                    <a:pt x="738596" y="1772627"/>
                  </a:lnTo>
                  <a:lnTo>
                    <a:pt x="724300" y="1777392"/>
                  </a:lnTo>
                  <a:lnTo>
                    <a:pt x="705240" y="1705915"/>
                  </a:lnTo>
                  <a:lnTo>
                    <a:pt x="700474" y="1677325"/>
                  </a:lnTo>
                  <a:lnTo>
                    <a:pt x="686178" y="1643969"/>
                  </a:lnTo>
                  <a:lnTo>
                    <a:pt x="662354" y="1624908"/>
                  </a:lnTo>
                  <a:lnTo>
                    <a:pt x="657588" y="1620143"/>
                  </a:lnTo>
                  <a:lnTo>
                    <a:pt x="652822" y="1601083"/>
                  </a:lnTo>
                  <a:lnTo>
                    <a:pt x="652822" y="1582022"/>
                  </a:lnTo>
                  <a:lnTo>
                    <a:pt x="648058" y="1553431"/>
                  </a:lnTo>
                  <a:lnTo>
                    <a:pt x="648058" y="1529606"/>
                  </a:lnTo>
                  <a:lnTo>
                    <a:pt x="652822" y="1515310"/>
                  </a:lnTo>
                  <a:lnTo>
                    <a:pt x="662354" y="1505780"/>
                  </a:lnTo>
                  <a:lnTo>
                    <a:pt x="676648" y="1477189"/>
                  </a:lnTo>
                  <a:lnTo>
                    <a:pt x="681414" y="1458129"/>
                  </a:lnTo>
                  <a:lnTo>
                    <a:pt x="681414" y="1424773"/>
                  </a:lnTo>
                  <a:lnTo>
                    <a:pt x="690944" y="1400947"/>
                  </a:lnTo>
                  <a:lnTo>
                    <a:pt x="695710" y="1386652"/>
                  </a:lnTo>
                  <a:lnTo>
                    <a:pt x="695710" y="1372356"/>
                  </a:lnTo>
                  <a:lnTo>
                    <a:pt x="690944" y="1358061"/>
                  </a:lnTo>
                  <a:lnTo>
                    <a:pt x="681414" y="1334236"/>
                  </a:lnTo>
                  <a:lnTo>
                    <a:pt x="662354" y="1310410"/>
                  </a:lnTo>
                  <a:lnTo>
                    <a:pt x="648058" y="1281819"/>
                  </a:lnTo>
                  <a:lnTo>
                    <a:pt x="643292" y="1257994"/>
                  </a:lnTo>
                  <a:lnTo>
                    <a:pt x="638528" y="1234168"/>
                  </a:lnTo>
                  <a:lnTo>
                    <a:pt x="643292" y="1215107"/>
                  </a:lnTo>
                  <a:lnTo>
                    <a:pt x="643292" y="1200812"/>
                  </a:lnTo>
                  <a:lnTo>
                    <a:pt x="662354" y="1186517"/>
                  </a:lnTo>
                  <a:lnTo>
                    <a:pt x="662354" y="1176986"/>
                  </a:lnTo>
                  <a:lnTo>
                    <a:pt x="657588" y="1138865"/>
                  </a:lnTo>
                  <a:lnTo>
                    <a:pt x="648058" y="1129335"/>
                  </a:lnTo>
                  <a:lnTo>
                    <a:pt x="628998" y="1129335"/>
                  </a:lnTo>
                  <a:lnTo>
                    <a:pt x="614702" y="1129335"/>
                  </a:lnTo>
                  <a:lnTo>
                    <a:pt x="614702" y="1124570"/>
                  </a:lnTo>
                  <a:lnTo>
                    <a:pt x="614702" y="1115040"/>
                  </a:lnTo>
                  <a:lnTo>
                    <a:pt x="614702" y="1100744"/>
                  </a:lnTo>
                  <a:lnTo>
                    <a:pt x="624232" y="1081684"/>
                  </a:lnTo>
                  <a:lnTo>
                    <a:pt x="628998" y="1072154"/>
                  </a:lnTo>
                  <a:lnTo>
                    <a:pt x="628998" y="1057858"/>
                  </a:lnTo>
                  <a:lnTo>
                    <a:pt x="619468" y="1029267"/>
                  </a:lnTo>
                  <a:lnTo>
                    <a:pt x="619468" y="986381"/>
                  </a:lnTo>
                  <a:lnTo>
                    <a:pt x="619468" y="953025"/>
                  </a:lnTo>
                  <a:lnTo>
                    <a:pt x="643292" y="929200"/>
                  </a:lnTo>
                  <a:lnTo>
                    <a:pt x="643292" y="919670"/>
                  </a:lnTo>
                  <a:lnTo>
                    <a:pt x="614702" y="895844"/>
                  </a:lnTo>
                  <a:lnTo>
                    <a:pt x="600406" y="862488"/>
                  </a:lnTo>
                  <a:lnTo>
                    <a:pt x="590876" y="848193"/>
                  </a:lnTo>
                  <a:lnTo>
                    <a:pt x="571816" y="843427"/>
                  </a:lnTo>
                  <a:lnTo>
                    <a:pt x="557520" y="791011"/>
                  </a:lnTo>
                  <a:lnTo>
                    <a:pt x="538460" y="767185"/>
                  </a:lnTo>
                  <a:lnTo>
                    <a:pt x="519400" y="748125"/>
                  </a:lnTo>
                  <a:lnTo>
                    <a:pt x="509870" y="738595"/>
                  </a:lnTo>
                  <a:lnTo>
                    <a:pt x="443158" y="705239"/>
                  </a:lnTo>
                  <a:lnTo>
                    <a:pt x="419332" y="700474"/>
                  </a:lnTo>
                  <a:lnTo>
                    <a:pt x="385976" y="681413"/>
                  </a:lnTo>
                  <a:lnTo>
                    <a:pt x="362150" y="657588"/>
                  </a:lnTo>
                  <a:lnTo>
                    <a:pt x="343090" y="643292"/>
                  </a:lnTo>
                  <a:lnTo>
                    <a:pt x="328794" y="624232"/>
                  </a:lnTo>
                  <a:lnTo>
                    <a:pt x="304968" y="609936"/>
                  </a:lnTo>
                  <a:lnTo>
                    <a:pt x="295438" y="595641"/>
                  </a:lnTo>
                  <a:lnTo>
                    <a:pt x="271612" y="567050"/>
                  </a:lnTo>
                  <a:lnTo>
                    <a:pt x="257318" y="547990"/>
                  </a:lnTo>
                  <a:lnTo>
                    <a:pt x="219196" y="514634"/>
                  </a:lnTo>
                  <a:lnTo>
                    <a:pt x="214432" y="500338"/>
                  </a:lnTo>
                  <a:lnTo>
                    <a:pt x="214432" y="490808"/>
                  </a:lnTo>
                  <a:lnTo>
                    <a:pt x="214432" y="481278"/>
                  </a:lnTo>
                  <a:lnTo>
                    <a:pt x="171544" y="457452"/>
                  </a:lnTo>
                  <a:lnTo>
                    <a:pt x="181076" y="443157"/>
                  </a:lnTo>
                  <a:lnTo>
                    <a:pt x="214432" y="443157"/>
                  </a:lnTo>
                  <a:lnTo>
                    <a:pt x="243022" y="457452"/>
                  </a:lnTo>
                  <a:lnTo>
                    <a:pt x="247788" y="452687"/>
                  </a:lnTo>
                  <a:lnTo>
                    <a:pt x="252552" y="438392"/>
                  </a:lnTo>
                  <a:lnTo>
                    <a:pt x="238256" y="390740"/>
                  </a:lnTo>
                  <a:lnTo>
                    <a:pt x="243022" y="381210"/>
                  </a:lnTo>
                  <a:lnTo>
                    <a:pt x="252552" y="366915"/>
                  </a:lnTo>
                  <a:lnTo>
                    <a:pt x="271612" y="352619"/>
                  </a:lnTo>
                  <a:lnTo>
                    <a:pt x="300204" y="352619"/>
                  </a:lnTo>
                  <a:lnTo>
                    <a:pt x="324030" y="352619"/>
                  </a:lnTo>
                  <a:lnTo>
                    <a:pt x="328794" y="357384"/>
                  </a:lnTo>
                  <a:lnTo>
                    <a:pt x="357386" y="405036"/>
                  </a:lnTo>
                  <a:lnTo>
                    <a:pt x="385976" y="457452"/>
                  </a:lnTo>
                  <a:lnTo>
                    <a:pt x="400272" y="476513"/>
                  </a:lnTo>
                  <a:lnTo>
                    <a:pt x="433628" y="538459"/>
                  </a:lnTo>
                  <a:lnTo>
                    <a:pt x="447922" y="571815"/>
                  </a:lnTo>
                  <a:lnTo>
                    <a:pt x="452688" y="595641"/>
                  </a:lnTo>
                  <a:lnTo>
                    <a:pt x="466982" y="595641"/>
                  </a:lnTo>
                  <a:lnTo>
                    <a:pt x="514634" y="605171"/>
                  </a:lnTo>
                  <a:lnTo>
                    <a:pt x="552756" y="614701"/>
                  </a:lnTo>
                  <a:lnTo>
                    <a:pt x="567050" y="628997"/>
                  </a:lnTo>
                  <a:lnTo>
                    <a:pt x="595642" y="624232"/>
                  </a:lnTo>
                  <a:lnTo>
                    <a:pt x="614702" y="614701"/>
                  </a:lnTo>
                  <a:lnTo>
                    <a:pt x="652822" y="600406"/>
                  </a:lnTo>
                  <a:lnTo>
                    <a:pt x="662354" y="581346"/>
                  </a:lnTo>
                  <a:lnTo>
                    <a:pt x="676648" y="557520"/>
                  </a:lnTo>
                  <a:lnTo>
                    <a:pt x="700474" y="562285"/>
                  </a:lnTo>
                  <a:lnTo>
                    <a:pt x="724300" y="576580"/>
                  </a:lnTo>
                  <a:lnTo>
                    <a:pt x="752890" y="600406"/>
                  </a:lnTo>
                  <a:lnTo>
                    <a:pt x="776716" y="609936"/>
                  </a:lnTo>
                  <a:lnTo>
                    <a:pt x="810072" y="624232"/>
                  </a:lnTo>
                  <a:lnTo>
                    <a:pt x="824368" y="643292"/>
                  </a:lnTo>
                  <a:lnTo>
                    <a:pt x="848194" y="652822"/>
                  </a:lnTo>
                  <a:lnTo>
                    <a:pt x="867254" y="628997"/>
                  </a:lnTo>
                  <a:lnTo>
                    <a:pt x="881550" y="576580"/>
                  </a:lnTo>
                  <a:lnTo>
                    <a:pt x="895844" y="552755"/>
                  </a:lnTo>
                  <a:lnTo>
                    <a:pt x="910140" y="533694"/>
                  </a:lnTo>
                  <a:lnTo>
                    <a:pt x="929200" y="524164"/>
                  </a:lnTo>
                  <a:lnTo>
                    <a:pt x="943496" y="524164"/>
                  </a:lnTo>
                  <a:lnTo>
                    <a:pt x="957792" y="509869"/>
                  </a:lnTo>
                  <a:lnTo>
                    <a:pt x="972086" y="481278"/>
                  </a:lnTo>
                  <a:lnTo>
                    <a:pt x="976852" y="443157"/>
                  </a:lnTo>
                  <a:lnTo>
                    <a:pt x="972086" y="371680"/>
                  </a:lnTo>
                  <a:lnTo>
                    <a:pt x="976852" y="352619"/>
                  </a:lnTo>
                  <a:lnTo>
                    <a:pt x="986382" y="314498"/>
                  </a:lnTo>
                  <a:lnTo>
                    <a:pt x="1005442" y="214431"/>
                  </a:lnTo>
                  <a:lnTo>
                    <a:pt x="1014972" y="185840"/>
                  </a:lnTo>
                  <a:lnTo>
                    <a:pt x="1024504" y="166779"/>
                  </a:lnTo>
                  <a:lnTo>
                    <a:pt x="1034034" y="157249"/>
                  </a:lnTo>
                  <a:lnTo>
                    <a:pt x="1057858" y="128658"/>
                  </a:lnTo>
                  <a:lnTo>
                    <a:pt x="1095980" y="66712"/>
                  </a:lnTo>
                  <a:lnTo>
                    <a:pt x="1100746" y="61947"/>
                  </a:lnTo>
                  <a:lnTo>
                    <a:pt x="1124570" y="57182"/>
                  </a:lnTo>
                  <a:lnTo>
                    <a:pt x="1157926" y="61947"/>
                  </a:lnTo>
                  <a:lnTo>
                    <a:pt x="1186518" y="71477"/>
                  </a:lnTo>
                  <a:lnTo>
                    <a:pt x="1200812" y="66712"/>
                  </a:lnTo>
                  <a:lnTo>
                    <a:pt x="1219874" y="47651"/>
                  </a:lnTo>
                  <a:lnTo>
                    <a:pt x="1257994"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13" name="Google Shape;4580;p64">
              <a:extLst>
                <a:ext uri="{FF2B5EF4-FFF2-40B4-BE49-F238E27FC236}">
                  <a16:creationId xmlns:a16="http://schemas.microsoft.com/office/drawing/2014/main" id="{F057F7A6-8F48-9753-31FF-28C2CDA77FE0}"/>
                </a:ext>
              </a:extLst>
            </p:cNvPr>
            <p:cNvSpPr/>
            <p:nvPr/>
          </p:nvSpPr>
          <p:spPr>
            <a:xfrm>
              <a:off x="3209711" y="6278123"/>
              <a:ext cx="72194" cy="36098"/>
            </a:xfrm>
            <a:custGeom>
              <a:avLst/>
              <a:gdLst/>
              <a:ahLst/>
              <a:cxnLst/>
              <a:rect l="l" t="t" r="r" b="b"/>
              <a:pathLst>
                <a:path w="524164" h="262084" extrusionOk="0">
                  <a:moveTo>
                    <a:pt x="209666" y="219196"/>
                  </a:moveTo>
                  <a:lnTo>
                    <a:pt x="214432" y="219196"/>
                  </a:lnTo>
                  <a:lnTo>
                    <a:pt x="228728" y="228728"/>
                  </a:lnTo>
                  <a:lnTo>
                    <a:pt x="228728" y="243020"/>
                  </a:lnTo>
                  <a:lnTo>
                    <a:pt x="219196" y="247788"/>
                  </a:lnTo>
                  <a:lnTo>
                    <a:pt x="214432" y="247788"/>
                  </a:lnTo>
                  <a:lnTo>
                    <a:pt x="209666" y="238256"/>
                  </a:lnTo>
                  <a:lnTo>
                    <a:pt x="209666" y="223960"/>
                  </a:lnTo>
                  <a:close/>
                  <a:moveTo>
                    <a:pt x="414566" y="185840"/>
                  </a:moveTo>
                  <a:lnTo>
                    <a:pt x="419332" y="185840"/>
                  </a:lnTo>
                  <a:lnTo>
                    <a:pt x="424096" y="185840"/>
                  </a:lnTo>
                  <a:lnTo>
                    <a:pt x="424096" y="209668"/>
                  </a:lnTo>
                  <a:lnTo>
                    <a:pt x="409802" y="200136"/>
                  </a:lnTo>
                  <a:lnTo>
                    <a:pt x="405036" y="190608"/>
                  </a:lnTo>
                  <a:close/>
                  <a:moveTo>
                    <a:pt x="19060" y="128660"/>
                  </a:moveTo>
                  <a:lnTo>
                    <a:pt x="28590" y="133424"/>
                  </a:lnTo>
                  <a:lnTo>
                    <a:pt x="42886" y="133424"/>
                  </a:lnTo>
                  <a:lnTo>
                    <a:pt x="33356" y="157248"/>
                  </a:lnTo>
                  <a:lnTo>
                    <a:pt x="28590" y="171544"/>
                  </a:lnTo>
                  <a:lnTo>
                    <a:pt x="19060" y="171544"/>
                  </a:lnTo>
                  <a:lnTo>
                    <a:pt x="4766" y="152484"/>
                  </a:lnTo>
                  <a:lnTo>
                    <a:pt x="0" y="142956"/>
                  </a:lnTo>
                  <a:lnTo>
                    <a:pt x="14296" y="138188"/>
                  </a:lnTo>
                  <a:close/>
                  <a:moveTo>
                    <a:pt x="95302" y="19060"/>
                  </a:moveTo>
                  <a:lnTo>
                    <a:pt x="109598" y="33356"/>
                  </a:lnTo>
                  <a:lnTo>
                    <a:pt x="133424" y="47652"/>
                  </a:lnTo>
                  <a:lnTo>
                    <a:pt x="157250" y="52416"/>
                  </a:lnTo>
                  <a:lnTo>
                    <a:pt x="176310" y="33356"/>
                  </a:lnTo>
                  <a:lnTo>
                    <a:pt x="190606" y="28592"/>
                  </a:lnTo>
                  <a:lnTo>
                    <a:pt x="200136" y="33356"/>
                  </a:lnTo>
                  <a:lnTo>
                    <a:pt x="209666" y="42888"/>
                  </a:lnTo>
                  <a:lnTo>
                    <a:pt x="223962" y="42888"/>
                  </a:lnTo>
                  <a:lnTo>
                    <a:pt x="257318" y="33356"/>
                  </a:lnTo>
                  <a:lnTo>
                    <a:pt x="262082" y="33356"/>
                  </a:lnTo>
                  <a:lnTo>
                    <a:pt x="271612" y="23828"/>
                  </a:lnTo>
                  <a:lnTo>
                    <a:pt x="285908" y="28592"/>
                  </a:lnTo>
                  <a:lnTo>
                    <a:pt x="290672" y="38120"/>
                  </a:lnTo>
                  <a:lnTo>
                    <a:pt x="290672" y="52416"/>
                  </a:lnTo>
                  <a:lnTo>
                    <a:pt x="276378" y="61948"/>
                  </a:lnTo>
                  <a:lnTo>
                    <a:pt x="271612" y="71476"/>
                  </a:lnTo>
                  <a:lnTo>
                    <a:pt x="266848" y="81008"/>
                  </a:lnTo>
                  <a:lnTo>
                    <a:pt x="252552" y="90536"/>
                  </a:lnTo>
                  <a:lnTo>
                    <a:pt x="243022" y="104832"/>
                  </a:lnTo>
                  <a:lnTo>
                    <a:pt x="223962" y="133424"/>
                  </a:lnTo>
                  <a:lnTo>
                    <a:pt x="190606" y="176312"/>
                  </a:lnTo>
                  <a:lnTo>
                    <a:pt x="181076" y="181076"/>
                  </a:lnTo>
                  <a:lnTo>
                    <a:pt x="157250" y="181076"/>
                  </a:lnTo>
                  <a:lnTo>
                    <a:pt x="147720" y="181076"/>
                  </a:lnTo>
                  <a:lnTo>
                    <a:pt x="138188" y="181076"/>
                  </a:lnTo>
                  <a:lnTo>
                    <a:pt x="133424" y="200136"/>
                  </a:lnTo>
                  <a:lnTo>
                    <a:pt x="123894" y="219196"/>
                  </a:lnTo>
                  <a:lnTo>
                    <a:pt x="119128" y="223960"/>
                  </a:lnTo>
                  <a:lnTo>
                    <a:pt x="104834" y="223960"/>
                  </a:lnTo>
                  <a:lnTo>
                    <a:pt x="100068" y="228728"/>
                  </a:lnTo>
                  <a:lnTo>
                    <a:pt x="100068" y="233492"/>
                  </a:lnTo>
                  <a:lnTo>
                    <a:pt x="71478" y="233492"/>
                  </a:lnTo>
                  <a:lnTo>
                    <a:pt x="52416" y="219196"/>
                  </a:lnTo>
                  <a:lnTo>
                    <a:pt x="28592" y="200136"/>
                  </a:lnTo>
                  <a:lnTo>
                    <a:pt x="57182" y="171544"/>
                  </a:lnTo>
                  <a:lnTo>
                    <a:pt x="85772" y="171544"/>
                  </a:lnTo>
                  <a:lnTo>
                    <a:pt x="109598" y="152484"/>
                  </a:lnTo>
                  <a:lnTo>
                    <a:pt x="123894" y="142956"/>
                  </a:lnTo>
                  <a:lnTo>
                    <a:pt x="133424" y="133424"/>
                  </a:lnTo>
                  <a:lnTo>
                    <a:pt x="142954" y="128660"/>
                  </a:lnTo>
                  <a:lnTo>
                    <a:pt x="142954" y="114364"/>
                  </a:lnTo>
                  <a:lnTo>
                    <a:pt x="133424" y="114364"/>
                  </a:lnTo>
                  <a:lnTo>
                    <a:pt x="128658" y="114364"/>
                  </a:lnTo>
                  <a:lnTo>
                    <a:pt x="119128" y="119128"/>
                  </a:lnTo>
                  <a:lnTo>
                    <a:pt x="100068" y="123892"/>
                  </a:lnTo>
                  <a:lnTo>
                    <a:pt x="85772" y="109600"/>
                  </a:lnTo>
                  <a:lnTo>
                    <a:pt x="95302" y="104832"/>
                  </a:lnTo>
                  <a:lnTo>
                    <a:pt x="104834" y="104832"/>
                  </a:lnTo>
                  <a:lnTo>
                    <a:pt x="133424" y="95304"/>
                  </a:lnTo>
                  <a:lnTo>
                    <a:pt x="138188" y="90536"/>
                  </a:lnTo>
                  <a:lnTo>
                    <a:pt x="128658" y="76244"/>
                  </a:lnTo>
                  <a:lnTo>
                    <a:pt x="114364" y="66712"/>
                  </a:lnTo>
                  <a:lnTo>
                    <a:pt x="100068" y="52416"/>
                  </a:lnTo>
                  <a:lnTo>
                    <a:pt x="95302" y="47652"/>
                  </a:lnTo>
                  <a:lnTo>
                    <a:pt x="95302" y="38120"/>
                  </a:lnTo>
                  <a:lnTo>
                    <a:pt x="90538" y="23828"/>
                  </a:lnTo>
                  <a:close/>
                  <a:moveTo>
                    <a:pt x="347856" y="0"/>
                  </a:moveTo>
                  <a:lnTo>
                    <a:pt x="357384" y="0"/>
                  </a:lnTo>
                  <a:lnTo>
                    <a:pt x="357386" y="0"/>
                  </a:lnTo>
                  <a:lnTo>
                    <a:pt x="381212" y="14296"/>
                  </a:lnTo>
                  <a:lnTo>
                    <a:pt x="409802" y="9532"/>
                  </a:lnTo>
                  <a:lnTo>
                    <a:pt x="424098" y="14296"/>
                  </a:lnTo>
                  <a:lnTo>
                    <a:pt x="428862" y="23828"/>
                  </a:lnTo>
                  <a:lnTo>
                    <a:pt x="428862" y="38124"/>
                  </a:lnTo>
                  <a:lnTo>
                    <a:pt x="419332" y="38124"/>
                  </a:lnTo>
                  <a:lnTo>
                    <a:pt x="409802" y="38124"/>
                  </a:lnTo>
                  <a:lnTo>
                    <a:pt x="409802" y="52416"/>
                  </a:lnTo>
                  <a:lnTo>
                    <a:pt x="414566" y="61948"/>
                  </a:lnTo>
                  <a:lnTo>
                    <a:pt x="447922" y="76244"/>
                  </a:lnTo>
                  <a:lnTo>
                    <a:pt x="452688" y="76244"/>
                  </a:lnTo>
                  <a:lnTo>
                    <a:pt x="452688" y="71476"/>
                  </a:lnTo>
                  <a:lnTo>
                    <a:pt x="447922" y="57184"/>
                  </a:lnTo>
                  <a:lnTo>
                    <a:pt x="443158" y="47652"/>
                  </a:lnTo>
                  <a:lnTo>
                    <a:pt x="447922" y="38124"/>
                  </a:lnTo>
                  <a:lnTo>
                    <a:pt x="457454" y="33356"/>
                  </a:lnTo>
                  <a:lnTo>
                    <a:pt x="495574" y="28592"/>
                  </a:lnTo>
                  <a:lnTo>
                    <a:pt x="500340" y="33356"/>
                  </a:lnTo>
                  <a:lnTo>
                    <a:pt x="519400" y="61948"/>
                  </a:lnTo>
                  <a:lnTo>
                    <a:pt x="505104" y="66712"/>
                  </a:lnTo>
                  <a:lnTo>
                    <a:pt x="495574" y="81008"/>
                  </a:lnTo>
                  <a:lnTo>
                    <a:pt x="509870" y="85772"/>
                  </a:lnTo>
                  <a:lnTo>
                    <a:pt x="524164" y="90540"/>
                  </a:lnTo>
                  <a:lnTo>
                    <a:pt x="514634" y="104832"/>
                  </a:lnTo>
                  <a:lnTo>
                    <a:pt x="514634" y="109600"/>
                  </a:lnTo>
                  <a:lnTo>
                    <a:pt x="490810" y="119128"/>
                  </a:lnTo>
                  <a:lnTo>
                    <a:pt x="466984" y="123896"/>
                  </a:lnTo>
                  <a:lnTo>
                    <a:pt x="457454" y="138188"/>
                  </a:lnTo>
                  <a:lnTo>
                    <a:pt x="438392" y="147720"/>
                  </a:lnTo>
                  <a:lnTo>
                    <a:pt x="385976" y="166780"/>
                  </a:lnTo>
                  <a:lnTo>
                    <a:pt x="390742" y="181076"/>
                  </a:lnTo>
                  <a:lnTo>
                    <a:pt x="390742" y="190608"/>
                  </a:lnTo>
                  <a:lnTo>
                    <a:pt x="390742" y="209668"/>
                  </a:lnTo>
                  <a:lnTo>
                    <a:pt x="314500" y="185840"/>
                  </a:lnTo>
                  <a:lnTo>
                    <a:pt x="304968" y="185840"/>
                  </a:lnTo>
                  <a:lnTo>
                    <a:pt x="324030" y="228728"/>
                  </a:lnTo>
                  <a:lnTo>
                    <a:pt x="309734" y="233492"/>
                  </a:lnTo>
                  <a:lnTo>
                    <a:pt x="295438" y="228728"/>
                  </a:lnTo>
                  <a:lnTo>
                    <a:pt x="281144" y="233492"/>
                  </a:lnTo>
                  <a:lnTo>
                    <a:pt x="271614" y="262084"/>
                  </a:lnTo>
                  <a:lnTo>
                    <a:pt x="252552" y="243024"/>
                  </a:lnTo>
                  <a:lnTo>
                    <a:pt x="233492" y="219196"/>
                  </a:lnTo>
                  <a:lnTo>
                    <a:pt x="233492" y="204900"/>
                  </a:lnTo>
                  <a:lnTo>
                    <a:pt x="252552" y="176312"/>
                  </a:lnTo>
                  <a:lnTo>
                    <a:pt x="243022" y="166780"/>
                  </a:lnTo>
                  <a:lnTo>
                    <a:pt x="285908" y="128660"/>
                  </a:lnTo>
                  <a:lnTo>
                    <a:pt x="295438" y="119128"/>
                  </a:lnTo>
                  <a:lnTo>
                    <a:pt x="304968" y="109600"/>
                  </a:lnTo>
                  <a:lnTo>
                    <a:pt x="319264" y="109600"/>
                  </a:lnTo>
                  <a:lnTo>
                    <a:pt x="324030" y="104832"/>
                  </a:lnTo>
                  <a:lnTo>
                    <a:pt x="324030" y="95304"/>
                  </a:lnTo>
                  <a:lnTo>
                    <a:pt x="319264" y="81008"/>
                  </a:lnTo>
                  <a:lnTo>
                    <a:pt x="319264" y="57184"/>
                  </a:lnTo>
                  <a:lnTo>
                    <a:pt x="352620" y="23828"/>
                  </a:lnTo>
                  <a:close/>
                  <a:moveTo>
                    <a:pt x="152484" y="0"/>
                  </a:moveTo>
                  <a:lnTo>
                    <a:pt x="166780" y="9532"/>
                  </a:lnTo>
                  <a:lnTo>
                    <a:pt x="166780" y="19060"/>
                  </a:lnTo>
                  <a:lnTo>
                    <a:pt x="162014" y="33356"/>
                  </a:lnTo>
                  <a:lnTo>
                    <a:pt x="138190" y="33356"/>
                  </a:lnTo>
                  <a:lnTo>
                    <a:pt x="133424" y="23828"/>
                  </a:lnTo>
                  <a:lnTo>
                    <a:pt x="133424" y="4768"/>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14" name="Google Shape;4581;p64">
              <a:extLst>
                <a:ext uri="{FF2B5EF4-FFF2-40B4-BE49-F238E27FC236}">
                  <a16:creationId xmlns:a16="http://schemas.microsoft.com/office/drawing/2014/main" id="{555D7EE4-E2C4-4BAF-972F-0D78DAD6DB39}"/>
                </a:ext>
              </a:extLst>
            </p:cNvPr>
            <p:cNvSpPr/>
            <p:nvPr/>
          </p:nvSpPr>
          <p:spPr>
            <a:xfrm>
              <a:off x="5712896" y="5448542"/>
              <a:ext cx="13126" cy="11158"/>
            </a:xfrm>
            <a:custGeom>
              <a:avLst/>
              <a:gdLst/>
              <a:ahLst/>
              <a:cxnLst/>
              <a:rect l="l" t="t" r="r" b="b"/>
              <a:pathLst>
                <a:path w="40" h="34" extrusionOk="0">
                  <a:moveTo>
                    <a:pt x="38" y="32"/>
                  </a:moveTo>
                  <a:lnTo>
                    <a:pt x="40" y="28"/>
                  </a:lnTo>
                  <a:lnTo>
                    <a:pt x="40" y="18"/>
                  </a:lnTo>
                  <a:lnTo>
                    <a:pt x="34" y="10"/>
                  </a:lnTo>
                  <a:lnTo>
                    <a:pt x="30" y="2"/>
                  </a:lnTo>
                  <a:lnTo>
                    <a:pt x="24" y="0"/>
                  </a:lnTo>
                  <a:lnTo>
                    <a:pt x="16" y="0"/>
                  </a:lnTo>
                  <a:lnTo>
                    <a:pt x="6" y="2"/>
                  </a:lnTo>
                  <a:lnTo>
                    <a:pt x="2" y="10"/>
                  </a:lnTo>
                  <a:lnTo>
                    <a:pt x="0" y="14"/>
                  </a:lnTo>
                  <a:lnTo>
                    <a:pt x="6" y="24"/>
                  </a:lnTo>
                  <a:lnTo>
                    <a:pt x="10" y="28"/>
                  </a:lnTo>
                  <a:lnTo>
                    <a:pt x="22" y="34"/>
                  </a:lnTo>
                  <a:lnTo>
                    <a:pt x="28" y="34"/>
                  </a:lnTo>
                  <a:lnTo>
                    <a:pt x="38" y="3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15" name="Google Shape;4582;p64">
              <a:extLst>
                <a:ext uri="{FF2B5EF4-FFF2-40B4-BE49-F238E27FC236}">
                  <a16:creationId xmlns:a16="http://schemas.microsoft.com/office/drawing/2014/main" id="{3355B607-54E5-7C54-6EB6-3C9DC1D3AD63}"/>
                </a:ext>
              </a:extLst>
            </p:cNvPr>
            <p:cNvCxnSpPr/>
            <p:nvPr/>
          </p:nvCxnSpPr>
          <p:spPr>
            <a:xfrm>
              <a:off x="5725366" y="5459043"/>
              <a:ext cx="0" cy="0"/>
            </a:xfrm>
            <a:prstGeom prst="straightConnector1">
              <a:avLst/>
            </a:prstGeom>
            <a:grpFill/>
            <a:ln w="9525" cap="flat" cmpd="sng">
              <a:solidFill>
                <a:schemeClr val="bg2"/>
              </a:solidFill>
              <a:prstDash val="solid"/>
              <a:round/>
              <a:headEnd type="none" w="med" len="med"/>
              <a:tailEnd type="none" w="med" len="med"/>
            </a:ln>
          </p:spPr>
        </p:cxnSp>
        <p:cxnSp>
          <p:nvCxnSpPr>
            <p:cNvPr id="116" name="Google Shape;4583;p64">
              <a:extLst>
                <a:ext uri="{FF2B5EF4-FFF2-40B4-BE49-F238E27FC236}">
                  <a16:creationId xmlns:a16="http://schemas.microsoft.com/office/drawing/2014/main" id="{591DDD3D-ED8B-8196-C062-EB73D7ABD7A4}"/>
                </a:ext>
              </a:extLst>
            </p:cNvPr>
            <p:cNvCxnSpPr/>
            <p:nvPr/>
          </p:nvCxnSpPr>
          <p:spPr>
            <a:xfrm>
              <a:off x="5725366" y="5459043"/>
              <a:ext cx="0" cy="0"/>
            </a:xfrm>
            <a:prstGeom prst="straightConnector1">
              <a:avLst/>
            </a:prstGeom>
            <a:grpFill/>
            <a:ln w="9525" cap="flat" cmpd="sng">
              <a:solidFill>
                <a:schemeClr val="bg2"/>
              </a:solidFill>
              <a:prstDash val="solid"/>
              <a:round/>
              <a:headEnd type="none" w="med" len="med"/>
              <a:tailEnd type="none" w="med" len="med"/>
            </a:ln>
          </p:spPr>
        </p:cxnSp>
        <p:sp>
          <p:nvSpPr>
            <p:cNvPr id="117" name="Google Shape;4584;p64">
              <a:extLst>
                <a:ext uri="{FF2B5EF4-FFF2-40B4-BE49-F238E27FC236}">
                  <a16:creationId xmlns:a16="http://schemas.microsoft.com/office/drawing/2014/main" id="{85073B39-BA58-3A99-BE56-46F32185082E}"/>
                </a:ext>
              </a:extLst>
            </p:cNvPr>
            <p:cNvSpPr/>
            <p:nvPr/>
          </p:nvSpPr>
          <p:spPr>
            <a:xfrm>
              <a:off x="4365482" y="3261374"/>
              <a:ext cx="21659" cy="42660"/>
            </a:xfrm>
            <a:custGeom>
              <a:avLst/>
              <a:gdLst/>
              <a:ahLst/>
              <a:cxnLst/>
              <a:rect l="l" t="t" r="r" b="b"/>
              <a:pathLst>
                <a:path w="157252" h="309734" extrusionOk="0">
                  <a:moveTo>
                    <a:pt x="76244" y="238257"/>
                  </a:moveTo>
                  <a:lnTo>
                    <a:pt x="81008" y="238257"/>
                  </a:lnTo>
                  <a:lnTo>
                    <a:pt x="81008" y="247787"/>
                  </a:lnTo>
                  <a:lnTo>
                    <a:pt x="100068" y="252552"/>
                  </a:lnTo>
                  <a:lnTo>
                    <a:pt x="104834" y="257318"/>
                  </a:lnTo>
                  <a:lnTo>
                    <a:pt x="104834" y="271613"/>
                  </a:lnTo>
                  <a:lnTo>
                    <a:pt x="109598" y="285908"/>
                  </a:lnTo>
                  <a:lnTo>
                    <a:pt x="109598" y="300204"/>
                  </a:lnTo>
                  <a:lnTo>
                    <a:pt x="114364" y="309734"/>
                  </a:lnTo>
                  <a:lnTo>
                    <a:pt x="109598" y="309734"/>
                  </a:lnTo>
                  <a:lnTo>
                    <a:pt x="100068" y="300204"/>
                  </a:lnTo>
                  <a:lnTo>
                    <a:pt x="81008" y="271613"/>
                  </a:lnTo>
                  <a:lnTo>
                    <a:pt x="76244" y="247787"/>
                  </a:lnTo>
                  <a:close/>
                  <a:moveTo>
                    <a:pt x="90540" y="147719"/>
                  </a:moveTo>
                  <a:lnTo>
                    <a:pt x="95304" y="152484"/>
                  </a:lnTo>
                  <a:lnTo>
                    <a:pt x="119130" y="162014"/>
                  </a:lnTo>
                  <a:lnTo>
                    <a:pt x="123896" y="176310"/>
                  </a:lnTo>
                  <a:lnTo>
                    <a:pt x="123896" y="181075"/>
                  </a:lnTo>
                  <a:lnTo>
                    <a:pt x="119130" y="195370"/>
                  </a:lnTo>
                  <a:lnTo>
                    <a:pt x="114364" y="195370"/>
                  </a:lnTo>
                  <a:lnTo>
                    <a:pt x="100070" y="176310"/>
                  </a:lnTo>
                  <a:lnTo>
                    <a:pt x="90540" y="171544"/>
                  </a:lnTo>
                  <a:lnTo>
                    <a:pt x="85774" y="162014"/>
                  </a:lnTo>
                  <a:lnTo>
                    <a:pt x="81008" y="152484"/>
                  </a:lnTo>
                  <a:close/>
                  <a:moveTo>
                    <a:pt x="28592" y="66712"/>
                  </a:moveTo>
                  <a:lnTo>
                    <a:pt x="38122" y="71477"/>
                  </a:lnTo>
                  <a:lnTo>
                    <a:pt x="47652" y="85772"/>
                  </a:lnTo>
                  <a:lnTo>
                    <a:pt x="57184" y="95303"/>
                  </a:lnTo>
                  <a:lnTo>
                    <a:pt x="47652" y="100068"/>
                  </a:lnTo>
                  <a:lnTo>
                    <a:pt x="38122" y="104833"/>
                  </a:lnTo>
                  <a:lnTo>
                    <a:pt x="23826" y="100068"/>
                  </a:lnTo>
                  <a:lnTo>
                    <a:pt x="4766" y="90538"/>
                  </a:lnTo>
                  <a:lnTo>
                    <a:pt x="0" y="71477"/>
                  </a:lnTo>
                  <a:lnTo>
                    <a:pt x="14296" y="71477"/>
                  </a:lnTo>
                  <a:close/>
                  <a:moveTo>
                    <a:pt x="71478" y="9530"/>
                  </a:moveTo>
                  <a:lnTo>
                    <a:pt x="95304" y="28590"/>
                  </a:lnTo>
                  <a:lnTo>
                    <a:pt x="123894" y="42886"/>
                  </a:lnTo>
                  <a:lnTo>
                    <a:pt x="119128" y="85772"/>
                  </a:lnTo>
                  <a:lnTo>
                    <a:pt x="109598" y="85772"/>
                  </a:lnTo>
                  <a:lnTo>
                    <a:pt x="100068" y="71476"/>
                  </a:lnTo>
                  <a:lnTo>
                    <a:pt x="90538" y="71476"/>
                  </a:lnTo>
                  <a:lnTo>
                    <a:pt x="90538" y="76242"/>
                  </a:lnTo>
                  <a:lnTo>
                    <a:pt x="90538" y="85772"/>
                  </a:lnTo>
                  <a:lnTo>
                    <a:pt x="95304" y="90537"/>
                  </a:lnTo>
                  <a:lnTo>
                    <a:pt x="109598" y="119128"/>
                  </a:lnTo>
                  <a:lnTo>
                    <a:pt x="109598" y="128658"/>
                  </a:lnTo>
                  <a:lnTo>
                    <a:pt x="109598" y="133423"/>
                  </a:lnTo>
                  <a:lnTo>
                    <a:pt x="95304" y="123893"/>
                  </a:lnTo>
                  <a:lnTo>
                    <a:pt x="61948" y="85772"/>
                  </a:lnTo>
                  <a:lnTo>
                    <a:pt x="38122" y="23825"/>
                  </a:lnTo>
                  <a:close/>
                  <a:moveTo>
                    <a:pt x="133424" y="0"/>
                  </a:moveTo>
                  <a:lnTo>
                    <a:pt x="147720" y="19061"/>
                  </a:lnTo>
                  <a:lnTo>
                    <a:pt x="157252" y="33356"/>
                  </a:lnTo>
                  <a:lnTo>
                    <a:pt x="147720" y="57182"/>
                  </a:lnTo>
                  <a:lnTo>
                    <a:pt x="138190" y="52417"/>
                  </a:lnTo>
                  <a:lnTo>
                    <a:pt x="138190" y="47652"/>
                  </a:lnTo>
                  <a:lnTo>
                    <a:pt x="133424" y="42886"/>
                  </a:lnTo>
                  <a:lnTo>
                    <a:pt x="133424" y="2382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18" name="Google Shape;4585;p64">
              <a:extLst>
                <a:ext uri="{FF2B5EF4-FFF2-40B4-BE49-F238E27FC236}">
                  <a16:creationId xmlns:a16="http://schemas.microsoft.com/office/drawing/2014/main" id="{89EE521D-5301-D5DC-808E-EFB6BB88F2A0}"/>
                </a:ext>
              </a:extLst>
            </p:cNvPr>
            <p:cNvSpPr/>
            <p:nvPr/>
          </p:nvSpPr>
          <p:spPr>
            <a:xfrm>
              <a:off x="8029359" y="4874595"/>
              <a:ext cx="1969" cy="1313"/>
            </a:xfrm>
            <a:custGeom>
              <a:avLst/>
              <a:gdLst/>
              <a:ahLst/>
              <a:cxnLst/>
              <a:rect l="l" t="t" r="r" b="b"/>
              <a:pathLst>
                <a:path w="6" h="4" extrusionOk="0">
                  <a:moveTo>
                    <a:pt x="4" y="0"/>
                  </a:moveTo>
                  <a:lnTo>
                    <a:pt x="4" y="0"/>
                  </a:lnTo>
                  <a:lnTo>
                    <a:pt x="0" y="2"/>
                  </a:lnTo>
                  <a:lnTo>
                    <a:pt x="2" y="2"/>
                  </a:lnTo>
                  <a:lnTo>
                    <a:pt x="6" y="4"/>
                  </a:lnTo>
                  <a:lnTo>
                    <a:pt x="4"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19" name="Google Shape;4586;p64">
              <a:extLst>
                <a:ext uri="{FF2B5EF4-FFF2-40B4-BE49-F238E27FC236}">
                  <a16:creationId xmlns:a16="http://schemas.microsoft.com/office/drawing/2014/main" id="{4D22F5CB-A996-E790-2C59-7D513D97BA55}"/>
                </a:ext>
              </a:extLst>
            </p:cNvPr>
            <p:cNvSpPr/>
            <p:nvPr/>
          </p:nvSpPr>
          <p:spPr>
            <a:xfrm>
              <a:off x="7926318" y="4839154"/>
              <a:ext cx="4594" cy="3938"/>
            </a:xfrm>
            <a:custGeom>
              <a:avLst/>
              <a:gdLst/>
              <a:ahLst/>
              <a:cxnLst/>
              <a:rect l="l" t="t" r="r" b="b"/>
              <a:pathLst>
                <a:path w="14" h="12" extrusionOk="0">
                  <a:moveTo>
                    <a:pt x="12" y="10"/>
                  </a:moveTo>
                  <a:lnTo>
                    <a:pt x="12" y="8"/>
                  </a:lnTo>
                  <a:lnTo>
                    <a:pt x="14" y="6"/>
                  </a:lnTo>
                  <a:lnTo>
                    <a:pt x="12" y="2"/>
                  </a:lnTo>
                  <a:lnTo>
                    <a:pt x="4" y="0"/>
                  </a:lnTo>
                  <a:lnTo>
                    <a:pt x="2" y="2"/>
                  </a:lnTo>
                  <a:lnTo>
                    <a:pt x="0" y="4"/>
                  </a:lnTo>
                  <a:lnTo>
                    <a:pt x="2" y="6"/>
                  </a:lnTo>
                  <a:lnTo>
                    <a:pt x="4" y="12"/>
                  </a:lnTo>
                  <a:lnTo>
                    <a:pt x="8" y="12"/>
                  </a:lnTo>
                  <a:lnTo>
                    <a:pt x="1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20" name="Google Shape;4587;p64">
              <a:extLst>
                <a:ext uri="{FF2B5EF4-FFF2-40B4-BE49-F238E27FC236}">
                  <a16:creationId xmlns:a16="http://schemas.microsoft.com/office/drawing/2014/main" id="{48F15EFF-1897-4A39-FB4C-C310ED79E4A1}"/>
                </a:ext>
              </a:extLst>
            </p:cNvPr>
            <p:cNvSpPr/>
            <p:nvPr/>
          </p:nvSpPr>
          <p:spPr>
            <a:xfrm>
              <a:off x="7785210" y="4829965"/>
              <a:ext cx="1969" cy="1313"/>
            </a:xfrm>
            <a:custGeom>
              <a:avLst/>
              <a:gdLst/>
              <a:ahLst/>
              <a:cxnLst/>
              <a:rect l="l" t="t" r="r" b="b"/>
              <a:pathLst>
                <a:path w="6" h="4" extrusionOk="0">
                  <a:moveTo>
                    <a:pt x="6" y="4"/>
                  </a:moveTo>
                  <a:lnTo>
                    <a:pt x="6" y="2"/>
                  </a:lnTo>
                  <a:lnTo>
                    <a:pt x="6" y="2"/>
                  </a:lnTo>
                  <a:lnTo>
                    <a:pt x="4" y="0"/>
                  </a:lnTo>
                  <a:lnTo>
                    <a:pt x="4" y="0"/>
                  </a:lnTo>
                  <a:lnTo>
                    <a:pt x="2" y="2"/>
                  </a:lnTo>
                  <a:lnTo>
                    <a:pt x="4" y="2"/>
                  </a:lnTo>
                  <a:lnTo>
                    <a:pt x="4" y="2"/>
                  </a:lnTo>
                  <a:lnTo>
                    <a:pt x="0" y="4"/>
                  </a:lnTo>
                  <a:lnTo>
                    <a:pt x="0" y="4"/>
                  </a:lnTo>
                  <a:lnTo>
                    <a:pt x="2" y="4"/>
                  </a:lnTo>
                  <a:lnTo>
                    <a:pt x="6" y="4"/>
                  </a:lnTo>
                  <a:lnTo>
                    <a:pt x="6"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21" name="Google Shape;4588;p64">
              <a:extLst>
                <a:ext uri="{FF2B5EF4-FFF2-40B4-BE49-F238E27FC236}">
                  <a16:creationId xmlns:a16="http://schemas.microsoft.com/office/drawing/2014/main" id="{D93C472D-C467-D623-97C0-A462403AC31B}"/>
                </a:ext>
              </a:extLst>
            </p:cNvPr>
            <p:cNvSpPr/>
            <p:nvPr/>
          </p:nvSpPr>
          <p:spPr>
            <a:xfrm>
              <a:off x="7791773" y="4828653"/>
              <a:ext cx="1313" cy="657"/>
            </a:xfrm>
            <a:custGeom>
              <a:avLst/>
              <a:gdLst/>
              <a:ahLst/>
              <a:cxnLst/>
              <a:rect l="l" t="t" r="r" b="b"/>
              <a:pathLst>
                <a:path w="4" h="2" extrusionOk="0">
                  <a:moveTo>
                    <a:pt x="2" y="2"/>
                  </a:moveTo>
                  <a:lnTo>
                    <a:pt x="4" y="0"/>
                  </a:lnTo>
                  <a:lnTo>
                    <a:pt x="2" y="0"/>
                  </a:lnTo>
                  <a:lnTo>
                    <a:pt x="2" y="0"/>
                  </a:lnTo>
                  <a:lnTo>
                    <a:pt x="0" y="0"/>
                  </a:lnTo>
                  <a:lnTo>
                    <a:pt x="0" y="0"/>
                  </a:lnTo>
                  <a:lnTo>
                    <a:pt x="0" y="2"/>
                  </a:lnTo>
                  <a:lnTo>
                    <a:pt x="0" y="2"/>
                  </a:lnTo>
                  <a:lnTo>
                    <a:pt x="2"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22" name="Google Shape;4589;p64">
              <a:extLst>
                <a:ext uri="{FF2B5EF4-FFF2-40B4-BE49-F238E27FC236}">
                  <a16:creationId xmlns:a16="http://schemas.microsoft.com/office/drawing/2014/main" id="{35F45031-AA34-8E3E-F659-9E755589D92E}"/>
                </a:ext>
              </a:extLst>
            </p:cNvPr>
            <p:cNvSpPr/>
            <p:nvPr/>
          </p:nvSpPr>
          <p:spPr>
            <a:xfrm>
              <a:off x="7494462" y="4782054"/>
              <a:ext cx="3938" cy="3938"/>
            </a:xfrm>
            <a:custGeom>
              <a:avLst/>
              <a:gdLst/>
              <a:ahLst/>
              <a:cxnLst/>
              <a:rect l="l" t="t" r="r" b="b"/>
              <a:pathLst>
                <a:path w="12" h="12" extrusionOk="0">
                  <a:moveTo>
                    <a:pt x="6" y="6"/>
                  </a:moveTo>
                  <a:lnTo>
                    <a:pt x="8" y="6"/>
                  </a:lnTo>
                  <a:lnTo>
                    <a:pt x="12" y="4"/>
                  </a:lnTo>
                  <a:lnTo>
                    <a:pt x="10" y="0"/>
                  </a:lnTo>
                  <a:lnTo>
                    <a:pt x="6" y="2"/>
                  </a:lnTo>
                  <a:lnTo>
                    <a:pt x="4" y="4"/>
                  </a:lnTo>
                  <a:lnTo>
                    <a:pt x="2" y="8"/>
                  </a:lnTo>
                  <a:lnTo>
                    <a:pt x="0" y="10"/>
                  </a:lnTo>
                  <a:lnTo>
                    <a:pt x="2" y="12"/>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23" name="Google Shape;4590;p64">
              <a:extLst>
                <a:ext uri="{FF2B5EF4-FFF2-40B4-BE49-F238E27FC236}">
                  <a16:creationId xmlns:a16="http://schemas.microsoft.com/office/drawing/2014/main" id="{0307DA1E-8C63-FFB3-9C0C-B07CA355364E}"/>
                </a:ext>
              </a:extLst>
            </p:cNvPr>
            <p:cNvCxnSpPr/>
            <p:nvPr/>
          </p:nvCxnSpPr>
          <p:spPr>
            <a:xfrm>
              <a:off x="7496432" y="4784023"/>
              <a:ext cx="0" cy="0"/>
            </a:xfrm>
            <a:prstGeom prst="straightConnector1">
              <a:avLst/>
            </a:prstGeom>
            <a:grpFill/>
            <a:ln w="9525" cap="flat" cmpd="sng">
              <a:solidFill>
                <a:schemeClr val="bg2"/>
              </a:solidFill>
              <a:prstDash val="solid"/>
              <a:round/>
              <a:headEnd type="none" w="med" len="med"/>
              <a:tailEnd type="none" w="med" len="med"/>
            </a:ln>
          </p:spPr>
        </p:cxnSp>
        <p:cxnSp>
          <p:nvCxnSpPr>
            <p:cNvPr id="124" name="Google Shape;4591;p64">
              <a:extLst>
                <a:ext uri="{FF2B5EF4-FFF2-40B4-BE49-F238E27FC236}">
                  <a16:creationId xmlns:a16="http://schemas.microsoft.com/office/drawing/2014/main" id="{83DEC06D-F273-BFBA-741D-2C4757C52311}"/>
                </a:ext>
              </a:extLst>
            </p:cNvPr>
            <p:cNvCxnSpPr/>
            <p:nvPr/>
          </p:nvCxnSpPr>
          <p:spPr>
            <a:xfrm>
              <a:off x="7496432" y="4784023"/>
              <a:ext cx="0" cy="0"/>
            </a:xfrm>
            <a:prstGeom prst="straightConnector1">
              <a:avLst/>
            </a:prstGeom>
            <a:grpFill/>
            <a:ln w="9525" cap="flat" cmpd="sng">
              <a:solidFill>
                <a:schemeClr val="bg2"/>
              </a:solidFill>
              <a:prstDash val="solid"/>
              <a:round/>
              <a:headEnd type="none" w="med" len="med"/>
              <a:tailEnd type="none" w="med" len="med"/>
            </a:ln>
          </p:spPr>
        </p:cxnSp>
        <p:sp>
          <p:nvSpPr>
            <p:cNvPr id="125" name="Google Shape;4592;p64">
              <a:extLst>
                <a:ext uri="{FF2B5EF4-FFF2-40B4-BE49-F238E27FC236}">
                  <a16:creationId xmlns:a16="http://schemas.microsoft.com/office/drawing/2014/main" id="{E6FC3743-EDBD-2EE7-466F-7D3B5D0D3033}"/>
                </a:ext>
              </a:extLst>
            </p:cNvPr>
            <p:cNvSpPr/>
            <p:nvPr/>
          </p:nvSpPr>
          <p:spPr>
            <a:xfrm>
              <a:off x="4712016" y="4940226"/>
              <a:ext cx="124700" cy="133888"/>
            </a:xfrm>
            <a:custGeom>
              <a:avLst/>
              <a:gdLst/>
              <a:ahLst/>
              <a:cxnLst/>
              <a:rect l="l" t="t" r="r" b="b"/>
              <a:pathLst>
                <a:path w="380" h="408" extrusionOk="0">
                  <a:moveTo>
                    <a:pt x="302" y="8"/>
                  </a:moveTo>
                  <a:lnTo>
                    <a:pt x="300" y="4"/>
                  </a:lnTo>
                  <a:lnTo>
                    <a:pt x="296" y="2"/>
                  </a:lnTo>
                  <a:lnTo>
                    <a:pt x="290" y="2"/>
                  </a:lnTo>
                  <a:lnTo>
                    <a:pt x="274" y="4"/>
                  </a:lnTo>
                  <a:lnTo>
                    <a:pt x="260" y="2"/>
                  </a:lnTo>
                  <a:lnTo>
                    <a:pt x="256" y="2"/>
                  </a:lnTo>
                  <a:lnTo>
                    <a:pt x="252" y="2"/>
                  </a:lnTo>
                  <a:lnTo>
                    <a:pt x="240" y="0"/>
                  </a:lnTo>
                  <a:lnTo>
                    <a:pt x="226" y="0"/>
                  </a:lnTo>
                  <a:lnTo>
                    <a:pt x="224" y="0"/>
                  </a:lnTo>
                  <a:lnTo>
                    <a:pt x="212" y="0"/>
                  </a:lnTo>
                  <a:lnTo>
                    <a:pt x="188" y="0"/>
                  </a:lnTo>
                  <a:lnTo>
                    <a:pt x="174" y="0"/>
                  </a:lnTo>
                  <a:lnTo>
                    <a:pt x="174" y="2"/>
                  </a:lnTo>
                  <a:lnTo>
                    <a:pt x="174" y="4"/>
                  </a:lnTo>
                  <a:lnTo>
                    <a:pt x="172" y="8"/>
                  </a:lnTo>
                  <a:lnTo>
                    <a:pt x="174" y="24"/>
                  </a:lnTo>
                  <a:lnTo>
                    <a:pt x="174" y="64"/>
                  </a:lnTo>
                  <a:lnTo>
                    <a:pt x="174" y="78"/>
                  </a:lnTo>
                  <a:lnTo>
                    <a:pt x="174" y="86"/>
                  </a:lnTo>
                  <a:lnTo>
                    <a:pt x="160" y="86"/>
                  </a:lnTo>
                  <a:lnTo>
                    <a:pt x="142" y="84"/>
                  </a:lnTo>
                  <a:lnTo>
                    <a:pt x="88" y="84"/>
                  </a:lnTo>
                  <a:lnTo>
                    <a:pt x="84" y="86"/>
                  </a:lnTo>
                  <a:lnTo>
                    <a:pt x="82" y="88"/>
                  </a:lnTo>
                  <a:lnTo>
                    <a:pt x="80" y="88"/>
                  </a:lnTo>
                  <a:lnTo>
                    <a:pt x="76" y="86"/>
                  </a:lnTo>
                  <a:lnTo>
                    <a:pt x="72" y="86"/>
                  </a:lnTo>
                  <a:lnTo>
                    <a:pt x="72" y="84"/>
                  </a:lnTo>
                  <a:lnTo>
                    <a:pt x="70" y="80"/>
                  </a:lnTo>
                  <a:lnTo>
                    <a:pt x="66" y="80"/>
                  </a:lnTo>
                  <a:lnTo>
                    <a:pt x="64" y="80"/>
                  </a:lnTo>
                  <a:lnTo>
                    <a:pt x="62" y="82"/>
                  </a:lnTo>
                  <a:lnTo>
                    <a:pt x="58" y="84"/>
                  </a:lnTo>
                  <a:lnTo>
                    <a:pt x="58" y="86"/>
                  </a:lnTo>
                  <a:lnTo>
                    <a:pt x="62" y="100"/>
                  </a:lnTo>
                  <a:lnTo>
                    <a:pt x="62" y="108"/>
                  </a:lnTo>
                  <a:lnTo>
                    <a:pt x="60" y="112"/>
                  </a:lnTo>
                  <a:lnTo>
                    <a:pt x="60" y="114"/>
                  </a:lnTo>
                  <a:lnTo>
                    <a:pt x="56" y="112"/>
                  </a:lnTo>
                  <a:lnTo>
                    <a:pt x="56" y="108"/>
                  </a:lnTo>
                  <a:lnTo>
                    <a:pt x="52" y="106"/>
                  </a:lnTo>
                  <a:lnTo>
                    <a:pt x="42" y="110"/>
                  </a:lnTo>
                  <a:lnTo>
                    <a:pt x="42" y="114"/>
                  </a:lnTo>
                  <a:lnTo>
                    <a:pt x="46" y="118"/>
                  </a:lnTo>
                  <a:lnTo>
                    <a:pt x="52" y="126"/>
                  </a:lnTo>
                  <a:lnTo>
                    <a:pt x="56" y="132"/>
                  </a:lnTo>
                  <a:lnTo>
                    <a:pt x="70" y="138"/>
                  </a:lnTo>
                  <a:lnTo>
                    <a:pt x="82" y="136"/>
                  </a:lnTo>
                  <a:lnTo>
                    <a:pt x="86" y="138"/>
                  </a:lnTo>
                  <a:lnTo>
                    <a:pt x="74" y="142"/>
                  </a:lnTo>
                  <a:lnTo>
                    <a:pt x="72" y="148"/>
                  </a:lnTo>
                  <a:lnTo>
                    <a:pt x="68" y="144"/>
                  </a:lnTo>
                  <a:lnTo>
                    <a:pt x="58" y="140"/>
                  </a:lnTo>
                  <a:lnTo>
                    <a:pt x="50" y="140"/>
                  </a:lnTo>
                  <a:lnTo>
                    <a:pt x="48" y="138"/>
                  </a:lnTo>
                  <a:lnTo>
                    <a:pt x="46" y="134"/>
                  </a:lnTo>
                  <a:lnTo>
                    <a:pt x="44" y="130"/>
                  </a:lnTo>
                  <a:lnTo>
                    <a:pt x="44" y="128"/>
                  </a:lnTo>
                  <a:lnTo>
                    <a:pt x="40" y="132"/>
                  </a:lnTo>
                  <a:lnTo>
                    <a:pt x="42" y="144"/>
                  </a:lnTo>
                  <a:lnTo>
                    <a:pt x="42" y="154"/>
                  </a:lnTo>
                  <a:lnTo>
                    <a:pt x="40" y="174"/>
                  </a:lnTo>
                  <a:lnTo>
                    <a:pt x="30" y="188"/>
                  </a:lnTo>
                  <a:lnTo>
                    <a:pt x="26" y="192"/>
                  </a:lnTo>
                  <a:lnTo>
                    <a:pt x="22" y="192"/>
                  </a:lnTo>
                  <a:lnTo>
                    <a:pt x="20" y="192"/>
                  </a:lnTo>
                  <a:lnTo>
                    <a:pt x="16" y="196"/>
                  </a:lnTo>
                  <a:lnTo>
                    <a:pt x="8" y="196"/>
                  </a:lnTo>
                  <a:lnTo>
                    <a:pt x="4" y="190"/>
                  </a:lnTo>
                  <a:lnTo>
                    <a:pt x="0" y="190"/>
                  </a:lnTo>
                  <a:lnTo>
                    <a:pt x="10" y="210"/>
                  </a:lnTo>
                  <a:lnTo>
                    <a:pt x="12" y="212"/>
                  </a:lnTo>
                  <a:lnTo>
                    <a:pt x="14" y="218"/>
                  </a:lnTo>
                  <a:lnTo>
                    <a:pt x="16" y="220"/>
                  </a:lnTo>
                  <a:lnTo>
                    <a:pt x="24" y="236"/>
                  </a:lnTo>
                  <a:lnTo>
                    <a:pt x="34" y="242"/>
                  </a:lnTo>
                  <a:lnTo>
                    <a:pt x="38" y="240"/>
                  </a:lnTo>
                  <a:lnTo>
                    <a:pt x="40" y="240"/>
                  </a:lnTo>
                  <a:lnTo>
                    <a:pt x="40" y="238"/>
                  </a:lnTo>
                  <a:lnTo>
                    <a:pt x="42" y="238"/>
                  </a:lnTo>
                  <a:lnTo>
                    <a:pt x="38" y="248"/>
                  </a:lnTo>
                  <a:lnTo>
                    <a:pt x="40" y="250"/>
                  </a:lnTo>
                  <a:lnTo>
                    <a:pt x="42" y="252"/>
                  </a:lnTo>
                  <a:lnTo>
                    <a:pt x="46" y="250"/>
                  </a:lnTo>
                  <a:lnTo>
                    <a:pt x="50" y="250"/>
                  </a:lnTo>
                  <a:lnTo>
                    <a:pt x="52" y="252"/>
                  </a:lnTo>
                  <a:lnTo>
                    <a:pt x="54" y="256"/>
                  </a:lnTo>
                  <a:lnTo>
                    <a:pt x="46" y="258"/>
                  </a:lnTo>
                  <a:lnTo>
                    <a:pt x="44" y="258"/>
                  </a:lnTo>
                  <a:lnTo>
                    <a:pt x="40" y="258"/>
                  </a:lnTo>
                  <a:lnTo>
                    <a:pt x="22" y="236"/>
                  </a:lnTo>
                  <a:lnTo>
                    <a:pt x="24" y="242"/>
                  </a:lnTo>
                  <a:lnTo>
                    <a:pt x="30" y="250"/>
                  </a:lnTo>
                  <a:lnTo>
                    <a:pt x="38" y="264"/>
                  </a:lnTo>
                  <a:lnTo>
                    <a:pt x="36" y="268"/>
                  </a:lnTo>
                  <a:lnTo>
                    <a:pt x="38" y="270"/>
                  </a:lnTo>
                  <a:lnTo>
                    <a:pt x="42" y="270"/>
                  </a:lnTo>
                  <a:lnTo>
                    <a:pt x="52" y="274"/>
                  </a:lnTo>
                  <a:lnTo>
                    <a:pt x="52" y="278"/>
                  </a:lnTo>
                  <a:lnTo>
                    <a:pt x="52" y="280"/>
                  </a:lnTo>
                  <a:lnTo>
                    <a:pt x="42" y="274"/>
                  </a:lnTo>
                  <a:lnTo>
                    <a:pt x="40" y="276"/>
                  </a:lnTo>
                  <a:lnTo>
                    <a:pt x="44" y="280"/>
                  </a:lnTo>
                  <a:lnTo>
                    <a:pt x="46" y="284"/>
                  </a:lnTo>
                  <a:lnTo>
                    <a:pt x="56" y="292"/>
                  </a:lnTo>
                  <a:lnTo>
                    <a:pt x="58" y="296"/>
                  </a:lnTo>
                  <a:lnTo>
                    <a:pt x="58" y="300"/>
                  </a:lnTo>
                  <a:lnTo>
                    <a:pt x="62" y="306"/>
                  </a:lnTo>
                  <a:lnTo>
                    <a:pt x="64" y="308"/>
                  </a:lnTo>
                  <a:lnTo>
                    <a:pt x="70" y="308"/>
                  </a:lnTo>
                  <a:lnTo>
                    <a:pt x="76" y="310"/>
                  </a:lnTo>
                  <a:lnTo>
                    <a:pt x="82" y="314"/>
                  </a:lnTo>
                  <a:lnTo>
                    <a:pt x="90" y="318"/>
                  </a:lnTo>
                  <a:lnTo>
                    <a:pt x="88" y="320"/>
                  </a:lnTo>
                  <a:lnTo>
                    <a:pt x="86" y="320"/>
                  </a:lnTo>
                  <a:lnTo>
                    <a:pt x="70" y="312"/>
                  </a:lnTo>
                  <a:lnTo>
                    <a:pt x="68" y="312"/>
                  </a:lnTo>
                  <a:lnTo>
                    <a:pt x="70" y="316"/>
                  </a:lnTo>
                  <a:lnTo>
                    <a:pt x="86" y="330"/>
                  </a:lnTo>
                  <a:lnTo>
                    <a:pt x="108" y="348"/>
                  </a:lnTo>
                  <a:lnTo>
                    <a:pt x="124" y="366"/>
                  </a:lnTo>
                  <a:lnTo>
                    <a:pt x="128" y="374"/>
                  </a:lnTo>
                  <a:lnTo>
                    <a:pt x="142" y="384"/>
                  </a:lnTo>
                  <a:lnTo>
                    <a:pt x="148" y="390"/>
                  </a:lnTo>
                  <a:lnTo>
                    <a:pt x="154" y="402"/>
                  </a:lnTo>
                  <a:lnTo>
                    <a:pt x="160" y="408"/>
                  </a:lnTo>
                  <a:lnTo>
                    <a:pt x="164" y="398"/>
                  </a:lnTo>
                  <a:lnTo>
                    <a:pt x="166" y="392"/>
                  </a:lnTo>
                  <a:lnTo>
                    <a:pt x="170" y="390"/>
                  </a:lnTo>
                  <a:lnTo>
                    <a:pt x="184" y="382"/>
                  </a:lnTo>
                  <a:lnTo>
                    <a:pt x="186" y="382"/>
                  </a:lnTo>
                  <a:lnTo>
                    <a:pt x="196" y="392"/>
                  </a:lnTo>
                  <a:lnTo>
                    <a:pt x="200" y="392"/>
                  </a:lnTo>
                  <a:lnTo>
                    <a:pt x="202" y="392"/>
                  </a:lnTo>
                  <a:lnTo>
                    <a:pt x="206" y="392"/>
                  </a:lnTo>
                  <a:lnTo>
                    <a:pt x="208" y="392"/>
                  </a:lnTo>
                  <a:lnTo>
                    <a:pt x="210" y="388"/>
                  </a:lnTo>
                  <a:lnTo>
                    <a:pt x="206" y="386"/>
                  </a:lnTo>
                  <a:lnTo>
                    <a:pt x="206" y="382"/>
                  </a:lnTo>
                  <a:lnTo>
                    <a:pt x="208" y="378"/>
                  </a:lnTo>
                  <a:lnTo>
                    <a:pt x="210" y="374"/>
                  </a:lnTo>
                  <a:lnTo>
                    <a:pt x="212" y="370"/>
                  </a:lnTo>
                  <a:lnTo>
                    <a:pt x="212" y="368"/>
                  </a:lnTo>
                  <a:lnTo>
                    <a:pt x="210" y="366"/>
                  </a:lnTo>
                  <a:lnTo>
                    <a:pt x="202" y="362"/>
                  </a:lnTo>
                  <a:lnTo>
                    <a:pt x="198" y="358"/>
                  </a:lnTo>
                  <a:lnTo>
                    <a:pt x="196" y="356"/>
                  </a:lnTo>
                  <a:lnTo>
                    <a:pt x="198" y="352"/>
                  </a:lnTo>
                  <a:lnTo>
                    <a:pt x="202" y="348"/>
                  </a:lnTo>
                  <a:lnTo>
                    <a:pt x="202" y="346"/>
                  </a:lnTo>
                  <a:lnTo>
                    <a:pt x="198" y="344"/>
                  </a:lnTo>
                  <a:lnTo>
                    <a:pt x="196" y="340"/>
                  </a:lnTo>
                  <a:lnTo>
                    <a:pt x="194" y="338"/>
                  </a:lnTo>
                  <a:lnTo>
                    <a:pt x="186" y="336"/>
                  </a:lnTo>
                  <a:lnTo>
                    <a:pt x="188" y="332"/>
                  </a:lnTo>
                  <a:lnTo>
                    <a:pt x="190" y="326"/>
                  </a:lnTo>
                  <a:lnTo>
                    <a:pt x="190" y="320"/>
                  </a:lnTo>
                  <a:lnTo>
                    <a:pt x="188" y="308"/>
                  </a:lnTo>
                  <a:lnTo>
                    <a:pt x="188" y="306"/>
                  </a:lnTo>
                  <a:lnTo>
                    <a:pt x="192" y="304"/>
                  </a:lnTo>
                  <a:lnTo>
                    <a:pt x="194" y="306"/>
                  </a:lnTo>
                  <a:lnTo>
                    <a:pt x="198" y="308"/>
                  </a:lnTo>
                  <a:lnTo>
                    <a:pt x="210" y="304"/>
                  </a:lnTo>
                  <a:lnTo>
                    <a:pt x="214" y="304"/>
                  </a:lnTo>
                  <a:lnTo>
                    <a:pt x="216" y="306"/>
                  </a:lnTo>
                  <a:lnTo>
                    <a:pt x="220" y="308"/>
                  </a:lnTo>
                  <a:lnTo>
                    <a:pt x="246" y="304"/>
                  </a:lnTo>
                  <a:lnTo>
                    <a:pt x="246" y="298"/>
                  </a:lnTo>
                  <a:lnTo>
                    <a:pt x="248" y="292"/>
                  </a:lnTo>
                  <a:lnTo>
                    <a:pt x="248" y="288"/>
                  </a:lnTo>
                  <a:lnTo>
                    <a:pt x="248" y="286"/>
                  </a:lnTo>
                  <a:lnTo>
                    <a:pt x="246" y="284"/>
                  </a:lnTo>
                  <a:lnTo>
                    <a:pt x="246" y="282"/>
                  </a:lnTo>
                  <a:lnTo>
                    <a:pt x="246" y="276"/>
                  </a:lnTo>
                  <a:lnTo>
                    <a:pt x="248" y="276"/>
                  </a:lnTo>
                  <a:lnTo>
                    <a:pt x="256" y="270"/>
                  </a:lnTo>
                  <a:lnTo>
                    <a:pt x="258" y="270"/>
                  </a:lnTo>
                  <a:lnTo>
                    <a:pt x="264" y="272"/>
                  </a:lnTo>
                  <a:lnTo>
                    <a:pt x="268" y="278"/>
                  </a:lnTo>
                  <a:lnTo>
                    <a:pt x="274" y="286"/>
                  </a:lnTo>
                  <a:lnTo>
                    <a:pt x="276" y="294"/>
                  </a:lnTo>
                  <a:lnTo>
                    <a:pt x="282" y="302"/>
                  </a:lnTo>
                  <a:lnTo>
                    <a:pt x="292" y="306"/>
                  </a:lnTo>
                  <a:lnTo>
                    <a:pt x="306" y="308"/>
                  </a:lnTo>
                  <a:lnTo>
                    <a:pt x="312" y="308"/>
                  </a:lnTo>
                  <a:lnTo>
                    <a:pt x="322" y="300"/>
                  </a:lnTo>
                  <a:lnTo>
                    <a:pt x="328" y="294"/>
                  </a:lnTo>
                  <a:lnTo>
                    <a:pt x="330" y="290"/>
                  </a:lnTo>
                  <a:lnTo>
                    <a:pt x="334" y="292"/>
                  </a:lnTo>
                  <a:lnTo>
                    <a:pt x="338" y="300"/>
                  </a:lnTo>
                  <a:lnTo>
                    <a:pt x="340" y="304"/>
                  </a:lnTo>
                  <a:lnTo>
                    <a:pt x="340" y="306"/>
                  </a:lnTo>
                  <a:lnTo>
                    <a:pt x="338" y="310"/>
                  </a:lnTo>
                  <a:lnTo>
                    <a:pt x="340" y="312"/>
                  </a:lnTo>
                  <a:lnTo>
                    <a:pt x="348" y="314"/>
                  </a:lnTo>
                  <a:lnTo>
                    <a:pt x="354" y="312"/>
                  </a:lnTo>
                  <a:lnTo>
                    <a:pt x="356" y="310"/>
                  </a:lnTo>
                  <a:lnTo>
                    <a:pt x="360" y="304"/>
                  </a:lnTo>
                  <a:lnTo>
                    <a:pt x="360" y="302"/>
                  </a:lnTo>
                  <a:lnTo>
                    <a:pt x="358" y="300"/>
                  </a:lnTo>
                  <a:lnTo>
                    <a:pt x="358" y="296"/>
                  </a:lnTo>
                  <a:lnTo>
                    <a:pt x="362" y="294"/>
                  </a:lnTo>
                  <a:lnTo>
                    <a:pt x="364" y="286"/>
                  </a:lnTo>
                  <a:lnTo>
                    <a:pt x="364" y="282"/>
                  </a:lnTo>
                  <a:lnTo>
                    <a:pt x="366" y="278"/>
                  </a:lnTo>
                  <a:lnTo>
                    <a:pt x="372" y="276"/>
                  </a:lnTo>
                  <a:lnTo>
                    <a:pt x="374" y="274"/>
                  </a:lnTo>
                  <a:lnTo>
                    <a:pt x="376" y="262"/>
                  </a:lnTo>
                  <a:lnTo>
                    <a:pt x="374" y="258"/>
                  </a:lnTo>
                  <a:lnTo>
                    <a:pt x="374" y="254"/>
                  </a:lnTo>
                  <a:lnTo>
                    <a:pt x="378" y="250"/>
                  </a:lnTo>
                  <a:lnTo>
                    <a:pt x="378" y="244"/>
                  </a:lnTo>
                  <a:lnTo>
                    <a:pt x="376" y="232"/>
                  </a:lnTo>
                  <a:lnTo>
                    <a:pt x="376" y="222"/>
                  </a:lnTo>
                  <a:lnTo>
                    <a:pt x="374" y="214"/>
                  </a:lnTo>
                  <a:lnTo>
                    <a:pt x="376" y="202"/>
                  </a:lnTo>
                  <a:lnTo>
                    <a:pt x="380" y="190"/>
                  </a:lnTo>
                  <a:lnTo>
                    <a:pt x="380" y="188"/>
                  </a:lnTo>
                  <a:lnTo>
                    <a:pt x="376" y="184"/>
                  </a:lnTo>
                  <a:lnTo>
                    <a:pt x="372" y="182"/>
                  </a:lnTo>
                  <a:lnTo>
                    <a:pt x="362" y="178"/>
                  </a:lnTo>
                  <a:lnTo>
                    <a:pt x="358" y="174"/>
                  </a:lnTo>
                  <a:lnTo>
                    <a:pt x="354" y="170"/>
                  </a:lnTo>
                  <a:lnTo>
                    <a:pt x="352" y="168"/>
                  </a:lnTo>
                  <a:lnTo>
                    <a:pt x="342" y="166"/>
                  </a:lnTo>
                  <a:lnTo>
                    <a:pt x="338" y="164"/>
                  </a:lnTo>
                  <a:lnTo>
                    <a:pt x="340" y="156"/>
                  </a:lnTo>
                  <a:lnTo>
                    <a:pt x="340" y="146"/>
                  </a:lnTo>
                  <a:lnTo>
                    <a:pt x="340" y="138"/>
                  </a:lnTo>
                  <a:lnTo>
                    <a:pt x="342" y="132"/>
                  </a:lnTo>
                  <a:lnTo>
                    <a:pt x="344" y="128"/>
                  </a:lnTo>
                  <a:lnTo>
                    <a:pt x="350" y="122"/>
                  </a:lnTo>
                  <a:lnTo>
                    <a:pt x="352" y="116"/>
                  </a:lnTo>
                  <a:lnTo>
                    <a:pt x="354" y="116"/>
                  </a:lnTo>
                  <a:lnTo>
                    <a:pt x="364" y="114"/>
                  </a:lnTo>
                  <a:lnTo>
                    <a:pt x="366" y="112"/>
                  </a:lnTo>
                  <a:lnTo>
                    <a:pt x="370" y="110"/>
                  </a:lnTo>
                  <a:lnTo>
                    <a:pt x="370" y="106"/>
                  </a:lnTo>
                  <a:lnTo>
                    <a:pt x="374" y="102"/>
                  </a:lnTo>
                  <a:lnTo>
                    <a:pt x="376" y="98"/>
                  </a:lnTo>
                  <a:lnTo>
                    <a:pt x="376" y="94"/>
                  </a:lnTo>
                  <a:lnTo>
                    <a:pt x="376" y="92"/>
                  </a:lnTo>
                  <a:lnTo>
                    <a:pt x="374" y="84"/>
                  </a:lnTo>
                  <a:lnTo>
                    <a:pt x="370" y="80"/>
                  </a:lnTo>
                  <a:lnTo>
                    <a:pt x="368" y="78"/>
                  </a:lnTo>
                  <a:lnTo>
                    <a:pt x="364" y="64"/>
                  </a:lnTo>
                  <a:lnTo>
                    <a:pt x="360" y="60"/>
                  </a:lnTo>
                  <a:lnTo>
                    <a:pt x="352" y="58"/>
                  </a:lnTo>
                  <a:lnTo>
                    <a:pt x="338" y="58"/>
                  </a:lnTo>
                  <a:lnTo>
                    <a:pt x="330" y="60"/>
                  </a:lnTo>
                  <a:lnTo>
                    <a:pt x="316" y="64"/>
                  </a:lnTo>
                  <a:lnTo>
                    <a:pt x="306" y="68"/>
                  </a:lnTo>
                  <a:lnTo>
                    <a:pt x="300" y="70"/>
                  </a:lnTo>
                  <a:lnTo>
                    <a:pt x="296" y="68"/>
                  </a:lnTo>
                  <a:lnTo>
                    <a:pt x="294" y="66"/>
                  </a:lnTo>
                  <a:lnTo>
                    <a:pt x="298" y="64"/>
                  </a:lnTo>
                  <a:lnTo>
                    <a:pt x="298" y="62"/>
                  </a:lnTo>
                  <a:lnTo>
                    <a:pt x="298" y="56"/>
                  </a:lnTo>
                  <a:lnTo>
                    <a:pt x="294" y="50"/>
                  </a:lnTo>
                  <a:lnTo>
                    <a:pt x="292" y="42"/>
                  </a:lnTo>
                  <a:lnTo>
                    <a:pt x="294" y="34"/>
                  </a:lnTo>
                  <a:lnTo>
                    <a:pt x="296" y="24"/>
                  </a:lnTo>
                  <a:lnTo>
                    <a:pt x="302" y="14"/>
                  </a:lnTo>
                  <a:lnTo>
                    <a:pt x="30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26" name="Google Shape;4593;p64">
              <a:extLst>
                <a:ext uri="{FF2B5EF4-FFF2-40B4-BE49-F238E27FC236}">
                  <a16:creationId xmlns:a16="http://schemas.microsoft.com/office/drawing/2014/main" id="{28F19639-9F9E-B5BE-5FB3-6D13221C1428}"/>
                </a:ext>
              </a:extLst>
            </p:cNvPr>
            <p:cNvCxnSpPr/>
            <p:nvPr/>
          </p:nvCxnSpPr>
          <p:spPr>
            <a:xfrm>
              <a:off x="4811120" y="4942851"/>
              <a:ext cx="0" cy="0"/>
            </a:xfrm>
            <a:prstGeom prst="straightConnector1">
              <a:avLst/>
            </a:prstGeom>
            <a:grpFill/>
            <a:ln w="9525" cap="flat" cmpd="sng">
              <a:solidFill>
                <a:schemeClr val="bg2"/>
              </a:solidFill>
              <a:prstDash val="solid"/>
              <a:round/>
              <a:headEnd type="none" w="med" len="med"/>
              <a:tailEnd type="none" w="med" len="med"/>
            </a:ln>
          </p:spPr>
        </p:cxnSp>
        <p:cxnSp>
          <p:nvCxnSpPr>
            <p:cNvPr id="127" name="Google Shape;4594;p64">
              <a:extLst>
                <a:ext uri="{FF2B5EF4-FFF2-40B4-BE49-F238E27FC236}">
                  <a16:creationId xmlns:a16="http://schemas.microsoft.com/office/drawing/2014/main" id="{EAD8C7E1-8550-B212-9CAF-5FD88D0E25B2}"/>
                </a:ext>
              </a:extLst>
            </p:cNvPr>
            <p:cNvCxnSpPr/>
            <p:nvPr/>
          </p:nvCxnSpPr>
          <p:spPr>
            <a:xfrm>
              <a:off x="4811120" y="4942851"/>
              <a:ext cx="0" cy="0"/>
            </a:xfrm>
            <a:prstGeom prst="straightConnector1">
              <a:avLst/>
            </a:prstGeom>
            <a:grpFill/>
            <a:ln w="9525" cap="flat" cmpd="sng">
              <a:solidFill>
                <a:schemeClr val="bg2"/>
              </a:solidFill>
              <a:prstDash val="solid"/>
              <a:round/>
              <a:headEnd type="none" w="med" len="med"/>
              <a:tailEnd type="none" w="med" len="med"/>
            </a:ln>
          </p:spPr>
        </p:cxnSp>
        <p:sp>
          <p:nvSpPr>
            <p:cNvPr id="128" name="Google Shape;4595;p64">
              <a:extLst>
                <a:ext uri="{FF2B5EF4-FFF2-40B4-BE49-F238E27FC236}">
                  <a16:creationId xmlns:a16="http://schemas.microsoft.com/office/drawing/2014/main" id="{808E3DE3-2775-5CD2-FF79-3F7E0D53B924}"/>
                </a:ext>
              </a:extLst>
            </p:cNvPr>
            <p:cNvSpPr/>
            <p:nvPr/>
          </p:nvSpPr>
          <p:spPr>
            <a:xfrm>
              <a:off x="5384739" y="3945910"/>
              <a:ext cx="144389" cy="72851"/>
            </a:xfrm>
            <a:custGeom>
              <a:avLst/>
              <a:gdLst/>
              <a:ahLst/>
              <a:cxnLst/>
              <a:rect l="l" t="t" r="r" b="b"/>
              <a:pathLst>
                <a:path w="440" h="222" extrusionOk="0">
                  <a:moveTo>
                    <a:pt x="424" y="150"/>
                  </a:moveTo>
                  <a:lnTo>
                    <a:pt x="422" y="150"/>
                  </a:lnTo>
                  <a:lnTo>
                    <a:pt x="414" y="144"/>
                  </a:lnTo>
                  <a:lnTo>
                    <a:pt x="410" y="142"/>
                  </a:lnTo>
                  <a:lnTo>
                    <a:pt x="406" y="142"/>
                  </a:lnTo>
                  <a:lnTo>
                    <a:pt x="398" y="140"/>
                  </a:lnTo>
                  <a:lnTo>
                    <a:pt x="392" y="138"/>
                  </a:lnTo>
                  <a:lnTo>
                    <a:pt x="390" y="136"/>
                  </a:lnTo>
                  <a:lnTo>
                    <a:pt x="386" y="132"/>
                  </a:lnTo>
                  <a:lnTo>
                    <a:pt x="378" y="128"/>
                  </a:lnTo>
                  <a:lnTo>
                    <a:pt x="372" y="122"/>
                  </a:lnTo>
                  <a:lnTo>
                    <a:pt x="372" y="120"/>
                  </a:lnTo>
                  <a:lnTo>
                    <a:pt x="376" y="110"/>
                  </a:lnTo>
                  <a:lnTo>
                    <a:pt x="378" y="100"/>
                  </a:lnTo>
                  <a:lnTo>
                    <a:pt x="376" y="98"/>
                  </a:lnTo>
                  <a:lnTo>
                    <a:pt x="372" y="96"/>
                  </a:lnTo>
                  <a:lnTo>
                    <a:pt x="368" y="94"/>
                  </a:lnTo>
                  <a:lnTo>
                    <a:pt x="352" y="94"/>
                  </a:lnTo>
                  <a:lnTo>
                    <a:pt x="344" y="84"/>
                  </a:lnTo>
                  <a:lnTo>
                    <a:pt x="340" y="82"/>
                  </a:lnTo>
                  <a:lnTo>
                    <a:pt x="334" y="80"/>
                  </a:lnTo>
                  <a:lnTo>
                    <a:pt x="326" y="76"/>
                  </a:lnTo>
                  <a:lnTo>
                    <a:pt x="322" y="74"/>
                  </a:lnTo>
                  <a:lnTo>
                    <a:pt x="320" y="76"/>
                  </a:lnTo>
                  <a:lnTo>
                    <a:pt x="316" y="86"/>
                  </a:lnTo>
                  <a:lnTo>
                    <a:pt x="310" y="78"/>
                  </a:lnTo>
                  <a:lnTo>
                    <a:pt x="306" y="76"/>
                  </a:lnTo>
                  <a:lnTo>
                    <a:pt x="302" y="74"/>
                  </a:lnTo>
                  <a:lnTo>
                    <a:pt x="298" y="74"/>
                  </a:lnTo>
                  <a:lnTo>
                    <a:pt x="286" y="78"/>
                  </a:lnTo>
                  <a:lnTo>
                    <a:pt x="278" y="84"/>
                  </a:lnTo>
                  <a:lnTo>
                    <a:pt x="272" y="86"/>
                  </a:lnTo>
                  <a:lnTo>
                    <a:pt x="264" y="88"/>
                  </a:lnTo>
                  <a:lnTo>
                    <a:pt x="262" y="90"/>
                  </a:lnTo>
                  <a:lnTo>
                    <a:pt x="254" y="90"/>
                  </a:lnTo>
                  <a:lnTo>
                    <a:pt x="248" y="88"/>
                  </a:lnTo>
                  <a:lnTo>
                    <a:pt x="248" y="86"/>
                  </a:lnTo>
                  <a:lnTo>
                    <a:pt x="248" y="82"/>
                  </a:lnTo>
                  <a:lnTo>
                    <a:pt x="252" y="78"/>
                  </a:lnTo>
                  <a:lnTo>
                    <a:pt x="252" y="76"/>
                  </a:lnTo>
                  <a:lnTo>
                    <a:pt x="250" y="76"/>
                  </a:lnTo>
                  <a:lnTo>
                    <a:pt x="240" y="70"/>
                  </a:lnTo>
                  <a:lnTo>
                    <a:pt x="236" y="66"/>
                  </a:lnTo>
                  <a:lnTo>
                    <a:pt x="222" y="62"/>
                  </a:lnTo>
                  <a:lnTo>
                    <a:pt x="204" y="54"/>
                  </a:lnTo>
                  <a:lnTo>
                    <a:pt x="198" y="48"/>
                  </a:lnTo>
                  <a:lnTo>
                    <a:pt x="198" y="44"/>
                  </a:lnTo>
                  <a:lnTo>
                    <a:pt x="192" y="40"/>
                  </a:lnTo>
                  <a:lnTo>
                    <a:pt x="184" y="38"/>
                  </a:lnTo>
                  <a:lnTo>
                    <a:pt x="176" y="38"/>
                  </a:lnTo>
                  <a:lnTo>
                    <a:pt x="170" y="38"/>
                  </a:lnTo>
                  <a:lnTo>
                    <a:pt x="162" y="32"/>
                  </a:lnTo>
                  <a:lnTo>
                    <a:pt x="152" y="32"/>
                  </a:lnTo>
                  <a:lnTo>
                    <a:pt x="142" y="34"/>
                  </a:lnTo>
                  <a:lnTo>
                    <a:pt x="136" y="36"/>
                  </a:lnTo>
                  <a:lnTo>
                    <a:pt x="106" y="32"/>
                  </a:lnTo>
                  <a:lnTo>
                    <a:pt x="98" y="28"/>
                  </a:lnTo>
                  <a:lnTo>
                    <a:pt x="92" y="22"/>
                  </a:lnTo>
                  <a:lnTo>
                    <a:pt x="74" y="18"/>
                  </a:lnTo>
                  <a:lnTo>
                    <a:pt x="64" y="14"/>
                  </a:lnTo>
                  <a:lnTo>
                    <a:pt x="54" y="8"/>
                  </a:lnTo>
                  <a:lnTo>
                    <a:pt x="44" y="4"/>
                  </a:lnTo>
                  <a:lnTo>
                    <a:pt x="36" y="6"/>
                  </a:lnTo>
                  <a:lnTo>
                    <a:pt x="24" y="4"/>
                  </a:lnTo>
                  <a:lnTo>
                    <a:pt x="12" y="0"/>
                  </a:lnTo>
                  <a:lnTo>
                    <a:pt x="8" y="2"/>
                  </a:lnTo>
                  <a:lnTo>
                    <a:pt x="4" y="8"/>
                  </a:lnTo>
                  <a:lnTo>
                    <a:pt x="0" y="14"/>
                  </a:lnTo>
                  <a:lnTo>
                    <a:pt x="14" y="24"/>
                  </a:lnTo>
                  <a:lnTo>
                    <a:pt x="32" y="40"/>
                  </a:lnTo>
                  <a:lnTo>
                    <a:pt x="36" y="42"/>
                  </a:lnTo>
                  <a:lnTo>
                    <a:pt x="58" y="46"/>
                  </a:lnTo>
                  <a:lnTo>
                    <a:pt x="72" y="58"/>
                  </a:lnTo>
                  <a:lnTo>
                    <a:pt x="76" y="68"/>
                  </a:lnTo>
                  <a:lnTo>
                    <a:pt x="96" y="76"/>
                  </a:lnTo>
                  <a:lnTo>
                    <a:pt x="100" y="82"/>
                  </a:lnTo>
                  <a:lnTo>
                    <a:pt x="106" y="106"/>
                  </a:lnTo>
                  <a:lnTo>
                    <a:pt x="112" y="128"/>
                  </a:lnTo>
                  <a:lnTo>
                    <a:pt x="118" y="144"/>
                  </a:lnTo>
                  <a:lnTo>
                    <a:pt x="118" y="152"/>
                  </a:lnTo>
                  <a:lnTo>
                    <a:pt x="118" y="158"/>
                  </a:lnTo>
                  <a:lnTo>
                    <a:pt x="114" y="168"/>
                  </a:lnTo>
                  <a:lnTo>
                    <a:pt x="102" y="184"/>
                  </a:lnTo>
                  <a:lnTo>
                    <a:pt x="106" y="186"/>
                  </a:lnTo>
                  <a:lnTo>
                    <a:pt x="114" y="188"/>
                  </a:lnTo>
                  <a:lnTo>
                    <a:pt x="120" y="190"/>
                  </a:lnTo>
                  <a:lnTo>
                    <a:pt x="122" y="192"/>
                  </a:lnTo>
                  <a:lnTo>
                    <a:pt x="128" y="186"/>
                  </a:lnTo>
                  <a:lnTo>
                    <a:pt x="138" y="186"/>
                  </a:lnTo>
                  <a:lnTo>
                    <a:pt x="148" y="186"/>
                  </a:lnTo>
                  <a:lnTo>
                    <a:pt x="152" y="188"/>
                  </a:lnTo>
                  <a:lnTo>
                    <a:pt x="158" y="190"/>
                  </a:lnTo>
                  <a:lnTo>
                    <a:pt x="164" y="190"/>
                  </a:lnTo>
                  <a:lnTo>
                    <a:pt x="166" y="188"/>
                  </a:lnTo>
                  <a:lnTo>
                    <a:pt x="170" y="180"/>
                  </a:lnTo>
                  <a:lnTo>
                    <a:pt x="172" y="178"/>
                  </a:lnTo>
                  <a:lnTo>
                    <a:pt x="174" y="178"/>
                  </a:lnTo>
                  <a:lnTo>
                    <a:pt x="178" y="178"/>
                  </a:lnTo>
                  <a:lnTo>
                    <a:pt x="182" y="178"/>
                  </a:lnTo>
                  <a:lnTo>
                    <a:pt x="186" y="180"/>
                  </a:lnTo>
                  <a:lnTo>
                    <a:pt x="188" y="186"/>
                  </a:lnTo>
                  <a:lnTo>
                    <a:pt x="192" y="188"/>
                  </a:lnTo>
                  <a:lnTo>
                    <a:pt x="202" y="198"/>
                  </a:lnTo>
                  <a:lnTo>
                    <a:pt x="208" y="202"/>
                  </a:lnTo>
                  <a:lnTo>
                    <a:pt x="210" y="204"/>
                  </a:lnTo>
                  <a:lnTo>
                    <a:pt x="208" y="206"/>
                  </a:lnTo>
                  <a:lnTo>
                    <a:pt x="208" y="208"/>
                  </a:lnTo>
                  <a:lnTo>
                    <a:pt x="212" y="212"/>
                  </a:lnTo>
                  <a:lnTo>
                    <a:pt x="218" y="212"/>
                  </a:lnTo>
                  <a:lnTo>
                    <a:pt x="222" y="212"/>
                  </a:lnTo>
                  <a:lnTo>
                    <a:pt x="226" y="214"/>
                  </a:lnTo>
                  <a:lnTo>
                    <a:pt x="228" y="216"/>
                  </a:lnTo>
                  <a:lnTo>
                    <a:pt x="228" y="218"/>
                  </a:lnTo>
                  <a:lnTo>
                    <a:pt x="228" y="220"/>
                  </a:lnTo>
                  <a:lnTo>
                    <a:pt x="232" y="218"/>
                  </a:lnTo>
                  <a:lnTo>
                    <a:pt x="242" y="218"/>
                  </a:lnTo>
                  <a:lnTo>
                    <a:pt x="252" y="218"/>
                  </a:lnTo>
                  <a:lnTo>
                    <a:pt x="258" y="214"/>
                  </a:lnTo>
                  <a:lnTo>
                    <a:pt x="270" y="212"/>
                  </a:lnTo>
                  <a:lnTo>
                    <a:pt x="274" y="212"/>
                  </a:lnTo>
                  <a:lnTo>
                    <a:pt x="280" y="210"/>
                  </a:lnTo>
                  <a:lnTo>
                    <a:pt x="296" y="212"/>
                  </a:lnTo>
                  <a:lnTo>
                    <a:pt x="302" y="210"/>
                  </a:lnTo>
                  <a:lnTo>
                    <a:pt x="320" y="210"/>
                  </a:lnTo>
                  <a:lnTo>
                    <a:pt x="320" y="210"/>
                  </a:lnTo>
                  <a:lnTo>
                    <a:pt x="318" y="208"/>
                  </a:lnTo>
                  <a:lnTo>
                    <a:pt x="318" y="206"/>
                  </a:lnTo>
                  <a:lnTo>
                    <a:pt x="328" y="204"/>
                  </a:lnTo>
                  <a:lnTo>
                    <a:pt x="330" y="204"/>
                  </a:lnTo>
                  <a:lnTo>
                    <a:pt x="344" y="192"/>
                  </a:lnTo>
                  <a:lnTo>
                    <a:pt x="348" y="190"/>
                  </a:lnTo>
                  <a:lnTo>
                    <a:pt x="358" y="192"/>
                  </a:lnTo>
                  <a:lnTo>
                    <a:pt x="378" y="200"/>
                  </a:lnTo>
                  <a:lnTo>
                    <a:pt x="376" y="204"/>
                  </a:lnTo>
                  <a:lnTo>
                    <a:pt x="378" y="206"/>
                  </a:lnTo>
                  <a:lnTo>
                    <a:pt x="382" y="210"/>
                  </a:lnTo>
                  <a:lnTo>
                    <a:pt x="390" y="212"/>
                  </a:lnTo>
                  <a:lnTo>
                    <a:pt x="398" y="214"/>
                  </a:lnTo>
                  <a:lnTo>
                    <a:pt x="402" y="212"/>
                  </a:lnTo>
                  <a:lnTo>
                    <a:pt x="408" y="212"/>
                  </a:lnTo>
                  <a:lnTo>
                    <a:pt x="414" y="216"/>
                  </a:lnTo>
                  <a:lnTo>
                    <a:pt x="420" y="220"/>
                  </a:lnTo>
                  <a:lnTo>
                    <a:pt x="424" y="222"/>
                  </a:lnTo>
                  <a:lnTo>
                    <a:pt x="426" y="222"/>
                  </a:lnTo>
                  <a:lnTo>
                    <a:pt x="430" y="220"/>
                  </a:lnTo>
                  <a:lnTo>
                    <a:pt x="436" y="214"/>
                  </a:lnTo>
                  <a:lnTo>
                    <a:pt x="438" y="208"/>
                  </a:lnTo>
                  <a:lnTo>
                    <a:pt x="440" y="204"/>
                  </a:lnTo>
                  <a:lnTo>
                    <a:pt x="436" y="198"/>
                  </a:lnTo>
                  <a:lnTo>
                    <a:pt x="428" y="194"/>
                  </a:lnTo>
                  <a:lnTo>
                    <a:pt x="420" y="188"/>
                  </a:lnTo>
                  <a:lnTo>
                    <a:pt x="416" y="184"/>
                  </a:lnTo>
                  <a:lnTo>
                    <a:pt x="412" y="176"/>
                  </a:lnTo>
                  <a:lnTo>
                    <a:pt x="410" y="176"/>
                  </a:lnTo>
                  <a:lnTo>
                    <a:pt x="408" y="174"/>
                  </a:lnTo>
                  <a:lnTo>
                    <a:pt x="408" y="172"/>
                  </a:lnTo>
                  <a:lnTo>
                    <a:pt x="408" y="168"/>
                  </a:lnTo>
                  <a:lnTo>
                    <a:pt x="408" y="164"/>
                  </a:lnTo>
                  <a:lnTo>
                    <a:pt x="412" y="162"/>
                  </a:lnTo>
                  <a:lnTo>
                    <a:pt x="416" y="162"/>
                  </a:lnTo>
                  <a:lnTo>
                    <a:pt x="418" y="160"/>
                  </a:lnTo>
                  <a:lnTo>
                    <a:pt x="422" y="154"/>
                  </a:lnTo>
                  <a:lnTo>
                    <a:pt x="424" y="15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29" name="Google Shape;4596;p64">
              <a:extLst>
                <a:ext uri="{FF2B5EF4-FFF2-40B4-BE49-F238E27FC236}">
                  <a16:creationId xmlns:a16="http://schemas.microsoft.com/office/drawing/2014/main" id="{7F08567B-F828-80DB-ECF8-9B2068D7F815}"/>
                </a:ext>
              </a:extLst>
            </p:cNvPr>
            <p:cNvSpPr/>
            <p:nvPr/>
          </p:nvSpPr>
          <p:spPr>
            <a:xfrm>
              <a:off x="4455397" y="4747926"/>
              <a:ext cx="95165" cy="139139"/>
            </a:xfrm>
            <a:custGeom>
              <a:avLst/>
              <a:gdLst/>
              <a:ahLst/>
              <a:cxnLst/>
              <a:rect l="l" t="t" r="r" b="b"/>
              <a:pathLst>
                <a:path w="290" h="424" extrusionOk="0">
                  <a:moveTo>
                    <a:pt x="208" y="4"/>
                  </a:moveTo>
                  <a:lnTo>
                    <a:pt x="192" y="0"/>
                  </a:lnTo>
                  <a:lnTo>
                    <a:pt x="192" y="2"/>
                  </a:lnTo>
                  <a:lnTo>
                    <a:pt x="190" y="6"/>
                  </a:lnTo>
                  <a:lnTo>
                    <a:pt x="186" y="6"/>
                  </a:lnTo>
                  <a:lnTo>
                    <a:pt x="184" y="4"/>
                  </a:lnTo>
                  <a:lnTo>
                    <a:pt x="182" y="8"/>
                  </a:lnTo>
                  <a:lnTo>
                    <a:pt x="180" y="10"/>
                  </a:lnTo>
                  <a:lnTo>
                    <a:pt x="176" y="12"/>
                  </a:lnTo>
                  <a:lnTo>
                    <a:pt x="172" y="14"/>
                  </a:lnTo>
                  <a:lnTo>
                    <a:pt x="170" y="16"/>
                  </a:lnTo>
                  <a:lnTo>
                    <a:pt x="170" y="16"/>
                  </a:lnTo>
                  <a:lnTo>
                    <a:pt x="166" y="12"/>
                  </a:lnTo>
                  <a:lnTo>
                    <a:pt x="162" y="12"/>
                  </a:lnTo>
                  <a:lnTo>
                    <a:pt x="152" y="12"/>
                  </a:lnTo>
                  <a:lnTo>
                    <a:pt x="148" y="10"/>
                  </a:lnTo>
                  <a:lnTo>
                    <a:pt x="144" y="10"/>
                  </a:lnTo>
                  <a:lnTo>
                    <a:pt x="132" y="12"/>
                  </a:lnTo>
                  <a:lnTo>
                    <a:pt x="112" y="10"/>
                  </a:lnTo>
                  <a:lnTo>
                    <a:pt x="108" y="10"/>
                  </a:lnTo>
                  <a:lnTo>
                    <a:pt x="108" y="12"/>
                  </a:lnTo>
                  <a:lnTo>
                    <a:pt x="88" y="12"/>
                  </a:lnTo>
                  <a:lnTo>
                    <a:pt x="66" y="12"/>
                  </a:lnTo>
                  <a:lnTo>
                    <a:pt x="48" y="12"/>
                  </a:lnTo>
                  <a:lnTo>
                    <a:pt x="32" y="12"/>
                  </a:lnTo>
                  <a:lnTo>
                    <a:pt x="32" y="12"/>
                  </a:lnTo>
                  <a:lnTo>
                    <a:pt x="26" y="10"/>
                  </a:lnTo>
                  <a:lnTo>
                    <a:pt x="26" y="12"/>
                  </a:lnTo>
                  <a:lnTo>
                    <a:pt x="22" y="28"/>
                  </a:lnTo>
                  <a:lnTo>
                    <a:pt x="22" y="38"/>
                  </a:lnTo>
                  <a:lnTo>
                    <a:pt x="24" y="44"/>
                  </a:lnTo>
                  <a:lnTo>
                    <a:pt x="26" y="48"/>
                  </a:lnTo>
                  <a:lnTo>
                    <a:pt x="30" y="48"/>
                  </a:lnTo>
                  <a:lnTo>
                    <a:pt x="30" y="50"/>
                  </a:lnTo>
                  <a:lnTo>
                    <a:pt x="28" y="54"/>
                  </a:lnTo>
                  <a:lnTo>
                    <a:pt x="28" y="56"/>
                  </a:lnTo>
                  <a:lnTo>
                    <a:pt x="30" y="58"/>
                  </a:lnTo>
                  <a:lnTo>
                    <a:pt x="30" y="62"/>
                  </a:lnTo>
                  <a:lnTo>
                    <a:pt x="30" y="64"/>
                  </a:lnTo>
                  <a:lnTo>
                    <a:pt x="30" y="72"/>
                  </a:lnTo>
                  <a:lnTo>
                    <a:pt x="32" y="84"/>
                  </a:lnTo>
                  <a:lnTo>
                    <a:pt x="32" y="92"/>
                  </a:lnTo>
                  <a:lnTo>
                    <a:pt x="30" y="94"/>
                  </a:lnTo>
                  <a:lnTo>
                    <a:pt x="30" y="100"/>
                  </a:lnTo>
                  <a:lnTo>
                    <a:pt x="34" y="108"/>
                  </a:lnTo>
                  <a:lnTo>
                    <a:pt x="36" y="112"/>
                  </a:lnTo>
                  <a:lnTo>
                    <a:pt x="36" y="116"/>
                  </a:lnTo>
                  <a:lnTo>
                    <a:pt x="34" y="120"/>
                  </a:lnTo>
                  <a:lnTo>
                    <a:pt x="34" y="124"/>
                  </a:lnTo>
                  <a:lnTo>
                    <a:pt x="36" y="126"/>
                  </a:lnTo>
                  <a:lnTo>
                    <a:pt x="36" y="130"/>
                  </a:lnTo>
                  <a:lnTo>
                    <a:pt x="32" y="136"/>
                  </a:lnTo>
                  <a:lnTo>
                    <a:pt x="32" y="142"/>
                  </a:lnTo>
                  <a:lnTo>
                    <a:pt x="36" y="142"/>
                  </a:lnTo>
                  <a:lnTo>
                    <a:pt x="38" y="146"/>
                  </a:lnTo>
                  <a:lnTo>
                    <a:pt x="40" y="154"/>
                  </a:lnTo>
                  <a:lnTo>
                    <a:pt x="42" y="158"/>
                  </a:lnTo>
                  <a:lnTo>
                    <a:pt x="42" y="158"/>
                  </a:lnTo>
                  <a:lnTo>
                    <a:pt x="44" y="178"/>
                  </a:lnTo>
                  <a:lnTo>
                    <a:pt x="48" y="196"/>
                  </a:lnTo>
                  <a:lnTo>
                    <a:pt x="46" y="198"/>
                  </a:lnTo>
                  <a:lnTo>
                    <a:pt x="42" y="200"/>
                  </a:lnTo>
                  <a:lnTo>
                    <a:pt x="40" y="200"/>
                  </a:lnTo>
                  <a:lnTo>
                    <a:pt x="40" y="202"/>
                  </a:lnTo>
                  <a:lnTo>
                    <a:pt x="42" y="204"/>
                  </a:lnTo>
                  <a:lnTo>
                    <a:pt x="40" y="208"/>
                  </a:lnTo>
                  <a:lnTo>
                    <a:pt x="38" y="208"/>
                  </a:lnTo>
                  <a:lnTo>
                    <a:pt x="30" y="214"/>
                  </a:lnTo>
                  <a:lnTo>
                    <a:pt x="28" y="218"/>
                  </a:lnTo>
                  <a:lnTo>
                    <a:pt x="26" y="222"/>
                  </a:lnTo>
                  <a:lnTo>
                    <a:pt x="24" y="226"/>
                  </a:lnTo>
                  <a:lnTo>
                    <a:pt x="22" y="232"/>
                  </a:lnTo>
                  <a:lnTo>
                    <a:pt x="18" y="246"/>
                  </a:lnTo>
                  <a:lnTo>
                    <a:pt x="16" y="258"/>
                  </a:lnTo>
                  <a:lnTo>
                    <a:pt x="16" y="262"/>
                  </a:lnTo>
                  <a:lnTo>
                    <a:pt x="14" y="266"/>
                  </a:lnTo>
                  <a:lnTo>
                    <a:pt x="14" y="270"/>
                  </a:lnTo>
                  <a:lnTo>
                    <a:pt x="4" y="280"/>
                  </a:lnTo>
                  <a:lnTo>
                    <a:pt x="0" y="290"/>
                  </a:lnTo>
                  <a:lnTo>
                    <a:pt x="0" y="294"/>
                  </a:lnTo>
                  <a:lnTo>
                    <a:pt x="0" y="296"/>
                  </a:lnTo>
                  <a:lnTo>
                    <a:pt x="0" y="300"/>
                  </a:lnTo>
                  <a:lnTo>
                    <a:pt x="0" y="308"/>
                  </a:lnTo>
                  <a:lnTo>
                    <a:pt x="0" y="314"/>
                  </a:lnTo>
                  <a:lnTo>
                    <a:pt x="2" y="320"/>
                  </a:lnTo>
                  <a:lnTo>
                    <a:pt x="8" y="336"/>
                  </a:lnTo>
                  <a:lnTo>
                    <a:pt x="12" y="348"/>
                  </a:lnTo>
                  <a:lnTo>
                    <a:pt x="14" y="356"/>
                  </a:lnTo>
                  <a:lnTo>
                    <a:pt x="16" y="362"/>
                  </a:lnTo>
                  <a:lnTo>
                    <a:pt x="18" y="364"/>
                  </a:lnTo>
                  <a:lnTo>
                    <a:pt x="18" y="366"/>
                  </a:lnTo>
                  <a:lnTo>
                    <a:pt x="28" y="368"/>
                  </a:lnTo>
                  <a:lnTo>
                    <a:pt x="30" y="368"/>
                  </a:lnTo>
                  <a:lnTo>
                    <a:pt x="32" y="380"/>
                  </a:lnTo>
                  <a:lnTo>
                    <a:pt x="32" y="384"/>
                  </a:lnTo>
                  <a:lnTo>
                    <a:pt x="30" y="386"/>
                  </a:lnTo>
                  <a:lnTo>
                    <a:pt x="30" y="392"/>
                  </a:lnTo>
                  <a:lnTo>
                    <a:pt x="28" y="396"/>
                  </a:lnTo>
                  <a:lnTo>
                    <a:pt x="28" y="398"/>
                  </a:lnTo>
                  <a:lnTo>
                    <a:pt x="22" y="398"/>
                  </a:lnTo>
                  <a:lnTo>
                    <a:pt x="18" y="400"/>
                  </a:lnTo>
                  <a:lnTo>
                    <a:pt x="14" y="400"/>
                  </a:lnTo>
                  <a:lnTo>
                    <a:pt x="10" y="400"/>
                  </a:lnTo>
                  <a:lnTo>
                    <a:pt x="8" y="402"/>
                  </a:lnTo>
                  <a:lnTo>
                    <a:pt x="10" y="402"/>
                  </a:lnTo>
                  <a:lnTo>
                    <a:pt x="18" y="406"/>
                  </a:lnTo>
                  <a:lnTo>
                    <a:pt x="34" y="408"/>
                  </a:lnTo>
                  <a:lnTo>
                    <a:pt x="54" y="412"/>
                  </a:lnTo>
                  <a:lnTo>
                    <a:pt x="64" y="416"/>
                  </a:lnTo>
                  <a:lnTo>
                    <a:pt x="74" y="424"/>
                  </a:lnTo>
                  <a:lnTo>
                    <a:pt x="80" y="424"/>
                  </a:lnTo>
                  <a:lnTo>
                    <a:pt x="96" y="416"/>
                  </a:lnTo>
                  <a:lnTo>
                    <a:pt x="104" y="410"/>
                  </a:lnTo>
                  <a:lnTo>
                    <a:pt x="114" y="406"/>
                  </a:lnTo>
                  <a:lnTo>
                    <a:pt x="142" y="396"/>
                  </a:lnTo>
                  <a:lnTo>
                    <a:pt x="160" y="394"/>
                  </a:lnTo>
                  <a:lnTo>
                    <a:pt x="168" y="388"/>
                  </a:lnTo>
                  <a:lnTo>
                    <a:pt x="180" y="382"/>
                  </a:lnTo>
                  <a:lnTo>
                    <a:pt x="190" y="376"/>
                  </a:lnTo>
                  <a:lnTo>
                    <a:pt x="204" y="370"/>
                  </a:lnTo>
                  <a:lnTo>
                    <a:pt x="230" y="358"/>
                  </a:lnTo>
                  <a:lnTo>
                    <a:pt x="256" y="358"/>
                  </a:lnTo>
                  <a:lnTo>
                    <a:pt x="262" y="358"/>
                  </a:lnTo>
                  <a:lnTo>
                    <a:pt x="274" y="354"/>
                  </a:lnTo>
                  <a:lnTo>
                    <a:pt x="278" y="348"/>
                  </a:lnTo>
                  <a:lnTo>
                    <a:pt x="280" y="342"/>
                  </a:lnTo>
                  <a:lnTo>
                    <a:pt x="284" y="340"/>
                  </a:lnTo>
                  <a:lnTo>
                    <a:pt x="290" y="336"/>
                  </a:lnTo>
                  <a:lnTo>
                    <a:pt x="290" y="332"/>
                  </a:lnTo>
                  <a:lnTo>
                    <a:pt x="286" y="332"/>
                  </a:lnTo>
                  <a:lnTo>
                    <a:pt x="284" y="330"/>
                  </a:lnTo>
                  <a:lnTo>
                    <a:pt x="280" y="330"/>
                  </a:lnTo>
                  <a:lnTo>
                    <a:pt x="278" y="324"/>
                  </a:lnTo>
                  <a:lnTo>
                    <a:pt x="276" y="322"/>
                  </a:lnTo>
                  <a:lnTo>
                    <a:pt x="272" y="320"/>
                  </a:lnTo>
                  <a:lnTo>
                    <a:pt x="266" y="318"/>
                  </a:lnTo>
                  <a:lnTo>
                    <a:pt x="260" y="312"/>
                  </a:lnTo>
                  <a:lnTo>
                    <a:pt x="258" y="308"/>
                  </a:lnTo>
                  <a:lnTo>
                    <a:pt x="260" y="306"/>
                  </a:lnTo>
                  <a:lnTo>
                    <a:pt x="258" y="304"/>
                  </a:lnTo>
                  <a:lnTo>
                    <a:pt x="256" y="304"/>
                  </a:lnTo>
                  <a:lnTo>
                    <a:pt x="252" y="294"/>
                  </a:lnTo>
                  <a:lnTo>
                    <a:pt x="248" y="290"/>
                  </a:lnTo>
                  <a:lnTo>
                    <a:pt x="246" y="286"/>
                  </a:lnTo>
                  <a:lnTo>
                    <a:pt x="246" y="284"/>
                  </a:lnTo>
                  <a:lnTo>
                    <a:pt x="246" y="280"/>
                  </a:lnTo>
                  <a:lnTo>
                    <a:pt x="248" y="278"/>
                  </a:lnTo>
                  <a:lnTo>
                    <a:pt x="250" y="276"/>
                  </a:lnTo>
                  <a:lnTo>
                    <a:pt x="252" y="274"/>
                  </a:lnTo>
                  <a:lnTo>
                    <a:pt x="252" y="270"/>
                  </a:lnTo>
                  <a:lnTo>
                    <a:pt x="252" y="262"/>
                  </a:lnTo>
                  <a:lnTo>
                    <a:pt x="254" y="254"/>
                  </a:lnTo>
                  <a:lnTo>
                    <a:pt x="250" y="250"/>
                  </a:lnTo>
                  <a:lnTo>
                    <a:pt x="248" y="250"/>
                  </a:lnTo>
                  <a:lnTo>
                    <a:pt x="246" y="248"/>
                  </a:lnTo>
                  <a:lnTo>
                    <a:pt x="244" y="244"/>
                  </a:lnTo>
                  <a:lnTo>
                    <a:pt x="244" y="240"/>
                  </a:lnTo>
                  <a:lnTo>
                    <a:pt x="252" y="228"/>
                  </a:lnTo>
                  <a:lnTo>
                    <a:pt x="250" y="200"/>
                  </a:lnTo>
                  <a:lnTo>
                    <a:pt x="252" y="196"/>
                  </a:lnTo>
                  <a:lnTo>
                    <a:pt x="254" y="194"/>
                  </a:lnTo>
                  <a:lnTo>
                    <a:pt x="258" y="190"/>
                  </a:lnTo>
                  <a:lnTo>
                    <a:pt x="256" y="186"/>
                  </a:lnTo>
                  <a:lnTo>
                    <a:pt x="252" y="178"/>
                  </a:lnTo>
                  <a:lnTo>
                    <a:pt x="244" y="172"/>
                  </a:lnTo>
                  <a:lnTo>
                    <a:pt x="240" y="168"/>
                  </a:lnTo>
                  <a:lnTo>
                    <a:pt x="236" y="162"/>
                  </a:lnTo>
                  <a:lnTo>
                    <a:pt x="236" y="160"/>
                  </a:lnTo>
                  <a:lnTo>
                    <a:pt x="242" y="156"/>
                  </a:lnTo>
                  <a:lnTo>
                    <a:pt x="244" y="154"/>
                  </a:lnTo>
                  <a:lnTo>
                    <a:pt x="244" y="150"/>
                  </a:lnTo>
                  <a:lnTo>
                    <a:pt x="242" y="146"/>
                  </a:lnTo>
                  <a:lnTo>
                    <a:pt x="242" y="136"/>
                  </a:lnTo>
                  <a:lnTo>
                    <a:pt x="244" y="130"/>
                  </a:lnTo>
                  <a:lnTo>
                    <a:pt x="246" y="120"/>
                  </a:lnTo>
                  <a:lnTo>
                    <a:pt x="246" y="118"/>
                  </a:lnTo>
                  <a:lnTo>
                    <a:pt x="242" y="112"/>
                  </a:lnTo>
                  <a:lnTo>
                    <a:pt x="238" y="112"/>
                  </a:lnTo>
                  <a:lnTo>
                    <a:pt x="236" y="112"/>
                  </a:lnTo>
                  <a:lnTo>
                    <a:pt x="230" y="116"/>
                  </a:lnTo>
                  <a:lnTo>
                    <a:pt x="230" y="116"/>
                  </a:lnTo>
                  <a:lnTo>
                    <a:pt x="228" y="114"/>
                  </a:lnTo>
                  <a:lnTo>
                    <a:pt x="228" y="114"/>
                  </a:lnTo>
                  <a:lnTo>
                    <a:pt x="230" y="112"/>
                  </a:lnTo>
                  <a:lnTo>
                    <a:pt x="228" y="108"/>
                  </a:lnTo>
                  <a:lnTo>
                    <a:pt x="230" y="106"/>
                  </a:lnTo>
                  <a:lnTo>
                    <a:pt x="234" y="106"/>
                  </a:lnTo>
                  <a:lnTo>
                    <a:pt x="234" y="104"/>
                  </a:lnTo>
                  <a:lnTo>
                    <a:pt x="230" y="102"/>
                  </a:lnTo>
                  <a:lnTo>
                    <a:pt x="230" y="102"/>
                  </a:lnTo>
                  <a:lnTo>
                    <a:pt x="230" y="100"/>
                  </a:lnTo>
                  <a:lnTo>
                    <a:pt x="230" y="100"/>
                  </a:lnTo>
                  <a:lnTo>
                    <a:pt x="232" y="100"/>
                  </a:lnTo>
                  <a:lnTo>
                    <a:pt x="234" y="98"/>
                  </a:lnTo>
                  <a:lnTo>
                    <a:pt x="234" y="90"/>
                  </a:lnTo>
                  <a:lnTo>
                    <a:pt x="234" y="88"/>
                  </a:lnTo>
                  <a:lnTo>
                    <a:pt x="236" y="82"/>
                  </a:lnTo>
                  <a:lnTo>
                    <a:pt x="236" y="62"/>
                  </a:lnTo>
                  <a:lnTo>
                    <a:pt x="236" y="60"/>
                  </a:lnTo>
                  <a:lnTo>
                    <a:pt x="238" y="58"/>
                  </a:lnTo>
                  <a:lnTo>
                    <a:pt x="234" y="58"/>
                  </a:lnTo>
                  <a:lnTo>
                    <a:pt x="226" y="52"/>
                  </a:lnTo>
                  <a:lnTo>
                    <a:pt x="222" y="48"/>
                  </a:lnTo>
                  <a:lnTo>
                    <a:pt x="218" y="42"/>
                  </a:lnTo>
                  <a:lnTo>
                    <a:pt x="214" y="40"/>
                  </a:lnTo>
                  <a:lnTo>
                    <a:pt x="208" y="36"/>
                  </a:lnTo>
                  <a:lnTo>
                    <a:pt x="206" y="32"/>
                  </a:lnTo>
                  <a:lnTo>
                    <a:pt x="206" y="30"/>
                  </a:lnTo>
                  <a:lnTo>
                    <a:pt x="208" y="24"/>
                  </a:lnTo>
                  <a:lnTo>
                    <a:pt x="212" y="18"/>
                  </a:lnTo>
                  <a:lnTo>
                    <a:pt x="212" y="10"/>
                  </a:lnTo>
                  <a:lnTo>
                    <a:pt x="212" y="8"/>
                  </a:lnTo>
                  <a:lnTo>
                    <a:pt x="20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0" name="Google Shape;4597;p64">
              <a:extLst>
                <a:ext uri="{FF2B5EF4-FFF2-40B4-BE49-F238E27FC236}">
                  <a16:creationId xmlns:a16="http://schemas.microsoft.com/office/drawing/2014/main" id="{519B006C-00A7-1B57-DA45-38F2DB4416F2}"/>
                </a:ext>
              </a:extLst>
            </p:cNvPr>
            <p:cNvSpPr/>
            <p:nvPr/>
          </p:nvSpPr>
          <p:spPr>
            <a:xfrm>
              <a:off x="4201403" y="4714454"/>
              <a:ext cx="158172" cy="119449"/>
            </a:xfrm>
            <a:custGeom>
              <a:avLst/>
              <a:gdLst/>
              <a:ahLst/>
              <a:cxnLst/>
              <a:rect l="l" t="t" r="r" b="b"/>
              <a:pathLst>
                <a:path w="482" h="364" extrusionOk="0">
                  <a:moveTo>
                    <a:pt x="240" y="18"/>
                  </a:moveTo>
                  <a:lnTo>
                    <a:pt x="236" y="18"/>
                  </a:lnTo>
                  <a:lnTo>
                    <a:pt x="228" y="18"/>
                  </a:lnTo>
                  <a:lnTo>
                    <a:pt x="212" y="20"/>
                  </a:lnTo>
                  <a:lnTo>
                    <a:pt x="206" y="20"/>
                  </a:lnTo>
                  <a:lnTo>
                    <a:pt x="196" y="20"/>
                  </a:lnTo>
                  <a:lnTo>
                    <a:pt x="190" y="20"/>
                  </a:lnTo>
                  <a:lnTo>
                    <a:pt x="180" y="24"/>
                  </a:lnTo>
                  <a:lnTo>
                    <a:pt x="174" y="24"/>
                  </a:lnTo>
                  <a:lnTo>
                    <a:pt x="170" y="20"/>
                  </a:lnTo>
                  <a:lnTo>
                    <a:pt x="164" y="20"/>
                  </a:lnTo>
                  <a:lnTo>
                    <a:pt x="158" y="20"/>
                  </a:lnTo>
                  <a:lnTo>
                    <a:pt x="152" y="16"/>
                  </a:lnTo>
                  <a:lnTo>
                    <a:pt x="148" y="16"/>
                  </a:lnTo>
                  <a:lnTo>
                    <a:pt x="142" y="12"/>
                  </a:lnTo>
                  <a:lnTo>
                    <a:pt x="138" y="10"/>
                  </a:lnTo>
                  <a:lnTo>
                    <a:pt x="136" y="12"/>
                  </a:lnTo>
                  <a:lnTo>
                    <a:pt x="134" y="14"/>
                  </a:lnTo>
                  <a:lnTo>
                    <a:pt x="134" y="14"/>
                  </a:lnTo>
                  <a:lnTo>
                    <a:pt x="130" y="14"/>
                  </a:lnTo>
                  <a:lnTo>
                    <a:pt x="128" y="10"/>
                  </a:lnTo>
                  <a:lnTo>
                    <a:pt x="130" y="6"/>
                  </a:lnTo>
                  <a:lnTo>
                    <a:pt x="130" y="4"/>
                  </a:lnTo>
                  <a:lnTo>
                    <a:pt x="128" y="4"/>
                  </a:lnTo>
                  <a:lnTo>
                    <a:pt x="124" y="4"/>
                  </a:lnTo>
                  <a:lnTo>
                    <a:pt x="118" y="4"/>
                  </a:lnTo>
                  <a:lnTo>
                    <a:pt x="110" y="2"/>
                  </a:lnTo>
                  <a:lnTo>
                    <a:pt x="108" y="2"/>
                  </a:lnTo>
                  <a:lnTo>
                    <a:pt x="86" y="0"/>
                  </a:lnTo>
                  <a:lnTo>
                    <a:pt x="86" y="6"/>
                  </a:lnTo>
                  <a:lnTo>
                    <a:pt x="90" y="14"/>
                  </a:lnTo>
                  <a:lnTo>
                    <a:pt x="90" y="20"/>
                  </a:lnTo>
                  <a:lnTo>
                    <a:pt x="88" y="26"/>
                  </a:lnTo>
                  <a:lnTo>
                    <a:pt x="86" y="28"/>
                  </a:lnTo>
                  <a:lnTo>
                    <a:pt x="84" y="28"/>
                  </a:lnTo>
                  <a:lnTo>
                    <a:pt x="78" y="28"/>
                  </a:lnTo>
                  <a:lnTo>
                    <a:pt x="72" y="32"/>
                  </a:lnTo>
                  <a:lnTo>
                    <a:pt x="72" y="34"/>
                  </a:lnTo>
                  <a:lnTo>
                    <a:pt x="74" y="36"/>
                  </a:lnTo>
                  <a:lnTo>
                    <a:pt x="78" y="40"/>
                  </a:lnTo>
                  <a:lnTo>
                    <a:pt x="80" y="42"/>
                  </a:lnTo>
                  <a:lnTo>
                    <a:pt x="86" y="46"/>
                  </a:lnTo>
                  <a:lnTo>
                    <a:pt x="86" y="48"/>
                  </a:lnTo>
                  <a:lnTo>
                    <a:pt x="86" y="58"/>
                  </a:lnTo>
                  <a:lnTo>
                    <a:pt x="86" y="64"/>
                  </a:lnTo>
                  <a:lnTo>
                    <a:pt x="72" y="68"/>
                  </a:lnTo>
                  <a:lnTo>
                    <a:pt x="60" y="70"/>
                  </a:lnTo>
                  <a:lnTo>
                    <a:pt x="50" y="68"/>
                  </a:lnTo>
                  <a:lnTo>
                    <a:pt x="46" y="70"/>
                  </a:lnTo>
                  <a:lnTo>
                    <a:pt x="38" y="76"/>
                  </a:lnTo>
                  <a:lnTo>
                    <a:pt x="28" y="78"/>
                  </a:lnTo>
                  <a:lnTo>
                    <a:pt x="24" y="78"/>
                  </a:lnTo>
                  <a:lnTo>
                    <a:pt x="22" y="80"/>
                  </a:lnTo>
                  <a:lnTo>
                    <a:pt x="18" y="86"/>
                  </a:lnTo>
                  <a:lnTo>
                    <a:pt x="6" y="108"/>
                  </a:lnTo>
                  <a:lnTo>
                    <a:pt x="2" y="114"/>
                  </a:lnTo>
                  <a:lnTo>
                    <a:pt x="0" y="116"/>
                  </a:lnTo>
                  <a:lnTo>
                    <a:pt x="0" y="124"/>
                  </a:lnTo>
                  <a:lnTo>
                    <a:pt x="2" y="126"/>
                  </a:lnTo>
                  <a:lnTo>
                    <a:pt x="4" y="126"/>
                  </a:lnTo>
                  <a:lnTo>
                    <a:pt x="8" y="116"/>
                  </a:lnTo>
                  <a:lnTo>
                    <a:pt x="10" y="114"/>
                  </a:lnTo>
                  <a:lnTo>
                    <a:pt x="14" y="116"/>
                  </a:lnTo>
                  <a:lnTo>
                    <a:pt x="18" y="118"/>
                  </a:lnTo>
                  <a:lnTo>
                    <a:pt x="18" y="122"/>
                  </a:lnTo>
                  <a:lnTo>
                    <a:pt x="22" y="130"/>
                  </a:lnTo>
                  <a:lnTo>
                    <a:pt x="24" y="134"/>
                  </a:lnTo>
                  <a:lnTo>
                    <a:pt x="30" y="128"/>
                  </a:lnTo>
                  <a:lnTo>
                    <a:pt x="30" y="130"/>
                  </a:lnTo>
                  <a:lnTo>
                    <a:pt x="28" y="138"/>
                  </a:lnTo>
                  <a:lnTo>
                    <a:pt x="28" y="142"/>
                  </a:lnTo>
                  <a:lnTo>
                    <a:pt x="40" y="162"/>
                  </a:lnTo>
                  <a:lnTo>
                    <a:pt x="58" y="170"/>
                  </a:lnTo>
                  <a:lnTo>
                    <a:pt x="62" y="172"/>
                  </a:lnTo>
                  <a:lnTo>
                    <a:pt x="66" y="170"/>
                  </a:lnTo>
                  <a:lnTo>
                    <a:pt x="66" y="172"/>
                  </a:lnTo>
                  <a:lnTo>
                    <a:pt x="66" y="176"/>
                  </a:lnTo>
                  <a:lnTo>
                    <a:pt x="72" y="182"/>
                  </a:lnTo>
                  <a:lnTo>
                    <a:pt x="80" y="188"/>
                  </a:lnTo>
                  <a:lnTo>
                    <a:pt x="84" y="188"/>
                  </a:lnTo>
                  <a:lnTo>
                    <a:pt x="88" y="184"/>
                  </a:lnTo>
                  <a:lnTo>
                    <a:pt x="88" y="184"/>
                  </a:lnTo>
                  <a:lnTo>
                    <a:pt x="88" y="190"/>
                  </a:lnTo>
                  <a:lnTo>
                    <a:pt x="90" y="194"/>
                  </a:lnTo>
                  <a:lnTo>
                    <a:pt x="90" y="204"/>
                  </a:lnTo>
                  <a:lnTo>
                    <a:pt x="88" y="210"/>
                  </a:lnTo>
                  <a:lnTo>
                    <a:pt x="96" y="210"/>
                  </a:lnTo>
                  <a:lnTo>
                    <a:pt x="106" y="218"/>
                  </a:lnTo>
                  <a:lnTo>
                    <a:pt x="108" y="222"/>
                  </a:lnTo>
                  <a:lnTo>
                    <a:pt x="108" y="226"/>
                  </a:lnTo>
                  <a:lnTo>
                    <a:pt x="114" y="232"/>
                  </a:lnTo>
                  <a:lnTo>
                    <a:pt x="116" y="234"/>
                  </a:lnTo>
                  <a:lnTo>
                    <a:pt x="114" y="240"/>
                  </a:lnTo>
                  <a:lnTo>
                    <a:pt x="114" y="242"/>
                  </a:lnTo>
                  <a:lnTo>
                    <a:pt x="118" y="242"/>
                  </a:lnTo>
                  <a:lnTo>
                    <a:pt x="122" y="242"/>
                  </a:lnTo>
                  <a:lnTo>
                    <a:pt x="126" y="242"/>
                  </a:lnTo>
                  <a:lnTo>
                    <a:pt x="128" y="242"/>
                  </a:lnTo>
                  <a:lnTo>
                    <a:pt x="132" y="240"/>
                  </a:lnTo>
                  <a:lnTo>
                    <a:pt x="134" y="236"/>
                  </a:lnTo>
                  <a:lnTo>
                    <a:pt x="136" y="228"/>
                  </a:lnTo>
                  <a:lnTo>
                    <a:pt x="146" y="226"/>
                  </a:lnTo>
                  <a:lnTo>
                    <a:pt x="150" y="222"/>
                  </a:lnTo>
                  <a:lnTo>
                    <a:pt x="154" y="214"/>
                  </a:lnTo>
                  <a:lnTo>
                    <a:pt x="156" y="208"/>
                  </a:lnTo>
                  <a:lnTo>
                    <a:pt x="158" y="206"/>
                  </a:lnTo>
                  <a:lnTo>
                    <a:pt x="160" y="204"/>
                  </a:lnTo>
                  <a:lnTo>
                    <a:pt x="160" y="202"/>
                  </a:lnTo>
                  <a:lnTo>
                    <a:pt x="162" y="200"/>
                  </a:lnTo>
                  <a:lnTo>
                    <a:pt x="166" y="194"/>
                  </a:lnTo>
                  <a:lnTo>
                    <a:pt x="166" y="188"/>
                  </a:lnTo>
                  <a:lnTo>
                    <a:pt x="172" y="186"/>
                  </a:lnTo>
                  <a:lnTo>
                    <a:pt x="182" y="184"/>
                  </a:lnTo>
                  <a:lnTo>
                    <a:pt x="190" y="188"/>
                  </a:lnTo>
                  <a:lnTo>
                    <a:pt x="204" y="184"/>
                  </a:lnTo>
                  <a:lnTo>
                    <a:pt x="206" y="180"/>
                  </a:lnTo>
                  <a:lnTo>
                    <a:pt x="218" y="180"/>
                  </a:lnTo>
                  <a:lnTo>
                    <a:pt x="234" y="180"/>
                  </a:lnTo>
                  <a:lnTo>
                    <a:pt x="248" y="180"/>
                  </a:lnTo>
                  <a:lnTo>
                    <a:pt x="252" y="180"/>
                  </a:lnTo>
                  <a:lnTo>
                    <a:pt x="254" y="184"/>
                  </a:lnTo>
                  <a:lnTo>
                    <a:pt x="258" y="190"/>
                  </a:lnTo>
                  <a:lnTo>
                    <a:pt x="262" y="194"/>
                  </a:lnTo>
                  <a:lnTo>
                    <a:pt x="268" y="202"/>
                  </a:lnTo>
                  <a:lnTo>
                    <a:pt x="274" y="212"/>
                  </a:lnTo>
                  <a:lnTo>
                    <a:pt x="280" y="220"/>
                  </a:lnTo>
                  <a:lnTo>
                    <a:pt x="286" y="226"/>
                  </a:lnTo>
                  <a:lnTo>
                    <a:pt x="286" y="226"/>
                  </a:lnTo>
                  <a:lnTo>
                    <a:pt x="286" y="228"/>
                  </a:lnTo>
                  <a:lnTo>
                    <a:pt x="284" y="234"/>
                  </a:lnTo>
                  <a:lnTo>
                    <a:pt x="282" y="238"/>
                  </a:lnTo>
                  <a:lnTo>
                    <a:pt x="282" y="240"/>
                  </a:lnTo>
                  <a:lnTo>
                    <a:pt x="282" y="240"/>
                  </a:lnTo>
                  <a:lnTo>
                    <a:pt x="290" y="242"/>
                  </a:lnTo>
                  <a:lnTo>
                    <a:pt x="290" y="248"/>
                  </a:lnTo>
                  <a:lnTo>
                    <a:pt x="290" y="254"/>
                  </a:lnTo>
                  <a:lnTo>
                    <a:pt x="294" y="262"/>
                  </a:lnTo>
                  <a:lnTo>
                    <a:pt x="298" y="266"/>
                  </a:lnTo>
                  <a:lnTo>
                    <a:pt x="298" y="268"/>
                  </a:lnTo>
                  <a:lnTo>
                    <a:pt x="290" y="278"/>
                  </a:lnTo>
                  <a:lnTo>
                    <a:pt x="286" y="286"/>
                  </a:lnTo>
                  <a:lnTo>
                    <a:pt x="284" y="288"/>
                  </a:lnTo>
                  <a:lnTo>
                    <a:pt x="284" y="290"/>
                  </a:lnTo>
                  <a:lnTo>
                    <a:pt x="286" y="292"/>
                  </a:lnTo>
                  <a:lnTo>
                    <a:pt x="288" y="290"/>
                  </a:lnTo>
                  <a:lnTo>
                    <a:pt x="290" y="292"/>
                  </a:lnTo>
                  <a:lnTo>
                    <a:pt x="294" y="292"/>
                  </a:lnTo>
                  <a:lnTo>
                    <a:pt x="298" y="288"/>
                  </a:lnTo>
                  <a:lnTo>
                    <a:pt x="304" y="280"/>
                  </a:lnTo>
                  <a:lnTo>
                    <a:pt x="306" y="280"/>
                  </a:lnTo>
                  <a:lnTo>
                    <a:pt x="312" y="280"/>
                  </a:lnTo>
                  <a:lnTo>
                    <a:pt x="316" y="280"/>
                  </a:lnTo>
                  <a:lnTo>
                    <a:pt x="320" y="278"/>
                  </a:lnTo>
                  <a:lnTo>
                    <a:pt x="324" y="278"/>
                  </a:lnTo>
                  <a:lnTo>
                    <a:pt x="326" y="282"/>
                  </a:lnTo>
                  <a:lnTo>
                    <a:pt x="326" y="284"/>
                  </a:lnTo>
                  <a:lnTo>
                    <a:pt x="344" y="278"/>
                  </a:lnTo>
                  <a:lnTo>
                    <a:pt x="344" y="276"/>
                  </a:lnTo>
                  <a:lnTo>
                    <a:pt x="346" y="276"/>
                  </a:lnTo>
                  <a:lnTo>
                    <a:pt x="348" y="282"/>
                  </a:lnTo>
                  <a:lnTo>
                    <a:pt x="348" y="282"/>
                  </a:lnTo>
                  <a:lnTo>
                    <a:pt x="350" y="280"/>
                  </a:lnTo>
                  <a:lnTo>
                    <a:pt x="352" y="280"/>
                  </a:lnTo>
                  <a:lnTo>
                    <a:pt x="352" y="282"/>
                  </a:lnTo>
                  <a:lnTo>
                    <a:pt x="354" y="284"/>
                  </a:lnTo>
                  <a:lnTo>
                    <a:pt x="356" y="286"/>
                  </a:lnTo>
                  <a:lnTo>
                    <a:pt x="360" y="288"/>
                  </a:lnTo>
                  <a:lnTo>
                    <a:pt x="362" y="290"/>
                  </a:lnTo>
                  <a:lnTo>
                    <a:pt x="362" y="296"/>
                  </a:lnTo>
                  <a:lnTo>
                    <a:pt x="362" y="300"/>
                  </a:lnTo>
                  <a:lnTo>
                    <a:pt x="364" y="302"/>
                  </a:lnTo>
                  <a:lnTo>
                    <a:pt x="366" y="306"/>
                  </a:lnTo>
                  <a:lnTo>
                    <a:pt x="366" y="308"/>
                  </a:lnTo>
                  <a:lnTo>
                    <a:pt x="366" y="310"/>
                  </a:lnTo>
                  <a:lnTo>
                    <a:pt x="368" y="314"/>
                  </a:lnTo>
                  <a:lnTo>
                    <a:pt x="366" y="318"/>
                  </a:lnTo>
                  <a:lnTo>
                    <a:pt x="368" y="322"/>
                  </a:lnTo>
                  <a:lnTo>
                    <a:pt x="370" y="326"/>
                  </a:lnTo>
                  <a:lnTo>
                    <a:pt x="372" y="332"/>
                  </a:lnTo>
                  <a:lnTo>
                    <a:pt x="372" y="336"/>
                  </a:lnTo>
                  <a:lnTo>
                    <a:pt x="370" y="340"/>
                  </a:lnTo>
                  <a:lnTo>
                    <a:pt x="370" y="344"/>
                  </a:lnTo>
                  <a:lnTo>
                    <a:pt x="366" y="350"/>
                  </a:lnTo>
                  <a:lnTo>
                    <a:pt x="366" y="350"/>
                  </a:lnTo>
                  <a:lnTo>
                    <a:pt x="368" y="352"/>
                  </a:lnTo>
                  <a:lnTo>
                    <a:pt x="370" y="352"/>
                  </a:lnTo>
                  <a:lnTo>
                    <a:pt x="372" y="352"/>
                  </a:lnTo>
                  <a:lnTo>
                    <a:pt x="378" y="354"/>
                  </a:lnTo>
                  <a:lnTo>
                    <a:pt x="382" y="356"/>
                  </a:lnTo>
                  <a:lnTo>
                    <a:pt x="384" y="360"/>
                  </a:lnTo>
                  <a:lnTo>
                    <a:pt x="388" y="362"/>
                  </a:lnTo>
                  <a:lnTo>
                    <a:pt x="388" y="364"/>
                  </a:lnTo>
                  <a:lnTo>
                    <a:pt x="392" y="364"/>
                  </a:lnTo>
                  <a:lnTo>
                    <a:pt x="398" y="362"/>
                  </a:lnTo>
                  <a:lnTo>
                    <a:pt x="398" y="360"/>
                  </a:lnTo>
                  <a:lnTo>
                    <a:pt x="400" y="360"/>
                  </a:lnTo>
                  <a:lnTo>
                    <a:pt x="404" y="360"/>
                  </a:lnTo>
                  <a:lnTo>
                    <a:pt x="406" y="358"/>
                  </a:lnTo>
                  <a:lnTo>
                    <a:pt x="408" y="352"/>
                  </a:lnTo>
                  <a:lnTo>
                    <a:pt x="412" y="348"/>
                  </a:lnTo>
                  <a:lnTo>
                    <a:pt x="414" y="346"/>
                  </a:lnTo>
                  <a:lnTo>
                    <a:pt x="414" y="342"/>
                  </a:lnTo>
                  <a:lnTo>
                    <a:pt x="414" y="338"/>
                  </a:lnTo>
                  <a:lnTo>
                    <a:pt x="416" y="334"/>
                  </a:lnTo>
                  <a:lnTo>
                    <a:pt x="418" y="332"/>
                  </a:lnTo>
                  <a:lnTo>
                    <a:pt x="422" y="332"/>
                  </a:lnTo>
                  <a:lnTo>
                    <a:pt x="424" y="334"/>
                  </a:lnTo>
                  <a:lnTo>
                    <a:pt x="424" y="338"/>
                  </a:lnTo>
                  <a:lnTo>
                    <a:pt x="428" y="340"/>
                  </a:lnTo>
                  <a:lnTo>
                    <a:pt x="430" y="342"/>
                  </a:lnTo>
                  <a:lnTo>
                    <a:pt x="434" y="338"/>
                  </a:lnTo>
                  <a:lnTo>
                    <a:pt x="438" y="340"/>
                  </a:lnTo>
                  <a:lnTo>
                    <a:pt x="446" y="342"/>
                  </a:lnTo>
                  <a:lnTo>
                    <a:pt x="448" y="340"/>
                  </a:lnTo>
                  <a:lnTo>
                    <a:pt x="454" y="328"/>
                  </a:lnTo>
                  <a:lnTo>
                    <a:pt x="454" y="324"/>
                  </a:lnTo>
                  <a:lnTo>
                    <a:pt x="454" y="322"/>
                  </a:lnTo>
                  <a:lnTo>
                    <a:pt x="456" y="314"/>
                  </a:lnTo>
                  <a:lnTo>
                    <a:pt x="460" y="310"/>
                  </a:lnTo>
                  <a:lnTo>
                    <a:pt x="460" y="308"/>
                  </a:lnTo>
                  <a:lnTo>
                    <a:pt x="460" y="302"/>
                  </a:lnTo>
                  <a:lnTo>
                    <a:pt x="458" y="302"/>
                  </a:lnTo>
                  <a:lnTo>
                    <a:pt x="456" y="302"/>
                  </a:lnTo>
                  <a:lnTo>
                    <a:pt x="452" y="300"/>
                  </a:lnTo>
                  <a:lnTo>
                    <a:pt x="448" y="298"/>
                  </a:lnTo>
                  <a:lnTo>
                    <a:pt x="444" y="296"/>
                  </a:lnTo>
                  <a:lnTo>
                    <a:pt x="446" y="286"/>
                  </a:lnTo>
                  <a:lnTo>
                    <a:pt x="446" y="282"/>
                  </a:lnTo>
                  <a:lnTo>
                    <a:pt x="448" y="280"/>
                  </a:lnTo>
                  <a:lnTo>
                    <a:pt x="450" y="280"/>
                  </a:lnTo>
                  <a:lnTo>
                    <a:pt x="458" y="280"/>
                  </a:lnTo>
                  <a:lnTo>
                    <a:pt x="464" y="280"/>
                  </a:lnTo>
                  <a:lnTo>
                    <a:pt x="470" y="282"/>
                  </a:lnTo>
                  <a:lnTo>
                    <a:pt x="474" y="282"/>
                  </a:lnTo>
                  <a:lnTo>
                    <a:pt x="476" y="284"/>
                  </a:lnTo>
                  <a:lnTo>
                    <a:pt x="478" y="288"/>
                  </a:lnTo>
                  <a:lnTo>
                    <a:pt x="482" y="288"/>
                  </a:lnTo>
                  <a:lnTo>
                    <a:pt x="482" y="286"/>
                  </a:lnTo>
                  <a:lnTo>
                    <a:pt x="482" y="276"/>
                  </a:lnTo>
                  <a:lnTo>
                    <a:pt x="480" y="270"/>
                  </a:lnTo>
                  <a:lnTo>
                    <a:pt x="476" y="264"/>
                  </a:lnTo>
                  <a:lnTo>
                    <a:pt x="464" y="260"/>
                  </a:lnTo>
                  <a:lnTo>
                    <a:pt x="464" y="254"/>
                  </a:lnTo>
                  <a:lnTo>
                    <a:pt x="466" y="248"/>
                  </a:lnTo>
                  <a:lnTo>
                    <a:pt x="468" y="244"/>
                  </a:lnTo>
                  <a:lnTo>
                    <a:pt x="476" y="240"/>
                  </a:lnTo>
                  <a:lnTo>
                    <a:pt x="474" y="238"/>
                  </a:lnTo>
                  <a:lnTo>
                    <a:pt x="472" y="236"/>
                  </a:lnTo>
                  <a:lnTo>
                    <a:pt x="468" y="234"/>
                  </a:lnTo>
                  <a:lnTo>
                    <a:pt x="468" y="226"/>
                  </a:lnTo>
                  <a:lnTo>
                    <a:pt x="468" y="218"/>
                  </a:lnTo>
                  <a:lnTo>
                    <a:pt x="464" y="220"/>
                  </a:lnTo>
                  <a:lnTo>
                    <a:pt x="460" y="220"/>
                  </a:lnTo>
                  <a:lnTo>
                    <a:pt x="456" y="218"/>
                  </a:lnTo>
                  <a:lnTo>
                    <a:pt x="452" y="214"/>
                  </a:lnTo>
                  <a:lnTo>
                    <a:pt x="452" y="202"/>
                  </a:lnTo>
                  <a:lnTo>
                    <a:pt x="452" y="188"/>
                  </a:lnTo>
                  <a:lnTo>
                    <a:pt x="452" y="182"/>
                  </a:lnTo>
                  <a:lnTo>
                    <a:pt x="452" y="178"/>
                  </a:lnTo>
                  <a:lnTo>
                    <a:pt x="456" y="176"/>
                  </a:lnTo>
                  <a:lnTo>
                    <a:pt x="460" y="172"/>
                  </a:lnTo>
                  <a:lnTo>
                    <a:pt x="462" y="168"/>
                  </a:lnTo>
                  <a:lnTo>
                    <a:pt x="464" y="164"/>
                  </a:lnTo>
                  <a:lnTo>
                    <a:pt x="462" y="162"/>
                  </a:lnTo>
                  <a:lnTo>
                    <a:pt x="462" y="158"/>
                  </a:lnTo>
                  <a:lnTo>
                    <a:pt x="446" y="150"/>
                  </a:lnTo>
                  <a:lnTo>
                    <a:pt x="444" y="148"/>
                  </a:lnTo>
                  <a:lnTo>
                    <a:pt x="442" y="138"/>
                  </a:lnTo>
                  <a:lnTo>
                    <a:pt x="440" y="130"/>
                  </a:lnTo>
                  <a:lnTo>
                    <a:pt x="440" y="124"/>
                  </a:lnTo>
                  <a:lnTo>
                    <a:pt x="442" y="120"/>
                  </a:lnTo>
                  <a:lnTo>
                    <a:pt x="442" y="116"/>
                  </a:lnTo>
                  <a:lnTo>
                    <a:pt x="440" y="114"/>
                  </a:lnTo>
                  <a:lnTo>
                    <a:pt x="436" y="110"/>
                  </a:lnTo>
                  <a:lnTo>
                    <a:pt x="430" y="110"/>
                  </a:lnTo>
                  <a:lnTo>
                    <a:pt x="424" y="114"/>
                  </a:lnTo>
                  <a:lnTo>
                    <a:pt x="422" y="114"/>
                  </a:lnTo>
                  <a:lnTo>
                    <a:pt x="420" y="114"/>
                  </a:lnTo>
                  <a:lnTo>
                    <a:pt x="418" y="112"/>
                  </a:lnTo>
                  <a:lnTo>
                    <a:pt x="418" y="110"/>
                  </a:lnTo>
                  <a:lnTo>
                    <a:pt x="424" y="102"/>
                  </a:lnTo>
                  <a:lnTo>
                    <a:pt x="428" y="98"/>
                  </a:lnTo>
                  <a:lnTo>
                    <a:pt x="432" y="94"/>
                  </a:lnTo>
                  <a:lnTo>
                    <a:pt x="434" y="92"/>
                  </a:lnTo>
                  <a:lnTo>
                    <a:pt x="436" y="90"/>
                  </a:lnTo>
                  <a:lnTo>
                    <a:pt x="436" y="88"/>
                  </a:lnTo>
                  <a:lnTo>
                    <a:pt x="434" y="88"/>
                  </a:lnTo>
                  <a:lnTo>
                    <a:pt x="430" y="86"/>
                  </a:lnTo>
                  <a:lnTo>
                    <a:pt x="424" y="80"/>
                  </a:lnTo>
                  <a:lnTo>
                    <a:pt x="420" y="80"/>
                  </a:lnTo>
                  <a:lnTo>
                    <a:pt x="418" y="78"/>
                  </a:lnTo>
                  <a:lnTo>
                    <a:pt x="414" y="72"/>
                  </a:lnTo>
                  <a:lnTo>
                    <a:pt x="414" y="70"/>
                  </a:lnTo>
                  <a:lnTo>
                    <a:pt x="410" y="70"/>
                  </a:lnTo>
                  <a:lnTo>
                    <a:pt x="408" y="68"/>
                  </a:lnTo>
                  <a:lnTo>
                    <a:pt x="408" y="52"/>
                  </a:lnTo>
                  <a:lnTo>
                    <a:pt x="402" y="38"/>
                  </a:lnTo>
                  <a:lnTo>
                    <a:pt x="400" y="30"/>
                  </a:lnTo>
                  <a:lnTo>
                    <a:pt x="396" y="22"/>
                  </a:lnTo>
                  <a:lnTo>
                    <a:pt x="394" y="20"/>
                  </a:lnTo>
                  <a:lnTo>
                    <a:pt x="388" y="16"/>
                  </a:lnTo>
                  <a:lnTo>
                    <a:pt x="382" y="14"/>
                  </a:lnTo>
                  <a:lnTo>
                    <a:pt x="376" y="14"/>
                  </a:lnTo>
                  <a:lnTo>
                    <a:pt x="372" y="14"/>
                  </a:lnTo>
                  <a:lnTo>
                    <a:pt x="370" y="14"/>
                  </a:lnTo>
                  <a:lnTo>
                    <a:pt x="370" y="16"/>
                  </a:lnTo>
                  <a:lnTo>
                    <a:pt x="374" y="22"/>
                  </a:lnTo>
                  <a:lnTo>
                    <a:pt x="374" y="24"/>
                  </a:lnTo>
                  <a:lnTo>
                    <a:pt x="374" y="28"/>
                  </a:lnTo>
                  <a:lnTo>
                    <a:pt x="372" y="28"/>
                  </a:lnTo>
                  <a:lnTo>
                    <a:pt x="370" y="30"/>
                  </a:lnTo>
                  <a:lnTo>
                    <a:pt x="364" y="30"/>
                  </a:lnTo>
                  <a:lnTo>
                    <a:pt x="358" y="34"/>
                  </a:lnTo>
                  <a:lnTo>
                    <a:pt x="352" y="36"/>
                  </a:lnTo>
                  <a:lnTo>
                    <a:pt x="350" y="44"/>
                  </a:lnTo>
                  <a:lnTo>
                    <a:pt x="346" y="44"/>
                  </a:lnTo>
                  <a:lnTo>
                    <a:pt x="342" y="44"/>
                  </a:lnTo>
                  <a:lnTo>
                    <a:pt x="330" y="38"/>
                  </a:lnTo>
                  <a:lnTo>
                    <a:pt x="320" y="34"/>
                  </a:lnTo>
                  <a:lnTo>
                    <a:pt x="312" y="32"/>
                  </a:lnTo>
                  <a:lnTo>
                    <a:pt x="308" y="34"/>
                  </a:lnTo>
                  <a:lnTo>
                    <a:pt x="306" y="34"/>
                  </a:lnTo>
                  <a:lnTo>
                    <a:pt x="300" y="36"/>
                  </a:lnTo>
                  <a:lnTo>
                    <a:pt x="292" y="46"/>
                  </a:lnTo>
                  <a:lnTo>
                    <a:pt x="290" y="50"/>
                  </a:lnTo>
                  <a:lnTo>
                    <a:pt x="288" y="52"/>
                  </a:lnTo>
                  <a:lnTo>
                    <a:pt x="286" y="52"/>
                  </a:lnTo>
                  <a:lnTo>
                    <a:pt x="284" y="52"/>
                  </a:lnTo>
                  <a:lnTo>
                    <a:pt x="282" y="52"/>
                  </a:lnTo>
                  <a:lnTo>
                    <a:pt x="282" y="50"/>
                  </a:lnTo>
                  <a:lnTo>
                    <a:pt x="278" y="44"/>
                  </a:lnTo>
                  <a:lnTo>
                    <a:pt x="274" y="36"/>
                  </a:lnTo>
                  <a:lnTo>
                    <a:pt x="270" y="32"/>
                  </a:lnTo>
                  <a:lnTo>
                    <a:pt x="264" y="32"/>
                  </a:lnTo>
                  <a:lnTo>
                    <a:pt x="260" y="34"/>
                  </a:lnTo>
                  <a:lnTo>
                    <a:pt x="256" y="40"/>
                  </a:lnTo>
                  <a:lnTo>
                    <a:pt x="252" y="44"/>
                  </a:lnTo>
                  <a:lnTo>
                    <a:pt x="248" y="46"/>
                  </a:lnTo>
                  <a:lnTo>
                    <a:pt x="246" y="44"/>
                  </a:lnTo>
                  <a:lnTo>
                    <a:pt x="238" y="38"/>
                  </a:lnTo>
                  <a:lnTo>
                    <a:pt x="232" y="34"/>
                  </a:lnTo>
                  <a:lnTo>
                    <a:pt x="232" y="32"/>
                  </a:lnTo>
                  <a:lnTo>
                    <a:pt x="234" y="30"/>
                  </a:lnTo>
                  <a:lnTo>
                    <a:pt x="236" y="24"/>
                  </a:lnTo>
                  <a:lnTo>
                    <a:pt x="238" y="20"/>
                  </a:lnTo>
                  <a:lnTo>
                    <a:pt x="240"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31" name="Google Shape;4598;p64">
              <a:extLst>
                <a:ext uri="{FF2B5EF4-FFF2-40B4-BE49-F238E27FC236}">
                  <a16:creationId xmlns:a16="http://schemas.microsoft.com/office/drawing/2014/main" id="{6831DD71-1569-ADEF-6803-D43367CDFD08}"/>
                </a:ext>
              </a:extLst>
            </p:cNvPr>
            <p:cNvCxnSpPr/>
            <p:nvPr/>
          </p:nvCxnSpPr>
          <p:spPr>
            <a:xfrm>
              <a:off x="4280161" y="4720361"/>
              <a:ext cx="0" cy="0"/>
            </a:xfrm>
            <a:prstGeom prst="straightConnector1">
              <a:avLst/>
            </a:prstGeom>
            <a:grpFill/>
            <a:ln w="9525" cap="flat" cmpd="sng">
              <a:solidFill>
                <a:schemeClr val="bg2"/>
              </a:solidFill>
              <a:prstDash val="solid"/>
              <a:round/>
              <a:headEnd type="none" w="med" len="med"/>
              <a:tailEnd type="none" w="med" len="med"/>
            </a:ln>
          </p:spPr>
        </p:cxnSp>
        <p:cxnSp>
          <p:nvCxnSpPr>
            <p:cNvPr id="132" name="Google Shape;4599;p64">
              <a:extLst>
                <a:ext uri="{FF2B5EF4-FFF2-40B4-BE49-F238E27FC236}">
                  <a16:creationId xmlns:a16="http://schemas.microsoft.com/office/drawing/2014/main" id="{046BB8FC-51A1-0340-0961-06A51A49F3D6}"/>
                </a:ext>
              </a:extLst>
            </p:cNvPr>
            <p:cNvCxnSpPr/>
            <p:nvPr/>
          </p:nvCxnSpPr>
          <p:spPr>
            <a:xfrm>
              <a:off x="4280161" y="4720361"/>
              <a:ext cx="0" cy="0"/>
            </a:xfrm>
            <a:prstGeom prst="straightConnector1">
              <a:avLst/>
            </a:prstGeom>
            <a:grpFill/>
            <a:ln w="9525" cap="flat" cmpd="sng">
              <a:solidFill>
                <a:schemeClr val="bg2"/>
              </a:solidFill>
              <a:prstDash val="solid"/>
              <a:round/>
              <a:headEnd type="none" w="med" len="med"/>
              <a:tailEnd type="none" w="med" len="med"/>
            </a:ln>
          </p:spPr>
        </p:cxnSp>
        <p:sp>
          <p:nvSpPr>
            <p:cNvPr id="133" name="Google Shape;4600;p64">
              <a:extLst>
                <a:ext uri="{FF2B5EF4-FFF2-40B4-BE49-F238E27FC236}">
                  <a16:creationId xmlns:a16="http://schemas.microsoft.com/office/drawing/2014/main" id="{E1D759E8-9AC7-253E-FF58-397CDA040349}"/>
                </a:ext>
              </a:extLst>
            </p:cNvPr>
            <p:cNvSpPr/>
            <p:nvPr/>
          </p:nvSpPr>
          <p:spPr>
            <a:xfrm>
              <a:off x="4163337" y="4689514"/>
              <a:ext cx="64319" cy="16408"/>
            </a:xfrm>
            <a:custGeom>
              <a:avLst/>
              <a:gdLst/>
              <a:ahLst/>
              <a:cxnLst/>
              <a:rect l="l" t="t" r="r" b="b"/>
              <a:pathLst>
                <a:path w="196" h="50" extrusionOk="0">
                  <a:moveTo>
                    <a:pt x="4" y="50"/>
                  </a:moveTo>
                  <a:lnTo>
                    <a:pt x="8" y="46"/>
                  </a:lnTo>
                  <a:lnTo>
                    <a:pt x="10" y="44"/>
                  </a:lnTo>
                  <a:lnTo>
                    <a:pt x="24" y="44"/>
                  </a:lnTo>
                  <a:lnTo>
                    <a:pt x="52" y="44"/>
                  </a:lnTo>
                  <a:lnTo>
                    <a:pt x="64" y="44"/>
                  </a:lnTo>
                  <a:lnTo>
                    <a:pt x="66" y="32"/>
                  </a:lnTo>
                  <a:lnTo>
                    <a:pt x="70" y="32"/>
                  </a:lnTo>
                  <a:lnTo>
                    <a:pt x="76" y="30"/>
                  </a:lnTo>
                  <a:lnTo>
                    <a:pt x="88" y="30"/>
                  </a:lnTo>
                  <a:lnTo>
                    <a:pt x="100" y="28"/>
                  </a:lnTo>
                  <a:lnTo>
                    <a:pt x="102" y="26"/>
                  </a:lnTo>
                  <a:lnTo>
                    <a:pt x="104" y="22"/>
                  </a:lnTo>
                  <a:lnTo>
                    <a:pt x="106" y="18"/>
                  </a:lnTo>
                  <a:lnTo>
                    <a:pt x="108" y="18"/>
                  </a:lnTo>
                  <a:lnTo>
                    <a:pt x="112" y="18"/>
                  </a:lnTo>
                  <a:lnTo>
                    <a:pt x="118" y="20"/>
                  </a:lnTo>
                  <a:lnTo>
                    <a:pt x="122" y="24"/>
                  </a:lnTo>
                  <a:lnTo>
                    <a:pt x="128" y="26"/>
                  </a:lnTo>
                  <a:lnTo>
                    <a:pt x="132" y="28"/>
                  </a:lnTo>
                  <a:lnTo>
                    <a:pt x="140" y="32"/>
                  </a:lnTo>
                  <a:lnTo>
                    <a:pt x="156" y="36"/>
                  </a:lnTo>
                  <a:lnTo>
                    <a:pt x="168" y="38"/>
                  </a:lnTo>
                  <a:lnTo>
                    <a:pt x="184" y="36"/>
                  </a:lnTo>
                  <a:lnTo>
                    <a:pt x="194" y="32"/>
                  </a:lnTo>
                  <a:lnTo>
                    <a:pt x="196" y="28"/>
                  </a:lnTo>
                  <a:lnTo>
                    <a:pt x="194" y="22"/>
                  </a:lnTo>
                  <a:lnTo>
                    <a:pt x="186" y="18"/>
                  </a:lnTo>
                  <a:lnTo>
                    <a:pt x="174" y="18"/>
                  </a:lnTo>
                  <a:lnTo>
                    <a:pt x="172" y="20"/>
                  </a:lnTo>
                  <a:lnTo>
                    <a:pt x="166" y="22"/>
                  </a:lnTo>
                  <a:lnTo>
                    <a:pt x="164" y="22"/>
                  </a:lnTo>
                  <a:lnTo>
                    <a:pt x="158" y="22"/>
                  </a:lnTo>
                  <a:lnTo>
                    <a:pt x="150" y="18"/>
                  </a:lnTo>
                  <a:lnTo>
                    <a:pt x="146" y="14"/>
                  </a:lnTo>
                  <a:lnTo>
                    <a:pt x="142" y="12"/>
                  </a:lnTo>
                  <a:lnTo>
                    <a:pt x="134" y="10"/>
                  </a:lnTo>
                  <a:lnTo>
                    <a:pt x="124" y="2"/>
                  </a:lnTo>
                  <a:lnTo>
                    <a:pt x="118" y="0"/>
                  </a:lnTo>
                  <a:lnTo>
                    <a:pt x="112" y="0"/>
                  </a:lnTo>
                  <a:lnTo>
                    <a:pt x="102" y="2"/>
                  </a:lnTo>
                  <a:lnTo>
                    <a:pt x="90" y="6"/>
                  </a:lnTo>
                  <a:lnTo>
                    <a:pt x="86" y="16"/>
                  </a:lnTo>
                  <a:lnTo>
                    <a:pt x="76" y="16"/>
                  </a:lnTo>
                  <a:lnTo>
                    <a:pt x="52" y="14"/>
                  </a:lnTo>
                  <a:lnTo>
                    <a:pt x="32" y="14"/>
                  </a:lnTo>
                  <a:lnTo>
                    <a:pt x="16" y="16"/>
                  </a:lnTo>
                  <a:lnTo>
                    <a:pt x="18" y="24"/>
                  </a:lnTo>
                  <a:lnTo>
                    <a:pt x="24" y="32"/>
                  </a:lnTo>
                  <a:lnTo>
                    <a:pt x="30" y="32"/>
                  </a:lnTo>
                  <a:lnTo>
                    <a:pt x="44" y="24"/>
                  </a:lnTo>
                  <a:lnTo>
                    <a:pt x="62" y="24"/>
                  </a:lnTo>
                  <a:lnTo>
                    <a:pt x="82" y="22"/>
                  </a:lnTo>
                  <a:lnTo>
                    <a:pt x="90" y="22"/>
                  </a:lnTo>
                  <a:lnTo>
                    <a:pt x="90" y="24"/>
                  </a:lnTo>
                  <a:lnTo>
                    <a:pt x="88" y="24"/>
                  </a:lnTo>
                  <a:lnTo>
                    <a:pt x="78" y="24"/>
                  </a:lnTo>
                  <a:lnTo>
                    <a:pt x="66" y="26"/>
                  </a:lnTo>
                  <a:lnTo>
                    <a:pt x="54" y="28"/>
                  </a:lnTo>
                  <a:lnTo>
                    <a:pt x="42" y="30"/>
                  </a:lnTo>
                  <a:lnTo>
                    <a:pt x="40" y="32"/>
                  </a:lnTo>
                  <a:lnTo>
                    <a:pt x="42" y="36"/>
                  </a:lnTo>
                  <a:lnTo>
                    <a:pt x="36" y="36"/>
                  </a:lnTo>
                  <a:lnTo>
                    <a:pt x="26" y="36"/>
                  </a:lnTo>
                  <a:lnTo>
                    <a:pt x="16" y="34"/>
                  </a:lnTo>
                  <a:lnTo>
                    <a:pt x="14" y="30"/>
                  </a:lnTo>
                  <a:lnTo>
                    <a:pt x="12" y="26"/>
                  </a:lnTo>
                  <a:lnTo>
                    <a:pt x="10" y="22"/>
                  </a:lnTo>
                  <a:lnTo>
                    <a:pt x="4" y="26"/>
                  </a:lnTo>
                  <a:lnTo>
                    <a:pt x="0" y="32"/>
                  </a:lnTo>
                  <a:lnTo>
                    <a:pt x="2" y="44"/>
                  </a:lnTo>
                  <a:lnTo>
                    <a:pt x="4" y="5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4" name="Google Shape;4601;p64">
              <a:extLst>
                <a:ext uri="{FF2B5EF4-FFF2-40B4-BE49-F238E27FC236}">
                  <a16:creationId xmlns:a16="http://schemas.microsoft.com/office/drawing/2014/main" id="{676FDC38-AD94-73ED-13D5-EE71A7565F95}"/>
                </a:ext>
              </a:extLst>
            </p:cNvPr>
            <p:cNvSpPr/>
            <p:nvPr/>
          </p:nvSpPr>
          <p:spPr>
            <a:xfrm>
              <a:off x="4181715" y="4747269"/>
              <a:ext cx="1313" cy="3281"/>
            </a:xfrm>
            <a:custGeom>
              <a:avLst/>
              <a:gdLst/>
              <a:ahLst/>
              <a:cxnLst/>
              <a:rect l="l" t="t" r="r" b="b"/>
              <a:pathLst>
                <a:path w="4" h="10" extrusionOk="0">
                  <a:moveTo>
                    <a:pt x="4" y="8"/>
                  </a:moveTo>
                  <a:lnTo>
                    <a:pt x="4" y="4"/>
                  </a:lnTo>
                  <a:lnTo>
                    <a:pt x="4" y="2"/>
                  </a:lnTo>
                  <a:lnTo>
                    <a:pt x="2" y="0"/>
                  </a:lnTo>
                  <a:lnTo>
                    <a:pt x="0" y="0"/>
                  </a:lnTo>
                  <a:lnTo>
                    <a:pt x="0" y="6"/>
                  </a:lnTo>
                  <a:lnTo>
                    <a:pt x="0" y="8"/>
                  </a:lnTo>
                  <a:lnTo>
                    <a:pt x="0" y="10"/>
                  </a:lnTo>
                  <a:lnTo>
                    <a:pt x="4" y="10"/>
                  </a:lnTo>
                  <a:lnTo>
                    <a:pt x="4"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5" name="Google Shape;4602;p64">
              <a:extLst>
                <a:ext uri="{FF2B5EF4-FFF2-40B4-BE49-F238E27FC236}">
                  <a16:creationId xmlns:a16="http://schemas.microsoft.com/office/drawing/2014/main" id="{924EEC77-FDC7-176A-C67B-DAA43CF21D81}"/>
                </a:ext>
              </a:extLst>
            </p:cNvPr>
            <p:cNvSpPr/>
            <p:nvPr/>
          </p:nvSpPr>
          <p:spPr>
            <a:xfrm>
              <a:off x="4175807" y="4747269"/>
              <a:ext cx="3938" cy="3281"/>
            </a:xfrm>
            <a:custGeom>
              <a:avLst/>
              <a:gdLst/>
              <a:ahLst/>
              <a:cxnLst/>
              <a:rect l="l" t="t" r="r" b="b"/>
              <a:pathLst>
                <a:path w="12" h="10" extrusionOk="0">
                  <a:moveTo>
                    <a:pt x="8" y="10"/>
                  </a:moveTo>
                  <a:lnTo>
                    <a:pt x="10" y="8"/>
                  </a:lnTo>
                  <a:lnTo>
                    <a:pt x="12" y="4"/>
                  </a:lnTo>
                  <a:lnTo>
                    <a:pt x="10" y="0"/>
                  </a:lnTo>
                  <a:lnTo>
                    <a:pt x="10" y="0"/>
                  </a:lnTo>
                  <a:lnTo>
                    <a:pt x="8" y="0"/>
                  </a:lnTo>
                  <a:lnTo>
                    <a:pt x="6" y="2"/>
                  </a:lnTo>
                  <a:lnTo>
                    <a:pt x="4" y="4"/>
                  </a:lnTo>
                  <a:lnTo>
                    <a:pt x="2" y="4"/>
                  </a:lnTo>
                  <a:lnTo>
                    <a:pt x="0" y="6"/>
                  </a:lnTo>
                  <a:lnTo>
                    <a:pt x="0" y="6"/>
                  </a:lnTo>
                  <a:lnTo>
                    <a:pt x="2" y="10"/>
                  </a:lnTo>
                  <a:lnTo>
                    <a:pt x="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6" name="Google Shape;4603;p64">
              <a:extLst>
                <a:ext uri="{FF2B5EF4-FFF2-40B4-BE49-F238E27FC236}">
                  <a16:creationId xmlns:a16="http://schemas.microsoft.com/office/drawing/2014/main" id="{5FD03F62-1774-A66B-4170-5AC3CF1139AE}"/>
                </a:ext>
              </a:extLst>
            </p:cNvPr>
            <p:cNvSpPr/>
            <p:nvPr/>
          </p:nvSpPr>
          <p:spPr>
            <a:xfrm>
              <a:off x="4185652" y="4744645"/>
              <a:ext cx="2625" cy="3281"/>
            </a:xfrm>
            <a:custGeom>
              <a:avLst/>
              <a:gdLst/>
              <a:ahLst/>
              <a:cxnLst/>
              <a:rect l="l" t="t" r="r" b="b"/>
              <a:pathLst>
                <a:path w="8" h="10" extrusionOk="0">
                  <a:moveTo>
                    <a:pt x="4" y="6"/>
                  </a:moveTo>
                  <a:lnTo>
                    <a:pt x="6" y="6"/>
                  </a:lnTo>
                  <a:lnTo>
                    <a:pt x="8" y="4"/>
                  </a:lnTo>
                  <a:lnTo>
                    <a:pt x="8" y="2"/>
                  </a:lnTo>
                  <a:lnTo>
                    <a:pt x="6" y="2"/>
                  </a:lnTo>
                  <a:lnTo>
                    <a:pt x="4" y="0"/>
                  </a:lnTo>
                  <a:lnTo>
                    <a:pt x="2" y="2"/>
                  </a:lnTo>
                  <a:lnTo>
                    <a:pt x="0" y="8"/>
                  </a:lnTo>
                  <a:lnTo>
                    <a:pt x="0" y="8"/>
                  </a:lnTo>
                  <a:lnTo>
                    <a:pt x="4" y="10"/>
                  </a:lnTo>
                  <a:lnTo>
                    <a:pt x="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7" name="Google Shape;4604;p64">
              <a:extLst>
                <a:ext uri="{FF2B5EF4-FFF2-40B4-BE49-F238E27FC236}">
                  <a16:creationId xmlns:a16="http://schemas.microsoft.com/office/drawing/2014/main" id="{BE832BEE-836F-780C-08BB-107EEBB0D329}"/>
                </a:ext>
              </a:extLst>
            </p:cNvPr>
            <p:cNvSpPr/>
            <p:nvPr/>
          </p:nvSpPr>
          <p:spPr>
            <a:xfrm>
              <a:off x="4180401" y="4738738"/>
              <a:ext cx="2625" cy="3281"/>
            </a:xfrm>
            <a:custGeom>
              <a:avLst/>
              <a:gdLst/>
              <a:ahLst/>
              <a:cxnLst/>
              <a:rect l="l" t="t" r="r" b="b"/>
              <a:pathLst>
                <a:path w="8" h="10" extrusionOk="0">
                  <a:moveTo>
                    <a:pt x="8" y="8"/>
                  </a:moveTo>
                  <a:lnTo>
                    <a:pt x="6" y="0"/>
                  </a:lnTo>
                  <a:lnTo>
                    <a:pt x="4" y="0"/>
                  </a:lnTo>
                  <a:lnTo>
                    <a:pt x="0" y="4"/>
                  </a:lnTo>
                  <a:lnTo>
                    <a:pt x="0" y="6"/>
                  </a:lnTo>
                  <a:lnTo>
                    <a:pt x="2" y="10"/>
                  </a:lnTo>
                  <a:lnTo>
                    <a:pt x="4" y="10"/>
                  </a:lnTo>
                  <a:lnTo>
                    <a:pt x="8"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8" name="Google Shape;4605;p64">
              <a:extLst>
                <a:ext uri="{FF2B5EF4-FFF2-40B4-BE49-F238E27FC236}">
                  <a16:creationId xmlns:a16="http://schemas.microsoft.com/office/drawing/2014/main" id="{5F6640B6-A01D-806D-FB9E-4D0A38AADA80}"/>
                </a:ext>
              </a:extLst>
            </p:cNvPr>
            <p:cNvSpPr/>
            <p:nvPr/>
          </p:nvSpPr>
          <p:spPr>
            <a:xfrm>
              <a:off x="4188933" y="4737425"/>
              <a:ext cx="2625" cy="2625"/>
            </a:xfrm>
            <a:custGeom>
              <a:avLst/>
              <a:gdLst/>
              <a:ahLst/>
              <a:cxnLst/>
              <a:rect l="l" t="t" r="r" b="b"/>
              <a:pathLst>
                <a:path w="8" h="8" extrusionOk="0">
                  <a:moveTo>
                    <a:pt x="4" y="8"/>
                  </a:moveTo>
                  <a:lnTo>
                    <a:pt x="6" y="6"/>
                  </a:lnTo>
                  <a:lnTo>
                    <a:pt x="8" y="6"/>
                  </a:lnTo>
                  <a:lnTo>
                    <a:pt x="8" y="0"/>
                  </a:lnTo>
                  <a:lnTo>
                    <a:pt x="6" y="2"/>
                  </a:lnTo>
                  <a:lnTo>
                    <a:pt x="0" y="8"/>
                  </a:lnTo>
                  <a:lnTo>
                    <a:pt x="4" y="8"/>
                  </a:lnTo>
                  <a:lnTo>
                    <a:pt x="4"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39" name="Google Shape;4606;p64">
              <a:extLst>
                <a:ext uri="{FF2B5EF4-FFF2-40B4-BE49-F238E27FC236}">
                  <a16:creationId xmlns:a16="http://schemas.microsoft.com/office/drawing/2014/main" id="{6CB5C3F4-1582-0E30-5C3C-7F30BAFFB830}"/>
                </a:ext>
              </a:extLst>
            </p:cNvPr>
            <p:cNvSpPr/>
            <p:nvPr/>
          </p:nvSpPr>
          <p:spPr>
            <a:xfrm>
              <a:off x="4177776" y="4732175"/>
              <a:ext cx="3281" cy="2625"/>
            </a:xfrm>
            <a:custGeom>
              <a:avLst/>
              <a:gdLst/>
              <a:ahLst/>
              <a:cxnLst/>
              <a:rect l="l" t="t" r="r" b="b"/>
              <a:pathLst>
                <a:path w="10" h="8" extrusionOk="0">
                  <a:moveTo>
                    <a:pt x="10" y="0"/>
                  </a:moveTo>
                  <a:lnTo>
                    <a:pt x="8" y="0"/>
                  </a:lnTo>
                  <a:lnTo>
                    <a:pt x="0" y="0"/>
                  </a:lnTo>
                  <a:lnTo>
                    <a:pt x="0" y="2"/>
                  </a:lnTo>
                  <a:lnTo>
                    <a:pt x="2" y="8"/>
                  </a:lnTo>
                  <a:lnTo>
                    <a:pt x="6" y="8"/>
                  </a:lnTo>
                  <a:lnTo>
                    <a:pt x="1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40" name="Google Shape;4607;p64">
              <a:extLst>
                <a:ext uri="{FF2B5EF4-FFF2-40B4-BE49-F238E27FC236}">
                  <a16:creationId xmlns:a16="http://schemas.microsoft.com/office/drawing/2014/main" id="{989319B0-A147-EBAB-60CB-24694F4C04BD}"/>
                </a:ext>
              </a:extLst>
            </p:cNvPr>
            <p:cNvSpPr/>
            <p:nvPr/>
          </p:nvSpPr>
          <p:spPr>
            <a:xfrm>
              <a:off x="4165306" y="4714454"/>
              <a:ext cx="65632" cy="38066"/>
            </a:xfrm>
            <a:custGeom>
              <a:avLst/>
              <a:gdLst/>
              <a:ahLst/>
              <a:cxnLst/>
              <a:rect l="l" t="t" r="r" b="b"/>
              <a:pathLst>
                <a:path w="200" h="116" extrusionOk="0">
                  <a:moveTo>
                    <a:pt x="200" y="14"/>
                  </a:moveTo>
                  <a:lnTo>
                    <a:pt x="196" y="6"/>
                  </a:lnTo>
                  <a:lnTo>
                    <a:pt x="196" y="0"/>
                  </a:lnTo>
                  <a:lnTo>
                    <a:pt x="156" y="0"/>
                  </a:lnTo>
                  <a:lnTo>
                    <a:pt x="132" y="0"/>
                  </a:lnTo>
                  <a:lnTo>
                    <a:pt x="100" y="0"/>
                  </a:lnTo>
                  <a:lnTo>
                    <a:pt x="88" y="6"/>
                  </a:lnTo>
                  <a:lnTo>
                    <a:pt x="76" y="14"/>
                  </a:lnTo>
                  <a:lnTo>
                    <a:pt x="58" y="16"/>
                  </a:lnTo>
                  <a:lnTo>
                    <a:pt x="38" y="16"/>
                  </a:lnTo>
                  <a:lnTo>
                    <a:pt x="32" y="16"/>
                  </a:lnTo>
                  <a:lnTo>
                    <a:pt x="24" y="20"/>
                  </a:lnTo>
                  <a:lnTo>
                    <a:pt x="20" y="22"/>
                  </a:lnTo>
                  <a:lnTo>
                    <a:pt x="12" y="22"/>
                  </a:lnTo>
                  <a:lnTo>
                    <a:pt x="4" y="22"/>
                  </a:lnTo>
                  <a:lnTo>
                    <a:pt x="0" y="22"/>
                  </a:lnTo>
                  <a:lnTo>
                    <a:pt x="18" y="32"/>
                  </a:lnTo>
                  <a:lnTo>
                    <a:pt x="26" y="30"/>
                  </a:lnTo>
                  <a:lnTo>
                    <a:pt x="32" y="30"/>
                  </a:lnTo>
                  <a:lnTo>
                    <a:pt x="30" y="32"/>
                  </a:lnTo>
                  <a:lnTo>
                    <a:pt x="26" y="36"/>
                  </a:lnTo>
                  <a:lnTo>
                    <a:pt x="26" y="42"/>
                  </a:lnTo>
                  <a:lnTo>
                    <a:pt x="30" y="48"/>
                  </a:lnTo>
                  <a:lnTo>
                    <a:pt x="38" y="52"/>
                  </a:lnTo>
                  <a:lnTo>
                    <a:pt x="50" y="48"/>
                  </a:lnTo>
                  <a:lnTo>
                    <a:pt x="52" y="50"/>
                  </a:lnTo>
                  <a:lnTo>
                    <a:pt x="54" y="52"/>
                  </a:lnTo>
                  <a:lnTo>
                    <a:pt x="52" y="60"/>
                  </a:lnTo>
                  <a:lnTo>
                    <a:pt x="60" y="62"/>
                  </a:lnTo>
                  <a:lnTo>
                    <a:pt x="70" y="58"/>
                  </a:lnTo>
                  <a:lnTo>
                    <a:pt x="80" y="52"/>
                  </a:lnTo>
                  <a:lnTo>
                    <a:pt x="84" y="50"/>
                  </a:lnTo>
                  <a:lnTo>
                    <a:pt x="100" y="50"/>
                  </a:lnTo>
                  <a:lnTo>
                    <a:pt x="106" y="48"/>
                  </a:lnTo>
                  <a:lnTo>
                    <a:pt x="108" y="48"/>
                  </a:lnTo>
                  <a:lnTo>
                    <a:pt x="108" y="50"/>
                  </a:lnTo>
                  <a:lnTo>
                    <a:pt x="106" y="52"/>
                  </a:lnTo>
                  <a:lnTo>
                    <a:pt x="104" y="52"/>
                  </a:lnTo>
                  <a:lnTo>
                    <a:pt x="100" y="54"/>
                  </a:lnTo>
                  <a:lnTo>
                    <a:pt x="86" y="54"/>
                  </a:lnTo>
                  <a:lnTo>
                    <a:pt x="82" y="56"/>
                  </a:lnTo>
                  <a:lnTo>
                    <a:pt x="80" y="60"/>
                  </a:lnTo>
                  <a:lnTo>
                    <a:pt x="80" y="64"/>
                  </a:lnTo>
                  <a:lnTo>
                    <a:pt x="86" y="72"/>
                  </a:lnTo>
                  <a:lnTo>
                    <a:pt x="90" y="72"/>
                  </a:lnTo>
                  <a:lnTo>
                    <a:pt x="92" y="68"/>
                  </a:lnTo>
                  <a:lnTo>
                    <a:pt x="98" y="68"/>
                  </a:lnTo>
                  <a:lnTo>
                    <a:pt x="104" y="68"/>
                  </a:lnTo>
                  <a:lnTo>
                    <a:pt x="108" y="74"/>
                  </a:lnTo>
                  <a:lnTo>
                    <a:pt x="102" y="74"/>
                  </a:lnTo>
                  <a:lnTo>
                    <a:pt x="96" y="74"/>
                  </a:lnTo>
                  <a:lnTo>
                    <a:pt x="84" y="80"/>
                  </a:lnTo>
                  <a:lnTo>
                    <a:pt x="82" y="86"/>
                  </a:lnTo>
                  <a:lnTo>
                    <a:pt x="84" y="86"/>
                  </a:lnTo>
                  <a:lnTo>
                    <a:pt x="86" y="86"/>
                  </a:lnTo>
                  <a:lnTo>
                    <a:pt x="90" y="86"/>
                  </a:lnTo>
                  <a:lnTo>
                    <a:pt x="90" y="88"/>
                  </a:lnTo>
                  <a:lnTo>
                    <a:pt x="86" y="90"/>
                  </a:lnTo>
                  <a:lnTo>
                    <a:pt x="86" y="96"/>
                  </a:lnTo>
                  <a:lnTo>
                    <a:pt x="86" y="98"/>
                  </a:lnTo>
                  <a:lnTo>
                    <a:pt x="92" y="102"/>
                  </a:lnTo>
                  <a:lnTo>
                    <a:pt x="96" y="102"/>
                  </a:lnTo>
                  <a:lnTo>
                    <a:pt x="98" y="102"/>
                  </a:lnTo>
                  <a:lnTo>
                    <a:pt x="98" y="110"/>
                  </a:lnTo>
                  <a:lnTo>
                    <a:pt x="100" y="110"/>
                  </a:lnTo>
                  <a:lnTo>
                    <a:pt x="106" y="104"/>
                  </a:lnTo>
                  <a:lnTo>
                    <a:pt x="110" y="104"/>
                  </a:lnTo>
                  <a:lnTo>
                    <a:pt x="106" y="112"/>
                  </a:lnTo>
                  <a:lnTo>
                    <a:pt x="110" y="116"/>
                  </a:lnTo>
                  <a:lnTo>
                    <a:pt x="112" y="114"/>
                  </a:lnTo>
                  <a:lnTo>
                    <a:pt x="116" y="108"/>
                  </a:lnTo>
                  <a:lnTo>
                    <a:pt x="128" y="86"/>
                  </a:lnTo>
                  <a:lnTo>
                    <a:pt x="132" y="80"/>
                  </a:lnTo>
                  <a:lnTo>
                    <a:pt x="134" y="78"/>
                  </a:lnTo>
                  <a:lnTo>
                    <a:pt x="138" y="78"/>
                  </a:lnTo>
                  <a:lnTo>
                    <a:pt x="148" y="76"/>
                  </a:lnTo>
                  <a:lnTo>
                    <a:pt x="156" y="70"/>
                  </a:lnTo>
                  <a:lnTo>
                    <a:pt x="160" y="68"/>
                  </a:lnTo>
                  <a:lnTo>
                    <a:pt x="170" y="70"/>
                  </a:lnTo>
                  <a:lnTo>
                    <a:pt x="182" y="68"/>
                  </a:lnTo>
                  <a:lnTo>
                    <a:pt x="196" y="64"/>
                  </a:lnTo>
                  <a:lnTo>
                    <a:pt x="196" y="58"/>
                  </a:lnTo>
                  <a:lnTo>
                    <a:pt x="196" y="48"/>
                  </a:lnTo>
                  <a:lnTo>
                    <a:pt x="196" y="46"/>
                  </a:lnTo>
                  <a:lnTo>
                    <a:pt x="190" y="42"/>
                  </a:lnTo>
                  <a:lnTo>
                    <a:pt x="188" y="40"/>
                  </a:lnTo>
                  <a:lnTo>
                    <a:pt x="184" y="36"/>
                  </a:lnTo>
                  <a:lnTo>
                    <a:pt x="182" y="34"/>
                  </a:lnTo>
                  <a:lnTo>
                    <a:pt x="182" y="32"/>
                  </a:lnTo>
                  <a:lnTo>
                    <a:pt x="188" y="28"/>
                  </a:lnTo>
                  <a:lnTo>
                    <a:pt x="194" y="28"/>
                  </a:lnTo>
                  <a:lnTo>
                    <a:pt x="196" y="28"/>
                  </a:lnTo>
                  <a:lnTo>
                    <a:pt x="198" y="26"/>
                  </a:lnTo>
                  <a:lnTo>
                    <a:pt x="200" y="20"/>
                  </a:lnTo>
                  <a:lnTo>
                    <a:pt x="200"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41" name="Google Shape;4608;p64">
              <a:extLst>
                <a:ext uri="{FF2B5EF4-FFF2-40B4-BE49-F238E27FC236}">
                  <a16:creationId xmlns:a16="http://schemas.microsoft.com/office/drawing/2014/main" id="{7F94F8BD-B049-A905-C54E-860ED27A9831}"/>
                </a:ext>
              </a:extLst>
            </p:cNvPr>
            <p:cNvCxnSpPr/>
            <p:nvPr/>
          </p:nvCxnSpPr>
          <p:spPr>
            <a:xfrm>
              <a:off x="4230937" y="4719047"/>
              <a:ext cx="0" cy="0"/>
            </a:xfrm>
            <a:prstGeom prst="straightConnector1">
              <a:avLst/>
            </a:prstGeom>
            <a:grpFill/>
            <a:ln w="9525" cap="flat" cmpd="sng">
              <a:solidFill>
                <a:schemeClr val="bg2"/>
              </a:solidFill>
              <a:prstDash val="solid"/>
              <a:round/>
              <a:headEnd type="none" w="med" len="med"/>
              <a:tailEnd type="none" w="med" len="med"/>
            </a:ln>
          </p:spPr>
        </p:cxnSp>
        <p:cxnSp>
          <p:nvCxnSpPr>
            <p:cNvPr id="142" name="Google Shape;4609;p64">
              <a:extLst>
                <a:ext uri="{FF2B5EF4-FFF2-40B4-BE49-F238E27FC236}">
                  <a16:creationId xmlns:a16="http://schemas.microsoft.com/office/drawing/2014/main" id="{145A3F8E-1456-284C-0B21-8075FBB2A2AB}"/>
                </a:ext>
              </a:extLst>
            </p:cNvPr>
            <p:cNvCxnSpPr/>
            <p:nvPr/>
          </p:nvCxnSpPr>
          <p:spPr>
            <a:xfrm>
              <a:off x="4230937" y="4719047"/>
              <a:ext cx="0" cy="0"/>
            </a:xfrm>
            <a:prstGeom prst="straightConnector1">
              <a:avLst/>
            </a:prstGeom>
            <a:grpFill/>
            <a:ln w="9525" cap="flat" cmpd="sng">
              <a:solidFill>
                <a:schemeClr val="bg2"/>
              </a:solidFill>
              <a:prstDash val="solid"/>
              <a:round/>
              <a:headEnd type="none" w="med" len="med"/>
              <a:tailEnd type="none" w="med" len="med"/>
            </a:ln>
          </p:spPr>
        </p:cxnSp>
        <p:sp>
          <p:nvSpPr>
            <p:cNvPr id="143" name="Google Shape;4610;p64">
              <a:extLst>
                <a:ext uri="{FF2B5EF4-FFF2-40B4-BE49-F238E27FC236}">
                  <a16:creationId xmlns:a16="http://schemas.microsoft.com/office/drawing/2014/main" id="{92FF206D-00F5-F643-E3AA-DFC144FCF36B}"/>
                </a:ext>
              </a:extLst>
            </p:cNvPr>
            <p:cNvSpPr/>
            <p:nvPr/>
          </p:nvSpPr>
          <p:spPr>
            <a:xfrm>
              <a:off x="4706109" y="4908723"/>
              <a:ext cx="63006" cy="60381"/>
            </a:xfrm>
            <a:custGeom>
              <a:avLst/>
              <a:gdLst/>
              <a:ahLst/>
              <a:cxnLst/>
              <a:rect l="l" t="t" r="r" b="b"/>
              <a:pathLst>
                <a:path w="457452" h="438392" extrusionOk="0">
                  <a:moveTo>
                    <a:pt x="214430" y="228724"/>
                  </a:moveTo>
                  <a:lnTo>
                    <a:pt x="219196" y="228724"/>
                  </a:lnTo>
                  <a:lnTo>
                    <a:pt x="219196" y="233490"/>
                  </a:lnTo>
                  <a:lnTo>
                    <a:pt x="223960" y="238256"/>
                  </a:lnTo>
                  <a:lnTo>
                    <a:pt x="228726" y="243020"/>
                  </a:lnTo>
                  <a:lnTo>
                    <a:pt x="243022" y="247786"/>
                  </a:lnTo>
                  <a:lnTo>
                    <a:pt x="452686" y="247786"/>
                  </a:lnTo>
                  <a:lnTo>
                    <a:pt x="457452" y="285906"/>
                  </a:lnTo>
                  <a:lnTo>
                    <a:pt x="457452" y="381210"/>
                  </a:lnTo>
                  <a:lnTo>
                    <a:pt x="457452" y="414566"/>
                  </a:lnTo>
                  <a:lnTo>
                    <a:pt x="457452" y="433626"/>
                  </a:lnTo>
                  <a:lnTo>
                    <a:pt x="424096" y="433626"/>
                  </a:lnTo>
                  <a:lnTo>
                    <a:pt x="381210" y="428860"/>
                  </a:lnTo>
                  <a:lnTo>
                    <a:pt x="252552" y="428860"/>
                  </a:lnTo>
                  <a:lnTo>
                    <a:pt x="243022" y="433626"/>
                  </a:lnTo>
                  <a:lnTo>
                    <a:pt x="238256" y="438392"/>
                  </a:lnTo>
                  <a:lnTo>
                    <a:pt x="233492" y="438392"/>
                  </a:lnTo>
                  <a:lnTo>
                    <a:pt x="223960" y="433626"/>
                  </a:lnTo>
                  <a:lnTo>
                    <a:pt x="214430" y="433626"/>
                  </a:lnTo>
                  <a:lnTo>
                    <a:pt x="214430" y="428860"/>
                  </a:lnTo>
                  <a:lnTo>
                    <a:pt x="209666" y="419330"/>
                  </a:lnTo>
                  <a:lnTo>
                    <a:pt x="200136" y="419330"/>
                  </a:lnTo>
                  <a:lnTo>
                    <a:pt x="195370" y="419330"/>
                  </a:lnTo>
                  <a:lnTo>
                    <a:pt x="190606" y="424096"/>
                  </a:lnTo>
                  <a:lnTo>
                    <a:pt x="181074" y="428860"/>
                  </a:lnTo>
                  <a:lnTo>
                    <a:pt x="185840" y="424096"/>
                  </a:lnTo>
                  <a:lnTo>
                    <a:pt x="171544" y="414566"/>
                  </a:lnTo>
                  <a:lnTo>
                    <a:pt x="162014" y="414566"/>
                  </a:lnTo>
                  <a:lnTo>
                    <a:pt x="152484" y="409800"/>
                  </a:lnTo>
                  <a:lnTo>
                    <a:pt x="157250" y="385974"/>
                  </a:lnTo>
                  <a:lnTo>
                    <a:pt x="166780" y="362148"/>
                  </a:lnTo>
                  <a:lnTo>
                    <a:pt x="181074" y="347854"/>
                  </a:lnTo>
                  <a:lnTo>
                    <a:pt x="190606" y="343088"/>
                  </a:lnTo>
                  <a:lnTo>
                    <a:pt x="190606" y="333558"/>
                  </a:lnTo>
                  <a:lnTo>
                    <a:pt x="204900" y="309732"/>
                  </a:lnTo>
                  <a:lnTo>
                    <a:pt x="214430" y="285906"/>
                  </a:lnTo>
                  <a:lnTo>
                    <a:pt x="214430" y="262080"/>
                  </a:lnTo>
                  <a:close/>
                  <a:moveTo>
                    <a:pt x="47652" y="0"/>
                  </a:moveTo>
                  <a:lnTo>
                    <a:pt x="52416" y="0"/>
                  </a:lnTo>
                  <a:lnTo>
                    <a:pt x="76242" y="0"/>
                  </a:lnTo>
                  <a:lnTo>
                    <a:pt x="81006" y="9530"/>
                  </a:lnTo>
                  <a:lnTo>
                    <a:pt x="81006" y="19060"/>
                  </a:lnTo>
                  <a:lnTo>
                    <a:pt x="57182" y="57180"/>
                  </a:lnTo>
                  <a:lnTo>
                    <a:pt x="52416" y="71476"/>
                  </a:lnTo>
                  <a:lnTo>
                    <a:pt x="42886" y="85772"/>
                  </a:lnTo>
                  <a:lnTo>
                    <a:pt x="38120" y="85772"/>
                  </a:lnTo>
                  <a:lnTo>
                    <a:pt x="9530" y="76240"/>
                  </a:lnTo>
                  <a:lnTo>
                    <a:pt x="4766" y="71476"/>
                  </a:lnTo>
                  <a:lnTo>
                    <a:pt x="0" y="66710"/>
                  </a:lnTo>
                  <a:lnTo>
                    <a:pt x="4766" y="52416"/>
                  </a:lnTo>
                  <a:lnTo>
                    <a:pt x="9530" y="47650"/>
                  </a:lnTo>
                  <a:lnTo>
                    <a:pt x="19060" y="47650"/>
                  </a:lnTo>
                  <a:lnTo>
                    <a:pt x="23826" y="42884"/>
                  </a:lnTo>
                  <a:lnTo>
                    <a:pt x="33356" y="28590"/>
                  </a:lnTo>
                  <a:lnTo>
                    <a:pt x="33356" y="14294"/>
                  </a:lnTo>
                  <a:lnTo>
                    <a:pt x="3812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44" name="Google Shape;4611;p64">
              <a:extLst>
                <a:ext uri="{FF2B5EF4-FFF2-40B4-BE49-F238E27FC236}">
                  <a16:creationId xmlns:a16="http://schemas.microsoft.com/office/drawing/2014/main" id="{3EDBE2F3-6C56-7492-722C-80A95E37BE19}"/>
                </a:ext>
              </a:extLst>
            </p:cNvPr>
            <p:cNvSpPr/>
            <p:nvPr/>
          </p:nvSpPr>
          <p:spPr>
            <a:xfrm>
              <a:off x="4947633" y="3999728"/>
              <a:ext cx="184425" cy="187049"/>
            </a:xfrm>
            <a:custGeom>
              <a:avLst/>
              <a:gdLst/>
              <a:ahLst/>
              <a:cxnLst/>
              <a:rect l="l" t="t" r="r" b="b"/>
              <a:pathLst>
                <a:path w="1339002" h="1358062" extrusionOk="0">
                  <a:moveTo>
                    <a:pt x="638528" y="1219872"/>
                  </a:moveTo>
                  <a:lnTo>
                    <a:pt x="643294" y="1224638"/>
                  </a:lnTo>
                  <a:lnTo>
                    <a:pt x="648060" y="1238932"/>
                  </a:lnTo>
                  <a:lnTo>
                    <a:pt x="657590" y="1243698"/>
                  </a:lnTo>
                  <a:lnTo>
                    <a:pt x="667120" y="1243698"/>
                  </a:lnTo>
                  <a:lnTo>
                    <a:pt x="681414" y="1243698"/>
                  </a:lnTo>
                  <a:lnTo>
                    <a:pt x="686180" y="1243698"/>
                  </a:lnTo>
                  <a:lnTo>
                    <a:pt x="695710" y="1229402"/>
                  </a:lnTo>
                  <a:lnTo>
                    <a:pt x="705240" y="1229402"/>
                  </a:lnTo>
                  <a:lnTo>
                    <a:pt x="710006" y="1243698"/>
                  </a:lnTo>
                  <a:lnTo>
                    <a:pt x="700476" y="1248462"/>
                  </a:lnTo>
                  <a:lnTo>
                    <a:pt x="695710" y="1248462"/>
                  </a:lnTo>
                  <a:lnTo>
                    <a:pt x="700476" y="1253228"/>
                  </a:lnTo>
                  <a:lnTo>
                    <a:pt x="710006" y="1257994"/>
                  </a:lnTo>
                  <a:lnTo>
                    <a:pt x="719536" y="1253228"/>
                  </a:lnTo>
                  <a:lnTo>
                    <a:pt x="719536" y="1262758"/>
                  </a:lnTo>
                  <a:lnTo>
                    <a:pt x="724302" y="1272288"/>
                  </a:lnTo>
                  <a:lnTo>
                    <a:pt x="729066" y="1277054"/>
                  </a:lnTo>
                  <a:lnTo>
                    <a:pt x="733832" y="1277054"/>
                  </a:lnTo>
                  <a:lnTo>
                    <a:pt x="748126" y="1272288"/>
                  </a:lnTo>
                  <a:lnTo>
                    <a:pt x="762422" y="1272288"/>
                  </a:lnTo>
                  <a:lnTo>
                    <a:pt x="776718" y="1267524"/>
                  </a:lnTo>
                  <a:lnTo>
                    <a:pt x="791014" y="1262758"/>
                  </a:lnTo>
                  <a:lnTo>
                    <a:pt x="838664" y="1267524"/>
                  </a:lnTo>
                  <a:lnTo>
                    <a:pt x="852960" y="1277054"/>
                  </a:lnTo>
                  <a:lnTo>
                    <a:pt x="881550" y="1281818"/>
                  </a:lnTo>
                  <a:lnTo>
                    <a:pt x="910142" y="1286584"/>
                  </a:lnTo>
                  <a:lnTo>
                    <a:pt x="924436" y="1281818"/>
                  </a:lnTo>
                  <a:lnTo>
                    <a:pt x="948262" y="1277054"/>
                  </a:lnTo>
                  <a:lnTo>
                    <a:pt x="953028" y="1281818"/>
                  </a:lnTo>
                  <a:lnTo>
                    <a:pt x="953028" y="1310410"/>
                  </a:lnTo>
                  <a:lnTo>
                    <a:pt x="953028" y="1319940"/>
                  </a:lnTo>
                  <a:lnTo>
                    <a:pt x="957792" y="1319940"/>
                  </a:lnTo>
                  <a:lnTo>
                    <a:pt x="967322" y="1319940"/>
                  </a:lnTo>
                  <a:lnTo>
                    <a:pt x="976854" y="1310410"/>
                  </a:lnTo>
                  <a:lnTo>
                    <a:pt x="995914" y="1305644"/>
                  </a:lnTo>
                  <a:lnTo>
                    <a:pt x="1019740" y="1305644"/>
                  </a:lnTo>
                  <a:lnTo>
                    <a:pt x="1038800" y="1286584"/>
                  </a:lnTo>
                  <a:lnTo>
                    <a:pt x="1043564" y="1286584"/>
                  </a:lnTo>
                  <a:lnTo>
                    <a:pt x="1038800" y="1296114"/>
                  </a:lnTo>
                  <a:lnTo>
                    <a:pt x="1038800" y="1315174"/>
                  </a:lnTo>
                  <a:lnTo>
                    <a:pt x="1034034" y="1324706"/>
                  </a:lnTo>
                  <a:lnTo>
                    <a:pt x="1029270" y="1334236"/>
                  </a:lnTo>
                  <a:lnTo>
                    <a:pt x="1019740" y="1339000"/>
                  </a:lnTo>
                  <a:lnTo>
                    <a:pt x="1000678" y="1343766"/>
                  </a:lnTo>
                  <a:lnTo>
                    <a:pt x="967322" y="1339000"/>
                  </a:lnTo>
                  <a:lnTo>
                    <a:pt x="933966" y="1343766"/>
                  </a:lnTo>
                  <a:lnTo>
                    <a:pt x="867256" y="1353296"/>
                  </a:lnTo>
                  <a:lnTo>
                    <a:pt x="805308" y="1358062"/>
                  </a:lnTo>
                  <a:lnTo>
                    <a:pt x="795778" y="1353296"/>
                  </a:lnTo>
                  <a:lnTo>
                    <a:pt x="795778" y="1343766"/>
                  </a:lnTo>
                  <a:lnTo>
                    <a:pt x="795778" y="1334236"/>
                  </a:lnTo>
                  <a:lnTo>
                    <a:pt x="791014" y="1329470"/>
                  </a:lnTo>
                  <a:lnTo>
                    <a:pt x="771952" y="1324706"/>
                  </a:lnTo>
                  <a:lnTo>
                    <a:pt x="752892" y="1315174"/>
                  </a:lnTo>
                  <a:lnTo>
                    <a:pt x="681414" y="1300880"/>
                  </a:lnTo>
                  <a:lnTo>
                    <a:pt x="662354" y="1296114"/>
                  </a:lnTo>
                  <a:lnTo>
                    <a:pt x="633764" y="1300880"/>
                  </a:lnTo>
                  <a:lnTo>
                    <a:pt x="624234" y="1300880"/>
                  </a:lnTo>
                  <a:lnTo>
                    <a:pt x="614704" y="1296114"/>
                  </a:lnTo>
                  <a:lnTo>
                    <a:pt x="609938" y="1286584"/>
                  </a:lnTo>
                  <a:lnTo>
                    <a:pt x="609938" y="1267524"/>
                  </a:lnTo>
                  <a:lnTo>
                    <a:pt x="614704" y="1243698"/>
                  </a:lnTo>
                  <a:lnTo>
                    <a:pt x="619468" y="1234168"/>
                  </a:lnTo>
                  <a:lnTo>
                    <a:pt x="624234" y="1243698"/>
                  </a:lnTo>
                  <a:lnTo>
                    <a:pt x="628998" y="1248462"/>
                  </a:lnTo>
                  <a:lnTo>
                    <a:pt x="633764" y="1238932"/>
                  </a:lnTo>
                  <a:lnTo>
                    <a:pt x="633764" y="1229402"/>
                  </a:lnTo>
                  <a:close/>
                  <a:moveTo>
                    <a:pt x="1181752" y="1186518"/>
                  </a:moveTo>
                  <a:lnTo>
                    <a:pt x="1181752" y="1205578"/>
                  </a:lnTo>
                  <a:lnTo>
                    <a:pt x="1172222" y="1224638"/>
                  </a:lnTo>
                  <a:lnTo>
                    <a:pt x="1181752" y="1238934"/>
                  </a:lnTo>
                  <a:lnTo>
                    <a:pt x="1186518" y="1253228"/>
                  </a:lnTo>
                  <a:lnTo>
                    <a:pt x="1176988" y="1257994"/>
                  </a:lnTo>
                  <a:lnTo>
                    <a:pt x="1172222" y="1267524"/>
                  </a:lnTo>
                  <a:lnTo>
                    <a:pt x="1162692" y="1257994"/>
                  </a:lnTo>
                  <a:lnTo>
                    <a:pt x="1167458" y="1248464"/>
                  </a:lnTo>
                  <a:lnTo>
                    <a:pt x="1157928" y="1229404"/>
                  </a:lnTo>
                  <a:lnTo>
                    <a:pt x="1172222" y="1205578"/>
                  </a:lnTo>
                  <a:lnTo>
                    <a:pt x="1172222" y="1191282"/>
                  </a:lnTo>
                  <a:close/>
                  <a:moveTo>
                    <a:pt x="514636" y="1076918"/>
                  </a:moveTo>
                  <a:lnTo>
                    <a:pt x="524166" y="1091214"/>
                  </a:lnTo>
                  <a:lnTo>
                    <a:pt x="538460" y="1105510"/>
                  </a:lnTo>
                  <a:lnTo>
                    <a:pt x="533696" y="1115040"/>
                  </a:lnTo>
                  <a:lnTo>
                    <a:pt x="528930" y="1124570"/>
                  </a:lnTo>
                  <a:lnTo>
                    <a:pt x="514636" y="1119804"/>
                  </a:lnTo>
                  <a:lnTo>
                    <a:pt x="509870" y="1110274"/>
                  </a:lnTo>
                  <a:lnTo>
                    <a:pt x="509870" y="1091214"/>
                  </a:lnTo>
                  <a:lnTo>
                    <a:pt x="514636" y="1081684"/>
                  </a:lnTo>
                  <a:close/>
                  <a:moveTo>
                    <a:pt x="1339002" y="1067388"/>
                  </a:moveTo>
                  <a:lnTo>
                    <a:pt x="1339002" y="1081684"/>
                  </a:lnTo>
                  <a:lnTo>
                    <a:pt x="1329472" y="1110274"/>
                  </a:lnTo>
                  <a:lnTo>
                    <a:pt x="1315176" y="1129334"/>
                  </a:lnTo>
                  <a:lnTo>
                    <a:pt x="1319942" y="1138866"/>
                  </a:lnTo>
                  <a:lnTo>
                    <a:pt x="1300882" y="1143630"/>
                  </a:lnTo>
                  <a:lnTo>
                    <a:pt x="1281820" y="1167456"/>
                  </a:lnTo>
                  <a:lnTo>
                    <a:pt x="1267526" y="1172222"/>
                  </a:lnTo>
                  <a:lnTo>
                    <a:pt x="1262760" y="1172222"/>
                  </a:lnTo>
                  <a:lnTo>
                    <a:pt x="1257996" y="1162690"/>
                  </a:lnTo>
                  <a:lnTo>
                    <a:pt x="1267526" y="1138866"/>
                  </a:lnTo>
                  <a:lnTo>
                    <a:pt x="1262760" y="1124570"/>
                  </a:lnTo>
                  <a:lnTo>
                    <a:pt x="1262760" y="1119804"/>
                  </a:lnTo>
                  <a:lnTo>
                    <a:pt x="1267526" y="1110274"/>
                  </a:lnTo>
                  <a:lnTo>
                    <a:pt x="1277056" y="1100744"/>
                  </a:lnTo>
                  <a:lnTo>
                    <a:pt x="1291350" y="1086448"/>
                  </a:lnTo>
                  <a:lnTo>
                    <a:pt x="1329472" y="1072154"/>
                  </a:lnTo>
                  <a:close/>
                  <a:moveTo>
                    <a:pt x="900610" y="1062622"/>
                  </a:moveTo>
                  <a:lnTo>
                    <a:pt x="910140" y="1067388"/>
                  </a:lnTo>
                  <a:lnTo>
                    <a:pt x="910140" y="1076918"/>
                  </a:lnTo>
                  <a:lnTo>
                    <a:pt x="905376" y="1086450"/>
                  </a:lnTo>
                  <a:lnTo>
                    <a:pt x="895844" y="1081684"/>
                  </a:lnTo>
                  <a:lnTo>
                    <a:pt x="900610" y="1076918"/>
                  </a:lnTo>
                  <a:lnTo>
                    <a:pt x="900610" y="1072154"/>
                  </a:lnTo>
                  <a:lnTo>
                    <a:pt x="900610" y="1067388"/>
                  </a:lnTo>
                  <a:close/>
                  <a:moveTo>
                    <a:pt x="1277056" y="1029266"/>
                  </a:moveTo>
                  <a:lnTo>
                    <a:pt x="1281820" y="1029266"/>
                  </a:lnTo>
                  <a:lnTo>
                    <a:pt x="1286584" y="1034032"/>
                  </a:lnTo>
                  <a:lnTo>
                    <a:pt x="1286584" y="1038798"/>
                  </a:lnTo>
                  <a:lnTo>
                    <a:pt x="1281820" y="1043562"/>
                  </a:lnTo>
                  <a:lnTo>
                    <a:pt x="1281820" y="1048328"/>
                  </a:lnTo>
                  <a:lnTo>
                    <a:pt x="1272290" y="1038798"/>
                  </a:lnTo>
                  <a:lnTo>
                    <a:pt x="1272290" y="1034032"/>
                  </a:lnTo>
                  <a:close/>
                  <a:moveTo>
                    <a:pt x="1048330" y="1029266"/>
                  </a:moveTo>
                  <a:lnTo>
                    <a:pt x="1057860" y="1034032"/>
                  </a:lnTo>
                  <a:lnTo>
                    <a:pt x="1062624" y="1038798"/>
                  </a:lnTo>
                  <a:lnTo>
                    <a:pt x="1053094" y="1043562"/>
                  </a:lnTo>
                  <a:lnTo>
                    <a:pt x="1043564" y="1053094"/>
                  </a:lnTo>
                  <a:lnTo>
                    <a:pt x="1034034" y="1048328"/>
                  </a:lnTo>
                  <a:lnTo>
                    <a:pt x="1034034" y="1038798"/>
                  </a:lnTo>
                  <a:lnTo>
                    <a:pt x="1043564" y="1038798"/>
                  </a:lnTo>
                  <a:lnTo>
                    <a:pt x="1053094" y="1034032"/>
                  </a:lnTo>
                  <a:close/>
                  <a:moveTo>
                    <a:pt x="762422" y="1005442"/>
                  </a:moveTo>
                  <a:lnTo>
                    <a:pt x="762422" y="1014972"/>
                  </a:lnTo>
                  <a:lnTo>
                    <a:pt x="762422" y="1019738"/>
                  </a:lnTo>
                  <a:lnTo>
                    <a:pt x="729066" y="1024502"/>
                  </a:lnTo>
                  <a:lnTo>
                    <a:pt x="733832" y="1010208"/>
                  </a:lnTo>
                  <a:lnTo>
                    <a:pt x="738596" y="1010208"/>
                  </a:lnTo>
                  <a:lnTo>
                    <a:pt x="748126" y="1014972"/>
                  </a:lnTo>
                  <a:lnTo>
                    <a:pt x="748126" y="1010208"/>
                  </a:lnTo>
                  <a:lnTo>
                    <a:pt x="752892" y="1010208"/>
                  </a:lnTo>
                  <a:close/>
                  <a:moveTo>
                    <a:pt x="881550" y="1000678"/>
                  </a:moveTo>
                  <a:lnTo>
                    <a:pt x="900612" y="1014972"/>
                  </a:lnTo>
                  <a:lnTo>
                    <a:pt x="895846" y="1024502"/>
                  </a:lnTo>
                  <a:lnTo>
                    <a:pt x="881550" y="1014972"/>
                  </a:lnTo>
                  <a:lnTo>
                    <a:pt x="876784" y="1005442"/>
                  </a:lnTo>
                  <a:close/>
                  <a:moveTo>
                    <a:pt x="1181754" y="976850"/>
                  </a:moveTo>
                  <a:lnTo>
                    <a:pt x="1191284" y="976850"/>
                  </a:lnTo>
                  <a:lnTo>
                    <a:pt x="1205580" y="986382"/>
                  </a:lnTo>
                  <a:lnTo>
                    <a:pt x="1176988" y="995912"/>
                  </a:lnTo>
                  <a:lnTo>
                    <a:pt x="1172224" y="1000676"/>
                  </a:lnTo>
                  <a:lnTo>
                    <a:pt x="1153162" y="1000676"/>
                  </a:lnTo>
                  <a:lnTo>
                    <a:pt x="1138868" y="1010206"/>
                  </a:lnTo>
                  <a:lnTo>
                    <a:pt x="1134102" y="1010206"/>
                  </a:lnTo>
                  <a:lnTo>
                    <a:pt x="1143632" y="1000676"/>
                  </a:lnTo>
                  <a:lnTo>
                    <a:pt x="1157928" y="991146"/>
                  </a:lnTo>
                  <a:close/>
                  <a:moveTo>
                    <a:pt x="991148" y="972086"/>
                  </a:moveTo>
                  <a:lnTo>
                    <a:pt x="1000678" y="976852"/>
                  </a:lnTo>
                  <a:lnTo>
                    <a:pt x="991148" y="981616"/>
                  </a:lnTo>
                  <a:lnTo>
                    <a:pt x="972088" y="1000678"/>
                  </a:lnTo>
                  <a:lnTo>
                    <a:pt x="957792" y="1000678"/>
                  </a:lnTo>
                  <a:lnTo>
                    <a:pt x="953028" y="1000678"/>
                  </a:lnTo>
                  <a:lnTo>
                    <a:pt x="962558" y="995912"/>
                  </a:lnTo>
                  <a:lnTo>
                    <a:pt x="967322" y="991146"/>
                  </a:lnTo>
                  <a:lnTo>
                    <a:pt x="967322" y="986382"/>
                  </a:lnTo>
                  <a:lnTo>
                    <a:pt x="981618" y="981616"/>
                  </a:lnTo>
                  <a:close/>
                  <a:moveTo>
                    <a:pt x="786248" y="953026"/>
                  </a:moveTo>
                  <a:lnTo>
                    <a:pt x="791012" y="953026"/>
                  </a:lnTo>
                  <a:lnTo>
                    <a:pt x="800542" y="967320"/>
                  </a:lnTo>
                  <a:lnTo>
                    <a:pt x="791012" y="972086"/>
                  </a:lnTo>
                  <a:lnTo>
                    <a:pt x="791012" y="976850"/>
                  </a:lnTo>
                  <a:lnTo>
                    <a:pt x="786248" y="967320"/>
                  </a:lnTo>
                  <a:lnTo>
                    <a:pt x="786248" y="957790"/>
                  </a:lnTo>
                  <a:close/>
                  <a:moveTo>
                    <a:pt x="1129336" y="943494"/>
                  </a:moveTo>
                  <a:lnTo>
                    <a:pt x="1143632" y="948260"/>
                  </a:lnTo>
                  <a:lnTo>
                    <a:pt x="1153162" y="957790"/>
                  </a:lnTo>
                  <a:lnTo>
                    <a:pt x="1153162" y="962556"/>
                  </a:lnTo>
                  <a:lnTo>
                    <a:pt x="1153162" y="967322"/>
                  </a:lnTo>
                  <a:lnTo>
                    <a:pt x="1134102" y="967322"/>
                  </a:lnTo>
                  <a:lnTo>
                    <a:pt x="1138866" y="953026"/>
                  </a:lnTo>
                  <a:close/>
                  <a:moveTo>
                    <a:pt x="872020" y="929200"/>
                  </a:moveTo>
                  <a:lnTo>
                    <a:pt x="881550" y="933966"/>
                  </a:lnTo>
                  <a:lnTo>
                    <a:pt x="876784" y="943496"/>
                  </a:lnTo>
                  <a:lnTo>
                    <a:pt x="881550" y="943496"/>
                  </a:lnTo>
                  <a:lnTo>
                    <a:pt x="867254" y="957790"/>
                  </a:lnTo>
                  <a:lnTo>
                    <a:pt x="857724" y="957790"/>
                  </a:lnTo>
                  <a:lnTo>
                    <a:pt x="852960" y="953026"/>
                  </a:lnTo>
                  <a:lnTo>
                    <a:pt x="857724" y="938730"/>
                  </a:lnTo>
                  <a:close/>
                  <a:moveTo>
                    <a:pt x="919670" y="919670"/>
                  </a:moveTo>
                  <a:lnTo>
                    <a:pt x="924436" y="919670"/>
                  </a:lnTo>
                  <a:lnTo>
                    <a:pt x="929200" y="929200"/>
                  </a:lnTo>
                  <a:lnTo>
                    <a:pt x="929200" y="953024"/>
                  </a:lnTo>
                  <a:lnTo>
                    <a:pt x="919670" y="967320"/>
                  </a:lnTo>
                  <a:lnTo>
                    <a:pt x="905376" y="972086"/>
                  </a:lnTo>
                  <a:lnTo>
                    <a:pt x="900610" y="962554"/>
                  </a:lnTo>
                  <a:lnTo>
                    <a:pt x="891080" y="943494"/>
                  </a:lnTo>
                  <a:close/>
                  <a:moveTo>
                    <a:pt x="757656" y="914904"/>
                  </a:moveTo>
                  <a:lnTo>
                    <a:pt x="762420" y="919670"/>
                  </a:lnTo>
                  <a:lnTo>
                    <a:pt x="762420" y="924434"/>
                  </a:lnTo>
                  <a:lnTo>
                    <a:pt x="762420" y="933964"/>
                  </a:lnTo>
                  <a:lnTo>
                    <a:pt x="757656" y="938730"/>
                  </a:lnTo>
                  <a:lnTo>
                    <a:pt x="748126" y="933964"/>
                  </a:lnTo>
                  <a:lnTo>
                    <a:pt x="748126" y="919670"/>
                  </a:lnTo>
                  <a:close/>
                  <a:moveTo>
                    <a:pt x="748126" y="867254"/>
                  </a:moveTo>
                  <a:lnTo>
                    <a:pt x="748126" y="872018"/>
                  </a:lnTo>
                  <a:lnTo>
                    <a:pt x="752892" y="876784"/>
                  </a:lnTo>
                  <a:lnTo>
                    <a:pt x="748126" y="891078"/>
                  </a:lnTo>
                  <a:lnTo>
                    <a:pt x="738596" y="895844"/>
                  </a:lnTo>
                  <a:lnTo>
                    <a:pt x="743360" y="881548"/>
                  </a:lnTo>
                  <a:lnTo>
                    <a:pt x="738596" y="876784"/>
                  </a:lnTo>
                  <a:lnTo>
                    <a:pt x="743360" y="872018"/>
                  </a:lnTo>
                  <a:close/>
                  <a:moveTo>
                    <a:pt x="891080" y="857722"/>
                  </a:moveTo>
                  <a:lnTo>
                    <a:pt x="910140" y="867254"/>
                  </a:lnTo>
                  <a:lnTo>
                    <a:pt x="905376" y="872018"/>
                  </a:lnTo>
                  <a:lnTo>
                    <a:pt x="900610" y="876784"/>
                  </a:lnTo>
                  <a:lnTo>
                    <a:pt x="886316" y="876784"/>
                  </a:lnTo>
                  <a:lnTo>
                    <a:pt x="886316" y="862488"/>
                  </a:lnTo>
                  <a:close/>
                  <a:moveTo>
                    <a:pt x="819604" y="857722"/>
                  </a:moveTo>
                  <a:lnTo>
                    <a:pt x="829132" y="862488"/>
                  </a:lnTo>
                  <a:lnTo>
                    <a:pt x="824368" y="881550"/>
                  </a:lnTo>
                  <a:lnTo>
                    <a:pt x="819604" y="876784"/>
                  </a:lnTo>
                  <a:lnTo>
                    <a:pt x="819604" y="872018"/>
                  </a:lnTo>
                  <a:close/>
                  <a:moveTo>
                    <a:pt x="1043564" y="824366"/>
                  </a:moveTo>
                  <a:lnTo>
                    <a:pt x="1048330" y="824366"/>
                  </a:lnTo>
                  <a:lnTo>
                    <a:pt x="1038800" y="838662"/>
                  </a:lnTo>
                  <a:lnTo>
                    <a:pt x="1024504" y="848192"/>
                  </a:lnTo>
                  <a:lnTo>
                    <a:pt x="995914" y="852958"/>
                  </a:lnTo>
                  <a:lnTo>
                    <a:pt x="991148" y="857722"/>
                  </a:lnTo>
                  <a:lnTo>
                    <a:pt x="991148" y="848192"/>
                  </a:lnTo>
                  <a:lnTo>
                    <a:pt x="1005444" y="833898"/>
                  </a:lnTo>
                  <a:lnTo>
                    <a:pt x="1024504" y="833898"/>
                  </a:lnTo>
                  <a:close/>
                  <a:moveTo>
                    <a:pt x="833900" y="824366"/>
                  </a:moveTo>
                  <a:lnTo>
                    <a:pt x="843430" y="824366"/>
                  </a:lnTo>
                  <a:lnTo>
                    <a:pt x="848194" y="829132"/>
                  </a:lnTo>
                  <a:lnTo>
                    <a:pt x="872020" y="833898"/>
                  </a:lnTo>
                  <a:lnTo>
                    <a:pt x="876784" y="838662"/>
                  </a:lnTo>
                  <a:lnTo>
                    <a:pt x="872020" y="852958"/>
                  </a:lnTo>
                  <a:lnTo>
                    <a:pt x="862490" y="852958"/>
                  </a:lnTo>
                  <a:lnTo>
                    <a:pt x="843430" y="838662"/>
                  </a:lnTo>
                  <a:lnTo>
                    <a:pt x="838664" y="833898"/>
                  </a:lnTo>
                  <a:close/>
                  <a:moveTo>
                    <a:pt x="729066" y="824366"/>
                  </a:moveTo>
                  <a:lnTo>
                    <a:pt x="738596" y="824366"/>
                  </a:lnTo>
                  <a:lnTo>
                    <a:pt x="743362" y="829132"/>
                  </a:lnTo>
                  <a:lnTo>
                    <a:pt x="733832" y="843428"/>
                  </a:lnTo>
                  <a:lnTo>
                    <a:pt x="724300" y="852958"/>
                  </a:lnTo>
                  <a:lnTo>
                    <a:pt x="724300" y="838662"/>
                  </a:lnTo>
                  <a:close/>
                  <a:moveTo>
                    <a:pt x="1110276" y="800542"/>
                  </a:moveTo>
                  <a:lnTo>
                    <a:pt x="1119806" y="800542"/>
                  </a:lnTo>
                  <a:lnTo>
                    <a:pt x="1138866" y="805306"/>
                  </a:lnTo>
                  <a:lnTo>
                    <a:pt x="1143632" y="805306"/>
                  </a:lnTo>
                  <a:lnTo>
                    <a:pt x="1153162" y="805306"/>
                  </a:lnTo>
                  <a:lnTo>
                    <a:pt x="1157928" y="819602"/>
                  </a:lnTo>
                  <a:lnTo>
                    <a:pt x="1143632" y="819602"/>
                  </a:lnTo>
                  <a:lnTo>
                    <a:pt x="1124572" y="833898"/>
                  </a:lnTo>
                  <a:lnTo>
                    <a:pt x="1115040" y="829132"/>
                  </a:lnTo>
                  <a:lnTo>
                    <a:pt x="1105510" y="819602"/>
                  </a:lnTo>
                  <a:lnTo>
                    <a:pt x="1086450" y="819602"/>
                  </a:lnTo>
                  <a:lnTo>
                    <a:pt x="1081684" y="814836"/>
                  </a:lnTo>
                  <a:lnTo>
                    <a:pt x="1091216" y="805306"/>
                  </a:lnTo>
                  <a:close/>
                  <a:moveTo>
                    <a:pt x="162016" y="776716"/>
                  </a:moveTo>
                  <a:lnTo>
                    <a:pt x="176310" y="791012"/>
                  </a:lnTo>
                  <a:lnTo>
                    <a:pt x="185842" y="791012"/>
                  </a:lnTo>
                  <a:lnTo>
                    <a:pt x="195372" y="800542"/>
                  </a:lnTo>
                  <a:lnTo>
                    <a:pt x="209668" y="819602"/>
                  </a:lnTo>
                  <a:lnTo>
                    <a:pt x="195372" y="814836"/>
                  </a:lnTo>
                  <a:lnTo>
                    <a:pt x="181076" y="829132"/>
                  </a:lnTo>
                  <a:lnTo>
                    <a:pt x="166780" y="814836"/>
                  </a:lnTo>
                  <a:lnTo>
                    <a:pt x="152484" y="795776"/>
                  </a:lnTo>
                  <a:lnTo>
                    <a:pt x="152484" y="791012"/>
                  </a:lnTo>
                  <a:close/>
                  <a:moveTo>
                    <a:pt x="800542" y="762420"/>
                  </a:moveTo>
                  <a:lnTo>
                    <a:pt x="805308" y="762420"/>
                  </a:lnTo>
                  <a:lnTo>
                    <a:pt x="814838" y="776716"/>
                  </a:lnTo>
                  <a:lnTo>
                    <a:pt x="829132" y="781480"/>
                  </a:lnTo>
                  <a:lnTo>
                    <a:pt x="829132" y="791010"/>
                  </a:lnTo>
                  <a:lnTo>
                    <a:pt x="833898" y="800542"/>
                  </a:lnTo>
                  <a:lnTo>
                    <a:pt x="833898" y="810072"/>
                  </a:lnTo>
                  <a:lnTo>
                    <a:pt x="829132" y="824366"/>
                  </a:lnTo>
                  <a:lnTo>
                    <a:pt x="819602" y="805306"/>
                  </a:lnTo>
                  <a:lnTo>
                    <a:pt x="805308" y="795776"/>
                  </a:lnTo>
                  <a:lnTo>
                    <a:pt x="800542" y="786246"/>
                  </a:lnTo>
                  <a:lnTo>
                    <a:pt x="791012" y="781480"/>
                  </a:lnTo>
                  <a:lnTo>
                    <a:pt x="791012" y="767186"/>
                  </a:lnTo>
                  <a:close/>
                  <a:moveTo>
                    <a:pt x="600408" y="762420"/>
                  </a:moveTo>
                  <a:lnTo>
                    <a:pt x="605172" y="762420"/>
                  </a:lnTo>
                  <a:lnTo>
                    <a:pt x="605172" y="767186"/>
                  </a:lnTo>
                  <a:lnTo>
                    <a:pt x="609938" y="776716"/>
                  </a:lnTo>
                  <a:lnTo>
                    <a:pt x="605172" y="781482"/>
                  </a:lnTo>
                  <a:lnTo>
                    <a:pt x="595642" y="781482"/>
                  </a:lnTo>
                  <a:lnTo>
                    <a:pt x="590876" y="776716"/>
                  </a:lnTo>
                  <a:lnTo>
                    <a:pt x="590876" y="771950"/>
                  </a:lnTo>
                  <a:lnTo>
                    <a:pt x="595642" y="767186"/>
                  </a:lnTo>
                  <a:close/>
                  <a:moveTo>
                    <a:pt x="152484" y="667118"/>
                  </a:moveTo>
                  <a:lnTo>
                    <a:pt x="157250" y="667118"/>
                  </a:lnTo>
                  <a:lnTo>
                    <a:pt x="162016" y="667118"/>
                  </a:lnTo>
                  <a:lnTo>
                    <a:pt x="166780" y="671884"/>
                  </a:lnTo>
                  <a:lnTo>
                    <a:pt x="166780" y="676648"/>
                  </a:lnTo>
                  <a:lnTo>
                    <a:pt x="166780" y="681414"/>
                  </a:lnTo>
                  <a:lnTo>
                    <a:pt x="171546" y="690944"/>
                  </a:lnTo>
                  <a:lnTo>
                    <a:pt x="176312" y="695708"/>
                  </a:lnTo>
                  <a:lnTo>
                    <a:pt x="166780" y="700474"/>
                  </a:lnTo>
                  <a:lnTo>
                    <a:pt x="157250" y="681414"/>
                  </a:lnTo>
                  <a:close/>
                  <a:moveTo>
                    <a:pt x="142956" y="667118"/>
                  </a:moveTo>
                  <a:lnTo>
                    <a:pt x="152486" y="686178"/>
                  </a:lnTo>
                  <a:lnTo>
                    <a:pt x="152486" y="710004"/>
                  </a:lnTo>
                  <a:lnTo>
                    <a:pt x="162016" y="714770"/>
                  </a:lnTo>
                  <a:lnTo>
                    <a:pt x="176312" y="733830"/>
                  </a:lnTo>
                  <a:lnTo>
                    <a:pt x="176312" y="743360"/>
                  </a:lnTo>
                  <a:lnTo>
                    <a:pt x="176312" y="748126"/>
                  </a:lnTo>
                  <a:lnTo>
                    <a:pt x="147720" y="738594"/>
                  </a:lnTo>
                  <a:lnTo>
                    <a:pt x="142956" y="743360"/>
                  </a:lnTo>
                  <a:lnTo>
                    <a:pt x="138190" y="738594"/>
                  </a:lnTo>
                  <a:lnTo>
                    <a:pt x="133424" y="729064"/>
                  </a:lnTo>
                  <a:lnTo>
                    <a:pt x="133424" y="724300"/>
                  </a:lnTo>
                  <a:lnTo>
                    <a:pt x="128660" y="719534"/>
                  </a:lnTo>
                  <a:lnTo>
                    <a:pt x="123894" y="714770"/>
                  </a:lnTo>
                  <a:lnTo>
                    <a:pt x="114364" y="724300"/>
                  </a:lnTo>
                  <a:lnTo>
                    <a:pt x="109600" y="724300"/>
                  </a:lnTo>
                  <a:lnTo>
                    <a:pt x="109600" y="719534"/>
                  </a:lnTo>
                  <a:lnTo>
                    <a:pt x="119130" y="695708"/>
                  </a:lnTo>
                  <a:lnTo>
                    <a:pt x="123894" y="690944"/>
                  </a:lnTo>
                  <a:lnTo>
                    <a:pt x="128660" y="700474"/>
                  </a:lnTo>
                  <a:lnTo>
                    <a:pt x="138190" y="695708"/>
                  </a:lnTo>
                  <a:lnTo>
                    <a:pt x="142956" y="681414"/>
                  </a:lnTo>
                  <a:lnTo>
                    <a:pt x="142956" y="671884"/>
                  </a:lnTo>
                  <a:close/>
                  <a:moveTo>
                    <a:pt x="995912" y="643292"/>
                  </a:moveTo>
                  <a:lnTo>
                    <a:pt x="1010208" y="652822"/>
                  </a:lnTo>
                  <a:lnTo>
                    <a:pt x="1019738" y="652822"/>
                  </a:lnTo>
                  <a:lnTo>
                    <a:pt x="1014972" y="667118"/>
                  </a:lnTo>
                  <a:lnTo>
                    <a:pt x="1014972" y="700474"/>
                  </a:lnTo>
                  <a:lnTo>
                    <a:pt x="1010208" y="705238"/>
                  </a:lnTo>
                  <a:lnTo>
                    <a:pt x="1010208" y="714768"/>
                  </a:lnTo>
                  <a:lnTo>
                    <a:pt x="1005442" y="719534"/>
                  </a:lnTo>
                  <a:lnTo>
                    <a:pt x="991148" y="729064"/>
                  </a:lnTo>
                  <a:lnTo>
                    <a:pt x="976852" y="714768"/>
                  </a:lnTo>
                  <a:lnTo>
                    <a:pt x="972088" y="710004"/>
                  </a:lnTo>
                  <a:lnTo>
                    <a:pt x="986382" y="700474"/>
                  </a:lnTo>
                  <a:lnTo>
                    <a:pt x="991148" y="690944"/>
                  </a:lnTo>
                  <a:lnTo>
                    <a:pt x="986382" y="676648"/>
                  </a:lnTo>
                  <a:lnTo>
                    <a:pt x="967322" y="662352"/>
                  </a:lnTo>
                  <a:lnTo>
                    <a:pt x="967322" y="648058"/>
                  </a:lnTo>
                  <a:close/>
                  <a:moveTo>
                    <a:pt x="162016" y="595642"/>
                  </a:moveTo>
                  <a:lnTo>
                    <a:pt x="166780" y="600406"/>
                  </a:lnTo>
                  <a:lnTo>
                    <a:pt x="166780" y="633762"/>
                  </a:lnTo>
                  <a:lnTo>
                    <a:pt x="162016" y="638526"/>
                  </a:lnTo>
                  <a:lnTo>
                    <a:pt x="157250" y="643292"/>
                  </a:lnTo>
                  <a:lnTo>
                    <a:pt x="152486" y="643292"/>
                  </a:lnTo>
                  <a:lnTo>
                    <a:pt x="147720" y="643292"/>
                  </a:lnTo>
                  <a:lnTo>
                    <a:pt x="142956" y="643292"/>
                  </a:lnTo>
                  <a:lnTo>
                    <a:pt x="142956" y="628996"/>
                  </a:lnTo>
                  <a:lnTo>
                    <a:pt x="147720" y="609936"/>
                  </a:lnTo>
                  <a:lnTo>
                    <a:pt x="152486" y="600406"/>
                  </a:lnTo>
                  <a:close/>
                  <a:moveTo>
                    <a:pt x="757656" y="567050"/>
                  </a:moveTo>
                  <a:lnTo>
                    <a:pt x="767186" y="571816"/>
                  </a:lnTo>
                  <a:lnTo>
                    <a:pt x="771952" y="586110"/>
                  </a:lnTo>
                  <a:lnTo>
                    <a:pt x="786248" y="600406"/>
                  </a:lnTo>
                  <a:lnTo>
                    <a:pt x="767186" y="605170"/>
                  </a:lnTo>
                  <a:lnTo>
                    <a:pt x="762422" y="605170"/>
                  </a:lnTo>
                  <a:lnTo>
                    <a:pt x="767186" y="600406"/>
                  </a:lnTo>
                  <a:lnTo>
                    <a:pt x="767186" y="595640"/>
                  </a:lnTo>
                  <a:lnTo>
                    <a:pt x="752892" y="586110"/>
                  </a:lnTo>
                  <a:lnTo>
                    <a:pt x="752892" y="571816"/>
                  </a:lnTo>
                  <a:close/>
                  <a:moveTo>
                    <a:pt x="562286" y="557520"/>
                  </a:moveTo>
                  <a:lnTo>
                    <a:pt x="571816" y="557520"/>
                  </a:lnTo>
                  <a:lnTo>
                    <a:pt x="590878" y="571816"/>
                  </a:lnTo>
                  <a:lnTo>
                    <a:pt x="595642" y="590876"/>
                  </a:lnTo>
                  <a:lnTo>
                    <a:pt x="605172" y="600406"/>
                  </a:lnTo>
                  <a:lnTo>
                    <a:pt x="624234" y="609936"/>
                  </a:lnTo>
                  <a:lnTo>
                    <a:pt x="628998" y="609936"/>
                  </a:lnTo>
                  <a:lnTo>
                    <a:pt x="662354" y="624232"/>
                  </a:lnTo>
                  <a:lnTo>
                    <a:pt x="695710" y="628998"/>
                  </a:lnTo>
                  <a:lnTo>
                    <a:pt x="700476" y="633762"/>
                  </a:lnTo>
                  <a:lnTo>
                    <a:pt x="705240" y="643292"/>
                  </a:lnTo>
                  <a:lnTo>
                    <a:pt x="710006" y="652822"/>
                  </a:lnTo>
                  <a:lnTo>
                    <a:pt x="714770" y="662354"/>
                  </a:lnTo>
                  <a:lnTo>
                    <a:pt x="710006" y="671884"/>
                  </a:lnTo>
                  <a:lnTo>
                    <a:pt x="714770" y="695708"/>
                  </a:lnTo>
                  <a:lnTo>
                    <a:pt x="724300" y="719534"/>
                  </a:lnTo>
                  <a:lnTo>
                    <a:pt x="738596" y="729064"/>
                  </a:lnTo>
                  <a:lnTo>
                    <a:pt x="752892" y="733830"/>
                  </a:lnTo>
                  <a:lnTo>
                    <a:pt x="767186" y="733830"/>
                  </a:lnTo>
                  <a:lnTo>
                    <a:pt x="771952" y="738596"/>
                  </a:lnTo>
                  <a:lnTo>
                    <a:pt x="771952" y="757656"/>
                  </a:lnTo>
                  <a:lnTo>
                    <a:pt x="762422" y="767186"/>
                  </a:lnTo>
                  <a:lnTo>
                    <a:pt x="757656" y="767186"/>
                  </a:lnTo>
                  <a:lnTo>
                    <a:pt x="752892" y="767186"/>
                  </a:lnTo>
                  <a:lnTo>
                    <a:pt x="748126" y="762420"/>
                  </a:lnTo>
                  <a:lnTo>
                    <a:pt x="743362" y="757656"/>
                  </a:lnTo>
                  <a:lnTo>
                    <a:pt x="738596" y="757656"/>
                  </a:lnTo>
                  <a:lnTo>
                    <a:pt x="729066" y="748126"/>
                  </a:lnTo>
                  <a:lnTo>
                    <a:pt x="714770" y="738596"/>
                  </a:lnTo>
                  <a:lnTo>
                    <a:pt x="710006" y="733830"/>
                  </a:lnTo>
                  <a:lnTo>
                    <a:pt x="710006" y="719534"/>
                  </a:lnTo>
                  <a:lnTo>
                    <a:pt x="700476" y="714770"/>
                  </a:lnTo>
                  <a:lnTo>
                    <a:pt x="695710" y="700474"/>
                  </a:lnTo>
                  <a:lnTo>
                    <a:pt x="690944" y="695708"/>
                  </a:lnTo>
                  <a:lnTo>
                    <a:pt x="686180" y="686178"/>
                  </a:lnTo>
                  <a:lnTo>
                    <a:pt x="662354" y="681414"/>
                  </a:lnTo>
                  <a:lnTo>
                    <a:pt x="643294" y="681414"/>
                  </a:lnTo>
                  <a:lnTo>
                    <a:pt x="624234" y="671884"/>
                  </a:lnTo>
                  <a:lnTo>
                    <a:pt x="619468" y="652822"/>
                  </a:lnTo>
                  <a:lnTo>
                    <a:pt x="609938" y="643292"/>
                  </a:lnTo>
                  <a:lnTo>
                    <a:pt x="605172" y="638528"/>
                  </a:lnTo>
                  <a:lnTo>
                    <a:pt x="595642" y="628998"/>
                  </a:lnTo>
                  <a:lnTo>
                    <a:pt x="581348" y="614702"/>
                  </a:lnTo>
                  <a:lnTo>
                    <a:pt x="562286" y="600406"/>
                  </a:lnTo>
                  <a:lnTo>
                    <a:pt x="547992" y="595642"/>
                  </a:lnTo>
                  <a:lnTo>
                    <a:pt x="528930" y="586110"/>
                  </a:lnTo>
                  <a:lnTo>
                    <a:pt x="514636" y="595642"/>
                  </a:lnTo>
                  <a:lnTo>
                    <a:pt x="505104" y="590876"/>
                  </a:lnTo>
                  <a:lnTo>
                    <a:pt x="505104" y="586110"/>
                  </a:lnTo>
                  <a:lnTo>
                    <a:pt x="524166" y="581346"/>
                  </a:lnTo>
                  <a:lnTo>
                    <a:pt x="547992" y="562286"/>
                  </a:lnTo>
                  <a:close/>
                  <a:moveTo>
                    <a:pt x="614704" y="519398"/>
                  </a:moveTo>
                  <a:lnTo>
                    <a:pt x="648060" y="538460"/>
                  </a:lnTo>
                  <a:lnTo>
                    <a:pt x="638528" y="547990"/>
                  </a:lnTo>
                  <a:lnTo>
                    <a:pt x="628998" y="543224"/>
                  </a:lnTo>
                  <a:close/>
                  <a:moveTo>
                    <a:pt x="676650" y="509870"/>
                  </a:moveTo>
                  <a:lnTo>
                    <a:pt x="671884" y="519400"/>
                  </a:lnTo>
                  <a:lnTo>
                    <a:pt x="662354" y="528930"/>
                  </a:lnTo>
                  <a:lnTo>
                    <a:pt x="652824" y="533694"/>
                  </a:lnTo>
                  <a:lnTo>
                    <a:pt x="662354" y="514634"/>
                  </a:lnTo>
                  <a:close/>
                  <a:moveTo>
                    <a:pt x="1019738" y="486042"/>
                  </a:moveTo>
                  <a:lnTo>
                    <a:pt x="1048330" y="486042"/>
                  </a:lnTo>
                  <a:lnTo>
                    <a:pt x="1057860" y="495574"/>
                  </a:lnTo>
                  <a:lnTo>
                    <a:pt x="1053094" y="505104"/>
                  </a:lnTo>
                  <a:lnTo>
                    <a:pt x="1076920" y="528930"/>
                  </a:lnTo>
                  <a:lnTo>
                    <a:pt x="1081684" y="538460"/>
                  </a:lnTo>
                  <a:lnTo>
                    <a:pt x="1086450" y="552754"/>
                  </a:lnTo>
                  <a:lnTo>
                    <a:pt x="1081684" y="557520"/>
                  </a:lnTo>
                  <a:lnTo>
                    <a:pt x="1076920" y="547990"/>
                  </a:lnTo>
                  <a:lnTo>
                    <a:pt x="1067390" y="547990"/>
                  </a:lnTo>
                  <a:lnTo>
                    <a:pt x="1072154" y="557520"/>
                  </a:lnTo>
                  <a:lnTo>
                    <a:pt x="1076920" y="562284"/>
                  </a:lnTo>
                  <a:lnTo>
                    <a:pt x="1067390" y="567050"/>
                  </a:lnTo>
                  <a:lnTo>
                    <a:pt x="1053094" y="567050"/>
                  </a:lnTo>
                  <a:lnTo>
                    <a:pt x="1019738" y="557520"/>
                  </a:lnTo>
                  <a:lnTo>
                    <a:pt x="1010208" y="547990"/>
                  </a:lnTo>
                  <a:lnTo>
                    <a:pt x="1029268" y="528930"/>
                  </a:lnTo>
                  <a:lnTo>
                    <a:pt x="1034034" y="524164"/>
                  </a:lnTo>
                  <a:lnTo>
                    <a:pt x="1019738" y="524164"/>
                  </a:lnTo>
                  <a:lnTo>
                    <a:pt x="1005442" y="543224"/>
                  </a:lnTo>
                  <a:lnTo>
                    <a:pt x="976852" y="533694"/>
                  </a:lnTo>
                  <a:lnTo>
                    <a:pt x="967322" y="524164"/>
                  </a:lnTo>
                  <a:lnTo>
                    <a:pt x="976852" y="505104"/>
                  </a:lnTo>
                  <a:lnTo>
                    <a:pt x="995912" y="505104"/>
                  </a:lnTo>
                  <a:lnTo>
                    <a:pt x="1005442" y="500338"/>
                  </a:lnTo>
                  <a:lnTo>
                    <a:pt x="1019738" y="495574"/>
                  </a:lnTo>
                  <a:close/>
                  <a:moveTo>
                    <a:pt x="28592" y="395506"/>
                  </a:moveTo>
                  <a:lnTo>
                    <a:pt x="38122" y="400270"/>
                  </a:lnTo>
                  <a:lnTo>
                    <a:pt x="42888" y="405036"/>
                  </a:lnTo>
                  <a:lnTo>
                    <a:pt x="47652" y="409800"/>
                  </a:lnTo>
                  <a:lnTo>
                    <a:pt x="33356" y="424096"/>
                  </a:lnTo>
                  <a:lnTo>
                    <a:pt x="33356" y="428860"/>
                  </a:lnTo>
                  <a:lnTo>
                    <a:pt x="38122" y="438390"/>
                  </a:lnTo>
                  <a:lnTo>
                    <a:pt x="38122" y="443156"/>
                  </a:lnTo>
                  <a:lnTo>
                    <a:pt x="42888" y="462216"/>
                  </a:lnTo>
                  <a:lnTo>
                    <a:pt x="47652" y="466982"/>
                  </a:lnTo>
                  <a:lnTo>
                    <a:pt x="61948" y="471746"/>
                  </a:lnTo>
                  <a:lnTo>
                    <a:pt x="66712" y="476512"/>
                  </a:lnTo>
                  <a:lnTo>
                    <a:pt x="71478" y="486042"/>
                  </a:lnTo>
                  <a:lnTo>
                    <a:pt x="52418" y="481276"/>
                  </a:lnTo>
                  <a:lnTo>
                    <a:pt x="38122" y="466982"/>
                  </a:lnTo>
                  <a:lnTo>
                    <a:pt x="23826" y="443156"/>
                  </a:lnTo>
                  <a:lnTo>
                    <a:pt x="0" y="414566"/>
                  </a:lnTo>
                  <a:lnTo>
                    <a:pt x="0" y="405036"/>
                  </a:lnTo>
                  <a:lnTo>
                    <a:pt x="9532" y="400270"/>
                  </a:lnTo>
                  <a:close/>
                  <a:moveTo>
                    <a:pt x="905376" y="352618"/>
                  </a:moveTo>
                  <a:lnTo>
                    <a:pt x="905376" y="362150"/>
                  </a:lnTo>
                  <a:lnTo>
                    <a:pt x="900610" y="371680"/>
                  </a:lnTo>
                  <a:lnTo>
                    <a:pt x="895846" y="381210"/>
                  </a:lnTo>
                  <a:lnTo>
                    <a:pt x="891080" y="400270"/>
                  </a:lnTo>
                  <a:lnTo>
                    <a:pt x="881550" y="400270"/>
                  </a:lnTo>
                  <a:lnTo>
                    <a:pt x="876786" y="395504"/>
                  </a:lnTo>
                  <a:lnTo>
                    <a:pt x="876786" y="390740"/>
                  </a:lnTo>
                  <a:lnTo>
                    <a:pt x="876786" y="381210"/>
                  </a:lnTo>
                  <a:lnTo>
                    <a:pt x="872020" y="381210"/>
                  </a:lnTo>
                  <a:lnTo>
                    <a:pt x="867254" y="390740"/>
                  </a:lnTo>
                  <a:lnTo>
                    <a:pt x="867254" y="395504"/>
                  </a:lnTo>
                  <a:lnTo>
                    <a:pt x="857724" y="395504"/>
                  </a:lnTo>
                  <a:lnTo>
                    <a:pt x="848194" y="390740"/>
                  </a:lnTo>
                  <a:lnTo>
                    <a:pt x="848194" y="376444"/>
                  </a:lnTo>
                  <a:lnTo>
                    <a:pt x="843428" y="362150"/>
                  </a:lnTo>
                  <a:lnTo>
                    <a:pt x="872020" y="357384"/>
                  </a:lnTo>
                  <a:lnTo>
                    <a:pt x="881550" y="366914"/>
                  </a:lnTo>
                  <a:lnTo>
                    <a:pt x="891080" y="362150"/>
                  </a:lnTo>
                  <a:lnTo>
                    <a:pt x="895846" y="357384"/>
                  </a:lnTo>
                  <a:close/>
                  <a:moveTo>
                    <a:pt x="924436" y="252552"/>
                  </a:moveTo>
                  <a:lnTo>
                    <a:pt x="933966" y="257318"/>
                  </a:lnTo>
                  <a:lnTo>
                    <a:pt x="938730" y="266848"/>
                  </a:lnTo>
                  <a:lnTo>
                    <a:pt x="943496" y="271612"/>
                  </a:lnTo>
                  <a:lnTo>
                    <a:pt x="924436" y="276378"/>
                  </a:lnTo>
                  <a:lnTo>
                    <a:pt x="905376" y="262082"/>
                  </a:lnTo>
                  <a:close/>
                  <a:moveTo>
                    <a:pt x="776718" y="195370"/>
                  </a:moveTo>
                  <a:lnTo>
                    <a:pt x="791012" y="200136"/>
                  </a:lnTo>
                  <a:lnTo>
                    <a:pt x="800542" y="209666"/>
                  </a:lnTo>
                  <a:lnTo>
                    <a:pt x="805308" y="214430"/>
                  </a:lnTo>
                  <a:lnTo>
                    <a:pt x="800542" y="223960"/>
                  </a:lnTo>
                  <a:lnTo>
                    <a:pt x="800542" y="233490"/>
                  </a:lnTo>
                  <a:lnTo>
                    <a:pt x="781482" y="243022"/>
                  </a:lnTo>
                  <a:lnTo>
                    <a:pt x="762422" y="228726"/>
                  </a:lnTo>
                  <a:lnTo>
                    <a:pt x="762422" y="219196"/>
                  </a:lnTo>
                  <a:lnTo>
                    <a:pt x="771952" y="200136"/>
                  </a:lnTo>
                  <a:close/>
                  <a:moveTo>
                    <a:pt x="1024504" y="0"/>
                  </a:moveTo>
                  <a:lnTo>
                    <a:pt x="1043564" y="4766"/>
                  </a:lnTo>
                  <a:lnTo>
                    <a:pt x="1057860" y="9530"/>
                  </a:lnTo>
                  <a:lnTo>
                    <a:pt x="1062626" y="14296"/>
                  </a:lnTo>
                  <a:lnTo>
                    <a:pt x="1072156" y="23826"/>
                  </a:lnTo>
                  <a:lnTo>
                    <a:pt x="1076920" y="28590"/>
                  </a:lnTo>
                  <a:lnTo>
                    <a:pt x="1081686" y="28590"/>
                  </a:lnTo>
                  <a:lnTo>
                    <a:pt x="1086450" y="47652"/>
                  </a:lnTo>
                  <a:lnTo>
                    <a:pt x="1091216" y="71476"/>
                  </a:lnTo>
                  <a:lnTo>
                    <a:pt x="1086450" y="81008"/>
                  </a:lnTo>
                  <a:lnTo>
                    <a:pt x="1076920" y="81008"/>
                  </a:lnTo>
                  <a:lnTo>
                    <a:pt x="1043564" y="104832"/>
                  </a:lnTo>
                  <a:lnTo>
                    <a:pt x="1043564" y="123894"/>
                  </a:lnTo>
                  <a:lnTo>
                    <a:pt x="1043564" y="133424"/>
                  </a:lnTo>
                  <a:lnTo>
                    <a:pt x="1043564" y="138188"/>
                  </a:lnTo>
                  <a:lnTo>
                    <a:pt x="1048330" y="147718"/>
                  </a:lnTo>
                  <a:lnTo>
                    <a:pt x="1048330" y="152484"/>
                  </a:lnTo>
                  <a:lnTo>
                    <a:pt x="1043564" y="162014"/>
                  </a:lnTo>
                  <a:lnTo>
                    <a:pt x="1029270" y="176310"/>
                  </a:lnTo>
                  <a:lnTo>
                    <a:pt x="1019740" y="190606"/>
                  </a:lnTo>
                  <a:lnTo>
                    <a:pt x="1010208" y="204900"/>
                  </a:lnTo>
                  <a:lnTo>
                    <a:pt x="1005444" y="209666"/>
                  </a:lnTo>
                  <a:lnTo>
                    <a:pt x="1000678" y="209666"/>
                  </a:lnTo>
                  <a:lnTo>
                    <a:pt x="995914" y="200136"/>
                  </a:lnTo>
                  <a:lnTo>
                    <a:pt x="967322" y="185840"/>
                  </a:lnTo>
                  <a:lnTo>
                    <a:pt x="914906" y="176310"/>
                  </a:lnTo>
                  <a:lnTo>
                    <a:pt x="886316" y="166780"/>
                  </a:lnTo>
                  <a:lnTo>
                    <a:pt x="876786" y="166780"/>
                  </a:lnTo>
                  <a:lnTo>
                    <a:pt x="852960" y="157250"/>
                  </a:lnTo>
                  <a:lnTo>
                    <a:pt x="838664" y="162014"/>
                  </a:lnTo>
                  <a:lnTo>
                    <a:pt x="805308" y="185840"/>
                  </a:lnTo>
                  <a:lnTo>
                    <a:pt x="786248" y="181074"/>
                  </a:lnTo>
                  <a:lnTo>
                    <a:pt x="767188" y="166780"/>
                  </a:lnTo>
                  <a:lnTo>
                    <a:pt x="752892" y="166780"/>
                  </a:lnTo>
                  <a:lnTo>
                    <a:pt x="738596" y="171544"/>
                  </a:lnTo>
                  <a:lnTo>
                    <a:pt x="714770" y="200136"/>
                  </a:lnTo>
                  <a:lnTo>
                    <a:pt x="690946" y="209666"/>
                  </a:lnTo>
                  <a:lnTo>
                    <a:pt x="671884" y="204900"/>
                  </a:lnTo>
                  <a:lnTo>
                    <a:pt x="643294" y="204900"/>
                  </a:lnTo>
                  <a:lnTo>
                    <a:pt x="638528" y="219196"/>
                  </a:lnTo>
                  <a:lnTo>
                    <a:pt x="643294" y="228726"/>
                  </a:lnTo>
                  <a:lnTo>
                    <a:pt x="662354" y="247786"/>
                  </a:lnTo>
                  <a:lnTo>
                    <a:pt x="652824" y="262082"/>
                  </a:lnTo>
                  <a:lnTo>
                    <a:pt x="657590" y="271612"/>
                  </a:lnTo>
                  <a:lnTo>
                    <a:pt x="667120" y="276378"/>
                  </a:lnTo>
                  <a:lnTo>
                    <a:pt x="686180" y="276378"/>
                  </a:lnTo>
                  <a:lnTo>
                    <a:pt x="714770" y="290672"/>
                  </a:lnTo>
                  <a:lnTo>
                    <a:pt x="724302" y="309734"/>
                  </a:lnTo>
                  <a:lnTo>
                    <a:pt x="733832" y="328794"/>
                  </a:lnTo>
                  <a:lnTo>
                    <a:pt x="714770" y="314498"/>
                  </a:lnTo>
                  <a:lnTo>
                    <a:pt x="705240" y="300202"/>
                  </a:lnTo>
                  <a:lnTo>
                    <a:pt x="690946" y="300202"/>
                  </a:lnTo>
                  <a:lnTo>
                    <a:pt x="667120" y="285908"/>
                  </a:lnTo>
                  <a:lnTo>
                    <a:pt x="652824" y="285908"/>
                  </a:lnTo>
                  <a:lnTo>
                    <a:pt x="638528" y="290672"/>
                  </a:lnTo>
                  <a:lnTo>
                    <a:pt x="638528" y="300202"/>
                  </a:lnTo>
                  <a:lnTo>
                    <a:pt x="652824" y="319264"/>
                  </a:lnTo>
                  <a:lnTo>
                    <a:pt x="667120" y="328794"/>
                  </a:lnTo>
                  <a:lnTo>
                    <a:pt x="676650" y="333558"/>
                  </a:lnTo>
                  <a:lnTo>
                    <a:pt x="681414" y="352620"/>
                  </a:lnTo>
                  <a:lnTo>
                    <a:pt x="676650" y="362150"/>
                  </a:lnTo>
                  <a:lnTo>
                    <a:pt x="671884" y="366914"/>
                  </a:lnTo>
                  <a:lnTo>
                    <a:pt x="652824" y="352620"/>
                  </a:lnTo>
                  <a:lnTo>
                    <a:pt x="628998" y="314498"/>
                  </a:lnTo>
                  <a:lnTo>
                    <a:pt x="590878" y="304968"/>
                  </a:lnTo>
                  <a:lnTo>
                    <a:pt x="586112" y="314498"/>
                  </a:lnTo>
                  <a:lnTo>
                    <a:pt x="590878" y="333558"/>
                  </a:lnTo>
                  <a:lnTo>
                    <a:pt x="595642" y="343090"/>
                  </a:lnTo>
                  <a:lnTo>
                    <a:pt x="628998" y="366914"/>
                  </a:lnTo>
                  <a:lnTo>
                    <a:pt x="628998" y="371680"/>
                  </a:lnTo>
                  <a:lnTo>
                    <a:pt x="624234" y="376444"/>
                  </a:lnTo>
                  <a:lnTo>
                    <a:pt x="586112" y="362150"/>
                  </a:lnTo>
                  <a:lnTo>
                    <a:pt x="576582" y="343090"/>
                  </a:lnTo>
                  <a:lnTo>
                    <a:pt x="571816" y="314498"/>
                  </a:lnTo>
                  <a:lnTo>
                    <a:pt x="538462" y="295438"/>
                  </a:lnTo>
                  <a:lnTo>
                    <a:pt x="509870" y="276378"/>
                  </a:lnTo>
                  <a:lnTo>
                    <a:pt x="500340" y="257316"/>
                  </a:lnTo>
                  <a:lnTo>
                    <a:pt x="505106" y="252552"/>
                  </a:lnTo>
                  <a:lnTo>
                    <a:pt x="509870" y="238256"/>
                  </a:lnTo>
                  <a:lnTo>
                    <a:pt x="495574" y="243022"/>
                  </a:lnTo>
                  <a:lnTo>
                    <a:pt x="486044" y="247786"/>
                  </a:lnTo>
                  <a:lnTo>
                    <a:pt x="466984" y="257316"/>
                  </a:lnTo>
                  <a:lnTo>
                    <a:pt x="466984" y="271612"/>
                  </a:lnTo>
                  <a:lnTo>
                    <a:pt x="466984" y="285908"/>
                  </a:lnTo>
                  <a:lnTo>
                    <a:pt x="462218" y="304968"/>
                  </a:lnTo>
                  <a:lnTo>
                    <a:pt x="457454" y="333558"/>
                  </a:lnTo>
                  <a:lnTo>
                    <a:pt x="462218" y="352620"/>
                  </a:lnTo>
                  <a:lnTo>
                    <a:pt x="500340" y="400270"/>
                  </a:lnTo>
                  <a:lnTo>
                    <a:pt x="509870" y="433626"/>
                  </a:lnTo>
                  <a:lnTo>
                    <a:pt x="519400" y="447922"/>
                  </a:lnTo>
                  <a:lnTo>
                    <a:pt x="538462" y="462218"/>
                  </a:lnTo>
                  <a:lnTo>
                    <a:pt x="562286" y="490808"/>
                  </a:lnTo>
                  <a:lnTo>
                    <a:pt x="567052" y="505104"/>
                  </a:lnTo>
                  <a:lnTo>
                    <a:pt x="576582" y="528928"/>
                  </a:lnTo>
                  <a:lnTo>
                    <a:pt x="557522" y="543224"/>
                  </a:lnTo>
                  <a:lnTo>
                    <a:pt x="547992" y="543224"/>
                  </a:lnTo>
                  <a:lnTo>
                    <a:pt x="543226" y="533694"/>
                  </a:lnTo>
                  <a:lnTo>
                    <a:pt x="547992" y="519398"/>
                  </a:lnTo>
                  <a:lnTo>
                    <a:pt x="547992" y="509868"/>
                  </a:lnTo>
                  <a:lnTo>
                    <a:pt x="524166" y="495574"/>
                  </a:lnTo>
                  <a:lnTo>
                    <a:pt x="509870" y="500338"/>
                  </a:lnTo>
                  <a:lnTo>
                    <a:pt x="500340" y="509868"/>
                  </a:lnTo>
                  <a:lnTo>
                    <a:pt x="505106" y="528928"/>
                  </a:lnTo>
                  <a:lnTo>
                    <a:pt x="514636" y="538460"/>
                  </a:lnTo>
                  <a:lnTo>
                    <a:pt x="519400" y="557520"/>
                  </a:lnTo>
                  <a:lnTo>
                    <a:pt x="533696" y="552754"/>
                  </a:lnTo>
                  <a:lnTo>
                    <a:pt x="514636" y="571814"/>
                  </a:lnTo>
                  <a:lnTo>
                    <a:pt x="490810" y="581346"/>
                  </a:lnTo>
                  <a:lnTo>
                    <a:pt x="471750" y="581346"/>
                  </a:lnTo>
                  <a:lnTo>
                    <a:pt x="462218" y="586110"/>
                  </a:lnTo>
                  <a:lnTo>
                    <a:pt x="457454" y="586110"/>
                  </a:lnTo>
                  <a:lnTo>
                    <a:pt x="466984" y="590876"/>
                  </a:lnTo>
                  <a:lnTo>
                    <a:pt x="476514" y="590876"/>
                  </a:lnTo>
                  <a:lnTo>
                    <a:pt x="490810" y="600406"/>
                  </a:lnTo>
                  <a:lnTo>
                    <a:pt x="528930" y="614702"/>
                  </a:lnTo>
                  <a:lnTo>
                    <a:pt x="547992" y="628996"/>
                  </a:lnTo>
                  <a:lnTo>
                    <a:pt x="562286" y="628996"/>
                  </a:lnTo>
                  <a:lnTo>
                    <a:pt x="581348" y="657588"/>
                  </a:lnTo>
                  <a:lnTo>
                    <a:pt x="614704" y="662352"/>
                  </a:lnTo>
                  <a:lnTo>
                    <a:pt x="628998" y="690944"/>
                  </a:lnTo>
                  <a:lnTo>
                    <a:pt x="652824" y="695708"/>
                  </a:lnTo>
                  <a:lnTo>
                    <a:pt x="676650" y="705238"/>
                  </a:lnTo>
                  <a:lnTo>
                    <a:pt x="681414" y="714768"/>
                  </a:lnTo>
                  <a:lnTo>
                    <a:pt x="686180" y="733830"/>
                  </a:lnTo>
                  <a:lnTo>
                    <a:pt x="686180" y="771950"/>
                  </a:lnTo>
                  <a:lnTo>
                    <a:pt x="690946" y="795776"/>
                  </a:lnTo>
                  <a:lnTo>
                    <a:pt x="690946" y="805306"/>
                  </a:lnTo>
                  <a:lnTo>
                    <a:pt x="690946" y="819602"/>
                  </a:lnTo>
                  <a:lnTo>
                    <a:pt x="681414" y="824366"/>
                  </a:lnTo>
                  <a:lnTo>
                    <a:pt x="676650" y="824366"/>
                  </a:lnTo>
                  <a:lnTo>
                    <a:pt x="662354" y="805306"/>
                  </a:lnTo>
                  <a:lnTo>
                    <a:pt x="638528" y="786246"/>
                  </a:lnTo>
                  <a:lnTo>
                    <a:pt x="614704" y="757654"/>
                  </a:lnTo>
                  <a:lnTo>
                    <a:pt x="609938" y="752890"/>
                  </a:lnTo>
                  <a:lnTo>
                    <a:pt x="600408" y="752890"/>
                  </a:lnTo>
                  <a:lnTo>
                    <a:pt x="590878" y="762420"/>
                  </a:lnTo>
                  <a:lnTo>
                    <a:pt x="552756" y="771950"/>
                  </a:lnTo>
                  <a:lnTo>
                    <a:pt x="538462" y="776716"/>
                  </a:lnTo>
                  <a:lnTo>
                    <a:pt x="533696" y="781480"/>
                  </a:lnTo>
                  <a:lnTo>
                    <a:pt x="528930" y="786246"/>
                  </a:lnTo>
                  <a:lnTo>
                    <a:pt x="538462" y="791010"/>
                  </a:lnTo>
                  <a:lnTo>
                    <a:pt x="547992" y="800542"/>
                  </a:lnTo>
                  <a:lnTo>
                    <a:pt x="547992" y="819602"/>
                  </a:lnTo>
                  <a:lnTo>
                    <a:pt x="552756" y="838662"/>
                  </a:lnTo>
                  <a:lnTo>
                    <a:pt x="567052" y="843428"/>
                  </a:lnTo>
                  <a:lnTo>
                    <a:pt x="576582" y="838662"/>
                  </a:lnTo>
                  <a:lnTo>
                    <a:pt x="586112" y="843428"/>
                  </a:lnTo>
                  <a:lnTo>
                    <a:pt x="586112" y="852958"/>
                  </a:lnTo>
                  <a:lnTo>
                    <a:pt x="595642" y="862488"/>
                  </a:lnTo>
                  <a:lnTo>
                    <a:pt x="600408" y="867252"/>
                  </a:lnTo>
                  <a:lnTo>
                    <a:pt x="600408" y="872018"/>
                  </a:lnTo>
                  <a:lnTo>
                    <a:pt x="562286" y="886314"/>
                  </a:lnTo>
                  <a:lnTo>
                    <a:pt x="557522" y="891078"/>
                  </a:lnTo>
                  <a:lnTo>
                    <a:pt x="547992" y="891078"/>
                  </a:lnTo>
                  <a:lnTo>
                    <a:pt x="538462" y="886314"/>
                  </a:lnTo>
                  <a:lnTo>
                    <a:pt x="538462" y="872018"/>
                  </a:lnTo>
                  <a:lnTo>
                    <a:pt x="524166" y="862488"/>
                  </a:lnTo>
                  <a:lnTo>
                    <a:pt x="514636" y="857722"/>
                  </a:lnTo>
                  <a:lnTo>
                    <a:pt x="500340" y="852958"/>
                  </a:lnTo>
                  <a:lnTo>
                    <a:pt x="490810" y="843428"/>
                  </a:lnTo>
                  <a:lnTo>
                    <a:pt x="481280" y="852958"/>
                  </a:lnTo>
                  <a:lnTo>
                    <a:pt x="486044" y="881548"/>
                  </a:lnTo>
                  <a:lnTo>
                    <a:pt x="500340" y="900608"/>
                  </a:lnTo>
                  <a:lnTo>
                    <a:pt x="524166" y="953026"/>
                  </a:lnTo>
                  <a:lnTo>
                    <a:pt x="533696" y="986380"/>
                  </a:lnTo>
                  <a:lnTo>
                    <a:pt x="533696" y="1000676"/>
                  </a:lnTo>
                  <a:lnTo>
                    <a:pt x="528930" y="1029266"/>
                  </a:lnTo>
                  <a:lnTo>
                    <a:pt x="543226" y="1048328"/>
                  </a:lnTo>
                  <a:lnTo>
                    <a:pt x="547992" y="1067388"/>
                  </a:lnTo>
                  <a:lnTo>
                    <a:pt x="543226" y="1067388"/>
                  </a:lnTo>
                  <a:lnTo>
                    <a:pt x="533696" y="1057858"/>
                  </a:lnTo>
                  <a:lnTo>
                    <a:pt x="519400" y="1048328"/>
                  </a:lnTo>
                  <a:lnTo>
                    <a:pt x="495574" y="1019736"/>
                  </a:lnTo>
                  <a:lnTo>
                    <a:pt x="490810" y="1000676"/>
                  </a:lnTo>
                  <a:lnTo>
                    <a:pt x="481280" y="1000676"/>
                  </a:lnTo>
                  <a:lnTo>
                    <a:pt x="462218" y="1000676"/>
                  </a:lnTo>
                  <a:lnTo>
                    <a:pt x="443158" y="1043562"/>
                  </a:lnTo>
                  <a:lnTo>
                    <a:pt x="443158" y="1067388"/>
                  </a:lnTo>
                  <a:lnTo>
                    <a:pt x="433628" y="1062622"/>
                  </a:lnTo>
                  <a:lnTo>
                    <a:pt x="428864" y="1053092"/>
                  </a:lnTo>
                  <a:lnTo>
                    <a:pt x="428864" y="1029266"/>
                  </a:lnTo>
                  <a:lnTo>
                    <a:pt x="428864" y="1014972"/>
                  </a:lnTo>
                  <a:lnTo>
                    <a:pt x="405038" y="981616"/>
                  </a:lnTo>
                  <a:lnTo>
                    <a:pt x="395508" y="976850"/>
                  </a:lnTo>
                  <a:lnTo>
                    <a:pt x="390742" y="967320"/>
                  </a:lnTo>
                  <a:lnTo>
                    <a:pt x="381212" y="953026"/>
                  </a:lnTo>
                  <a:lnTo>
                    <a:pt x="371682" y="953026"/>
                  </a:lnTo>
                  <a:lnTo>
                    <a:pt x="362152" y="962556"/>
                  </a:lnTo>
                  <a:lnTo>
                    <a:pt x="357386" y="981616"/>
                  </a:lnTo>
                  <a:lnTo>
                    <a:pt x="357386" y="995912"/>
                  </a:lnTo>
                  <a:lnTo>
                    <a:pt x="352620" y="1010206"/>
                  </a:lnTo>
                  <a:lnTo>
                    <a:pt x="328796" y="986380"/>
                  </a:lnTo>
                  <a:lnTo>
                    <a:pt x="300204" y="943494"/>
                  </a:lnTo>
                  <a:lnTo>
                    <a:pt x="300204" y="919670"/>
                  </a:lnTo>
                  <a:lnTo>
                    <a:pt x="319266" y="895844"/>
                  </a:lnTo>
                  <a:lnTo>
                    <a:pt x="319266" y="881548"/>
                  </a:lnTo>
                  <a:lnTo>
                    <a:pt x="300204" y="852958"/>
                  </a:lnTo>
                  <a:lnTo>
                    <a:pt x="276378" y="833896"/>
                  </a:lnTo>
                  <a:lnTo>
                    <a:pt x="262084" y="829132"/>
                  </a:lnTo>
                  <a:lnTo>
                    <a:pt x="257318" y="805306"/>
                  </a:lnTo>
                  <a:lnTo>
                    <a:pt x="243024" y="795776"/>
                  </a:lnTo>
                  <a:lnTo>
                    <a:pt x="233492" y="791010"/>
                  </a:lnTo>
                  <a:lnTo>
                    <a:pt x="233492" y="781480"/>
                  </a:lnTo>
                  <a:lnTo>
                    <a:pt x="233492" y="776716"/>
                  </a:lnTo>
                  <a:lnTo>
                    <a:pt x="257318" y="757654"/>
                  </a:lnTo>
                  <a:lnTo>
                    <a:pt x="276378" y="724298"/>
                  </a:lnTo>
                  <a:lnTo>
                    <a:pt x="281144" y="719534"/>
                  </a:lnTo>
                  <a:lnTo>
                    <a:pt x="295440" y="729064"/>
                  </a:lnTo>
                  <a:lnTo>
                    <a:pt x="314500" y="724298"/>
                  </a:lnTo>
                  <a:lnTo>
                    <a:pt x="328796" y="705238"/>
                  </a:lnTo>
                  <a:lnTo>
                    <a:pt x="338326" y="695708"/>
                  </a:lnTo>
                  <a:lnTo>
                    <a:pt x="362152" y="695708"/>
                  </a:lnTo>
                  <a:lnTo>
                    <a:pt x="405038" y="724298"/>
                  </a:lnTo>
                  <a:lnTo>
                    <a:pt x="452688" y="738594"/>
                  </a:lnTo>
                  <a:lnTo>
                    <a:pt x="476514" y="752890"/>
                  </a:lnTo>
                  <a:lnTo>
                    <a:pt x="490810" y="767186"/>
                  </a:lnTo>
                  <a:lnTo>
                    <a:pt x="500340" y="767186"/>
                  </a:lnTo>
                  <a:lnTo>
                    <a:pt x="509870" y="771950"/>
                  </a:lnTo>
                  <a:lnTo>
                    <a:pt x="509870" y="762420"/>
                  </a:lnTo>
                  <a:lnTo>
                    <a:pt x="505106" y="752890"/>
                  </a:lnTo>
                  <a:lnTo>
                    <a:pt x="514636" y="748124"/>
                  </a:lnTo>
                  <a:lnTo>
                    <a:pt x="543226" y="748124"/>
                  </a:lnTo>
                  <a:lnTo>
                    <a:pt x="547992" y="743360"/>
                  </a:lnTo>
                  <a:lnTo>
                    <a:pt x="552756" y="733830"/>
                  </a:lnTo>
                  <a:lnTo>
                    <a:pt x="547992" y="724298"/>
                  </a:lnTo>
                  <a:lnTo>
                    <a:pt x="538462" y="724298"/>
                  </a:lnTo>
                  <a:lnTo>
                    <a:pt x="528930" y="719534"/>
                  </a:lnTo>
                  <a:lnTo>
                    <a:pt x="524166" y="719534"/>
                  </a:lnTo>
                  <a:lnTo>
                    <a:pt x="514636" y="719534"/>
                  </a:lnTo>
                  <a:lnTo>
                    <a:pt x="495574" y="714768"/>
                  </a:lnTo>
                  <a:lnTo>
                    <a:pt x="490810" y="710004"/>
                  </a:lnTo>
                  <a:lnTo>
                    <a:pt x="486044" y="705238"/>
                  </a:lnTo>
                  <a:lnTo>
                    <a:pt x="457454" y="690944"/>
                  </a:lnTo>
                  <a:lnTo>
                    <a:pt x="433628" y="676648"/>
                  </a:lnTo>
                  <a:lnTo>
                    <a:pt x="428864" y="686178"/>
                  </a:lnTo>
                  <a:lnTo>
                    <a:pt x="419332" y="690944"/>
                  </a:lnTo>
                  <a:lnTo>
                    <a:pt x="405038" y="690944"/>
                  </a:lnTo>
                  <a:lnTo>
                    <a:pt x="362152" y="681412"/>
                  </a:lnTo>
                  <a:lnTo>
                    <a:pt x="338326" y="686178"/>
                  </a:lnTo>
                  <a:lnTo>
                    <a:pt x="324030" y="690944"/>
                  </a:lnTo>
                  <a:lnTo>
                    <a:pt x="314500" y="690944"/>
                  </a:lnTo>
                  <a:lnTo>
                    <a:pt x="300204" y="695708"/>
                  </a:lnTo>
                  <a:lnTo>
                    <a:pt x="285910" y="695708"/>
                  </a:lnTo>
                  <a:lnTo>
                    <a:pt x="271614" y="681412"/>
                  </a:lnTo>
                  <a:lnTo>
                    <a:pt x="266848" y="667118"/>
                  </a:lnTo>
                  <a:lnTo>
                    <a:pt x="262084" y="662352"/>
                  </a:lnTo>
                  <a:lnTo>
                    <a:pt x="262084" y="676648"/>
                  </a:lnTo>
                  <a:lnTo>
                    <a:pt x="257318" y="686178"/>
                  </a:lnTo>
                  <a:lnTo>
                    <a:pt x="238258" y="690944"/>
                  </a:lnTo>
                  <a:lnTo>
                    <a:pt x="228728" y="686178"/>
                  </a:lnTo>
                  <a:lnTo>
                    <a:pt x="219198" y="662352"/>
                  </a:lnTo>
                  <a:lnTo>
                    <a:pt x="209668" y="633762"/>
                  </a:lnTo>
                  <a:lnTo>
                    <a:pt x="190606" y="605170"/>
                  </a:lnTo>
                  <a:lnTo>
                    <a:pt x="176312" y="600406"/>
                  </a:lnTo>
                  <a:lnTo>
                    <a:pt x="176312" y="586110"/>
                  </a:lnTo>
                  <a:lnTo>
                    <a:pt x="176312" y="576580"/>
                  </a:lnTo>
                  <a:lnTo>
                    <a:pt x="195372" y="571814"/>
                  </a:lnTo>
                  <a:lnTo>
                    <a:pt x="223962" y="586110"/>
                  </a:lnTo>
                  <a:lnTo>
                    <a:pt x="228728" y="581346"/>
                  </a:lnTo>
                  <a:lnTo>
                    <a:pt x="233492" y="576580"/>
                  </a:lnTo>
                  <a:lnTo>
                    <a:pt x="233492" y="567050"/>
                  </a:lnTo>
                  <a:lnTo>
                    <a:pt x="228728" y="557520"/>
                  </a:lnTo>
                  <a:lnTo>
                    <a:pt x="223962" y="557520"/>
                  </a:lnTo>
                  <a:lnTo>
                    <a:pt x="219198" y="557520"/>
                  </a:lnTo>
                  <a:lnTo>
                    <a:pt x="200136" y="552754"/>
                  </a:lnTo>
                  <a:lnTo>
                    <a:pt x="176312" y="562284"/>
                  </a:lnTo>
                  <a:lnTo>
                    <a:pt x="166780" y="557520"/>
                  </a:lnTo>
                  <a:lnTo>
                    <a:pt x="162016" y="547990"/>
                  </a:lnTo>
                  <a:lnTo>
                    <a:pt x="142956" y="533694"/>
                  </a:lnTo>
                  <a:lnTo>
                    <a:pt x="128660" y="509868"/>
                  </a:lnTo>
                  <a:lnTo>
                    <a:pt x="100070" y="495574"/>
                  </a:lnTo>
                  <a:lnTo>
                    <a:pt x="85774" y="452686"/>
                  </a:lnTo>
                  <a:lnTo>
                    <a:pt x="71478" y="433626"/>
                  </a:lnTo>
                  <a:lnTo>
                    <a:pt x="57184" y="419330"/>
                  </a:lnTo>
                  <a:lnTo>
                    <a:pt x="66714" y="419330"/>
                  </a:lnTo>
                  <a:lnTo>
                    <a:pt x="76244" y="428862"/>
                  </a:lnTo>
                  <a:lnTo>
                    <a:pt x="85774" y="428862"/>
                  </a:lnTo>
                  <a:lnTo>
                    <a:pt x="95304" y="424096"/>
                  </a:lnTo>
                  <a:lnTo>
                    <a:pt x="100070" y="419330"/>
                  </a:lnTo>
                  <a:lnTo>
                    <a:pt x="100070" y="414566"/>
                  </a:lnTo>
                  <a:lnTo>
                    <a:pt x="100070" y="405036"/>
                  </a:lnTo>
                  <a:lnTo>
                    <a:pt x="104834" y="400270"/>
                  </a:lnTo>
                  <a:lnTo>
                    <a:pt x="109600" y="400270"/>
                  </a:lnTo>
                  <a:lnTo>
                    <a:pt x="114364" y="400270"/>
                  </a:lnTo>
                  <a:lnTo>
                    <a:pt x="114364" y="390740"/>
                  </a:lnTo>
                  <a:lnTo>
                    <a:pt x="109600" y="381210"/>
                  </a:lnTo>
                  <a:lnTo>
                    <a:pt x="104834" y="371680"/>
                  </a:lnTo>
                  <a:lnTo>
                    <a:pt x="104834" y="362150"/>
                  </a:lnTo>
                  <a:lnTo>
                    <a:pt x="109600" y="362150"/>
                  </a:lnTo>
                  <a:lnTo>
                    <a:pt x="114364" y="357384"/>
                  </a:lnTo>
                  <a:lnTo>
                    <a:pt x="119130" y="347854"/>
                  </a:lnTo>
                  <a:lnTo>
                    <a:pt x="128660" y="347854"/>
                  </a:lnTo>
                  <a:lnTo>
                    <a:pt x="138190" y="347854"/>
                  </a:lnTo>
                  <a:lnTo>
                    <a:pt x="147720" y="343090"/>
                  </a:lnTo>
                  <a:lnTo>
                    <a:pt x="157250" y="333558"/>
                  </a:lnTo>
                  <a:lnTo>
                    <a:pt x="157250" y="328794"/>
                  </a:lnTo>
                  <a:lnTo>
                    <a:pt x="162016" y="309734"/>
                  </a:lnTo>
                  <a:lnTo>
                    <a:pt x="166780" y="300202"/>
                  </a:lnTo>
                  <a:lnTo>
                    <a:pt x="171546" y="290672"/>
                  </a:lnTo>
                  <a:lnTo>
                    <a:pt x="176312" y="281142"/>
                  </a:lnTo>
                  <a:lnTo>
                    <a:pt x="181076" y="266846"/>
                  </a:lnTo>
                  <a:lnTo>
                    <a:pt x="195372" y="262082"/>
                  </a:lnTo>
                  <a:lnTo>
                    <a:pt x="204902" y="257316"/>
                  </a:lnTo>
                  <a:lnTo>
                    <a:pt x="214432" y="243022"/>
                  </a:lnTo>
                  <a:lnTo>
                    <a:pt x="214432" y="233492"/>
                  </a:lnTo>
                  <a:lnTo>
                    <a:pt x="214432" y="223960"/>
                  </a:lnTo>
                  <a:lnTo>
                    <a:pt x="209668" y="214430"/>
                  </a:lnTo>
                  <a:lnTo>
                    <a:pt x="204902" y="200136"/>
                  </a:lnTo>
                  <a:lnTo>
                    <a:pt x="204902" y="185840"/>
                  </a:lnTo>
                  <a:lnTo>
                    <a:pt x="228728" y="185840"/>
                  </a:lnTo>
                  <a:lnTo>
                    <a:pt x="233492" y="181074"/>
                  </a:lnTo>
                  <a:lnTo>
                    <a:pt x="262084" y="181074"/>
                  </a:lnTo>
                  <a:lnTo>
                    <a:pt x="276378" y="171544"/>
                  </a:lnTo>
                  <a:lnTo>
                    <a:pt x="281144" y="176310"/>
                  </a:lnTo>
                  <a:lnTo>
                    <a:pt x="300204" y="181074"/>
                  </a:lnTo>
                  <a:lnTo>
                    <a:pt x="309734" y="176310"/>
                  </a:lnTo>
                  <a:lnTo>
                    <a:pt x="333560" y="166780"/>
                  </a:lnTo>
                  <a:lnTo>
                    <a:pt x="357386" y="133424"/>
                  </a:lnTo>
                  <a:lnTo>
                    <a:pt x="366916" y="128658"/>
                  </a:lnTo>
                  <a:lnTo>
                    <a:pt x="390742" y="123894"/>
                  </a:lnTo>
                  <a:lnTo>
                    <a:pt x="395508" y="119128"/>
                  </a:lnTo>
                  <a:lnTo>
                    <a:pt x="405038" y="123894"/>
                  </a:lnTo>
                  <a:lnTo>
                    <a:pt x="428864" y="128658"/>
                  </a:lnTo>
                  <a:lnTo>
                    <a:pt x="443158" y="128658"/>
                  </a:lnTo>
                  <a:lnTo>
                    <a:pt x="462218" y="123894"/>
                  </a:lnTo>
                  <a:lnTo>
                    <a:pt x="481280" y="119128"/>
                  </a:lnTo>
                  <a:lnTo>
                    <a:pt x="486044" y="90538"/>
                  </a:lnTo>
                  <a:lnTo>
                    <a:pt x="490810" y="85772"/>
                  </a:lnTo>
                  <a:lnTo>
                    <a:pt x="500340" y="85772"/>
                  </a:lnTo>
                  <a:lnTo>
                    <a:pt x="509870" y="85772"/>
                  </a:lnTo>
                  <a:lnTo>
                    <a:pt x="528930" y="85772"/>
                  </a:lnTo>
                  <a:lnTo>
                    <a:pt x="547992" y="85772"/>
                  </a:lnTo>
                  <a:lnTo>
                    <a:pt x="562286" y="76242"/>
                  </a:lnTo>
                  <a:lnTo>
                    <a:pt x="581348" y="71476"/>
                  </a:lnTo>
                  <a:lnTo>
                    <a:pt x="590878" y="71476"/>
                  </a:lnTo>
                  <a:lnTo>
                    <a:pt x="609938" y="76242"/>
                  </a:lnTo>
                  <a:lnTo>
                    <a:pt x="624234" y="76242"/>
                  </a:lnTo>
                  <a:lnTo>
                    <a:pt x="643294" y="66712"/>
                  </a:lnTo>
                  <a:lnTo>
                    <a:pt x="662354" y="57182"/>
                  </a:lnTo>
                  <a:lnTo>
                    <a:pt x="676650" y="61946"/>
                  </a:lnTo>
                  <a:lnTo>
                    <a:pt x="681414" y="57182"/>
                  </a:lnTo>
                  <a:lnTo>
                    <a:pt x="686180" y="57182"/>
                  </a:lnTo>
                  <a:lnTo>
                    <a:pt x="690946" y="42886"/>
                  </a:lnTo>
                  <a:lnTo>
                    <a:pt x="714770" y="42886"/>
                  </a:lnTo>
                  <a:lnTo>
                    <a:pt x="724302" y="42886"/>
                  </a:lnTo>
                  <a:lnTo>
                    <a:pt x="738596" y="42886"/>
                  </a:lnTo>
                  <a:lnTo>
                    <a:pt x="757656" y="38122"/>
                  </a:lnTo>
                  <a:lnTo>
                    <a:pt x="762422" y="38122"/>
                  </a:lnTo>
                  <a:lnTo>
                    <a:pt x="767188" y="57182"/>
                  </a:lnTo>
                  <a:lnTo>
                    <a:pt x="771952" y="61946"/>
                  </a:lnTo>
                  <a:lnTo>
                    <a:pt x="781482" y="66712"/>
                  </a:lnTo>
                  <a:lnTo>
                    <a:pt x="800544" y="81008"/>
                  </a:lnTo>
                  <a:lnTo>
                    <a:pt x="805308" y="76242"/>
                  </a:lnTo>
                  <a:lnTo>
                    <a:pt x="810074" y="71476"/>
                  </a:lnTo>
                  <a:lnTo>
                    <a:pt x="833900" y="76242"/>
                  </a:lnTo>
                  <a:lnTo>
                    <a:pt x="857724" y="90538"/>
                  </a:lnTo>
                  <a:lnTo>
                    <a:pt x="876786" y="104832"/>
                  </a:lnTo>
                  <a:lnTo>
                    <a:pt x="895846" y="100068"/>
                  </a:lnTo>
                  <a:lnTo>
                    <a:pt x="919672" y="90538"/>
                  </a:lnTo>
                  <a:lnTo>
                    <a:pt x="933966" y="90538"/>
                  </a:lnTo>
                  <a:lnTo>
                    <a:pt x="948262" y="90538"/>
                  </a:lnTo>
                  <a:lnTo>
                    <a:pt x="957792" y="85772"/>
                  </a:lnTo>
                  <a:lnTo>
                    <a:pt x="981618" y="90538"/>
                  </a:lnTo>
                  <a:lnTo>
                    <a:pt x="1000678" y="81008"/>
                  </a:lnTo>
                  <a:lnTo>
                    <a:pt x="1014974" y="76242"/>
                  </a:lnTo>
                  <a:lnTo>
                    <a:pt x="1014974" y="61946"/>
                  </a:lnTo>
                  <a:lnTo>
                    <a:pt x="1014974" y="47652"/>
                  </a:lnTo>
                  <a:lnTo>
                    <a:pt x="1010208" y="28590"/>
                  </a:lnTo>
                  <a:lnTo>
                    <a:pt x="1005444" y="19060"/>
                  </a:lnTo>
                  <a:lnTo>
                    <a:pt x="1000678" y="14296"/>
                  </a:lnTo>
                  <a:lnTo>
                    <a:pt x="1005444" y="9530"/>
                  </a:lnTo>
                  <a:lnTo>
                    <a:pt x="1010208"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45" name="Google Shape;4612;p64">
              <a:extLst>
                <a:ext uri="{FF2B5EF4-FFF2-40B4-BE49-F238E27FC236}">
                  <a16:creationId xmlns:a16="http://schemas.microsoft.com/office/drawing/2014/main" id="{485B9307-DE06-963B-B4AD-43CC2E62B83A}"/>
                </a:ext>
              </a:extLst>
            </p:cNvPr>
            <p:cNvSpPr/>
            <p:nvPr/>
          </p:nvSpPr>
          <p:spPr>
            <a:xfrm>
              <a:off x="3195929" y="4724298"/>
              <a:ext cx="3938" cy="5251"/>
            </a:xfrm>
            <a:custGeom>
              <a:avLst/>
              <a:gdLst/>
              <a:ahLst/>
              <a:cxnLst/>
              <a:rect l="l" t="t" r="r" b="b"/>
              <a:pathLst>
                <a:path w="12" h="16" extrusionOk="0">
                  <a:moveTo>
                    <a:pt x="4" y="16"/>
                  </a:moveTo>
                  <a:lnTo>
                    <a:pt x="10" y="12"/>
                  </a:lnTo>
                  <a:lnTo>
                    <a:pt x="12" y="0"/>
                  </a:lnTo>
                  <a:lnTo>
                    <a:pt x="8" y="0"/>
                  </a:lnTo>
                  <a:lnTo>
                    <a:pt x="4" y="4"/>
                  </a:lnTo>
                  <a:lnTo>
                    <a:pt x="2" y="8"/>
                  </a:lnTo>
                  <a:lnTo>
                    <a:pt x="2" y="14"/>
                  </a:lnTo>
                  <a:lnTo>
                    <a:pt x="0" y="16"/>
                  </a:lnTo>
                  <a:lnTo>
                    <a:pt x="4"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46" name="Google Shape;4613;p64">
              <a:extLst>
                <a:ext uri="{FF2B5EF4-FFF2-40B4-BE49-F238E27FC236}">
                  <a16:creationId xmlns:a16="http://schemas.microsoft.com/office/drawing/2014/main" id="{A764CC08-225D-D464-5DD8-FC9C81CB7D7F}"/>
                </a:ext>
              </a:extLst>
            </p:cNvPr>
            <p:cNvCxnSpPr/>
            <p:nvPr/>
          </p:nvCxnSpPr>
          <p:spPr>
            <a:xfrm>
              <a:off x="3197243" y="4729549"/>
              <a:ext cx="0" cy="0"/>
            </a:xfrm>
            <a:prstGeom prst="straightConnector1">
              <a:avLst/>
            </a:prstGeom>
            <a:grpFill/>
            <a:ln w="9525" cap="flat" cmpd="sng">
              <a:solidFill>
                <a:schemeClr val="bg2"/>
              </a:solidFill>
              <a:prstDash val="solid"/>
              <a:round/>
              <a:headEnd type="none" w="med" len="med"/>
              <a:tailEnd type="none" w="med" len="med"/>
            </a:ln>
          </p:spPr>
        </p:cxnSp>
        <p:cxnSp>
          <p:nvCxnSpPr>
            <p:cNvPr id="147" name="Google Shape;4614;p64">
              <a:extLst>
                <a:ext uri="{FF2B5EF4-FFF2-40B4-BE49-F238E27FC236}">
                  <a16:creationId xmlns:a16="http://schemas.microsoft.com/office/drawing/2014/main" id="{F659B8DA-AD59-6D34-5192-DD40FF07C696}"/>
                </a:ext>
              </a:extLst>
            </p:cNvPr>
            <p:cNvCxnSpPr/>
            <p:nvPr/>
          </p:nvCxnSpPr>
          <p:spPr>
            <a:xfrm>
              <a:off x="3197243" y="4729549"/>
              <a:ext cx="0" cy="0"/>
            </a:xfrm>
            <a:prstGeom prst="straightConnector1">
              <a:avLst/>
            </a:prstGeom>
            <a:grpFill/>
            <a:ln w="9525" cap="flat" cmpd="sng">
              <a:solidFill>
                <a:schemeClr val="bg2"/>
              </a:solidFill>
              <a:prstDash val="solid"/>
              <a:round/>
              <a:headEnd type="none" w="med" len="med"/>
              <a:tailEnd type="none" w="med" len="med"/>
            </a:ln>
          </p:spPr>
        </p:cxnSp>
        <p:sp>
          <p:nvSpPr>
            <p:cNvPr id="148" name="Google Shape;4615;p64">
              <a:extLst>
                <a:ext uri="{FF2B5EF4-FFF2-40B4-BE49-F238E27FC236}">
                  <a16:creationId xmlns:a16="http://schemas.microsoft.com/office/drawing/2014/main" id="{2807F682-1CFE-53B9-C999-FE2ECA3AF01B}"/>
                </a:ext>
              </a:extLst>
            </p:cNvPr>
            <p:cNvSpPr/>
            <p:nvPr/>
          </p:nvSpPr>
          <p:spPr>
            <a:xfrm>
              <a:off x="2541255" y="4600256"/>
              <a:ext cx="85978" cy="91228"/>
            </a:xfrm>
            <a:custGeom>
              <a:avLst/>
              <a:gdLst/>
              <a:ahLst/>
              <a:cxnLst/>
              <a:rect l="l" t="t" r="r" b="b"/>
              <a:pathLst>
                <a:path w="262" h="278" extrusionOk="0">
                  <a:moveTo>
                    <a:pt x="200" y="0"/>
                  </a:moveTo>
                  <a:lnTo>
                    <a:pt x="164" y="0"/>
                  </a:lnTo>
                  <a:lnTo>
                    <a:pt x="134" y="0"/>
                  </a:lnTo>
                  <a:lnTo>
                    <a:pt x="80" y="0"/>
                  </a:lnTo>
                  <a:lnTo>
                    <a:pt x="80" y="24"/>
                  </a:lnTo>
                  <a:lnTo>
                    <a:pt x="80" y="38"/>
                  </a:lnTo>
                  <a:lnTo>
                    <a:pt x="54" y="38"/>
                  </a:lnTo>
                  <a:lnTo>
                    <a:pt x="54" y="40"/>
                  </a:lnTo>
                  <a:lnTo>
                    <a:pt x="60" y="42"/>
                  </a:lnTo>
                  <a:lnTo>
                    <a:pt x="66" y="48"/>
                  </a:lnTo>
                  <a:lnTo>
                    <a:pt x="74" y="56"/>
                  </a:lnTo>
                  <a:lnTo>
                    <a:pt x="82" y="64"/>
                  </a:lnTo>
                  <a:lnTo>
                    <a:pt x="92" y="70"/>
                  </a:lnTo>
                  <a:lnTo>
                    <a:pt x="100" y="76"/>
                  </a:lnTo>
                  <a:lnTo>
                    <a:pt x="102" y="80"/>
                  </a:lnTo>
                  <a:lnTo>
                    <a:pt x="104" y="84"/>
                  </a:lnTo>
                  <a:lnTo>
                    <a:pt x="104" y="88"/>
                  </a:lnTo>
                  <a:lnTo>
                    <a:pt x="108" y="92"/>
                  </a:lnTo>
                  <a:lnTo>
                    <a:pt x="116" y="94"/>
                  </a:lnTo>
                  <a:lnTo>
                    <a:pt x="118" y="98"/>
                  </a:lnTo>
                  <a:lnTo>
                    <a:pt x="118" y="100"/>
                  </a:lnTo>
                  <a:lnTo>
                    <a:pt x="116" y="106"/>
                  </a:lnTo>
                  <a:lnTo>
                    <a:pt x="116" y="112"/>
                  </a:lnTo>
                  <a:lnTo>
                    <a:pt x="116" y="118"/>
                  </a:lnTo>
                  <a:lnTo>
                    <a:pt x="66" y="118"/>
                  </a:lnTo>
                  <a:lnTo>
                    <a:pt x="52" y="120"/>
                  </a:lnTo>
                  <a:lnTo>
                    <a:pt x="32" y="120"/>
                  </a:lnTo>
                  <a:lnTo>
                    <a:pt x="26" y="128"/>
                  </a:lnTo>
                  <a:lnTo>
                    <a:pt x="18" y="144"/>
                  </a:lnTo>
                  <a:lnTo>
                    <a:pt x="10" y="158"/>
                  </a:lnTo>
                  <a:lnTo>
                    <a:pt x="2" y="170"/>
                  </a:lnTo>
                  <a:lnTo>
                    <a:pt x="2" y="174"/>
                  </a:lnTo>
                  <a:lnTo>
                    <a:pt x="2" y="176"/>
                  </a:lnTo>
                  <a:lnTo>
                    <a:pt x="10" y="186"/>
                  </a:lnTo>
                  <a:lnTo>
                    <a:pt x="8" y="190"/>
                  </a:lnTo>
                  <a:lnTo>
                    <a:pt x="6" y="192"/>
                  </a:lnTo>
                  <a:lnTo>
                    <a:pt x="4" y="194"/>
                  </a:lnTo>
                  <a:lnTo>
                    <a:pt x="4" y="198"/>
                  </a:lnTo>
                  <a:lnTo>
                    <a:pt x="2" y="204"/>
                  </a:lnTo>
                  <a:lnTo>
                    <a:pt x="4" y="208"/>
                  </a:lnTo>
                  <a:lnTo>
                    <a:pt x="4" y="212"/>
                  </a:lnTo>
                  <a:lnTo>
                    <a:pt x="2" y="216"/>
                  </a:lnTo>
                  <a:lnTo>
                    <a:pt x="2" y="220"/>
                  </a:lnTo>
                  <a:lnTo>
                    <a:pt x="0" y="222"/>
                  </a:lnTo>
                  <a:lnTo>
                    <a:pt x="26" y="244"/>
                  </a:lnTo>
                  <a:lnTo>
                    <a:pt x="38" y="252"/>
                  </a:lnTo>
                  <a:lnTo>
                    <a:pt x="56" y="260"/>
                  </a:lnTo>
                  <a:lnTo>
                    <a:pt x="70" y="264"/>
                  </a:lnTo>
                  <a:lnTo>
                    <a:pt x="106" y="264"/>
                  </a:lnTo>
                  <a:lnTo>
                    <a:pt x="114" y="266"/>
                  </a:lnTo>
                  <a:lnTo>
                    <a:pt x="140" y="278"/>
                  </a:lnTo>
                  <a:lnTo>
                    <a:pt x="140" y="274"/>
                  </a:lnTo>
                  <a:lnTo>
                    <a:pt x="140" y="270"/>
                  </a:lnTo>
                  <a:lnTo>
                    <a:pt x="142" y="266"/>
                  </a:lnTo>
                  <a:lnTo>
                    <a:pt x="150" y="260"/>
                  </a:lnTo>
                  <a:lnTo>
                    <a:pt x="154" y="256"/>
                  </a:lnTo>
                  <a:lnTo>
                    <a:pt x="156" y="256"/>
                  </a:lnTo>
                  <a:lnTo>
                    <a:pt x="160" y="256"/>
                  </a:lnTo>
                  <a:lnTo>
                    <a:pt x="162" y="254"/>
                  </a:lnTo>
                  <a:lnTo>
                    <a:pt x="164" y="250"/>
                  </a:lnTo>
                  <a:lnTo>
                    <a:pt x="168" y="248"/>
                  </a:lnTo>
                  <a:lnTo>
                    <a:pt x="174" y="244"/>
                  </a:lnTo>
                  <a:lnTo>
                    <a:pt x="176" y="244"/>
                  </a:lnTo>
                  <a:lnTo>
                    <a:pt x="176" y="240"/>
                  </a:lnTo>
                  <a:lnTo>
                    <a:pt x="174" y="236"/>
                  </a:lnTo>
                  <a:lnTo>
                    <a:pt x="174" y="232"/>
                  </a:lnTo>
                  <a:lnTo>
                    <a:pt x="176" y="232"/>
                  </a:lnTo>
                  <a:lnTo>
                    <a:pt x="178" y="232"/>
                  </a:lnTo>
                  <a:lnTo>
                    <a:pt x="184" y="230"/>
                  </a:lnTo>
                  <a:lnTo>
                    <a:pt x="186" y="230"/>
                  </a:lnTo>
                  <a:lnTo>
                    <a:pt x="188" y="232"/>
                  </a:lnTo>
                  <a:lnTo>
                    <a:pt x="190" y="228"/>
                  </a:lnTo>
                  <a:lnTo>
                    <a:pt x="192" y="224"/>
                  </a:lnTo>
                  <a:lnTo>
                    <a:pt x="200" y="218"/>
                  </a:lnTo>
                  <a:lnTo>
                    <a:pt x="200" y="214"/>
                  </a:lnTo>
                  <a:lnTo>
                    <a:pt x="198" y="206"/>
                  </a:lnTo>
                  <a:lnTo>
                    <a:pt x="198" y="200"/>
                  </a:lnTo>
                  <a:lnTo>
                    <a:pt x="198" y="198"/>
                  </a:lnTo>
                  <a:lnTo>
                    <a:pt x="200" y="188"/>
                  </a:lnTo>
                  <a:lnTo>
                    <a:pt x="202" y="186"/>
                  </a:lnTo>
                  <a:lnTo>
                    <a:pt x="214" y="182"/>
                  </a:lnTo>
                  <a:lnTo>
                    <a:pt x="214" y="182"/>
                  </a:lnTo>
                  <a:lnTo>
                    <a:pt x="222" y="174"/>
                  </a:lnTo>
                  <a:lnTo>
                    <a:pt x="232" y="168"/>
                  </a:lnTo>
                  <a:lnTo>
                    <a:pt x="242" y="160"/>
                  </a:lnTo>
                  <a:lnTo>
                    <a:pt x="254" y="150"/>
                  </a:lnTo>
                  <a:lnTo>
                    <a:pt x="260" y="144"/>
                  </a:lnTo>
                  <a:lnTo>
                    <a:pt x="262" y="142"/>
                  </a:lnTo>
                  <a:lnTo>
                    <a:pt x="238" y="128"/>
                  </a:lnTo>
                  <a:lnTo>
                    <a:pt x="238" y="128"/>
                  </a:lnTo>
                  <a:lnTo>
                    <a:pt x="240" y="130"/>
                  </a:lnTo>
                  <a:lnTo>
                    <a:pt x="242" y="134"/>
                  </a:lnTo>
                  <a:lnTo>
                    <a:pt x="238" y="140"/>
                  </a:lnTo>
                  <a:lnTo>
                    <a:pt x="230" y="136"/>
                  </a:lnTo>
                  <a:lnTo>
                    <a:pt x="224" y="132"/>
                  </a:lnTo>
                  <a:lnTo>
                    <a:pt x="222" y="132"/>
                  </a:lnTo>
                  <a:lnTo>
                    <a:pt x="218" y="132"/>
                  </a:lnTo>
                  <a:lnTo>
                    <a:pt x="216" y="132"/>
                  </a:lnTo>
                  <a:lnTo>
                    <a:pt x="204" y="130"/>
                  </a:lnTo>
                  <a:lnTo>
                    <a:pt x="196" y="132"/>
                  </a:lnTo>
                  <a:lnTo>
                    <a:pt x="196" y="130"/>
                  </a:lnTo>
                  <a:lnTo>
                    <a:pt x="196" y="114"/>
                  </a:lnTo>
                  <a:lnTo>
                    <a:pt x="198" y="88"/>
                  </a:lnTo>
                  <a:lnTo>
                    <a:pt x="198" y="68"/>
                  </a:lnTo>
                  <a:lnTo>
                    <a:pt x="200" y="50"/>
                  </a:lnTo>
                  <a:lnTo>
                    <a:pt x="200" y="36"/>
                  </a:lnTo>
                  <a:lnTo>
                    <a:pt x="200" y="16"/>
                  </a:lnTo>
                  <a:lnTo>
                    <a:pt x="20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49" name="Google Shape;4616;p64">
              <a:extLst>
                <a:ext uri="{FF2B5EF4-FFF2-40B4-BE49-F238E27FC236}">
                  <a16:creationId xmlns:a16="http://schemas.microsoft.com/office/drawing/2014/main" id="{91345AAC-6778-9EA3-6ACE-DCADF23047B1}"/>
                </a:ext>
              </a:extLst>
            </p:cNvPr>
            <p:cNvSpPr/>
            <p:nvPr/>
          </p:nvSpPr>
          <p:spPr>
            <a:xfrm>
              <a:off x="8084489" y="5339667"/>
              <a:ext cx="6563" cy="8532"/>
            </a:xfrm>
            <a:custGeom>
              <a:avLst/>
              <a:gdLst/>
              <a:ahLst/>
              <a:cxnLst/>
              <a:rect l="l" t="t" r="r" b="b"/>
              <a:pathLst>
                <a:path w="20" h="26" extrusionOk="0">
                  <a:moveTo>
                    <a:pt x="8" y="26"/>
                  </a:moveTo>
                  <a:lnTo>
                    <a:pt x="10" y="16"/>
                  </a:lnTo>
                  <a:lnTo>
                    <a:pt x="20" y="4"/>
                  </a:lnTo>
                  <a:lnTo>
                    <a:pt x="18" y="2"/>
                  </a:lnTo>
                  <a:lnTo>
                    <a:pt x="16" y="2"/>
                  </a:lnTo>
                  <a:lnTo>
                    <a:pt x="14" y="0"/>
                  </a:lnTo>
                  <a:lnTo>
                    <a:pt x="10" y="8"/>
                  </a:lnTo>
                  <a:lnTo>
                    <a:pt x="0" y="14"/>
                  </a:lnTo>
                  <a:lnTo>
                    <a:pt x="0" y="22"/>
                  </a:lnTo>
                  <a:lnTo>
                    <a:pt x="2" y="24"/>
                  </a:lnTo>
                  <a:lnTo>
                    <a:pt x="4" y="26"/>
                  </a:lnTo>
                  <a:lnTo>
                    <a:pt x="8"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50" name="Google Shape;4617;p64">
              <a:extLst>
                <a:ext uri="{FF2B5EF4-FFF2-40B4-BE49-F238E27FC236}">
                  <a16:creationId xmlns:a16="http://schemas.microsoft.com/office/drawing/2014/main" id="{3B3BE1FC-6AF6-8016-2ED8-2E9783E5132E}"/>
                </a:ext>
              </a:extLst>
            </p:cNvPr>
            <p:cNvCxnSpPr/>
            <p:nvPr/>
          </p:nvCxnSpPr>
          <p:spPr>
            <a:xfrm>
              <a:off x="7638852" y="4701984"/>
              <a:ext cx="0" cy="0"/>
            </a:xfrm>
            <a:prstGeom prst="straightConnector1">
              <a:avLst/>
            </a:prstGeom>
            <a:grpFill/>
            <a:ln w="9525" cap="flat" cmpd="sng">
              <a:solidFill>
                <a:schemeClr val="bg2"/>
              </a:solidFill>
              <a:prstDash val="solid"/>
              <a:round/>
              <a:headEnd type="none" w="med" len="med"/>
              <a:tailEnd type="none" w="med" len="med"/>
            </a:ln>
          </p:spPr>
        </p:cxnSp>
        <p:cxnSp>
          <p:nvCxnSpPr>
            <p:cNvPr id="151" name="Google Shape;4618;p64">
              <a:extLst>
                <a:ext uri="{FF2B5EF4-FFF2-40B4-BE49-F238E27FC236}">
                  <a16:creationId xmlns:a16="http://schemas.microsoft.com/office/drawing/2014/main" id="{1CB3858C-E55B-98CB-BB6C-2DDDF5EDF1A4}"/>
                </a:ext>
              </a:extLst>
            </p:cNvPr>
            <p:cNvCxnSpPr/>
            <p:nvPr/>
          </p:nvCxnSpPr>
          <p:spPr>
            <a:xfrm>
              <a:off x="7638852" y="4701984"/>
              <a:ext cx="0" cy="0"/>
            </a:xfrm>
            <a:prstGeom prst="straightConnector1">
              <a:avLst/>
            </a:prstGeom>
            <a:grpFill/>
            <a:ln w="9525" cap="flat" cmpd="sng">
              <a:solidFill>
                <a:schemeClr val="bg2"/>
              </a:solidFill>
              <a:prstDash val="solid"/>
              <a:round/>
              <a:headEnd type="none" w="med" len="med"/>
              <a:tailEnd type="none" w="med" len="med"/>
            </a:ln>
          </p:spPr>
        </p:cxnSp>
        <p:sp>
          <p:nvSpPr>
            <p:cNvPr id="152" name="Google Shape;4619;p64">
              <a:extLst>
                <a:ext uri="{FF2B5EF4-FFF2-40B4-BE49-F238E27FC236}">
                  <a16:creationId xmlns:a16="http://schemas.microsoft.com/office/drawing/2014/main" id="{C2FB9680-EBBB-DF29-A55D-94BED6C8A4C0}"/>
                </a:ext>
              </a:extLst>
            </p:cNvPr>
            <p:cNvSpPr/>
            <p:nvPr/>
          </p:nvSpPr>
          <p:spPr>
            <a:xfrm>
              <a:off x="3204461" y="4805025"/>
              <a:ext cx="105666" cy="158828"/>
            </a:xfrm>
            <a:custGeom>
              <a:avLst/>
              <a:gdLst/>
              <a:ahLst/>
              <a:cxnLst/>
              <a:rect l="l" t="t" r="r" b="b"/>
              <a:pathLst>
                <a:path w="322" h="484" extrusionOk="0">
                  <a:moveTo>
                    <a:pt x="274" y="198"/>
                  </a:moveTo>
                  <a:lnTo>
                    <a:pt x="274" y="198"/>
                  </a:lnTo>
                  <a:lnTo>
                    <a:pt x="276" y="176"/>
                  </a:lnTo>
                  <a:lnTo>
                    <a:pt x="276" y="162"/>
                  </a:lnTo>
                  <a:lnTo>
                    <a:pt x="272" y="156"/>
                  </a:lnTo>
                  <a:lnTo>
                    <a:pt x="264" y="150"/>
                  </a:lnTo>
                  <a:lnTo>
                    <a:pt x="252" y="146"/>
                  </a:lnTo>
                  <a:lnTo>
                    <a:pt x="248" y="138"/>
                  </a:lnTo>
                  <a:lnTo>
                    <a:pt x="236" y="130"/>
                  </a:lnTo>
                  <a:lnTo>
                    <a:pt x="222" y="116"/>
                  </a:lnTo>
                  <a:lnTo>
                    <a:pt x="216" y="114"/>
                  </a:lnTo>
                  <a:lnTo>
                    <a:pt x="210" y="114"/>
                  </a:lnTo>
                  <a:lnTo>
                    <a:pt x="202" y="110"/>
                  </a:lnTo>
                  <a:lnTo>
                    <a:pt x="194" y="112"/>
                  </a:lnTo>
                  <a:lnTo>
                    <a:pt x="188" y="120"/>
                  </a:lnTo>
                  <a:lnTo>
                    <a:pt x="184" y="128"/>
                  </a:lnTo>
                  <a:lnTo>
                    <a:pt x="182" y="138"/>
                  </a:lnTo>
                  <a:lnTo>
                    <a:pt x="178" y="142"/>
                  </a:lnTo>
                  <a:lnTo>
                    <a:pt x="182" y="136"/>
                  </a:lnTo>
                  <a:lnTo>
                    <a:pt x="182" y="122"/>
                  </a:lnTo>
                  <a:lnTo>
                    <a:pt x="184" y="112"/>
                  </a:lnTo>
                  <a:lnTo>
                    <a:pt x="190" y="100"/>
                  </a:lnTo>
                  <a:lnTo>
                    <a:pt x="190" y="80"/>
                  </a:lnTo>
                  <a:lnTo>
                    <a:pt x="188" y="76"/>
                  </a:lnTo>
                  <a:lnTo>
                    <a:pt x="180" y="66"/>
                  </a:lnTo>
                  <a:lnTo>
                    <a:pt x="176" y="62"/>
                  </a:lnTo>
                  <a:lnTo>
                    <a:pt x="168" y="54"/>
                  </a:lnTo>
                  <a:lnTo>
                    <a:pt x="142" y="32"/>
                  </a:lnTo>
                  <a:lnTo>
                    <a:pt x="124" y="20"/>
                  </a:lnTo>
                  <a:lnTo>
                    <a:pt x="112" y="12"/>
                  </a:lnTo>
                  <a:lnTo>
                    <a:pt x="108" y="12"/>
                  </a:lnTo>
                  <a:lnTo>
                    <a:pt x="108" y="14"/>
                  </a:lnTo>
                  <a:lnTo>
                    <a:pt x="106" y="14"/>
                  </a:lnTo>
                  <a:lnTo>
                    <a:pt x="102" y="12"/>
                  </a:lnTo>
                  <a:lnTo>
                    <a:pt x="92" y="0"/>
                  </a:lnTo>
                  <a:lnTo>
                    <a:pt x="90" y="0"/>
                  </a:lnTo>
                  <a:lnTo>
                    <a:pt x="102" y="16"/>
                  </a:lnTo>
                  <a:lnTo>
                    <a:pt x="102" y="18"/>
                  </a:lnTo>
                  <a:lnTo>
                    <a:pt x="100" y="20"/>
                  </a:lnTo>
                  <a:lnTo>
                    <a:pt x="92" y="24"/>
                  </a:lnTo>
                  <a:lnTo>
                    <a:pt x="92" y="26"/>
                  </a:lnTo>
                  <a:lnTo>
                    <a:pt x="88" y="32"/>
                  </a:lnTo>
                  <a:lnTo>
                    <a:pt x="80" y="36"/>
                  </a:lnTo>
                  <a:lnTo>
                    <a:pt x="72" y="42"/>
                  </a:lnTo>
                  <a:lnTo>
                    <a:pt x="68" y="46"/>
                  </a:lnTo>
                  <a:lnTo>
                    <a:pt x="66" y="48"/>
                  </a:lnTo>
                  <a:lnTo>
                    <a:pt x="58" y="48"/>
                  </a:lnTo>
                  <a:lnTo>
                    <a:pt x="54" y="52"/>
                  </a:lnTo>
                  <a:lnTo>
                    <a:pt x="50" y="60"/>
                  </a:lnTo>
                  <a:lnTo>
                    <a:pt x="48" y="64"/>
                  </a:lnTo>
                  <a:lnTo>
                    <a:pt x="44" y="66"/>
                  </a:lnTo>
                  <a:lnTo>
                    <a:pt x="44" y="70"/>
                  </a:lnTo>
                  <a:lnTo>
                    <a:pt x="50" y="78"/>
                  </a:lnTo>
                  <a:lnTo>
                    <a:pt x="50" y="82"/>
                  </a:lnTo>
                  <a:lnTo>
                    <a:pt x="48" y="86"/>
                  </a:lnTo>
                  <a:lnTo>
                    <a:pt x="50" y="88"/>
                  </a:lnTo>
                  <a:lnTo>
                    <a:pt x="52" y="92"/>
                  </a:lnTo>
                  <a:lnTo>
                    <a:pt x="56" y="92"/>
                  </a:lnTo>
                  <a:lnTo>
                    <a:pt x="60" y="92"/>
                  </a:lnTo>
                  <a:lnTo>
                    <a:pt x="64" y="92"/>
                  </a:lnTo>
                  <a:lnTo>
                    <a:pt x="68" y="92"/>
                  </a:lnTo>
                  <a:lnTo>
                    <a:pt x="70" y="94"/>
                  </a:lnTo>
                  <a:lnTo>
                    <a:pt x="70" y="96"/>
                  </a:lnTo>
                  <a:lnTo>
                    <a:pt x="68" y="102"/>
                  </a:lnTo>
                  <a:lnTo>
                    <a:pt x="64" y="106"/>
                  </a:lnTo>
                  <a:lnTo>
                    <a:pt x="52" y="112"/>
                  </a:lnTo>
                  <a:lnTo>
                    <a:pt x="46" y="116"/>
                  </a:lnTo>
                  <a:lnTo>
                    <a:pt x="44" y="118"/>
                  </a:lnTo>
                  <a:lnTo>
                    <a:pt x="36" y="116"/>
                  </a:lnTo>
                  <a:lnTo>
                    <a:pt x="34" y="116"/>
                  </a:lnTo>
                  <a:lnTo>
                    <a:pt x="30" y="118"/>
                  </a:lnTo>
                  <a:lnTo>
                    <a:pt x="30" y="120"/>
                  </a:lnTo>
                  <a:lnTo>
                    <a:pt x="24" y="120"/>
                  </a:lnTo>
                  <a:lnTo>
                    <a:pt x="18" y="122"/>
                  </a:lnTo>
                  <a:lnTo>
                    <a:pt x="16" y="122"/>
                  </a:lnTo>
                  <a:lnTo>
                    <a:pt x="14" y="126"/>
                  </a:lnTo>
                  <a:lnTo>
                    <a:pt x="12" y="130"/>
                  </a:lnTo>
                  <a:lnTo>
                    <a:pt x="14" y="134"/>
                  </a:lnTo>
                  <a:lnTo>
                    <a:pt x="16" y="138"/>
                  </a:lnTo>
                  <a:lnTo>
                    <a:pt x="16" y="144"/>
                  </a:lnTo>
                  <a:lnTo>
                    <a:pt x="16" y="154"/>
                  </a:lnTo>
                  <a:lnTo>
                    <a:pt x="14" y="156"/>
                  </a:lnTo>
                  <a:lnTo>
                    <a:pt x="10" y="160"/>
                  </a:lnTo>
                  <a:lnTo>
                    <a:pt x="6" y="166"/>
                  </a:lnTo>
                  <a:lnTo>
                    <a:pt x="0" y="172"/>
                  </a:lnTo>
                  <a:lnTo>
                    <a:pt x="0" y="174"/>
                  </a:lnTo>
                  <a:lnTo>
                    <a:pt x="28" y="206"/>
                  </a:lnTo>
                  <a:lnTo>
                    <a:pt x="42" y="222"/>
                  </a:lnTo>
                  <a:lnTo>
                    <a:pt x="48" y="220"/>
                  </a:lnTo>
                  <a:lnTo>
                    <a:pt x="52" y="222"/>
                  </a:lnTo>
                  <a:lnTo>
                    <a:pt x="60" y="222"/>
                  </a:lnTo>
                  <a:lnTo>
                    <a:pt x="64" y="220"/>
                  </a:lnTo>
                  <a:lnTo>
                    <a:pt x="68" y="222"/>
                  </a:lnTo>
                  <a:lnTo>
                    <a:pt x="74" y="218"/>
                  </a:lnTo>
                  <a:lnTo>
                    <a:pt x="78" y="218"/>
                  </a:lnTo>
                  <a:lnTo>
                    <a:pt x="82" y="218"/>
                  </a:lnTo>
                  <a:lnTo>
                    <a:pt x="84" y="222"/>
                  </a:lnTo>
                  <a:lnTo>
                    <a:pt x="86" y="224"/>
                  </a:lnTo>
                  <a:lnTo>
                    <a:pt x="92" y="228"/>
                  </a:lnTo>
                  <a:lnTo>
                    <a:pt x="90" y="236"/>
                  </a:lnTo>
                  <a:lnTo>
                    <a:pt x="90" y="240"/>
                  </a:lnTo>
                  <a:lnTo>
                    <a:pt x="88" y="246"/>
                  </a:lnTo>
                  <a:lnTo>
                    <a:pt x="88" y="252"/>
                  </a:lnTo>
                  <a:lnTo>
                    <a:pt x="86" y="256"/>
                  </a:lnTo>
                  <a:lnTo>
                    <a:pt x="82" y="260"/>
                  </a:lnTo>
                  <a:lnTo>
                    <a:pt x="82" y="262"/>
                  </a:lnTo>
                  <a:lnTo>
                    <a:pt x="80" y="264"/>
                  </a:lnTo>
                  <a:lnTo>
                    <a:pt x="84" y="266"/>
                  </a:lnTo>
                  <a:lnTo>
                    <a:pt x="88" y="268"/>
                  </a:lnTo>
                  <a:lnTo>
                    <a:pt x="94" y="268"/>
                  </a:lnTo>
                  <a:lnTo>
                    <a:pt x="96" y="268"/>
                  </a:lnTo>
                  <a:lnTo>
                    <a:pt x="102" y="268"/>
                  </a:lnTo>
                  <a:lnTo>
                    <a:pt x="108" y="272"/>
                  </a:lnTo>
                  <a:lnTo>
                    <a:pt x="110" y="276"/>
                  </a:lnTo>
                  <a:lnTo>
                    <a:pt x="110" y="276"/>
                  </a:lnTo>
                  <a:lnTo>
                    <a:pt x="108" y="282"/>
                  </a:lnTo>
                  <a:lnTo>
                    <a:pt x="108" y="286"/>
                  </a:lnTo>
                  <a:lnTo>
                    <a:pt x="110" y="288"/>
                  </a:lnTo>
                  <a:lnTo>
                    <a:pt x="112" y="290"/>
                  </a:lnTo>
                  <a:lnTo>
                    <a:pt x="116" y="298"/>
                  </a:lnTo>
                  <a:lnTo>
                    <a:pt x="118" y="302"/>
                  </a:lnTo>
                  <a:lnTo>
                    <a:pt x="120" y="302"/>
                  </a:lnTo>
                  <a:lnTo>
                    <a:pt x="120" y="304"/>
                  </a:lnTo>
                  <a:lnTo>
                    <a:pt x="118" y="308"/>
                  </a:lnTo>
                  <a:lnTo>
                    <a:pt x="116" y="312"/>
                  </a:lnTo>
                  <a:lnTo>
                    <a:pt x="112" y="316"/>
                  </a:lnTo>
                  <a:lnTo>
                    <a:pt x="112" y="320"/>
                  </a:lnTo>
                  <a:lnTo>
                    <a:pt x="108" y="322"/>
                  </a:lnTo>
                  <a:lnTo>
                    <a:pt x="100" y="328"/>
                  </a:lnTo>
                  <a:lnTo>
                    <a:pt x="102" y="336"/>
                  </a:lnTo>
                  <a:lnTo>
                    <a:pt x="102" y="340"/>
                  </a:lnTo>
                  <a:lnTo>
                    <a:pt x="102" y="342"/>
                  </a:lnTo>
                  <a:lnTo>
                    <a:pt x="98" y="348"/>
                  </a:lnTo>
                  <a:lnTo>
                    <a:pt x="94" y="360"/>
                  </a:lnTo>
                  <a:lnTo>
                    <a:pt x="92" y="366"/>
                  </a:lnTo>
                  <a:lnTo>
                    <a:pt x="90" y="382"/>
                  </a:lnTo>
                  <a:lnTo>
                    <a:pt x="92" y="386"/>
                  </a:lnTo>
                  <a:lnTo>
                    <a:pt x="94" y="392"/>
                  </a:lnTo>
                  <a:lnTo>
                    <a:pt x="98" y="408"/>
                  </a:lnTo>
                  <a:lnTo>
                    <a:pt x="100" y="410"/>
                  </a:lnTo>
                  <a:lnTo>
                    <a:pt x="106" y="414"/>
                  </a:lnTo>
                  <a:lnTo>
                    <a:pt x="108" y="424"/>
                  </a:lnTo>
                  <a:lnTo>
                    <a:pt x="106" y="434"/>
                  </a:lnTo>
                  <a:lnTo>
                    <a:pt x="106" y="438"/>
                  </a:lnTo>
                  <a:lnTo>
                    <a:pt x="108" y="440"/>
                  </a:lnTo>
                  <a:lnTo>
                    <a:pt x="110" y="440"/>
                  </a:lnTo>
                  <a:lnTo>
                    <a:pt x="112" y="442"/>
                  </a:lnTo>
                  <a:lnTo>
                    <a:pt x="112" y="444"/>
                  </a:lnTo>
                  <a:lnTo>
                    <a:pt x="112" y="448"/>
                  </a:lnTo>
                  <a:lnTo>
                    <a:pt x="118" y="450"/>
                  </a:lnTo>
                  <a:lnTo>
                    <a:pt x="122" y="452"/>
                  </a:lnTo>
                  <a:lnTo>
                    <a:pt x="124" y="456"/>
                  </a:lnTo>
                  <a:lnTo>
                    <a:pt x="132" y="462"/>
                  </a:lnTo>
                  <a:lnTo>
                    <a:pt x="134" y="464"/>
                  </a:lnTo>
                  <a:lnTo>
                    <a:pt x="136" y="466"/>
                  </a:lnTo>
                  <a:lnTo>
                    <a:pt x="142" y="472"/>
                  </a:lnTo>
                  <a:lnTo>
                    <a:pt x="158" y="476"/>
                  </a:lnTo>
                  <a:lnTo>
                    <a:pt x="162" y="480"/>
                  </a:lnTo>
                  <a:lnTo>
                    <a:pt x="166" y="484"/>
                  </a:lnTo>
                  <a:lnTo>
                    <a:pt x="168" y="484"/>
                  </a:lnTo>
                  <a:lnTo>
                    <a:pt x="170" y="484"/>
                  </a:lnTo>
                  <a:lnTo>
                    <a:pt x="174" y="480"/>
                  </a:lnTo>
                  <a:lnTo>
                    <a:pt x="178" y="478"/>
                  </a:lnTo>
                  <a:lnTo>
                    <a:pt x="182" y="478"/>
                  </a:lnTo>
                  <a:lnTo>
                    <a:pt x="188" y="478"/>
                  </a:lnTo>
                  <a:lnTo>
                    <a:pt x="190" y="476"/>
                  </a:lnTo>
                  <a:lnTo>
                    <a:pt x="190" y="474"/>
                  </a:lnTo>
                  <a:lnTo>
                    <a:pt x="188" y="468"/>
                  </a:lnTo>
                  <a:lnTo>
                    <a:pt x="190" y="466"/>
                  </a:lnTo>
                  <a:lnTo>
                    <a:pt x="196" y="466"/>
                  </a:lnTo>
                  <a:lnTo>
                    <a:pt x="196" y="462"/>
                  </a:lnTo>
                  <a:lnTo>
                    <a:pt x="198" y="460"/>
                  </a:lnTo>
                  <a:lnTo>
                    <a:pt x="200" y="458"/>
                  </a:lnTo>
                  <a:lnTo>
                    <a:pt x="202" y="458"/>
                  </a:lnTo>
                  <a:lnTo>
                    <a:pt x="204" y="460"/>
                  </a:lnTo>
                  <a:lnTo>
                    <a:pt x="206" y="460"/>
                  </a:lnTo>
                  <a:lnTo>
                    <a:pt x="210" y="460"/>
                  </a:lnTo>
                  <a:lnTo>
                    <a:pt x="212" y="464"/>
                  </a:lnTo>
                  <a:lnTo>
                    <a:pt x="216" y="464"/>
                  </a:lnTo>
                  <a:lnTo>
                    <a:pt x="220" y="462"/>
                  </a:lnTo>
                  <a:lnTo>
                    <a:pt x="222" y="462"/>
                  </a:lnTo>
                  <a:lnTo>
                    <a:pt x="222" y="460"/>
                  </a:lnTo>
                  <a:lnTo>
                    <a:pt x="222" y="454"/>
                  </a:lnTo>
                  <a:lnTo>
                    <a:pt x="226" y="454"/>
                  </a:lnTo>
                  <a:lnTo>
                    <a:pt x="230" y="454"/>
                  </a:lnTo>
                  <a:lnTo>
                    <a:pt x="236" y="452"/>
                  </a:lnTo>
                  <a:lnTo>
                    <a:pt x="242" y="450"/>
                  </a:lnTo>
                  <a:lnTo>
                    <a:pt x="248" y="450"/>
                  </a:lnTo>
                  <a:lnTo>
                    <a:pt x="252" y="450"/>
                  </a:lnTo>
                  <a:lnTo>
                    <a:pt x="254" y="446"/>
                  </a:lnTo>
                  <a:lnTo>
                    <a:pt x="260" y="438"/>
                  </a:lnTo>
                  <a:lnTo>
                    <a:pt x="264" y="436"/>
                  </a:lnTo>
                  <a:lnTo>
                    <a:pt x="266" y="434"/>
                  </a:lnTo>
                  <a:lnTo>
                    <a:pt x="270" y="434"/>
                  </a:lnTo>
                  <a:lnTo>
                    <a:pt x="276" y="432"/>
                  </a:lnTo>
                  <a:lnTo>
                    <a:pt x="280" y="430"/>
                  </a:lnTo>
                  <a:lnTo>
                    <a:pt x="282" y="432"/>
                  </a:lnTo>
                  <a:lnTo>
                    <a:pt x="284" y="436"/>
                  </a:lnTo>
                  <a:lnTo>
                    <a:pt x="286" y="436"/>
                  </a:lnTo>
                  <a:lnTo>
                    <a:pt x="290" y="436"/>
                  </a:lnTo>
                  <a:lnTo>
                    <a:pt x="298" y="440"/>
                  </a:lnTo>
                  <a:lnTo>
                    <a:pt x="302" y="438"/>
                  </a:lnTo>
                  <a:lnTo>
                    <a:pt x="308" y="436"/>
                  </a:lnTo>
                  <a:lnTo>
                    <a:pt x="312" y="436"/>
                  </a:lnTo>
                  <a:lnTo>
                    <a:pt x="316" y="438"/>
                  </a:lnTo>
                  <a:lnTo>
                    <a:pt x="318" y="436"/>
                  </a:lnTo>
                  <a:lnTo>
                    <a:pt x="322" y="436"/>
                  </a:lnTo>
                  <a:lnTo>
                    <a:pt x="318" y="434"/>
                  </a:lnTo>
                  <a:lnTo>
                    <a:pt x="316" y="432"/>
                  </a:lnTo>
                  <a:lnTo>
                    <a:pt x="312" y="430"/>
                  </a:lnTo>
                  <a:lnTo>
                    <a:pt x="306" y="428"/>
                  </a:lnTo>
                  <a:lnTo>
                    <a:pt x="304" y="424"/>
                  </a:lnTo>
                  <a:lnTo>
                    <a:pt x="300" y="416"/>
                  </a:lnTo>
                  <a:lnTo>
                    <a:pt x="298" y="414"/>
                  </a:lnTo>
                  <a:lnTo>
                    <a:pt x="294" y="410"/>
                  </a:lnTo>
                  <a:lnTo>
                    <a:pt x="292" y="406"/>
                  </a:lnTo>
                  <a:lnTo>
                    <a:pt x="292" y="402"/>
                  </a:lnTo>
                  <a:lnTo>
                    <a:pt x="288" y="398"/>
                  </a:lnTo>
                  <a:lnTo>
                    <a:pt x="288" y="396"/>
                  </a:lnTo>
                  <a:lnTo>
                    <a:pt x="286" y="392"/>
                  </a:lnTo>
                  <a:lnTo>
                    <a:pt x="286" y="390"/>
                  </a:lnTo>
                  <a:lnTo>
                    <a:pt x="284" y="390"/>
                  </a:lnTo>
                  <a:lnTo>
                    <a:pt x="284" y="388"/>
                  </a:lnTo>
                  <a:lnTo>
                    <a:pt x="280" y="382"/>
                  </a:lnTo>
                  <a:lnTo>
                    <a:pt x="280" y="382"/>
                  </a:lnTo>
                  <a:lnTo>
                    <a:pt x="280" y="380"/>
                  </a:lnTo>
                  <a:lnTo>
                    <a:pt x="276" y="376"/>
                  </a:lnTo>
                  <a:lnTo>
                    <a:pt x="274" y="376"/>
                  </a:lnTo>
                  <a:lnTo>
                    <a:pt x="274" y="374"/>
                  </a:lnTo>
                  <a:lnTo>
                    <a:pt x="274" y="368"/>
                  </a:lnTo>
                  <a:lnTo>
                    <a:pt x="272" y="366"/>
                  </a:lnTo>
                  <a:lnTo>
                    <a:pt x="272" y="360"/>
                  </a:lnTo>
                  <a:lnTo>
                    <a:pt x="272" y="358"/>
                  </a:lnTo>
                  <a:lnTo>
                    <a:pt x="272" y="356"/>
                  </a:lnTo>
                  <a:lnTo>
                    <a:pt x="270" y="354"/>
                  </a:lnTo>
                  <a:lnTo>
                    <a:pt x="268" y="352"/>
                  </a:lnTo>
                  <a:lnTo>
                    <a:pt x="268" y="342"/>
                  </a:lnTo>
                  <a:lnTo>
                    <a:pt x="268" y="342"/>
                  </a:lnTo>
                  <a:lnTo>
                    <a:pt x="260" y="342"/>
                  </a:lnTo>
                  <a:lnTo>
                    <a:pt x="258" y="342"/>
                  </a:lnTo>
                  <a:lnTo>
                    <a:pt x="256" y="342"/>
                  </a:lnTo>
                  <a:lnTo>
                    <a:pt x="252" y="342"/>
                  </a:lnTo>
                  <a:lnTo>
                    <a:pt x="248" y="342"/>
                  </a:lnTo>
                  <a:lnTo>
                    <a:pt x="244" y="340"/>
                  </a:lnTo>
                  <a:lnTo>
                    <a:pt x="244" y="338"/>
                  </a:lnTo>
                  <a:lnTo>
                    <a:pt x="244" y="332"/>
                  </a:lnTo>
                  <a:lnTo>
                    <a:pt x="240" y="328"/>
                  </a:lnTo>
                  <a:lnTo>
                    <a:pt x="232" y="322"/>
                  </a:lnTo>
                  <a:lnTo>
                    <a:pt x="230" y="314"/>
                  </a:lnTo>
                  <a:lnTo>
                    <a:pt x="228" y="310"/>
                  </a:lnTo>
                  <a:lnTo>
                    <a:pt x="220" y="300"/>
                  </a:lnTo>
                  <a:lnTo>
                    <a:pt x="218" y="294"/>
                  </a:lnTo>
                  <a:lnTo>
                    <a:pt x="218" y="288"/>
                  </a:lnTo>
                  <a:lnTo>
                    <a:pt x="222" y="284"/>
                  </a:lnTo>
                  <a:lnTo>
                    <a:pt x="224" y="278"/>
                  </a:lnTo>
                  <a:lnTo>
                    <a:pt x="226" y="270"/>
                  </a:lnTo>
                  <a:lnTo>
                    <a:pt x="228" y="266"/>
                  </a:lnTo>
                  <a:lnTo>
                    <a:pt x="230" y="262"/>
                  </a:lnTo>
                  <a:lnTo>
                    <a:pt x="232" y="256"/>
                  </a:lnTo>
                  <a:lnTo>
                    <a:pt x="230" y="252"/>
                  </a:lnTo>
                  <a:lnTo>
                    <a:pt x="228" y="248"/>
                  </a:lnTo>
                  <a:lnTo>
                    <a:pt x="228" y="246"/>
                  </a:lnTo>
                  <a:lnTo>
                    <a:pt x="230" y="242"/>
                  </a:lnTo>
                  <a:lnTo>
                    <a:pt x="232" y="240"/>
                  </a:lnTo>
                  <a:lnTo>
                    <a:pt x="234" y="238"/>
                  </a:lnTo>
                  <a:lnTo>
                    <a:pt x="238" y="238"/>
                  </a:lnTo>
                  <a:lnTo>
                    <a:pt x="240" y="234"/>
                  </a:lnTo>
                  <a:lnTo>
                    <a:pt x="244" y="234"/>
                  </a:lnTo>
                  <a:lnTo>
                    <a:pt x="250" y="234"/>
                  </a:lnTo>
                  <a:lnTo>
                    <a:pt x="260" y="234"/>
                  </a:lnTo>
                  <a:lnTo>
                    <a:pt x="266" y="234"/>
                  </a:lnTo>
                  <a:lnTo>
                    <a:pt x="268" y="230"/>
                  </a:lnTo>
                  <a:lnTo>
                    <a:pt x="266" y="228"/>
                  </a:lnTo>
                  <a:lnTo>
                    <a:pt x="270" y="224"/>
                  </a:lnTo>
                  <a:lnTo>
                    <a:pt x="272" y="222"/>
                  </a:lnTo>
                  <a:lnTo>
                    <a:pt x="274" y="222"/>
                  </a:lnTo>
                  <a:lnTo>
                    <a:pt x="274" y="220"/>
                  </a:lnTo>
                  <a:lnTo>
                    <a:pt x="272" y="220"/>
                  </a:lnTo>
                  <a:lnTo>
                    <a:pt x="272" y="218"/>
                  </a:lnTo>
                  <a:lnTo>
                    <a:pt x="270" y="218"/>
                  </a:lnTo>
                  <a:lnTo>
                    <a:pt x="266" y="212"/>
                  </a:lnTo>
                  <a:lnTo>
                    <a:pt x="268" y="210"/>
                  </a:lnTo>
                  <a:lnTo>
                    <a:pt x="270" y="204"/>
                  </a:lnTo>
                  <a:lnTo>
                    <a:pt x="272" y="202"/>
                  </a:lnTo>
                  <a:lnTo>
                    <a:pt x="274" y="19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53" name="Google Shape;4620;p64">
              <a:extLst>
                <a:ext uri="{FF2B5EF4-FFF2-40B4-BE49-F238E27FC236}">
                  <a16:creationId xmlns:a16="http://schemas.microsoft.com/office/drawing/2014/main" id="{65DA7763-FD23-0907-8CB8-EC1C86C5C9A0}"/>
                </a:ext>
              </a:extLst>
            </p:cNvPr>
            <p:cNvSpPr/>
            <p:nvPr/>
          </p:nvSpPr>
          <p:spPr>
            <a:xfrm>
              <a:off x="6974005" y="4491307"/>
              <a:ext cx="10501" cy="8532"/>
            </a:xfrm>
            <a:custGeom>
              <a:avLst/>
              <a:gdLst/>
              <a:ahLst/>
              <a:cxnLst/>
              <a:rect l="l" t="t" r="r" b="b"/>
              <a:pathLst>
                <a:path w="76240" h="61946" extrusionOk="0">
                  <a:moveTo>
                    <a:pt x="42884" y="42886"/>
                  </a:moveTo>
                  <a:lnTo>
                    <a:pt x="52416" y="42886"/>
                  </a:lnTo>
                  <a:lnTo>
                    <a:pt x="61944" y="47652"/>
                  </a:lnTo>
                  <a:lnTo>
                    <a:pt x="61944" y="57182"/>
                  </a:lnTo>
                  <a:lnTo>
                    <a:pt x="57180" y="57182"/>
                  </a:lnTo>
                  <a:lnTo>
                    <a:pt x="57180" y="61946"/>
                  </a:lnTo>
                  <a:lnTo>
                    <a:pt x="42884" y="47652"/>
                  </a:lnTo>
                  <a:close/>
                  <a:moveTo>
                    <a:pt x="28592" y="38122"/>
                  </a:moveTo>
                  <a:lnTo>
                    <a:pt x="23824" y="47652"/>
                  </a:lnTo>
                  <a:lnTo>
                    <a:pt x="23824" y="57182"/>
                  </a:lnTo>
                  <a:lnTo>
                    <a:pt x="4764" y="57182"/>
                  </a:lnTo>
                  <a:lnTo>
                    <a:pt x="0" y="57182"/>
                  </a:lnTo>
                  <a:lnTo>
                    <a:pt x="0" y="52416"/>
                  </a:lnTo>
                  <a:lnTo>
                    <a:pt x="4764" y="47652"/>
                  </a:lnTo>
                  <a:close/>
                  <a:moveTo>
                    <a:pt x="38120" y="0"/>
                  </a:moveTo>
                  <a:lnTo>
                    <a:pt x="42884" y="0"/>
                  </a:lnTo>
                  <a:lnTo>
                    <a:pt x="52416" y="0"/>
                  </a:lnTo>
                  <a:lnTo>
                    <a:pt x="57180" y="0"/>
                  </a:lnTo>
                  <a:lnTo>
                    <a:pt x="61944" y="4766"/>
                  </a:lnTo>
                  <a:lnTo>
                    <a:pt x="66712" y="4766"/>
                  </a:lnTo>
                  <a:lnTo>
                    <a:pt x="66712" y="9530"/>
                  </a:lnTo>
                  <a:lnTo>
                    <a:pt x="66712" y="19060"/>
                  </a:lnTo>
                  <a:lnTo>
                    <a:pt x="71476" y="19060"/>
                  </a:lnTo>
                  <a:lnTo>
                    <a:pt x="76240" y="28590"/>
                  </a:lnTo>
                  <a:lnTo>
                    <a:pt x="66712" y="28590"/>
                  </a:lnTo>
                  <a:lnTo>
                    <a:pt x="66712" y="38120"/>
                  </a:lnTo>
                  <a:lnTo>
                    <a:pt x="66712" y="42886"/>
                  </a:lnTo>
                  <a:lnTo>
                    <a:pt x="42884" y="33356"/>
                  </a:lnTo>
                  <a:lnTo>
                    <a:pt x="28588" y="28590"/>
                  </a:lnTo>
                  <a:lnTo>
                    <a:pt x="14296" y="33356"/>
                  </a:lnTo>
                  <a:lnTo>
                    <a:pt x="9528" y="28590"/>
                  </a:lnTo>
                  <a:lnTo>
                    <a:pt x="4764" y="23826"/>
                  </a:lnTo>
                  <a:lnTo>
                    <a:pt x="23824" y="14296"/>
                  </a:lnTo>
                  <a:lnTo>
                    <a:pt x="23824" y="9530"/>
                  </a:lnTo>
                  <a:lnTo>
                    <a:pt x="33356"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54" name="Google Shape;4621;p64">
              <a:extLst>
                <a:ext uri="{FF2B5EF4-FFF2-40B4-BE49-F238E27FC236}">
                  <a16:creationId xmlns:a16="http://schemas.microsoft.com/office/drawing/2014/main" id="{6DB6CD17-8CDD-C772-AFC2-7C55D9CD61A7}"/>
                </a:ext>
              </a:extLst>
            </p:cNvPr>
            <p:cNvSpPr/>
            <p:nvPr/>
          </p:nvSpPr>
          <p:spPr>
            <a:xfrm>
              <a:off x="6100778" y="6337848"/>
              <a:ext cx="12470" cy="7876"/>
            </a:xfrm>
            <a:custGeom>
              <a:avLst/>
              <a:gdLst/>
              <a:ahLst/>
              <a:cxnLst/>
              <a:rect l="l" t="t" r="r" b="b"/>
              <a:pathLst>
                <a:path w="38" h="24" extrusionOk="0">
                  <a:moveTo>
                    <a:pt x="30" y="18"/>
                  </a:moveTo>
                  <a:lnTo>
                    <a:pt x="36" y="18"/>
                  </a:lnTo>
                  <a:lnTo>
                    <a:pt x="38" y="16"/>
                  </a:lnTo>
                  <a:lnTo>
                    <a:pt x="32" y="12"/>
                  </a:lnTo>
                  <a:lnTo>
                    <a:pt x="22" y="6"/>
                  </a:lnTo>
                  <a:lnTo>
                    <a:pt x="10" y="4"/>
                  </a:lnTo>
                  <a:lnTo>
                    <a:pt x="4" y="0"/>
                  </a:lnTo>
                  <a:lnTo>
                    <a:pt x="0" y="0"/>
                  </a:lnTo>
                  <a:lnTo>
                    <a:pt x="0" y="2"/>
                  </a:lnTo>
                  <a:lnTo>
                    <a:pt x="2" y="6"/>
                  </a:lnTo>
                  <a:lnTo>
                    <a:pt x="6" y="6"/>
                  </a:lnTo>
                  <a:lnTo>
                    <a:pt x="10" y="20"/>
                  </a:lnTo>
                  <a:lnTo>
                    <a:pt x="14" y="24"/>
                  </a:lnTo>
                  <a:lnTo>
                    <a:pt x="22" y="24"/>
                  </a:lnTo>
                  <a:lnTo>
                    <a:pt x="30"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55" name="Google Shape;4622;p64">
              <a:extLst>
                <a:ext uri="{FF2B5EF4-FFF2-40B4-BE49-F238E27FC236}">
                  <a16:creationId xmlns:a16="http://schemas.microsoft.com/office/drawing/2014/main" id="{E3FD2EE0-9F72-0BE5-5CF8-5CF4339C3FED}"/>
                </a:ext>
              </a:extLst>
            </p:cNvPr>
            <p:cNvCxnSpPr/>
            <p:nvPr/>
          </p:nvCxnSpPr>
          <p:spPr>
            <a:xfrm>
              <a:off x="6110623" y="6343754"/>
              <a:ext cx="0" cy="0"/>
            </a:xfrm>
            <a:prstGeom prst="straightConnector1">
              <a:avLst/>
            </a:prstGeom>
            <a:grpFill/>
            <a:ln w="9525" cap="flat" cmpd="sng">
              <a:solidFill>
                <a:schemeClr val="bg2"/>
              </a:solidFill>
              <a:prstDash val="solid"/>
              <a:round/>
              <a:headEnd type="none" w="med" len="med"/>
              <a:tailEnd type="none" w="med" len="med"/>
            </a:ln>
          </p:spPr>
        </p:cxnSp>
        <p:cxnSp>
          <p:nvCxnSpPr>
            <p:cNvPr id="156" name="Google Shape;4623;p64">
              <a:extLst>
                <a:ext uri="{FF2B5EF4-FFF2-40B4-BE49-F238E27FC236}">
                  <a16:creationId xmlns:a16="http://schemas.microsoft.com/office/drawing/2014/main" id="{56F4C359-7A68-989B-E30B-413D5F92C84B}"/>
                </a:ext>
              </a:extLst>
            </p:cNvPr>
            <p:cNvCxnSpPr/>
            <p:nvPr/>
          </p:nvCxnSpPr>
          <p:spPr>
            <a:xfrm>
              <a:off x="6110623" y="6343754"/>
              <a:ext cx="0" cy="0"/>
            </a:xfrm>
            <a:prstGeom prst="straightConnector1">
              <a:avLst/>
            </a:prstGeom>
            <a:grpFill/>
            <a:ln w="9525" cap="flat" cmpd="sng">
              <a:solidFill>
                <a:schemeClr val="bg2"/>
              </a:solidFill>
              <a:prstDash val="solid"/>
              <a:round/>
              <a:headEnd type="none" w="med" len="med"/>
              <a:tailEnd type="none" w="med" len="med"/>
            </a:ln>
          </p:spPr>
        </p:cxnSp>
        <p:sp>
          <p:nvSpPr>
            <p:cNvPr id="157" name="Google Shape;4624;p64">
              <a:extLst>
                <a:ext uri="{FF2B5EF4-FFF2-40B4-BE49-F238E27FC236}">
                  <a16:creationId xmlns:a16="http://schemas.microsoft.com/office/drawing/2014/main" id="{1D991C76-057A-C3BB-ECED-C8A06370B28C}"/>
                </a:ext>
              </a:extLst>
            </p:cNvPr>
            <p:cNvSpPr/>
            <p:nvPr/>
          </p:nvSpPr>
          <p:spPr>
            <a:xfrm>
              <a:off x="2602949" y="4629133"/>
              <a:ext cx="132904" cy="78758"/>
            </a:xfrm>
            <a:custGeom>
              <a:avLst/>
              <a:gdLst/>
              <a:ahLst/>
              <a:cxnLst/>
              <a:rect l="l" t="t" r="r" b="b"/>
              <a:pathLst>
                <a:path w="964939" h="571814" extrusionOk="0">
                  <a:moveTo>
                    <a:pt x="526547" y="81006"/>
                  </a:moveTo>
                  <a:lnTo>
                    <a:pt x="555138" y="85772"/>
                  </a:lnTo>
                  <a:lnTo>
                    <a:pt x="602789" y="100066"/>
                  </a:lnTo>
                  <a:lnTo>
                    <a:pt x="650440" y="100066"/>
                  </a:lnTo>
                  <a:lnTo>
                    <a:pt x="669501" y="90536"/>
                  </a:lnTo>
                  <a:lnTo>
                    <a:pt x="683796" y="85772"/>
                  </a:lnTo>
                  <a:lnTo>
                    <a:pt x="731448" y="104832"/>
                  </a:lnTo>
                  <a:lnTo>
                    <a:pt x="745743" y="119128"/>
                  </a:lnTo>
                  <a:lnTo>
                    <a:pt x="760038" y="119128"/>
                  </a:lnTo>
                  <a:lnTo>
                    <a:pt x="764803" y="114362"/>
                  </a:lnTo>
                  <a:lnTo>
                    <a:pt x="769569" y="114362"/>
                  </a:lnTo>
                  <a:lnTo>
                    <a:pt x="760038" y="109596"/>
                  </a:lnTo>
                  <a:lnTo>
                    <a:pt x="755273" y="104832"/>
                  </a:lnTo>
                  <a:lnTo>
                    <a:pt x="793394" y="114362"/>
                  </a:lnTo>
                  <a:lnTo>
                    <a:pt x="869636" y="176308"/>
                  </a:lnTo>
                  <a:lnTo>
                    <a:pt x="869636" y="181074"/>
                  </a:lnTo>
                  <a:lnTo>
                    <a:pt x="841046" y="162014"/>
                  </a:lnTo>
                  <a:lnTo>
                    <a:pt x="821985" y="162014"/>
                  </a:lnTo>
                  <a:lnTo>
                    <a:pt x="817220" y="166778"/>
                  </a:lnTo>
                  <a:lnTo>
                    <a:pt x="817220" y="176308"/>
                  </a:lnTo>
                  <a:lnTo>
                    <a:pt x="821985" y="181074"/>
                  </a:lnTo>
                  <a:lnTo>
                    <a:pt x="826750" y="181074"/>
                  </a:lnTo>
                  <a:lnTo>
                    <a:pt x="831515" y="181074"/>
                  </a:lnTo>
                  <a:lnTo>
                    <a:pt x="845811" y="181074"/>
                  </a:lnTo>
                  <a:lnTo>
                    <a:pt x="855341" y="190604"/>
                  </a:lnTo>
                  <a:lnTo>
                    <a:pt x="864871" y="200134"/>
                  </a:lnTo>
                  <a:lnTo>
                    <a:pt x="869636" y="209664"/>
                  </a:lnTo>
                  <a:lnTo>
                    <a:pt x="879167" y="209664"/>
                  </a:lnTo>
                  <a:lnTo>
                    <a:pt x="883932" y="204900"/>
                  </a:lnTo>
                  <a:lnTo>
                    <a:pt x="898227" y="204900"/>
                  </a:lnTo>
                  <a:lnTo>
                    <a:pt x="907757" y="209664"/>
                  </a:lnTo>
                  <a:lnTo>
                    <a:pt x="912523" y="209664"/>
                  </a:lnTo>
                  <a:lnTo>
                    <a:pt x="902992" y="200134"/>
                  </a:lnTo>
                  <a:lnTo>
                    <a:pt x="883932" y="185838"/>
                  </a:lnTo>
                  <a:lnTo>
                    <a:pt x="888697" y="185838"/>
                  </a:lnTo>
                  <a:lnTo>
                    <a:pt x="931583" y="209664"/>
                  </a:lnTo>
                  <a:lnTo>
                    <a:pt x="945879" y="233490"/>
                  </a:lnTo>
                  <a:lnTo>
                    <a:pt x="955409" y="238256"/>
                  </a:lnTo>
                  <a:lnTo>
                    <a:pt x="964939" y="247786"/>
                  </a:lnTo>
                  <a:lnTo>
                    <a:pt x="926818" y="247786"/>
                  </a:lnTo>
                  <a:lnTo>
                    <a:pt x="907757" y="252550"/>
                  </a:lnTo>
                  <a:lnTo>
                    <a:pt x="898227" y="262080"/>
                  </a:lnTo>
                  <a:lnTo>
                    <a:pt x="893462" y="266846"/>
                  </a:lnTo>
                  <a:lnTo>
                    <a:pt x="883932" y="266846"/>
                  </a:lnTo>
                  <a:lnTo>
                    <a:pt x="874401" y="271612"/>
                  </a:lnTo>
                  <a:lnTo>
                    <a:pt x="855341" y="281142"/>
                  </a:lnTo>
                  <a:lnTo>
                    <a:pt x="841046" y="285906"/>
                  </a:lnTo>
                  <a:lnTo>
                    <a:pt x="826750" y="281142"/>
                  </a:lnTo>
                  <a:lnTo>
                    <a:pt x="821985" y="285906"/>
                  </a:lnTo>
                  <a:lnTo>
                    <a:pt x="817220" y="285906"/>
                  </a:lnTo>
                  <a:lnTo>
                    <a:pt x="817220" y="290672"/>
                  </a:lnTo>
                  <a:lnTo>
                    <a:pt x="812455" y="290672"/>
                  </a:lnTo>
                  <a:lnTo>
                    <a:pt x="802925" y="290672"/>
                  </a:lnTo>
                  <a:lnTo>
                    <a:pt x="798159" y="285906"/>
                  </a:lnTo>
                  <a:lnTo>
                    <a:pt x="793394" y="290672"/>
                  </a:lnTo>
                  <a:lnTo>
                    <a:pt x="793394" y="295436"/>
                  </a:lnTo>
                  <a:lnTo>
                    <a:pt x="788629" y="295436"/>
                  </a:lnTo>
                  <a:lnTo>
                    <a:pt x="783864" y="295436"/>
                  </a:lnTo>
                  <a:lnTo>
                    <a:pt x="774334" y="295436"/>
                  </a:lnTo>
                  <a:lnTo>
                    <a:pt x="764803" y="304966"/>
                  </a:lnTo>
                  <a:lnTo>
                    <a:pt x="750508" y="304966"/>
                  </a:lnTo>
                  <a:lnTo>
                    <a:pt x="731448" y="300202"/>
                  </a:lnTo>
                  <a:lnTo>
                    <a:pt x="721917" y="295436"/>
                  </a:lnTo>
                  <a:lnTo>
                    <a:pt x="712387" y="281142"/>
                  </a:lnTo>
                  <a:lnTo>
                    <a:pt x="702857" y="276376"/>
                  </a:lnTo>
                  <a:lnTo>
                    <a:pt x="679031" y="285906"/>
                  </a:lnTo>
                  <a:lnTo>
                    <a:pt x="674266" y="300202"/>
                  </a:lnTo>
                  <a:lnTo>
                    <a:pt x="669501" y="304966"/>
                  </a:lnTo>
                  <a:lnTo>
                    <a:pt x="674266" y="309732"/>
                  </a:lnTo>
                  <a:lnTo>
                    <a:pt x="669501" y="314498"/>
                  </a:lnTo>
                  <a:lnTo>
                    <a:pt x="659971" y="314498"/>
                  </a:lnTo>
                  <a:lnTo>
                    <a:pt x="655205" y="324028"/>
                  </a:lnTo>
                  <a:lnTo>
                    <a:pt x="650440" y="338322"/>
                  </a:lnTo>
                  <a:lnTo>
                    <a:pt x="645675" y="347854"/>
                  </a:lnTo>
                  <a:lnTo>
                    <a:pt x="650440" y="352618"/>
                  </a:lnTo>
                  <a:lnTo>
                    <a:pt x="645675" y="357384"/>
                  </a:lnTo>
                  <a:lnTo>
                    <a:pt x="636145" y="362148"/>
                  </a:lnTo>
                  <a:lnTo>
                    <a:pt x="621850" y="371678"/>
                  </a:lnTo>
                  <a:lnTo>
                    <a:pt x="602789" y="390740"/>
                  </a:lnTo>
                  <a:lnTo>
                    <a:pt x="588494" y="405034"/>
                  </a:lnTo>
                  <a:lnTo>
                    <a:pt x="574198" y="409800"/>
                  </a:lnTo>
                  <a:lnTo>
                    <a:pt x="564668" y="419330"/>
                  </a:lnTo>
                  <a:lnTo>
                    <a:pt x="564668" y="428860"/>
                  </a:lnTo>
                  <a:lnTo>
                    <a:pt x="564668" y="433626"/>
                  </a:lnTo>
                  <a:lnTo>
                    <a:pt x="555138" y="433626"/>
                  </a:lnTo>
                  <a:lnTo>
                    <a:pt x="526547" y="414564"/>
                  </a:lnTo>
                  <a:lnTo>
                    <a:pt x="517017" y="400270"/>
                  </a:lnTo>
                  <a:lnTo>
                    <a:pt x="507486" y="405034"/>
                  </a:lnTo>
                  <a:lnTo>
                    <a:pt x="500339" y="409800"/>
                  </a:lnTo>
                  <a:lnTo>
                    <a:pt x="486043" y="424096"/>
                  </a:lnTo>
                  <a:lnTo>
                    <a:pt x="471748" y="447920"/>
                  </a:lnTo>
                  <a:lnTo>
                    <a:pt x="466983" y="447920"/>
                  </a:lnTo>
                  <a:lnTo>
                    <a:pt x="428862" y="443156"/>
                  </a:lnTo>
                  <a:lnTo>
                    <a:pt x="409801" y="447920"/>
                  </a:lnTo>
                  <a:lnTo>
                    <a:pt x="405036" y="447920"/>
                  </a:lnTo>
                  <a:lnTo>
                    <a:pt x="405036" y="457450"/>
                  </a:lnTo>
                  <a:lnTo>
                    <a:pt x="405036" y="466982"/>
                  </a:lnTo>
                  <a:lnTo>
                    <a:pt x="409801" y="505102"/>
                  </a:lnTo>
                  <a:lnTo>
                    <a:pt x="414566" y="519398"/>
                  </a:lnTo>
                  <a:lnTo>
                    <a:pt x="409801" y="524162"/>
                  </a:lnTo>
                  <a:lnTo>
                    <a:pt x="400271" y="524162"/>
                  </a:lnTo>
                  <a:lnTo>
                    <a:pt x="385976" y="528928"/>
                  </a:lnTo>
                  <a:lnTo>
                    <a:pt x="381210" y="533692"/>
                  </a:lnTo>
                  <a:lnTo>
                    <a:pt x="381210" y="538458"/>
                  </a:lnTo>
                  <a:lnTo>
                    <a:pt x="381210" y="547988"/>
                  </a:lnTo>
                  <a:lnTo>
                    <a:pt x="376445" y="562284"/>
                  </a:lnTo>
                  <a:lnTo>
                    <a:pt x="366915" y="567048"/>
                  </a:lnTo>
                  <a:lnTo>
                    <a:pt x="357385" y="571814"/>
                  </a:lnTo>
                  <a:lnTo>
                    <a:pt x="314499" y="571814"/>
                  </a:lnTo>
                  <a:lnTo>
                    <a:pt x="314499" y="557518"/>
                  </a:lnTo>
                  <a:lnTo>
                    <a:pt x="304968" y="547988"/>
                  </a:lnTo>
                  <a:lnTo>
                    <a:pt x="295438" y="533692"/>
                  </a:lnTo>
                  <a:lnTo>
                    <a:pt x="290673" y="524162"/>
                  </a:lnTo>
                  <a:lnTo>
                    <a:pt x="290673" y="519398"/>
                  </a:lnTo>
                  <a:lnTo>
                    <a:pt x="290673" y="514632"/>
                  </a:lnTo>
                  <a:lnTo>
                    <a:pt x="276378" y="505102"/>
                  </a:lnTo>
                  <a:lnTo>
                    <a:pt x="257317" y="509868"/>
                  </a:lnTo>
                  <a:lnTo>
                    <a:pt x="247787" y="509868"/>
                  </a:lnTo>
                  <a:lnTo>
                    <a:pt x="243022" y="505102"/>
                  </a:lnTo>
                  <a:lnTo>
                    <a:pt x="252552" y="495572"/>
                  </a:lnTo>
                  <a:lnTo>
                    <a:pt x="252552" y="490806"/>
                  </a:lnTo>
                  <a:lnTo>
                    <a:pt x="247787" y="486042"/>
                  </a:lnTo>
                  <a:lnTo>
                    <a:pt x="247787" y="476512"/>
                  </a:lnTo>
                  <a:lnTo>
                    <a:pt x="247787" y="466982"/>
                  </a:lnTo>
                  <a:lnTo>
                    <a:pt x="257317" y="438390"/>
                  </a:lnTo>
                  <a:lnTo>
                    <a:pt x="252552" y="433626"/>
                  </a:lnTo>
                  <a:lnTo>
                    <a:pt x="243022" y="424096"/>
                  </a:lnTo>
                  <a:lnTo>
                    <a:pt x="228726" y="424096"/>
                  </a:lnTo>
                  <a:lnTo>
                    <a:pt x="214431" y="428860"/>
                  </a:lnTo>
                  <a:lnTo>
                    <a:pt x="204901" y="424096"/>
                  </a:lnTo>
                  <a:lnTo>
                    <a:pt x="200135" y="414564"/>
                  </a:lnTo>
                  <a:lnTo>
                    <a:pt x="190605" y="409800"/>
                  </a:lnTo>
                  <a:lnTo>
                    <a:pt x="166780" y="419330"/>
                  </a:lnTo>
                  <a:lnTo>
                    <a:pt x="147719" y="428860"/>
                  </a:lnTo>
                  <a:lnTo>
                    <a:pt x="142954" y="433626"/>
                  </a:lnTo>
                  <a:lnTo>
                    <a:pt x="138189" y="433626"/>
                  </a:lnTo>
                  <a:lnTo>
                    <a:pt x="133424" y="424096"/>
                  </a:lnTo>
                  <a:lnTo>
                    <a:pt x="133424" y="414564"/>
                  </a:lnTo>
                  <a:lnTo>
                    <a:pt x="133424" y="409800"/>
                  </a:lnTo>
                  <a:lnTo>
                    <a:pt x="119128" y="409800"/>
                  </a:lnTo>
                  <a:lnTo>
                    <a:pt x="109598" y="405034"/>
                  </a:lnTo>
                  <a:lnTo>
                    <a:pt x="100068" y="405034"/>
                  </a:lnTo>
                  <a:lnTo>
                    <a:pt x="95303" y="395504"/>
                  </a:lnTo>
                  <a:lnTo>
                    <a:pt x="81007" y="390740"/>
                  </a:lnTo>
                  <a:lnTo>
                    <a:pt x="76242" y="381208"/>
                  </a:lnTo>
                  <a:lnTo>
                    <a:pt x="57182" y="366914"/>
                  </a:lnTo>
                  <a:lnTo>
                    <a:pt x="52416" y="362148"/>
                  </a:lnTo>
                  <a:lnTo>
                    <a:pt x="47651" y="357384"/>
                  </a:lnTo>
                  <a:lnTo>
                    <a:pt x="38121" y="347854"/>
                  </a:lnTo>
                  <a:lnTo>
                    <a:pt x="28591" y="352618"/>
                  </a:lnTo>
                  <a:lnTo>
                    <a:pt x="4765" y="343088"/>
                  </a:lnTo>
                  <a:lnTo>
                    <a:pt x="0" y="343088"/>
                  </a:lnTo>
                  <a:lnTo>
                    <a:pt x="4765" y="333558"/>
                  </a:lnTo>
                  <a:lnTo>
                    <a:pt x="9530" y="324028"/>
                  </a:lnTo>
                  <a:lnTo>
                    <a:pt x="28591" y="309732"/>
                  </a:lnTo>
                  <a:lnTo>
                    <a:pt x="28591" y="300202"/>
                  </a:lnTo>
                  <a:lnTo>
                    <a:pt x="23826" y="281142"/>
                  </a:lnTo>
                  <a:lnTo>
                    <a:pt x="23826" y="266846"/>
                  </a:lnTo>
                  <a:lnTo>
                    <a:pt x="23826" y="262080"/>
                  </a:lnTo>
                  <a:lnTo>
                    <a:pt x="28591" y="238256"/>
                  </a:lnTo>
                  <a:lnTo>
                    <a:pt x="33356" y="233490"/>
                  </a:lnTo>
                  <a:lnTo>
                    <a:pt x="61947" y="223960"/>
                  </a:lnTo>
                  <a:lnTo>
                    <a:pt x="81007" y="204900"/>
                  </a:lnTo>
                  <a:lnTo>
                    <a:pt x="104833" y="190604"/>
                  </a:lnTo>
                  <a:lnTo>
                    <a:pt x="128659" y="171544"/>
                  </a:lnTo>
                  <a:lnTo>
                    <a:pt x="157249" y="147718"/>
                  </a:lnTo>
                  <a:lnTo>
                    <a:pt x="171545" y="133422"/>
                  </a:lnTo>
                  <a:lnTo>
                    <a:pt x="176310" y="128658"/>
                  </a:lnTo>
                  <a:lnTo>
                    <a:pt x="190605" y="133422"/>
                  </a:lnTo>
                  <a:lnTo>
                    <a:pt x="204901" y="123892"/>
                  </a:lnTo>
                  <a:lnTo>
                    <a:pt x="209666" y="119128"/>
                  </a:lnTo>
                  <a:lnTo>
                    <a:pt x="228726" y="104832"/>
                  </a:lnTo>
                  <a:lnTo>
                    <a:pt x="233491" y="104832"/>
                  </a:lnTo>
                  <a:lnTo>
                    <a:pt x="257317" y="100066"/>
                  </a:lnTo>
                  <a:lnTo>
                    <a:pt x="271612" y="100066"/>
                  </a:lnTo>
                  <a:lnTo>
                    <a:pt x="281143" y="114362"/>
                  </a:lnTo>
                  <a:lnTo>
                    <a:pt x="290673" y="119128"/>
                  </a:lnTo>
                  <a:lnTo>
                    <a:pt x="309733" y="114362"/>
                  </a:lnTo>
                  <a:lnTo>
                    <a:pt x="324029" y="114362"/>
                  </a:lnTo>
                  <a:lnTo>
                    <a:pt x="381210" y="123892"/>
                  </a:lnTo>
                  <a:lnTo>
                    <a:pt x="405036" y="119128"/>
                  </a:lnTo>
                  <a:lnTo>
                    <a:pt x="447922" y="119128"/>
                  </a:lnTo>
                  <a:lnTo>
                    <a:pt x="466983" y="119128"/>
                  </a:lnTo>
                  <a:lnTo>
                    <a:pt x="495574" y="104832"/>
                  </a:lnTo>
                  <a:lnTo>
                    <a:pt x="512252" y="100066"/>
                  </a:lnTo>
                  <a:lnTo>
                    <a:pt x="531312" y="95302"/>
                  </a:lnTo>
                  <a:lnTo>
                    <a:pt x="531312" y="85772"/>
                  </a:lnTo>
                  <a:close/>
                  <a:moveTo>
                    <a:pt x="471749" y="14294"/>
                  </a:moveTo>
                  <a:lnTo>
                    <a:pt x="486044" y="14294"/>
                  </a:lnTo>
                  <a:lnTo>
                    <a:pt x="457453" y="23824"/>
                  </a:lnTo>
                  <a:lnTo>
                    <a:pt x="433627" y="38120"/>
                  </a:lnTo>
                  <a:lnTo>
                    <a:pt x="424097" y="38120"/>
                  </a:lnTo>
                  <a:lnTo>
                    <a:pt x="438392" y="23824"/>
                  </a:lnTo>
                  <a:lnTo>
                    <a:pt x="457453" y="19060"/>
                  </a:lnTo>
                  <a:close/>
                  <a:moveTo>
                    <a:pt x="540844" y="0"/>
                  </a:moveTo>
                  <a:lnTo>
                    <a:pt x="550374" y="0"/>
                  </a:lnTo>
                  <a:lnTo>
                    <a:pt x="545609" y="4764"/>
                  </a:lnTo>
                  <a:lnTo>
                    <a:pt x="540844" y="9530"/>
                  </a:lnTo>
                  <a:lnTo>
                    <a:pt x="531313" y="19060"/>
                  </a:lnTo>
                  <a:lnTo>
                    <a:pt x="526548" y="14294"/>
                  </a:lnTo>
                  <a:lnTo>
                    <a:pt x="536078"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58" name="Google Shape;4625;p64">
              <a:extLst>
                <a:ext uri="{FF2B5EF4-FFF2-40B4-BE49-F238E27FC236}">
                  <a16:creationId xmlns:a16="http://schemas.microsoft.com/office/drawing/2014/main" id="{ECB2EA4D-8FD8-4D88-84C5-3C483DB3C81A}"/>
                </a:ext>
              </a:extLst>
            </p:cNvPr>
            <p:cNvSpPr/>
            <p:nvPr/>
          </p:nvSpPr>
          <p:spPr>
            <a:xfrm>
              <a:off x="4815714" y="3855994"/>
              <a:ext cx="126668" cy="123387"/>
            </a:xfrm>
            <a:custGeom>
              <a:avLst/>
              <a:gdLst/>
              <a:ahLst/>
              <a:cxnLst/>
              <a:rect l="l" t="t" r="r" b="b"/>
              <a:pathLst>
                <a:path w="919668" h="895844" extrusionOk="0">
                  <a:moveTo>
                    <a:pt x="605170" y="819600"/>
                  </a:moveTo>
                  <a:lnTo>
                    <a:pt x="609936" y="819600"/>
                  </a:lnTo>
                  <a:lnTo>
                    <a:pt x="638526" y="824364"/>
                  </a:lnTo>
                  <a:lnTo>
                    <a:pt x="662352" y="843428"/>
                  </a:lnTo>
                  <a:lnTo>
                    <a:pt x="595640" y="824364"/>
                  </a:lnTo>
                  <a:close/>
                  <a:moveTo>
                    <a:pt x="490808" y="776716"/>
                  </a:moveTo>
                  <a:lnTo>
                    <a:pt x="519398" y="786244"/>
                  </a:lnTo>
                  <a:lnTo>
                    <a:pt x="538458" y="781480"/>
                  </a:lnTo>
                  <a:lnTo>
                    <a:pt x="557518" y="786244"/>
                  </a:lnTo>
                  <a:lnTo>
                    <a:pt x="571814" y="791008"/>
                  </a:lnTo>
                  <a:lnTo>
                    <a:pt x="571814" y="795776"/>
                  </a:lnTo>
                  <a:lnTo>
                    <a:pt x="557518" y="795776"/>
                  </a:lnTo>
                  <a:lnTo>
                    <a:pt x="543224" y="791008"/>
                  </a:lnTo>
                  <a:lnTo>
                    <a:pt x="519398" y="800540"/>
                  </a:lnTo>
                  <a:lnTo>
                    <a:pt x="505102" y="795776"/>
                  </a:lnTo>
                  <a:lnTo>
                    <a:pt x="495572" y="791008"/>
                  </a:lnTo>
                  <a:lnTo>
                    <a:pt x="490808" y="786244"/>
                  </a:lnTo>
                  <a:close/>
                  <a:moveTo>
                    <a:pt x="552752" y="771950"/>
                  </a:moveTo>
                  <a:lnTo>
                    <a:pt x="562284" y="771950"/>
                  </a:lnTo>
                  <a:lnTo>
                    <a:pt x="581344" y="771950"/>
                  </a:lnTo>
                  <a:lnTo>
                    <a:pt x="657586" y="810070"/>
                  </a:lnTo>
                  <a:lnTo>
                    <a:pt x="648056" y="800540"/>
                  </a:lnTo>
                  <a:lnTo>
                    <a:pt x="662350" y="795776"/>
                  </a:lnTo>
                  <a:lnTo>
                    <a:pt x="671882" y="800540"/>
                  </a:lnTo>
                  <a:lnTo>
                    <a:pt x="676646" y="810070"/>
                  </a:lnTo>
                  <a:lnTo>
                    <a:pt x="686176" y="819602"/>
                  </a:lnTo>
                  <a:lnTo>
                    <a:pt x="710002" y="833896"/>
                  </a:lnTo>
                  <a:lnTo>
                    <a:pt x="719532" y="843426"/>
                  </a:lnTo>
                  <a:lnTo>
                    <a:pt x="748124" y="862488"/>
                  </a:lnTo>
                  <a:lnTo>
                    <a:pt x="752888" y="867252"/>
                  </a:lnTo>
                  <a:lnTo>
                    <a:pt x="767184" y="872018"/>
                  </a:lnTo>
                  <a:lnTo>
                    <a:pt x="767184" y="876782"/>
                  </a:lnTo>
                  <a:lnTo>
                    <a:pt x="776714" y="886312"/>
                  </a:lnTo>
                  <a:lnTo>
                    <a:pt x="781480" y="895844"/>
                  </a:lnTo>
                  <a:lnTo>
                    <a:pt x="752888" y="876782"/>
                  </a:lnTo>
                  <a:lnTo>
                    <a:pt x="724298" y="857722"/>
                  </a:lnTo>
                  <a:lnTo>
                    <a:pt x="671882" y="819602"/>
                  </a:lnTo>
                  <a:lnTo>
                    <a:pt x="633760" y="810070"/>
                  </a:lnTo>
                  <a:lnTo>
                    <a:pt x="586108" y="786246"/>
                  </a:lnTo>
                  <a:close/>
                  <a:moveTo>
                    <a:pt x="447920" y="729064"/>
                  </a:moveTo>
                  <a:lnTo>
                    <a:pt x="471746" y="729064"/>
                  </a:lnTo>
                  <a:lnTo>
                    <a:pt x="490808" y="729064"/>
                  </a:lnTo>
                  <a:lnTo>
                    <a:pt x="495572" y="738592"/>
                  </a:lnTo>
                  <a:lnTo>
                    <a:pt x="552754" y="748124"/>
                  </a:lnTo>
                  <a:lnTo>
                    <a:pt x="576580" y="748124"/>
                  </a:lnTo>
                  <a:lnTo>
                    <a:pt x="562284" y="752888"/>
                  </a:lnTo>
                  <a:lnTo>
                    <a:pt x="495572" y="752888"/>
                  </a:lnTo>
                  <a:lnTo>
                    <a:pt x="476512" y="748124"/>
                  </a:lnTo>
                  <a:lnTo>
                    <a:pt x="452686" y="733828"/>
                  </a:lnTo>
                  <a:close/>
                  <a:moveTo>
                    <a:pt x="457452" y="695708"/>
                  </a:moveTo>
                  <a:lnTo>
                    <a:pt x="481276" y="695708"/>
                  </a:lnTo>
                  <a:lnTo>
                    <a:pt x="519398" y="700472"/>
                  </a:lnTo>
                  <a:lnTo>
                    <a:pt x="528928" y="710004"/>
                  </a:lnTo>
                  <a:lnTo>
                    <a:pt x="524162" y="714768"/>
                  </a:lnTo>
                  <a:lnTo>
                    <a:pt x="509868" y="719532"/>
                  </a:lnTo>
                  <a:lnTo>
                    <a:pt x="486042" y="719532"/>
                  </a:lnTo>
                  <a:lnTo>
                    <a:pt x="466982" y="714768"/>
                  </a:lnTo>
                  <a:lnTo>
                    <a:pt x="452686" y="710004"/>
                  </a:lnTo>
                  <a:lnTo>
                    <a:pt x="457452" y="705236"/>
                  </a:lnTo>
                  <a:close/>
                  <a:moveTo>
                    <a:pt x="276376" y="562284"/>
                  </a:moveTo>
                  <a:lnTo>
                    <a:pt x="290672" y="567048"/>
                  </a:lnTo>
                  <a:lnTo>
                    <a:pt x="300202" y="586108"/>
                  </a:lnTo>
                  <a:lnTo>
                    <a:pt x="290672" y="581344"/>
                  </a:lnTo>
                  <a:lnTo>
                    <a:pt x="281142" y="571812"/>
                  </a:lnTo>
                  <a:close/>
                  <a:moveTo>
                    <a:pt x="243020" y="528928"/>
                  </a:moveTo>
                  <a:lnTo>
                    <a:pt x="266846" y="547988"/>
                  </a:lnTo>
                  <a:lnTo>
                    <a:pt x="271612" y="557520"/>
                  </a:lnTo>
                  <a:lnTo>
                    <a:pt x="252550" y="543224"/>
                  </a:lnTo>
                  <a:lnTo>
                    <a:pt x="243020" y="533692"/>
                  </a:lnTo>
                  <a:close/>
                  <a:moveTo>
                    <a:pt x="209664" y="524164"/>
                  </a:moveTo>
                  <a:lnTo>
                    <a:pt x="223960" y="538456"/>
                  </a:lnTo>
                  <a:lnTo>
                    <a:pt x="262080" y="576580"/>
                  </a:lnTo>
                  <a:lnTo>
                    <a:pt x="262080" y="581344"/>
                  </a:lnTo>
                  <a:lnTo>
                    <a:pt x="262080" y="586108"/>
                  </a:lnTo>
                  <a:lnTo>
                    <a:pt x="257314" y="581344"/>
                  </a:lnTo>
                  <a:lnTo>
                    <a:pt x="252550" y="581344"/>
                  </a:lnTo>
                  <a:lnTo>
                    <a:pt x="214430" y="533692"/>
                  </a:lnTo>
                  <a:close/>
                  <a:moveTo>
                    <a:pt x="195370" y="414564"/>
                  </a:moveTo>
                  <a:lnTo>
                    <a:pt x="200134" y="419328"/>
                  </a:lnTo>
                  <a:lnTo>
                    <a:pt x="209664" y="428860"/>
                  </a:lnTo>
                  <a:lnTo>
                    <a:pt x="214430" y="428860"/>
                  </a:lnTo>
                  <a:lnTo>
                    <a:pt x="233490" y="447920"/>
                  </a:lnTo>
                  <a:lnTo>
                    <a:pt x="247786" y="466980"/>
                  </a:lnTo>
                  <a:lnTo>
                    <a:pt x="271612" y="486040"/>
                  </a:lnTo>
                  <a:lnTo>
                    <a:pt x="266846" y="486040"/>
                  </a:lnTo>
                  <a:lnTo>
                    <a:pt x="262080" y="490804"/>
                  </a:lnTo>
                  <a:lnTo>
                    <a:pt x="257316" y="495572"/>
                  </a:lnTo>
                  <a:lnTo>
                    <a:pt x="247786" y="486040"/>
                  </a:lnTo>
                  <a:lnTo>
                    <a:pt x="238256" y="476512"/>
                  </a:lnTo>
                  <a:lnTo>
                    <a:pt x="233490" y="466980"/>
                  </a:lnTo>
                  <a:lnTo>
                    <a:pt x="219194" y="457452"/>
                  </a:lnTo>
                  <a:lnTo>
                    <a:pt x="214430" y="443156"/>
                  </a:lnTo>
                  <a:close/>
                  <a:moveTo>
                    <a:pt x="185840" y="376444"/>
                  </a:moveTo>
                  <a:lnTo>
                    <a:pt x="195370" y="376444"/>
                  </a:lnTo>
                  <a:lnTo>
                    <a:pt x="195370" y="381208"/>
                  </a:lnTo>
                  <a:lnTo>
                    <a:pt x="204900" y="395504"/>
                  </a:lnTo>
                  <a:lnTo>
                    <a:pt x="209664" y="405036"/>
                  </a:lnTo>
                  <a:lnTo>
                    <a:pt x="195370" y="395504"/>
                  </a:lnTo>
                  <a:lnTo>
                    <a:pt x="181074" y="395504"/>
                  </a:lnTo>
                  <a:lnTo>
                    <a:pt x="181074" y="385972"/>
                  </a:lnTo>
                  <a:lnTo>
                    <a:pt x="181074" y="381208"/>
                  </a:lnTo>
                  <a:close/>
                  <a:moveTo>
                    <a:pt x="128658" y="304968"/>
                  </a:moveTo>
                  <a:lnTo>
                    <a:pt x="133422" y="304968"/>
                  </a:lnTo>
                  <a:lnTo>
                    <a:pt x="133422" y="324028"/>
                  </a:lnTo>
                  <a:lnTo>
                    <a:pt x="138188" y="338320"/>
                  </a:lnTo>
                  <a:lnTo>
                    <a:pt x="147718" y="347852"/>
                  </a:lnTo>
                  <a:lnTo>
                    <a:pt x="147718" y="371676"/>
                  </a:lnTo>
                  <a:lnTo>
                    <a:pt x="147718" y="405032"/>
                  </a:lnTo>
                  <a:lnTo>
                    <a:pt x="152484" y="409800"/>
                  </a:lnTo>
                  <a:lnTo>
                    <a:pt x="152484" y="419328"/>
                  </a:lnTo>
                  <a:lnTo>
                    <a:pt x="152484" y="428860"/>
                  </a:lnTo>
                  <a:lnTo>
                    <a:pt x="142952" y="414564"/>
                  </a:lnTo>
                  <a:lnTo>
                    <a:pt x="138188" y="395504"/>
                  </a:lnTo>
                  <a:lnTo>
                    <a:pt x="123892" y="366912"/>
                  </a:lnTo>
                  <a:lnTo>
                    <a:pt x="123892" y="357384"/>
                  </a:lnTo>
                  <a:lnTo>
                    <a:pt x="128658" y="347852"/>
                  </a:lnTo>
                  <a:lnTo>
                    <a:pt x="128658" y="338320"/>
                  </a:lnTo>
                  <a:lnTo>
                    <a:pt x="119128" y="309732"/>
                  </a:lnTo>
                  <a:close/>
                  <a:moveTo>
                    <a:pt x="166778" y="295436"/>
                  </a:moveTo>
                  <a:lnTo>
                    <a:pt x="176308" y="304968"/>
                  </a:lnTo>
                  <a:lnTo>
                    <a:pt x="185838" y="324028"/>
                  </a:lnTo>
                  <a:lnTo>
                    <a:pt x="190604" y="328792"/>
                  </a:lnTo>
                  <a:lnTo>
                    <a:pt x="200134" y="347852"/>
                  </a:lnTo>
                  <a:lnTo>
                    <a:pt x="181074" y="352620"/>
                  </a:lnTo>
                  <a:lnTo>
                    <a:pt x="176308" y="343088"/>
                  </a:lnTo>
                  <a:lnTo>
                    <a:pt x="171544" y="338324"/>
                  </a:lnTo>
                  <a:lnTo>
                    <a:pt x="157248" y="333556"/>
                  </a:lnTo>
                  <a:lnTo>
                    <a:pt x="147718" y="324028"/>
                  </a:lnTo>
                  <a:lnTo>
                    <a:pt x="142952" y="319260"/>
                  </a:lnTo>
                  <a:lnTo>
                    <a:pt x="157248" y="309732"/>
                  </a:lnTo>
                  <a:close/>
                  <a:moveTo>
                    <a:pt x="433626" y="0"/>
                  </a:moveTo>
                  <a:lnTo>
                    <a:pt x="438390" y="0"/>
                  </a:lnTo>
                  <a:lnTo>
                    <a:pt x="452686" y="0"/>
                  </a:lnTo>
                  <a:lnTo>
                    <a:pt x="466982" y="4764"/>
                  </a:lnTo>
                  <a:lnTo>
                    <a:pt x="476512" y="9528"/>
                  </a:lnTo>
                  <a:lnTo>
                    <a:pt x="505102" y="23824"/>
                  </a:lnTo>
                  <a:lnTo>
                    <a:pt x="524164" y="42884"/>
                  </a:lnTo>
                  <a:lnTo>
                    <a:pt x="533694" y="61944"/>
                  </a:lnTo>
                  <a:lnTo>
                    <a:pt x="547988" y="76240"/>
                  </a:lnTo>
                  <a:lnTo>
                    <a:pt x="567050" y="90536"/>
                  </a:lnTo>
                  <a:lnTo>
                    <a:pt x="581344" y="104832"/>
                  </a:lnTo>
                  <a:lnTo>
                    <a:pt x="590876" y="119128"/>
                  </a:lnTo>
                  <a:lnTo>
                    <a:pt x="609936" y="133420"/>
                  </a:lnTo>
                  <a:lnTo>
                    <a:pt x="628996" y="133420"/>
                  </a:lnTo>
                  <a:lnTo>
                    <a:pt x="638526" y="138188"/>
                  </a:lnTo>
                  <a:lnTo>
                    <a:pt x="643292" y="147716"/>
                  </a:lnTo>
                  <a:lnTo>
                    <a:pt x="657586" y="157248"/>
                  </a:lnTo>
                  <a:lnTo>
                    <a:pt x="671882" y="166776"/>
                  </a:lnTo>
                  <a:lnTo>
                    <a:pt x="695708" y="171544"/>
                  </a:lnTo>
                  <a:lnTo>
                    <a:pt x="743360" y="171544"/>
                  </a:lnTo>
                  <a:lnTo>
                    <a:pt x="748124" y="171544"/>
                  </a:lnTo>
                  <a:lnTo>
                    <a:pt x="757654" y="176308"/>
                  </a:lnTo>
                  <a:lnTo>
                    <a:pt x="767184" y="171544"/>
                  </a:lnTo>
                  <a:lnTo>
                    <a:pt x="786246" y="166776"/>
                  </a:lnTo>
                  <a:lnTo>
                    <a:pt x="791010" y="162012"/>
                  </a:lnTo>
                  <a:lnTo>
                    <a:pt x="805306" y="142952"/>
                  </a:lnTo>
                  <a:lnTo>
                    <a:pt x="814836" y="142952"/>
                  </a:lnTo>
                  <a:lnTo>
                    <a:pt x="829132" y="138188"/>
                  </a:lnTo>
                  <a:lnTo>
                    <a:pt x="843426" y="133420"/>
                  </a:lnTo>
                  <a:lnTo>
                    <a:pt x="843426" y="142952"/>
                  </a:lnTo>
                  <a:lnTo>
                    <a:pt x="838662" y="152484"/>
                  </a:lnTo>
                  <a:lnTo>
                    <a:pt x="833896" y="157248"/>
                  </a:lnTo>
                  <a:lnTo>
                    <a:pt x="838662" y="171544"/>
                  </a:lnTo>
                  <a:lnTo>
                    <a:pt x="848192" y="195368"/>
                  </a:lnTo>
                  <a:lnTo>
                    <a:pt x="843426" y="209664"/>
                  </a:lnTo>
                  <a:lnTo>
                    <a:pt x="848192" y="219192"/>
                  </a:lnTo>
                  <a:lnTo>
                    <a:pt x="867252" y="223960"/>
                  </a:lnTo>
                  <a:lnTo>
                    <a:pt x="867252" y="228724"/>
                  </a:lnTo>
                  <a:lnTo>
                    <a:pt x="862488" y="233488"/>
                  </a:lnTo>
                  <a:lnTo>
                    <a:pt x="857722" y="238256"/>
                  </a:lnTo>
                  <a:lnTo>
                    <a:pt x="857722" y="252548"/>
                  </a:lnTo>
                  <a:lnTo>
                    <a:pt x="872018" y="266844"/>
                  </a:lnTo>
                  <a:lnTo>
                    <a:pt x="900608" y="281140"/>
                  </a:lnTo>
                  <a:lnTo>
                    <a:pt x="910138" y="285904"/>
                  </a:lnTo>
                  <a:lnTo>
                    <a:pt x="910138" y="290672"/>
                  </a:lnTo>
                  <a:lnTo>
                    <a:pt x="914904" y="290672"/>
                  </a:lnTo>
                  <a:lnTo>
                    <a:pt x="919668" y="295436"/>
                  </a:lnTo>
                  <a:lnTo>
                    <a:pt x="919668" y="300200"/>
                  </a:lnTo>
                  <a:lnTo>
                    <a:pt x="919668" y="304968"/>
                  </a:lnTo>
                  <a:lnTo>
                    <a:pt x="905374" y="304968"/>
                  </a:lnTo>
                  <a:lnTo>
                    <a:pt x="891078" y="304968"/>
                  </a:lnTo>
                  <a:lnTo>
                    <a:pt x="876782" y="300200"/>
                  </a:lnTo>
                  <a:lnTo>
                    <a:pt x="876782" y="304968"/>
                  </a:lnTo>
                  <a:lnTo>
                    <a:pt x="876782" y="309732"/>
                  </a:lnTo>
                  <a:lnTo>
                    <a:pt x="867252" y="314496"/>
                  </a:lnTo>
                  <a:lnTo>
                    <a:pt x="872018" y="347852"/>
                  </a:lnTo>
                  <a:lnTo>
                    <a:pt x="872018" y="357384"/>
                  </a:lnTo>
                  <a:lnTo>
                    <a:pt x="867252" y="362148"/>
                  </a:lnTo>
                  <a:lnTo>
                    <a:pt x="862488" y="362148"/>
                  </a:lnTo>
                  <a:lnTo>
                    <a:pt x="857722" y="362148"/>
                  </a:lnTo>
                  <a:lnTo>
                    <a:pt x="857722" y="371676"/>
                  </a:lnTo>
                  <a:lnTo>
                    <a:pt x="848192" y="371676"/>
                  </a:lnTo>
                  <a:lnTo>
                    <a:pt x="829132" y="366912"/>
                  </a:lnTo>
                  <a:lnTo>
                    <a:pt x="824366" y="362148"/>
                  </a:lnTo>
                  <a:lnTo>
                    <a:pt x="824366" y="352616"/>
                  </a:lnTo>
                  <a:lnTo>
                    <a:pt x="824366" y="347852"/>
                  </a:lnTo>
                  <a:lnTo>
                    <a:pt x="819602" y="338320"/>
                  </a:lnTo>
                  <a:lnTo>
                    <a:pt x="805306" y="324028"/>
                  </a:lnTo>
                  <a:lnTo>
                    <a:pt x="776716" y="324028"/>
                  </a:lnTo>
                  <a:lnTo>
                    <a:pt x="767184" y="319260"/>
                  </a:lnTo>
                  <a:lnTo>
                    <a:pt x="757654" y="314496"/>
                  </a:lnTo>
                  <a:lnTo>
                    <a:pt x="743360" y="314496"/>
                  </a:lnTo>
                  <a:lnTo>
                    <a:pt x="733828" y="314496"/>
                  </a:lnTo>
                  <a:lnTo>
                    <a:pt x="724298" y="314496"/>
                  </a:lnTo>
                  <a:lnTo>
                    <a:pt x="700474" y="309732"/>
                  </a:lnTo>
                  <a:lnTo>
                    <a:pt x="690942" y="319260"/>
                  </a:lnTo>
                  <a:lnTo>
                    <a:pt x="681412" y="324028"/>
                  </a:lnTo>
                  <a:lnTo>
                    <a:pt x="671882" y="324028"/>
                  </a:lnTo>
                  <a:lnTo>
                    <a:pt x="652822" y="309732"/>
                  </a:lnTo>
                  <a:lnTo>
                    <a:pt x="648056" y="304968"/>
                  </a:lnTo>
                  <a:lnTo>
                    <a:pt x="628996" y="314496"/>
                  </a:lnTo>
                  <a:lnTo>
                    <a:pt x="624232" y="314496"/>
                  </a:lnTo>
                  <a:lnTo>
                    <a:pt x="619466" y="314496"/>
                  </a:lnTo>
                  <a:lnTo>
                    <a:pt x="595640" y="304968"/>
                  </a:lnTo>
                  <a:lnTo>
                    <a:pt x="586110" y="304968"/>
                  </a:lnTo>
                  <a:lnTo>
                    <a:pt x="576580" y="309732"/>
                  </a:lnTo>
                  <a:lnTo>
                    <a:pt x="562284" y="304968"/>
                  </a:lnTo>
                  <a:lnTo>
                    <a:pt x="533694" y="281140"/>
                  </a:lnTo>
                  <a:lnTo>
                    <a:pt x="509868" y="300200"/>
                  </a:lnTo>
                  <a:lnTo>
                    <a:pt x="471746" y="295436"/>
                  </a:lnTo>
                  <a:lnTo>
                    <a:pt x="457452" y="309732"/>
                  </a:lnTo>
                  <a:lnTo>
                    <a:pt x="447922" y="328792"/>
                  </a:lnTo>
                  <a:lnTo>
                    <a:pt x="433626" y="343088"/>
                  </a:lnTo>
                  <a:lnTo>
                    <a:pt x="424096" y="338320"/>
                  </a:lnTo>
                  <a:lnTo>
                    <a:pt x="414566" y="328792"/>
                  </a:lnTo>
                  <a:lnTo>
                    <a:pt x="390740" y="300200"/>
                  </a:lnTo>
                  <a:lnTo>
                    <a:pt x="381210" y="295436"/>
                  </a:lnTo>
                  <a:lnTo>
                    <a:pt x="371680" y="295436"/>
                  </a:lnTo>
                  <a:lnTo>
                    <a:pt x="362148" y="300200"/>
                  </a:lnTo>
                  <a:lnTo>
                    <a:pt x="357384" y="304968"/>
                  </a:lnTo>
                  <a:lnTo>
                    <a:pt x="352618" y="343088"/>
                  </a:lnTo>
                  <a:lnTo>
                    <a:pt x="347854" y="376444"/>
                  </a:lnTo>
                  <a:lnTo>
                    <a:pt x="347854" y="395504"/>
                  </a:lnTo>
                  <a:lnTo>
                    <a:pt x="371680" y="414564"/>
                  </a:lnTo>
                  <a:lnTo>
                    <a:pt x="395504" y="443156"/>
                  </a:lnTo>
                  <a:lnTo>
                    <a:pt x="405036" y="447920"/>
                  </a:lnTo>
                  <a:lnTo>
                    <a:pt x="409800" y="457452"/>
                  </a:lnTo>
                  <a:lnTo>
                    <a:pt x="414566" y="486040"/>
                  </a:lnTo>
                  <a:lnTo>
                    <a:pt x="424096" y="514632"/>
                  </a:lnTo>
                  <a:lnTo>
                    <a:pt x="433626" y="533692"/>
                  </a:lnTo>
                  <a:lnTo>
                    <a:pt x="447922" y="547988"/>
                  </a:lnTo>
                  <a:lnTo>
                    <a:pt x="462216" y="562284"/>
                  </a:lnTo>
                  <a:lnTo>
                    <a:pt x="481278" y="581344"/>
                  </a:lnTo>
                  <a:lnTo>
                    <a:pt x="495572" y="600404"/>
                  </a:lnTo>
                  <a:lnTo>
                    <a:pt x="500338" y="609936"/>
                  </a:lnTo>
                  <a:lnTo>
                    <a:pt x="557520" y="667116"/>
                  </a:lnTo>
                  <a:lnTo>
                    <a:pt x="581344" y="676644"/>
                  </a:lnTo>
                  <a:lnTo>
                    <a:pt x="586110" y="681412"/>
                  </a:lnTo>
                  <a:lnTo>
                    <a:pt x="586110" y="705236"/>
                  </a:lnTo>
                  <a:lnTo>
                    <a:pt x="590876" y="710000"/>
                  </a:lnTo>
                  <a:lnTo>
                    <a:pt x="605170" y="733828"/>
                  </a:lnTo>
                  <a:lnTo>
                    <a:pt x="643292" y="767184"/>
                  </a:lnTo>
                  <a:lnTo>
                    <a:pt x="648056" y="776712"/>
                  </a:lnTo>
                  <a:lnTo>
                    <a:pt x="648056" y="781480"/>
                  </a:lnTo>
                  <a:lnTo>
                    <a:pt x="643292" y="786244"/>
                  </a:lnTo>
                  <a:lnTo>
                    <a:pt x="633762" y="791008"/>
                  </a:lnTo>
                  <a:lnTo>
                    <a:pt x="628996" y="786244"/>
                  </a:lnTo>
                  <a:lnTo>
                    <a:pt x="595640" y="752888"/>
                  </a:lnTo>
                  <a:lnTo>
                    <a:pt x="567050" y="733828"/>
                  </a:lnTo>
                  <a:lnTo>
                    <a:pt x="528928" y="690940"/>
                  </a:lnTo>
                  <a:lnTo>
                    <a:pt x="481278" y="676644"/>
                  </a:lnTo>
                  <a:lnTo>
                    <a:pt x="447922" y="662352"/>
                  </a:lnTo>
                  <a:lnTo>
                    <a:pt x="428860" y="662352"/>
                  </a:lnTo>
                  <a:lnTo>
                    <a:pt x="409800" y="667116"/>
                  </a:lnTo>
                  <a:lnTo>
                    <a:pt x="395504" y="667116"/>
                  </a:lnTo>
                  <a:lnTo>
                    <a:pt x="385974" y="667116"/>
                  </a:lnTo>
                  <a:lnTo>
                    <a:pt x="381210" y="652820"/>
                  </a:lnTo>
                  <a:lnTo>
                    <a:pt x="381210" y="648056"/>
                  </a:lnTo>
                  <a:lnTo>
                    <a:pt x="381210" y="638524"/>
                  </a:lnTo>
                  <a:lnTo>
                    <a:pt x="362148" y="619464"/>
                  </a:lnTo>
                  <a:lnTo>
                    <a:pt x="333558" y="605168"/>
                  </a:lnTo>
                  <a:lnTo>
                    <a:pt x="309732" y="581344"/>
                  </a:lnTo>
                  <a:lnTo>
                    <a:pt x="262082" y="524160"/>
                  </a:lnTo>
                  <a:lnTo>
                    <a:pt x="252550" y="505100"/>
                  </a:lnTo>
                  <a:lnTo>
                    <a:pt x="262082" y="505100"/>
                  </a:lnTo>
                  <a:lnTo>
                    <a:pt x="266846" y="505100"/>
                  </a:lnTo>
                  <a:lnTo>
                    <a:pt x="276376" y="500336"/>
                  </a:lnTo>
                  <a:lnTo>
                    <a:pt x="290672" y="500336"/>
                  </a:lnTo>
                  <a:lnTo>
                    <a:pt x="304968" y="505100"/>
                  </a:lnTo>
                  <a:lnTo>
                    <a:pt x="290672" y="490808"/>
                  </a:lnTo>
                  <a:lnTo>
                    <a:pt x="276376" y="476512"/>
                  </a:lnTo>
                  <a:lnTo>
                    <a:pt x="228726" y="428860"/>
                  </a:lnTo>
                  <a:lnTo>
                    <a:pt x="214430" y="409800"/>
                  </a:lnTo>
                  <a:lnTo>
                    <a:pt x="214430" y="381208"/>
                  </a:lnTo>
                  <a:lnTo>
                    <a:pt x="219194" y="347852"/>
                  </a:lnTo>
                  <a:lnTo>
                    <a:pt x="209664" y="324028"/>
                  </a:lnTo>
                  <a:lnTo>
                    <a:pt x="176308" y="295436"/>
                  </a:lnTo>
                  <a:lnTo>
                    <a:pt x="162014" y="276376"/>
                  </a:lnTo>
                  <a:lnTo>
                    <a:pt x="138188" y="266844"/>
                  </a:lnTo>
                  <a:lnTo>
                    <a:pt x="123892" y="266844"/>
                  </a:lnTo>
                  <a:lnTo>
                    <a:pt x="119128" y="281140"/>
                  </a:lnTo>
                  <a:lnTo>
                    <a:pt x="114362" y="309732"/>
                  </a:lnTo>
                  <a:lnTo>
                    <a:pt x="90536" y="343088"/>
                  </a:lnTo>
                  <a:lnTo>
                    <a:pt x="81006" y="357384"/>
                  </a:lnTo>
                  <a:lnTo>
                    <a:pt x="71476" y="381208"/>
                  </a:lnTo>
                  <a:lnTo>
                    <a:pt x="61946" y="381208"/>
                  </a:lnTo>
                  <a:lnTo>
                    <a:pt x="52416" y="376444"/>
                  </a:lnTo>
                  <a:lnTo>
                    <a:pt x="38120" y="343088"/>
                  </a:lnTo>
                  <a:lnTo>
                    <a:pt x="19060" y="319260"/>
                  </a:lnTo>
                  <a:lnTo>
                    <a:pt x="14294" y="304968"/>
                  </a:lnTo>
                  <a:lnTo>
                    <a:pt x="14294" y="290672"/>
                  </a:lnTo>
                  <a:lnTo>
                    <a:pt x="0" y="238256"/>
                  </a:lnTo>
                  <a:lnTo>
                    <a:pt x="9530" y="228724"/>
                  </a:lnTo>
                  <a:lnTo>
                    <a:pt x="14294" y="238256"/>
                  </a:lnTo>
                  <a:lnTo>
                    <a:pt x="57180" y="247784"/>
                  </a:lnTo>
                  <a:lnTo>
                    <a:pt x="66710" y="243020"/>
                  </a:lnTo>
                  <a:lnTo>
                    <a:pt x="71476" y="238256"/>
                  </a:lnTo>
                  <a:lnTo>
                    <a:pt x="71476" y="233488"/>
                  </a:lnTo>
                  <a:lnTo>
                    <a:pt x="76242" y="228724"/>
                  </a:lnTo>
                  <a:lnTo>
                    <a:pt x="90536" y="238256"/>
                  </a:lnTo>
                  <a:lnTo>
                    <a:pt x="100066" y="233488"/>
                  </a:lnTo>
                  <a:lnTo>
                    <a:pt x="119128" y="233488"/>
                  </a:lnTo>
                  <a:lnTo>
                    <a:pt x="133422" y="238256"/>
                  </a:lnTo>
                  <a:lnTo>
                    <a:pt x="142952" y="228724"/>
                  </a:lnTo>
                  <a:lnTo>
                    <a:pt x="157248" y="209664"/>
                  </a:lnTo>
                  <a:lnTo>
                    <a:pt x="157248" y="200132"/>
                  </a:lnTo>
                  <a:lnTo>
                    <a:pt x="166778" y="195368"/>
                  </a:lnTo>
                  <a:lnTo>
                    <a:pt x="166778" y="200132"/>
                  </a:lnTo>
                  <a:lnTo>
                    <a:pt x="171544" y="209664"/>
                  </a:lnTo>
                  <a:lnTo>
                    <a:pt x="176308" y="214428"/>
                  </a:lnTo>
                  <a:lnTo>
                    <a:pt x="190604" y="228724"/>
                  </a:lnTo>
                  <a:lnTo>
                    <a:pt x="200134" y="238256"/>
                  </a:lnTo>
                  <a:lnTo>
                    <a:pt x="209664" y="238256"/>
                  </a:lnTo>
                  <a:lnTo>
                    <a:pt x="214430" y="233488"/>
                  </a:lnTo>
                  <a:lnTo>
                    <a:pt x="223960" y="233488"/>
                  </a:lnTo>
                  <a:lnTo>
                    <a:pt x="247786" y="243020"/>
                  </a:lnTo>
                  <a:lnTo>
                    <a:pt x="271612" y="247784"/>
                  </a:lnTo>
                  <a:lnTo>
                    <a:pt x="285906" y="238256"/>
                  </a:lnTo>
                  <a:lnTo>
                    <a:pt x="281142" y="233488"/>
                  </a:lnTo>
                  <a:lnTo>
                    <a:pt x="276376" y="223960"/>
                  </a:lnTo>
                  <a:lnTo>
                    <a:pt x="276376" y="214428"/>
                  </a:lnTo>
                  <a:lnTo>
                    <a:pt x="276376" y="204900"/>
                  </a:lnTo>
                  <a:lnTo>
                    <a:pt x="285906" y="200132"/>
                  </a:lnTo>
                  <a:lnTo>
                    <a:pt x="285906" y="195368"/>
                  </a:lnTo>
                  <a:lnTo>
                    <a:pt x="276376" y="181072"/>
                  </a:lnTo>
                  <a:lnTo>
                    <a:pt x="304968" y="166776"/>
                  </a:lnTo>
                  <a:lnTo>
                    <a:pt x="328792" y="157248"/>
                  </a:lnTo>
                  <a:lnTo>
                    <a:pt x="333558" y="152484"/>
                  </a:lnTo>
                  <a:lnTo>
                    <a:pt x="338324" y="142952"/>
                  </a:lnTo>
                  <a:lnTo>
                    <a:pt x="338324" y="123892"/>
                  </a:lnTo>
                  <a:lnTo>
                    <a:pt x="338324" y="109596"/>
                  </a:lnTo>
                  <a:lnTo>
                    <a:pt x="324028" y="95300"/>
                  </a:lnTo>
                  <a:lnTo>
                    <a:pt x="324028" y="90536"/>
                  </a:lnTo>
                  <a:lnTo>
                    <a:pt x="328792" y="81004"/>
                  </a:lnTo>
                  <a:lnTo>
                    <a:pt x="333558" y="76240"/>
                  </a:lnTo>
                  <a:lnTo>
                    <a:pt x="343088" y="71476"/>
                  </a:lnTo>
                  <a:lnTo>
                    <a:pt x="352618" y="66708"/>
                  </a:lnTo>
                  <a:lnTo>
                    <a:pt x="362148" y="61944"/>
                  </a:lnTo>
                  <a:lnTo>
                    <a:pt x="376444" y="57180"/>
                  </a:lnTo>
                  <a:lnTo>
                    <a:pt x="390740" y="52416"/>
                  </a:lnTo>
                  <a:lnTo>
                    <a:pt x="400270" y="38120"/>
                  </a:lnTo>
                  <a:lnTo>
                    <a:pt x="405036" y="33352"/>
                  </a:lnTo>
                  <a:lnTo>
                    <a:pt x="424096" y="38120"/>
                  </a:lnTo>
                  <a:lnTo>
                    <a:pt x="428860" y="33352"/>
                  </a:lnTo>
                  <a:lnTo>
                    <a:pt x="424096" y="9528"/>
                  </a:lnTo>
                  <a:lnTo>
                    <a:pt x="42886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59" name="Google Shape;4626;p64">
              <a:extLst>
                <a:ext uri="{FF2B5EF4-FFF2-40B4-BE49-F238E27FC236}">
                  <a16:creationId xmlns:a16="http://schemas.microsoft.com/office/drawing/2014/main" id="{0E5C6E9F-700E-5937-7011-8173C5745EF3}"/>
                </a:ext>
              </a:extLst>
            </p:cNvPr>
            <p:cNvSpPr/>
            <p:nvPr/>
          </p:nvSpPr>
          <p:spPr>
            <a:xfrm>
              <a:off x="2922902" y="4548406"/>
              <a:ext cx="61037" cy="46598"/>
            </a:xfrm>
            <a:custGeom>
              <a:avLst/>
              <a:gdLst/>
              <a:ahLst/>
              <a:cxnLst/>
              <a:rect l="l" t="t" r="r" b="b"/>
              <a:pathLst>
                <a:path w="443156" h="338324" extrusionOk="0">
                  <a:moveTo>
                    <a:pt x="185840" y="185840"/>
                  </a:moveTo>
                  <a:lnTo>
                    <a:pt x="204900" y="185840"/>
                  </a:lnTo>
                  <a:lnTo>
                    <a:pt x="219196" y="190606"/>
                  </a:lnTo>
                  <a:lnTo>
                    <a:pt x="243022" y="200136"/>
                  </a:lnTo>
                  <a:lnTo>
                    <a:pt x="262082" y="214430"/>
                  </a:lnTo>
                  <a:lnTo>
                    <a:pt x="257316" y="228726"/>
                  </a:lnTo>
                  <a:lnTo>
                    <a:pt x="219196" y="214430"/>
                  </a:lnTo>
                  <a:lnTo>
                    <a:pt x="185840" y="195370"/>
                  </a:lnTo>
                  <a:close/>
                  <a:moveTo>
                    <a:pt x="247786" y="23826"/>
                  </a:moveTo>
                  <a:lnTo>
                    <a:pt x="285908" y="28592"/>
                  </a:lnTo>
                  <a:lnTo>
                    <a:pt x="319264" y="42886"/>
                  </a:lnTo>
                  <a:lnTo>
                    <a:pt x="352620" y="57182"/>
                  </a:lnTo>
                  <a:lnTo>
                    <a:pt x="395506" y="61946"/>
                  </a:lnTo>
                  <a:lnTo>
                    <a:pt x="409802" y="66712"/>
                  </a:lnTo>
                  <a:lnTo>
                    <a:pt x="419332" y="61946"/>
                  </a:lnTo>
                  <a:lnTo>
                    <a:pt x="424096" y="66712"/>
                  </a:lnTo>
                  <a:lnTo>
                    <a:pt x="428862" y="100068"/>
                  </a:lnTo>
                  <a:lnTo>
                    <a:pt x="433626" y="109598"/>
                  </a:lnTo>
                  <a:lnTo>
                    <a:pt x="424096" y="123894"/>
                  </a:lnTo>
                  <a:lnTo>
                    <a:pt x="424096" y="133424"/>
                  </a:lnTo>
                  <a:lnTo>
                    <a:pt x="443156" y="147720"/>
                  </a:lnTo>
                  <a:lnTo>
                    <a:pt x="443156" y="152484"/>
                  </a:lnTo>
                  <a:lnTo>
                    <a:pt x="438392" y="157250"/>
                  </a:lnTo>
                  <a:lnTo>
                    <a:pt x="424096" y="171544"/>
                  </a:lnTo>
                  <a:lnTo>
                    <a:pt x="414566" y="181076"/>
                  </a:lnTo>
                  <a:lnTo>
                    <a:pt x="419332" y="195370"/>
                  </a:lnTo>
                  <a:lnTo>
                    <a:pt x="428862" y="204900"/>
                  </a:lnTo>
                  <a:lnTo>
                    <a:pt x="428862" y="214430"/>
                  </a:lnTo>
                  <a:lnTo>
                    <a:pt x="424096" y="223962"/>
                  </a:lnTo>
                  <a:lnTo>
                    <a:pt x="414566" y="238256"/>
                  </a:lnTo>
                  <a:lnTo>
                    <a:pt x="405036" y="243022"/>
                  </a:lnTo>
                  <a:lnTo>
                    <a:pt x="385976" y="243022"/>
                  </a:lnTo>
                  <a:lnTo>
                    <a:pt x="385976" y="247786"/>
                  </a:lnTo>
                  <a:lnTo>
                    <a:pt x="395506" y="262082"/>
                  </a:lnTo>
                  <a:lnTo>
                    <a:pt x="405036" y="276378"/>
                  </a:lnTo>
                  <a:lnTo>
                    <a:pt x="424096" y="290672"/>
                  </a:lnTo>
                  <a:lnTo>
                    <a:pt x="428862" y="300204"/>
                  </a:lnTo>
                  <a:lnTo>
                    <a:pt x="424096" y="309734"/>
                  </a:lnTo>
                  <a:lnTo>
                    <a:pt x="424096" y="338324"/>
                  </a:lnTo>
                  <a:lnTo>
                    <a:pt x="409802" y="324028"/>
                  </a:lnTo>
                  <a:lnTo>
                    <a:pt x="395506" y="314498"/>
                  </a:lnTo>
                  <a:lnTo>
                    <a:pt x="385976" y="309734"/>
                  </a:lnTo>
                  <a:lnTo>
                    <a:pt x="376446" y="304968"/>
                  </a:lnTo>
                  <a:lnTo>
                    <a:pt x="304968" y="309734"/>
                  </a:lnTo>
                  <a:lnTo>
                    <a:pt x="300204" y="309734"/>
                  </a:lnTo>
                  <a:lnTo>
                    <a:pt x="295438" y="314498"/>
                  </a:lnTo>
                  <a:lnTo>
                    <a:pt x="285908" y="314498"/>
                  </a:lnTo>
                  <a:lnTo>
                    <a:pt x="266848" y="319264"/>
                  </a:lnTo>
                  <a:lnTo>
                    <a:pt x="247786" y="319264"/>
                  </a:lnTo>
                  <a:lnTo>
                    <a:pt x="204900" y="309734"/>
                  </a:lnTo>
                  <a:lnTo>
                    <a:pt x="185840" y="304968"/>
                  </a:lnTo>
                  <a:lnTo>
                    <a:pt x="171544" y="304968"/>
                  </a:lnTo>
                  <a:lnTo>
                    <a:pt x="147720" y="304968"/>
                  </a:lnTo>
                  <a:lnTo>
                    <a:pt x="128658" y="304968"/>
                  </a:lnTo>
                  <a:lnTo>
                    <a:pt x="114364" y="314498"/>
                  </a:lnTo>
                  <a:lnTo>
                    <a:pt x="100068" y="324028"/>
                  </a:lnTo>
                  <a:lnTo>
                    <a:pt x="100068" y="333558"/>
                  </a:lnTo>
                  <a:lnTo>
                    <a:pt x="90538" y="338324"/>
                  </a:lnTo>
                  <a:lnTo>
                    <a:pt x="76242" y="319264"/>
                  </a:lnTo>
                  <a:lnTo>
                    <a:pt x="61946" y="309734"/>
                  </a:lnTo>
                  <a:lnTo>
                    <a:pt x="42886" y="300204"/>
                  </a:lnTo>
                  <a:lnTo>
                    <a:pt x="9530" y="285908"/>
                  </a:lnTo>
                  <a:lnTo>
                    <a:pt x="0" y="281142"/>
                  </a:lnTo>
                  <a:lnTo>
                    <a:pt x="0" y="271612"/>
                  </a:lnTo>
                  <a:lnTo>
                    <a:pt x="14296" y="243022"/>
                  </a:lnTo>
                  <a:lnTo>
                    <a:pt x="28590" y="238256"/>
                  </a:lnTo>
                  <a:lnTo>
                    <a:pt x="38122" y="233492"/>
                  </a:lnTo>
                  <a:lnTo>
                    <a:pt x="57182" y="238256"/>
                  </a:lnTo>
                  <a:lnTo>
                    <a:pt x="76242" y="243022"/>
                  </a:lnTo>
                  <a:lnTo>
                    <a:pt x="95302" y="247786"/>
                  </a:lnTo>
                  <a:lnTo>
                    <a:pt x="123894" y="252552"/>
                  </a:lnTo>
                  <a:lnTo>
                    <a:pt x="138188" y="257316"/>
                  </a:lnTo>
                  <a:lnTo>
                    <a:pt x="243022" y="271612"/>
                  </a:lnTo>
                  <a:lnTo>
                    <a:pt x="262082" y="271612"/>
                  </a:lnTo>
                  <a:lnTo>
                    <a:pt x="271612" y="271612"/>
                  </a:lnTo>
                  <a:lnTo>
                    <a:pt x="276378" y="266848"/>
                  </a:lnTo>
                  <a:lnTo>
                    <a:pt x="281142" y="257316"/>
                  </a:lnTo>
                  <a:lnTo>
                    <a:pt x="290672" y="252552"/>
                  </a:lnTo>
                  <a:lnTo>
                    <a:pt x="319264" y="252552"/>
                  </a:lnTo>
                  <a:lnTo>
                    <a:pt x="328794" y="252552"/>
                  </a:lnTo>
                  <a:lnTo>
                    <a:pt x="333560" y="243022"/>
                  </a:lnTo>
                  <a:lnTo>
                    <a:pt x="333560" y="233492"/>
                  </a:lnTo>
                  <a:lnTo>
                    <a:pt x="314498" y="223962"/>
                  </a:lnTo>
                  <a:lnTo>
                    <a:pt x="285908" y="195370"/>
                  </a:lnTo>
                  <a:lnTo>
                    <a:pt x="257316" y="166780"/>
                  </a:lnTo>
                  <a:lnTo>
                    <a:pt x="271612" y="157250"/>
                  </a:lnTo>
                  <a:lnTo>
                    <a:pt x="266848" y="138188"/>
                  </a:lnTo>
                  <a:lnTo>
                    <a:pt x="271612" y="123894"/>
                  </a:lnTo>
                  <a:lnTo>
                    <a:pt x="276378" y="104834"/>
                  </a:lnTo>
                  <a:lnTo>
                    <a:pt x="252552" y="95302"/>
                  </a:lnTo>
                  <a:lnTo>
                    <a:pt x="223962" y="81008"/>
                  </a:lnTo>
                  <a:lnTo>
                    <a:pt x="181074" y="76242"/>
                  </a:lnTo>
                  <a:lnTo>
                    <a:pt x="166780" y="71478"/>
                  </a:lnTo>
                  <a:lnTo>
                    <a:pt x="162014" y="61946"/>
                  </a:lnTo>
                  <a:lnTo>
                    <a:pt x="166780" y="47652"/>
                  </a:lnTo>
                  <a:lnTo>
                    <a:pt x="181074" y="38122"/>
                  </a:lnTo>
                  <a:lnTo>
                    <a:pt x="195370" y="33356"/>
                  </a:lnTo>
                  <a:lnTo>
                    <a:pt x="209666" y="28592"/>
                  </a:lnTo>
                  <a:close/>
                  <a:moveTo>
                    <a:pt x="243022" y="0"/>
                  </a:moveTo>
                  <a:lnTo>
                    <a:pt x="252552" y="0"/>
                  </a:lnTo>
                  <a:lnTo>
                    <a:pt x="262082" y="0"/>
                  </a:lnTo>
                  <a:lnTo>
                    <a:pt x="281142" y="9530"/>
                  </a:lnTo>
                  <a:lnTo>
                    <a:pt x="290672" y="9530"/>
                  </a:lnTo>
                  <a:lnTo>
                    <a:pt x="285906" y="14296"/>
                  </a:lnTo>
                  <a:lnTo>
                    <a:pt x="271612" y="14296"/>
                  </a:lnTo>
                  <a:lnTo>
                    <a:pt x="252552" y="9530"/>
                  </a:lnTo>
                  <a:lnTo>
                    <a:pt x="247786" y="9530"/>
                  </a:lnTo>
                  <a:lnTo>
                    <a:pt x="238256"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60" name="Google Shape;4627;p64">
              <a:extLst>
                <a:ext uri="{FF2B5EF4-FFF2-40B4-BE49-F238E27FC236}">
                  <a16:creationId xmlns:a16="http://schemas.microsoft.com/office/drawing/2014/main" id="{C1F16C57-4CB7-6751-8B42-CC841FEC4EB2}"/>
                </a:ext>
              </a:extLst>
            </p:cNvPr>
            <p:cNvSpPr/>
            <p:nvPr/>
          </p:nvSpPr>
          <p:spPr>
            <a:xfrm>
              <a:off x="4870844" y="3791676"/>
              <a:ext cx="146358" cy="88602"/>
            </a:xfrm>
            <a:custGeom>
              <a:avLst/>
              <a:gdLst/>
              <a:ahLst/>
              <a:cxnLst/>
              <a:rect l="l" t="t" r="r" b="b"/>
              <a:pathLst>
                <a:path w="446" h="270" extrusionOk="0">
                  <a:moveTo>
                    <a:pt x="398" y="14"/>
                  </a:moveTo>
                  <a:lnTo>
                    <a:pt x="396" y="16"/>
                  </a:lnTo>
                  <a:lnTo>
                    <a:pt x="374" y="22"/>
                  </a:lnTo>
                  <a:lnTo>
                    <a:pt x="370" y="20"/>
                  </a:lnTo>
                  <a:lnTo>
                    <a:pt x="366" y="16"/>
                  </a:lnTo>
                  <a:lnTo>
                    <a:pt x="366" y="14"/>
                  </a:lnTo>
                  <a:lnTo>
                    <a:pt x="364" y="14"/>
                  </a:lnTo>
                  <a:lnTo>
                    <a:pt x="362" y="8"/>
                  </a:lnTo>
                  <a:lnTo>
                    <a:pt x="360" y="6"/>
                  </a:lnTo>
                  <a:lnTo>
                    <a:pt x="356" y="2"/>
                  </a:lnTo>
                  <a:lnTo>
                    <a:pt x="352" y="0"/>
                  </a:lnTo>
                  <a:lnTo>
                    <a:pt x="348" y="0"/>
                  </a:lnTo>
                  <a:lnTo>
                    <a:pt x="336" y="4"/>
                  </a:lnTo>
                  <a:lnTo>
                    <a:pt x="328" y="4"/>
                  </a:lnTo>
                  <a:lnTo>
                    <a:pt x="322" y="2"/>
                  </a:lnTo>
                  <a:lnTo>
                    <a:pt x="314" y="0"/>
                  </a:lnTo>
                  <a:lnTo>
                    <a:pt x="300" y="0"/>
                  </a:lnTo>
                  <a:lnTo>
                    <a:pt x="290" y="2"/>
                  </a:lnTo>
                  <a:lnTo>
                    <a:pt x="288" y="6"/>
                  </a:lnTo>
                  <a:lnTo>
                    <a:pt x="280" y="26"/>
                  </a:lnTo>
                  <a:lnTo>
                    <a:pt x="266" y="32"/>
                  </a:lnTo>
                  <a:lnTo>
                    <a:pt x="254" y="40"/>
                  </a:lnTo>
                  <a:lnTo>
                    <a:pt x="250" y="42"/>
                  </a:lnTo>
                  <a:lnTo>
                    <a:pt x="244" y="38"/>
                  </a:lnTo>
                  <a:lnTo>
                    <a:pt x="238" y="34"/>
                  </a:lnTo>
                  <a:lnTo>
                    <a:pt x="232" y="32"/>
                  </a:lnTo>
                  <a:lnTo>
                    <a:pt x="228" y="34"/>
                  </a:lnTo>
                  <a:lnTo>
                    <a:pt x="224" y="38"/>
                  </a:lnTo>
                  <a:lnTo>
                    <a:pt x="222" y="44"/>
                  </a:lnTo>
                  <a:lnTo>
                    <a:pt x="210" y="48"/>
                  </a:lnTo>
                  <a:lnTo>
                    <a:pt x="186" y="50"/>
                  </a:lnTo>
                  <a:lnTo>
                    <a:pt x="178" y="54"/>
                  </a:lnTo>
                  <a:lnTo>
                    <a:pt x="176" y="60"/>
                  </a:lnTo>
                  <a:lnTo>
                    <a:pt x="176" y="64"/>
                  </a:lnTo>
                  <a:lnTo>
                    <a:pt x="178" y="68"/>
                  </a:lnTo>
                  <a:lnTo>
                    <a:pt x="174" y="74"/>
                  </a:lnTo>
                  <a:lnTo>
                    <a:pt x="174" y="74"/>
                  </a:lnTo>
                  <a:lnTo>
                    <a:pt x="158" y="76"/>
                  </a:lnTo>
                  <a:lnTo>
                    <a:pt x="136" y="78"/>
                  </a:lnTo>
                  <a:lnTo>
                    <a:pt x="122" y="76"/>
                  </a:lnTo>
                  <a:lnTo>
                    <a:pt x="110" y="76"/>
                  </a:lnTo>
                  <a:lnTo>
                    <a:pt x="102" y="72"/>
                  </a:lnTo>
                  <a:lnTo>
                    <a:pt x="92" y="66"/>
                  </a:lnTo>
                  <a:lnTo>
                    <a:pt x="82" y="56"/>
                  </a:lnTo>
                  <a:lnTo>
                    <a:pt x="80" y="54"/>
                  </a:lnTo>
                  <a:lnTo>
                    <a:pt x="78" y="54"/>
                  </a:lnTo>
                  <a:lnTo>
                    <a:pt x="72" y="54"/>
                  </a:lnTo>
                  <a:lnTo>
                    <a:pt x="70" y="54"/>
                  </a:lnTo>
                  <a:lnTo>
                    <a:pt x="66" y="58"/>
                  </a:lnTo>
                  <a:lnTo>
                    <a:pt x="66" y="64"/>
                  </a:lnTo>
                  <a:lnTo>
                    <a:pt x="64" y="66"/>
                  </a:lnTo>
                  <a:lnTo>
                    <a:pt x="62" y="70"/>
                  </a:lnTo>
                  <a:lnTo>
                    <a:pt x="64" y="74"/>
                  </a:lnTo>
                  <a:lnTo>
                    <a:pt x="64" y="78"/>
                  </a:lnTo>
                  <a:lnTo>
                    <a:pt x="64" y="82"/>
                  </a:lnTo>
                  <a:lnTo>
                    <a:pt x="58" y="84"/>
                  </a:lnTo>
                  <a:lnTo>
                    <a:pt x="52" y="84"/>
                  </a:lnTo>
                  <a:lnTo>
                    <a:pt x="48" y="84"/>
                  </a:lnTo>
                  <a:lnTo>
                    <a:pt x="46" y="86"/>
                  </a:lnTo>
                  <a:lnTo>
                    <a:pt x="44" y="84"/>
                  </a:lnTo>
                  <a:lnTo>
                    <a:pt x="38" y="80"/>
                  </a:lnTo>
                  <a:lnTo>
                    <a:pt x="34" y="78"/>
                  </a:lnTo>
                  <a:lnTo>
                    <a:pt x="32" y="78"/>
                  </a:lnTo>
                  <a:lnTo>
                    <a:pt x="30" y="82"/>
                  </a:lnTo>
                  <a:lnTo>
                    <a:pt x="26" y="84"/>
                  </a:lnTo>
                  <a:lnTo>
                    <a:pt x="22" y="86"/>
                  </a:lnTo>
                  <a:lnTo>
                    <a:pt x="24" y="88"/>
                  </a:lnTo>
                  <a:lnTo>
                    <a:pt x="36" y="92"/>
                  </a:lnTo>
                  <a:lnTo>
                    <a:pt x="40" y="100"/>
                  </a:lnTo>
                  <a:lnTo>
                    <a:pt x="36" y="106"/>
                  </a:lnTo>
                  <a:lnTo>
                    <a:pt x="36" y="108"/>
                  </a:lnTo>
                  <a:lnTo>
                    <a:pt x="32" y="110"/>
                  </a:lnTo>
                  <a:lnTo>
                    <a:pt x="28" y="112"/>
                  </a:lnTo>
                  <a:lnTo>
                    <a:pt x="24" y="112"/>
                  </a:lnTo>
                  <a:lnTo>
                    <a:pt x="24" y="116"/>
                  </a:lnTo>
                  <a:lnTo>
                    <a:pt x="26" y="124"/>
                  </a:lnTo>
                  <a:lnTo>
                    <a:pt x="24" y="126"/>
                  </a:lnTo>
                  <a:lnTo>
                    <a:pt x="22" y="130"/>
                  </a:lnTo>
                  <a:lnTo>
                    <a:pt x="24" y="138"/>
                  </a:lnTo>
                  <a:lnTo>
                    <a:pt x="26" y="138"/>
                  </a:lnTo>
                  <a:lnTo>
                    <a:pt x="28" y="140"/>
                  </a:lnTo>
                  <a:lnTo>
                    <a:pt x="26" y="142"/>
                  </a:lnTo>
                  <a:lnTo>
                    <a:pt x="26" y="146"/>
                  </a:lnTo>
                  <a:lnTo>
                    <a:pt x="26" y="148"/>
                  </a:lnTo>
                  <a:lnTo>
                    <a:pt x="24" y="150"/>
                  </a:lnTo>
                  <a:lnTo>
                    <a:pt x="22" y="152"/>
                  </a:lnTo>
                  <a:lnTo>
                    <a:pt x="16" y="150"/>
                  </a:lnTo>
                  <a:lnTo>
                    <a:pt x="12" y="154"/>
                  </a:lnTo>
                  <a:lnTo>
                    <a:pt x="0" y="164"/>
                  </a:lnTo>
                  <a:lnTo>
                    <a:pt x="14" y="164"/>
                  </a:lnTo>
                  <a:lnTo>
                    <a:pt x="16" y="168"/>
                  </a:lnTo>
                  <a:lnTo>
                    <a:pt x="16" y="172"/>
                  </a:lnTo>
                  <a:lnTo>
                    <a:pt x="16" y="178"/>
                  </a:lnTo>
                  <a:lnTo>
                    <a:pt x="20" y="180"/>
                  </a:lnTo>
                  <a:lnTo>
                    <a:pt x="20" y="182"/>
                  </a:lnTo>
                  <a:lnTo>
                    <a:pt x="20" y="186"/>
                  </a:lnTo>
                  <a:lnTo>
                    <a:pt x="22" y="188"/>
                  </a:lnTo>
                  <a:lnTo>
                    <a:pt x="28" y="196"/>
                  </a:lnTo>
                  <a:lnTo>
                    <a:pt x="28" y="198"/>
                  </a:lnTo>
                  <a:lnTo>
                    <a:pt x="32" y="200"/>
                  </a:lnTo>
                  <a:lnTo>
                    <a:pt x="44" y="206"/>
                  </a:lnTo>
                  <a:lnTo>
                    <a:pt x="52" y="214"/>
                  </a:lnTo>
                  <a:lnTo>
                    <a:pt x="56" y="222"/>
                  </a:lnTo>
                  <a:lnTo>
                    <a:pt x="62" y="228"/>
                  </a:lnTo>
                  <a:lnTo>
                    <a:pt x="70" y="234"/>
                  </a:lnTo>
                  <a:lnTo>
                    <a:pt x="76" y="240"/>
                  </a:lnTo>
                  <a:lnTo>
                    <a:pt x="80" y="246"/>
                  </a:lnTo>
                  <a:lnTo>
                    <a:pt x="88" y="252"/>
                  </a:lnTo>
                  <a:lnTo>
                    <a:pt x="96" y="252"/>
                  </a:lnTo>
                  <a:lnTo>
                    <a:pt x="100" y="254"/>
                  </a:lnTo>
                  <a:lnTo>
                    <a:pt x="102" y="258"/>
                  </a:lnTo>
                  <a:lnTo>
                    <a:pt x="108" y="262"/>
                  </a:lnTo>
                  <a:lnTo>
                    <a:pt x="114" y="266"/>
                  </a:lnTo>
                  <a:lnTo>
                    <a:pt x="124" y="268"/>
                  </a:lnTo>
                  <a:lnTo>
                    <a:pt x="144" y="268"/>
                  </a:lnTo>
                  <a:lnTo>
                    <a:pt x="146" y="268"/>
                  </a:lnTo>
                  <a:lnTo>
                    <a:pt x="150" y="270"/>
                  </a:lnTo>
                  <a:lnTo>
                    <a:pt x="154" y="268"/>
                  </a:lnTo>
                  <a:lnTo>
                    <a:pt x="162" y="266"/>
                  </a:lnTo>
                  <a:lnTo>
                    <a:pt x="164" y="264"/>
                  </a:lnTo>
                  <a:lnTo>
                    <a:pt x="170" y="256"/>
                  </a:lnTo>
                  <a:lnTo>
                    <a:pt x="174" y="256"/>
                  </a:lnTo>
                  <a:lnTo>
                    <a:pt x="180" y="254"/>
                  </a:lnTo>
                  <a:lnTo>
                    <a:pt x="186" y="252"/>
                  </a:lnTo>
                  <a:lnTo>
                    <a:pt x="186" y="252"/>
                  </a:lnTo>
                  <a:lnTo>
                    <a:pt x="192" y="250"/>
                  </a:lnTo>
                  <a:lnTo>
                    <a:pt x="194" y="248"/>
                  </a:lnTo>
                  <a:lnTo>
                    <a:pt x="196" y="246"/>
                  </a:lnTo>
                  <a:lnTo>
                    <a:pt x="198" y="244"/>
                  </a:lnTo>
                  <a:lnTo>
                    <a:pt x="202" y="248"/>
                  </a:lnTo>
                  <a:lnTo>
                    <a:pt x="206" y="248"/>
                  </a:lnTo>
                  <a:lnTo>
                    <a:pt x="210" y="246"/>
                  </a:lnTo>
                  <a:lnTo>
                    <a:pt x="214" y="244"/>
                  </a:lnTo>
                  <a:lnTo>
                    <a:pt x="218" y="242"/>
                  </a:lnTo>
                  <a:lnTo>
                    <a:pt x="220" y="240"/>
                  </a:lnTo>
                  <a:lnTo>
                    <a:pt x="222" y="238"/>
                  </a:lnTo>
                  <a:lnTo>
                    <a:pt x="226" y="232"/>
                  </a:lnTo>
                  <a:lnTo>
                    <a:pt x="232" y="230"/>
                  </a:lnTo>
                  <a:lnTo>
                    <a:pt x="240" y="232"/>
                  </a:lnTo>
                  <a:lnTo>
                    <a:pt x="246" y="232"/>
                  </a:lnTo>
                  <a:lnTo>
                    <a:pt x="252" y="232"/>
                  </a:lnTo>
                  <a:lnTo>
                    <a:pt x="268" y="234"/>
                  </a:lnTo>
                  <a:lnTo>
                    <a:pt x="270" y="234"/>
                  </a:lnTo>
                  <a:lnTo>
                    <a:pt x="274" y="236"/>
                  </a:lnTo>
                  <a:lnTo>
                    <a:pt x="276" y="234"/>
                  </a:lnTo>
                  <a:lnTo>
                    <a:pt x="290" y="230"/>
                  </a:lnTo>
                  <a:lnTo>
                    <a:pt x="298" y="234"/>
                  </a:lnTo>
                  <a:lnTo>
                    <a:pt x="300" y="232"/>
                  </a:lnTo>
                  <a:lnTo>
                    <a:pt x="304" y="230"/>
                  </a:lnTo>
                  <a:lnTo>
                    <a:pt x="306" y="228"/>
                  </a:lnTo>
                  <a:lnTo>
                    <a:pt x="306" y="226"/>
                  </a:lnTo>
                  <a:lnTo>
                    <a:pt x="308" y="224"/>
                  </a:lnTo>
                  <a:lnTo>
                    <a:pt x="312" y="222"/>
                  </a:lnTo>
                  <a:lnTo>
                    <a:pt x="326" y="224"/>
                  </a:lnTo>
                  <a:lnTo>
                    <a:pt x="330" y="220"/>
                  </a:lnTo>
                  <a:lnTo>
                    <a:pt x="332" y="218"/>
                  </a:lnTo>
                  <a:lnTo>
                    <a:pt x="334" y="214"/>
                  </a:lnTo>
                  <a:lnTo>
                    <a:pt x="336" y="210"/>
                  </a:lnTo>
                  <a:lnTo>
                    <a:pt x="340" y="208"/>
                  </a:lnTo>
                  <a:lnTo>
                    <a:pt x="340" y="204"/>
                  </a:lnTo>
                  <a:lnTo>
                    <a:pt x="340" y="200"/>
                  </a:lnTo>
                  <a:lnTo>
                    <a:pt x="342" y="192"/>
                  </a:lnTo>
                  <a:lnTo>
                    <a:pt x="344" y="188"/>
                  </a:lnTo>
                  <a:lnTo>
                    <a:pt x="346" y="188"/>
                  </a:lnTo>
                  <a:lnTo>
                    <a:pt x="350" y="186"/>
                  </a:lnTo>
                  <a:lnTo>
                    <a:pt x="356" y="180"/>
                  </a:lnTo>
                  <a:lnTo>
                    <a:pt x="354" y="174"/>
                  </a:lnTo>
                  <a:lnTo>
                    <a:pt x="356" y="172"/>
                  </a:lnTo>
                  <a:lnTo>
                    <a:pt x="360" y="162"/>
                  </a:lnTo>
                  <a:lnTo>
                    <a:pt x="366" y="154"/>
                  </a:lnTo>
                  <a:lnTo>
                    <a:pt x="366" y="150"/>
                  </a:lnTo>
                  <a:lnTo>
                    <a:pt x="366" y="146"/>
                  </a:lnTo>
                  <a:lnTo>
                    <a:pt x="370" y="142"/>
                  </a:lnTo>
                  <a:lnTo>
                    <a:pt x="374" y="138"/>
                  </a:lnTo>
                  <a:lnTo>
                    <a:pt x="380" y="122"/>
                  </a:lnTo>
                  <a:lnTo>
                    <a:pt x="382" y="120"/>
                  </a:lnTo>
                  <a:lnTo>
                    <a:pt x="386" y="116"/>
                  </a:lnTo>
                  <a:lnTo>
                    <a:pt x="388" y="114"/>
                  </a:lnTo>
                  <a:lnTo>
                    <a:pt x="388" y="102"/>
                  </a:lnTo>
                  <a:lnTo>
                    <a:pt x="390" y="100"/>
                  </a:lnTo>
                  <a:lnTo>
                    <a:pt x="396" y="96"/>
                  </a:lnTo>
                  <a:lnTo>
                    <a:pt x="400" y="90"/>
                  </a:lnTo>
                  <a:lnTo>
                    <a:pt x="404" y="84"/>
                  </a:lnTo>
                  <a:lnTo>
                    <a:pt x="408" y="80"/>
                  </a:lnTo>
                  <a:lnTo>
                    <a:pt x="412" y="80"/>
                  </a:lnTo>
                  <a:lnTo>
                    <a:pt x="416" y="78"/>
                  </a:lnTo>
                  <a:lnTo>
                    <a:pt x="420" y="76"/>
                  </a:lnTo>
                  <a:lnTo>
                    <a:pt x="426" y="78"/>
                  </a:lnTo>
                  <a:lnTo>
                    <a:pt x="428" y="76"/>
                  </a:lnTo>
                  <a:lnTo>
                    <a:pt x="432" y="74"/>
                  </a:lnTo>
                  <a:lnTo>
                    <a:pt x="444" y="62"/>
                  </a:lnTo>
                  <a:lnTo>
                    <a:pt x="446" y="60"/>
                  </a:lnTo>
                  <a:lnTo>
                    <a:pt x="444" y="58"/>
                  </a:lnTo>
                  <a:lnTo>
                    <a:pt x="444" y="54"/>
                  </a:lnTo>
                  <a:lnTo>
                    <a:pt x="444" y="52"/>
                  </a:lnTo>
                  <a:lnTo>
                    <a:pt x="444" y="48"/>
                  </a:lnTo>
                  <a:lnTo>
                    <a:pt x="440" y="44"/>
                  </a:lnTo>
                  <a:lnTo>
                    <a:pt x="438" y="44"/>
                  </a:lnTo>
                  <a:lnTo>
                    <a:pt x="434" y="44"/>
                  </a:lnTo>
                  <a:lnTo>
                    <a:pt x="434" y="44"/>
                  </a:lnTo>
                  <a:lnTo>
                    <a:pt x="426" y="40"/>
                  </a:lnTo>
                  <a:lnTo>
                    <a:pt x="422" y="34"/>
                  </a:lnTo>
                  <a:lnTo>
                    <a:pt x="416" y="30"/>
                  </a:lnTo>
                  <a:lnTo>
                    <a:pt x="412" y="30"/>
                  </a:lnTo>
                  <a:lnTo>
                    <a:pt x="410" y="26"/>
                  </a:lnTo>
                  <a:lnTo>
                    <a:pt x="408" y="22"/>
                  </a:lnTo>
                  <a:lnTo>
                    <a:pt x="406" y="18"/>
                  </a:lnTo>
                  <a:lnTo>
                    <a:pt x="406" y="18"/>
                  </a:lnTo>
                  <a:lnTo>
                    <a:pt x="406" y="14"/>
                  </a:lnTo>
                  <a:lnTo>
                    <a:pt x="404" y="14"/>
                  </a:lnTo>
                  <a:lnTo>
                    <a:pt x="404" y="14"/>
                  </a:lnTo>
                  <a:lnTo>
                    <a:pt x="398"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61" name="Google Shape;4628;p64">
              <a:extLst>
                <a:ext uri="{FF2B5EF4-FFF2-40B4-BE49-F238E27FC236}">
                  <a16:creationId xmlns:a16="http://schemas.microsoft.com/office/drawing/2014/main" id="{550E2744-A9F0-4445-3435-11CB47ECBEF5}"/>
                </a:ext>
              </a:extLst>
            </p:cNvPr>
            <p:cNvSpPr/>
            <p:nvPr/>
          </p:nvSpPr>
          <p:spPr>
            <a:xfrm>
              <a:off x="5991173" y="4171682"/>
              <a:ext cx="628093" cy="672723"/>
            </a:xfrm>
            <a:custGeom>
              <a:avLst/>
              <a:gdLst/>
              <a:ahLst/>
              <a:cxnLst/>
              <a:rect l="l" t="t" r="r" b="b"/>
              <a:pathLst>
                <a:path w="4560224" h="4884256" extrusionOk="0">
                  <a:moveTo>
                    <a:pt x="4007468" y="4803248"/>
                  </a:moveTo>
                  <a:lnTo>
                    <a:pt x="4017000" y="4808014"/>
                  </a:lnTo>
                  <a:lnTo>
                    <a:pt x="4026528" y="4846136"/>
                  </a:lnTo>
                  <a:lnTo>
                    <a:pt x="4021764" y="4869960"/>
                  </a:lnTo>
                  <a:lnTo>
                    <a:pt x="4012236" y="4884256"/>
                  </a:lnTo>
                  <a:lnTo>
                    <a:pt x="3993176" y="4841370"/>
                  </a:lnTo>
                  <a:lnTo>
                    <a:pt x="3983644" y="4841370"/>
                  </a:lnTo>
                  <a:lnTo>
                    <a:pt x="3983644" y="4822310"/>
                  </a:lnTo>
                  <a:lnTo>
                    <a:pt x="3988408" y="4812780"/>
                  </a:lnTo>
                  <a:close/>
                  <a:moveTo>
                    <a:pt x="3988408" y="4779424"/>
                  </a:moveTo>
                  <a:lnTo>
                    <a:pt x="3993176" y="4788954"/>
                  </a:lnTo>
                  <a:lnTo>
                    <a:pt x="3978880" y="4803248"/>
                  </a:lnTo>
                  <a:lnTo>
                    <a:pt x="3974112" y="4793718"/>
                  </a:lnTo>
                  <a:lnTo>
                    <a:pt x="3978880" y="4784188"/>
                  </a:lnTo>
                  <a:lnTo>
                    <a:pt x="3983644" y="4784188"/>
                  </a:lnTo>
                  <a:close/>
                  <a:moveTo>
                    <a:pt x="3931228" y="4684120"/>
                  </a:moveTo>
                  <a:lnTo>
                    <a:pt x="3940756" y="4684120"/>
                  </a:lnTo>
                  <a:lnTo>
                    <a:pt x="3950288" y="4693652"/>
                  </a:lnTo>
                  <a:lnTo>
                    <a:pt x="3950288" y="4698416"/>
                  </a:lnTo>
                  <a:lnTo>
                    <a:pt x="3950288" y="4703182"/>
                  </a:lnTo>
                  <a:lnTo>
                    <a:pt x="3935992" y="4703182"/>
                  </a:lnTo>
                  <a:lnTo>
                    <a:pt x="3935992" y="4698416"/>
                  </a:lnTo>
                  <a:lnTo>
                    <a:pt x="3931228" y="4688886"/>
                  </a:lnTo>
                  <a:close/>
                  <a:moveTo>
                    <a:pt x="3959816" y="4650764"/>
                  </a:moveTo>
                  <a:lnTo>
                    <a:pt x="3964584" y="4650764"/>
                  </a:lnTo>
                  <a:lnTo>
                    <a:pt x="3959816" y="4660296"/>
                  </a:lnTo>
                  <a:lnTo>
                    <a:pt x="3964584" y="4674590"/>
                  </a:lnTo>
                  <a:lnTo>
                    <a:pt x="3955052" y="4679356"/>
                  </a:lnTo>
                  <a:lnTo>
                    <a:pt x="3955052" y="4674590"/>
                  </a:lnTo>
                  <a:lnTo>
                    <a:pt x="3955052" y="4669826"/>
                  </a:lnTo>
                  <a:lnTo>
                    <a:pt x="3950288" y="4655530"/>
                  </a:lnTo>
                  <a:close/>
                  <a:moveTo>
                    <a:pt x="3893104" y="4631704"/>
                  </a:moveTo>
                  <a:lnTo>
                    <a:pt x="3897872" y="4631704"/>
                  </a:lnTo>
                  <a:lnTo>
                    <a:pt x="3902636" y="4646000"/>
                  </a:lnTo>
                  <a:lnTo>
                    <a:pt x="3907400" y="4650766"/>
                  </a:lnTo>
                  <a:lnTo>
                    <a:pt x="3897872" y="4650766"/>
                  </a:lnTo>
                  <a:lnTo>
                    <a:pt x="3893104" y="4641236"/>
                  </a:lnTo>
                  <a:close/>
                  <a:moveTo>
                    <a:pt x="3840688" y="4488752"/>
                  </a:moveTo>
                  <a:lnTo>
                    <a:pt x="3845456" y="4488752"/>
                  </a:lnTo>
                  <a:lnTo>
                    <a:pt x="3850220" y="4498282"/>
                  </a:lnTo>
                  <a:lnTo>
                    <a:pt x="3850220" y="4503046"/>
                  </a:lnTo>
                  <a:lnTo>
                    <a:pt x="3840688" y="4507812"/>
                  </a:lnTo>
                  <a:lnTo>
                    <a:pt x="3835924" y="4503046"/>
                  </a:lnTo>
                  <a:lnTo>
                    <a:pt x="3835924" y="4493516"/>
                  </a:lnTo>
                  <a:close/>
                  <a:moveTo>
                    <a:pt x="3802568" y="4226668"/>
                  </a:moveTo>
                  <a:lnTo>
                    <a:pt x="3812100" y="4240964"/>
                  </a:lnTo>
                  <a:lnTo>
                    <a:pt x="3812100" y="4255260"/>
                  </a:lnTo>
                  <a:lnTo>
                    <a:pt x="3802568" y="4279086"/>
                  </a:lnTo>
                  <a:lnTo>
                    <a:pt x="3797804" y="4283852"/>
                  </a:lnTo>
                  <a:lnTo>
                    <a:pt x="3783508" y="4283852"/>
                  </a:lnTo>
                  <a:lnTo>
                    <a:pt x="3783508" y="4264790"/>
                  </a:lnTo>
                  <a:lnTo>
                    <a:pt x="3778744" y="4250494"/>
                  </a:lnTo>
                  <a:lnTo>
                    <a:pt x="3783508" y="4240964"/>
                  </a:lnTo>
                  <a:lnTo>
                    <a:pt x="3793040" y="4231434"/>
                  </a:lnTo>
                  <a:close/>
                  <a:moveTo>
                    <a:pt x="3826392" y="4126600"/>
                  </a:moveTo>
                  <a:lnTo>
                    <a:pt x="3831160" y="4136132"/>
                  </a:lnTo>
                  <a:lnTo>
                    <a:pt x="3831160" y="4145662"/>
                  </a:lnTo>
                  <a:lnTo>
                    <a:pt x="3831160" y="4150428"/>
                  </a:lnTo>
                  <a:lnTo>
                    <a:pt x="3826392" y="4150428"/>
                  </a:lnTo>
                  <a:lnTo>
                    <a:pt x="3816864" y="4150428"/>
                  </a:lnTo>
                  <a:lnTo>
                    <a:pt x="3826392" y="4140896"/>
                  </a:lnTo>
                  <a:close/>
                  <a:moveTo>
                    <a:pt x="3878812" y="4045594"/>
                  </a:moveTo>
                  <a:lnTo>
                    <a:pt x="3883576" y="4045594"/>
                  </a:lnTo>
                  <a:lnTo>
                    <a:pt x="3888340" y="4064656"/>
                  </a:lnTo>
                  <a:lnTo>
                    <a:pt x="3878812" y="4055124"/>
                  </a:lnTo>
                  <a:lnTo>
                    <a:pt x="3874048" y="4050360"/>
                  </a:lnTo>
                  <a:close/>
                  <a:moveTo>
                    <a:pt x="3831160" y="3897876"/>
                  </a:moveTo>
                  <a:lnTo>
                    <a:pt x="3835924" y="3897876"/>
                  </a:lnTo>
                  <a:lnTo>
                    <a:pt x="3840688" y="3897876"/>
                  </a:lnTo>
                  <a:lnTo>
                    <a:pt x="3835924" y="3912170"/>
                  </a:lnTo>
                  <a:lnTo>
                    <a:pt x="3831160" y="3921700"/>
                  </a:lnTo>
                  <a:close/>
                  <a:moveTo>
                    <a:pt x="3883576" y="3802572"/>
                  </a:moveTo>
                  <a:lnTo>
                    <a:pt x="3888340" y="3802572"/>
                  </a:lnTo>
                  <a:lnTo>
                    <a:pt x="3893104" y="3821632"/>
                  </a:lnTo>
                  <a:lnTo>
                    <a:pt x="3893104" y="3826398"/>
                  </a:lnTo>
                  <a:lnTo>
                    <a:pt x="3883576" y="3835928"/>
                  </a:lnTo>
                  <a:lnTo>
                    <a:pt x="3893104" y="3850224"/>
                  </a:lnTo>
                  <a:lnTo>
                    <a:pt x="3893104" y="3854988"/>
                  </a:lnTo>
                  <a:lnTo>
                    <a:pt x="3888340" y="3864518"/>
                  </a:lnTo>
                  <a:lnTo>
                    <a:pt x="3883576" y="3874048"/>
                  </a:lnTo>
                  <a:lnTo>
                    <a:pt x="3874044" y="3878814"/>
                  </a:lnTo>
                  <a:lnTo>
                    <a:pt x="3869280" y="3893110"/>
                  </a:lnTo>
                  <a:lnTo>
                    <a:pt x="3864516" y="3897874"/>
                  </a:lnTo>
                  <a:lnTo>
                    <a:pt x="3874044" y="3912170"/>
                  </a:lnTo>
                  <a:lnTo>
                    <a:pt x="3878812" y="3964586"/>
                  </a:lnTo>
                  <a:lnTo>
                    <a:pt x="3869280" y="3978882"/>
                  </a:lnTo>
                  <a:lnTo>
                    <a:pt x="3859752" y="3978882"/>
                  </a:lnTo>
                  <a:lnTo>
                    <a:pt x="3864516" y="4012238"/>
                  </a:lnTo>
                  <a:lnTo>
                    <a:pt x="3859752" y="4021768"/>
                  </a:lnTo>
                  <a:lnTo>
                    <a:pt x="3850220" y="4036064"/>
                  </a:lnTo>
                  <a:lnTo>
                    <a:pt x="3845456" y="4045594"/>
                  </a:lnTo>
                  <a:lnTo>
                    <a:pt x="3840688" y="4050358"/>
                  </a:lnTo>
                  <a:lnTo>
                    <a:pt x="3845456" y="4059890"/>
                  </a:lnTo>
                  <a:lnTo>
                    <a:pt x="3850220" y="4064654"/>
                  </a:lnTo>
                  <a:lnTo>
                    <a:pt x="3850220" y="4069420"/>
                  </a:lnTo>
                  <a:lnTo>
                    <a:pt x="3845456" y="4088480"/>
                  </a:lnTo>
                  <a:lnTo>
                    <a:pt x="3845456" y="4107540"/>
                  </a:lnTo>
                  <a:lnTo>
                    <a:pt x="3835924" y="4126600"/>
                  </a:lnTo>
                  <a:lnTo>
                    <a:pt x="3831160" y="4121836"/>
                  </a:lnTo>
                  <a:lnTo>
                    <a:pt x="3816864" y="4093246"/>
                  </a:lnTo>
                  <a:lnTo>
                    <a:pt x="3812100" y="4078950"/>
                  </a:lnTo>
                  <a:lnTo>
                    <a:pt x="3807336" y="4069420"/>
                  </a:lnTo>
                  <a:lnTo>
                    <a:pt x="3812100" y="4059890"/>
                  </a:lnTo>
                  <a:lnTo>
                    <a:pt x="3821628" y="4059890"/>
                  </a:lnTo>
                  <a:lnTo>
                    <a:pt x="3821628" y="4050358"/>
                  </a:lnTo>
                  <a:lnTo>
                    <a:pt x="3826396" y="4031298"/>
                  </a:lnTo>
                  <a:lnTo>
                    <a:pt x="3831160" y="4017002"/>
                  </a:lnTo>
                  <a:lnTo>
                    <a:pt x="3845456" y="4017002"/>
                  </a:lnTo>
                  <a:lnTo>
                    <a:pt x="3850220" y="4012238"/>
                  </a:lnTo>
                  <a:lnTo>
                    <a:pt x="3845456" y="4002708"/>
                  </a:lnTo>
                  <a:lnTo>
                    <a:pt x="3840688" y="3997942"/>
                  </a:lnTo>
                  <a:lnTo>
                    <a:pt x="3835924" y="3993178"/>
                  </a:lnTo>
                  <a:lnTo>
                    <a:pt x="3835924" y="3964586"/>
                  </a:lnTo>
                  <a:lnTo>
                    <a:pt x="3840688" y="3950292"/>
                  </a:lnTo>
                  <a:lnTo>
                    <a:pt x="3840688" y="3945526"/>
                  </a:lnTo>
                  <a:lnTo>
                    <a:pt x="3840688" y="3926466"/>
                  </a:lnTo>
                  <a:lnTo>
                    <a:pt x="3840688" y="3921700"/>
                  </a:lnTo>
                  <a:lnTo>
                    <a:pt x="3850220" y="3912170"/>
                  </a:lnTo>
                  <a:lnTo>
                    <a:pt x="3854984" y="3888344"/>
                  </a:lnTo>
                  <a:lnTo>
                    <a:pt x="3850220" y="3883580"/>
                  </a:lnTo>
                  <a:lnTo>
                    <a:pt x="3859752" y="3854988"/>
                  </a:lnTo>
                  <a:lnTo>
                    <a:pt x="3859752" y="3831162"/>
                  </a:lnTo>
                  <a:lnTo>
                    <a:pt x="3869280" y="3812102"/>
                  </a:lnTo>
                  <a:close/>
                  <a:moveTo>
                    <a:pt x="1505780" y="0"/>
                  </a:moveTo>
                  <a:lnTo>
                    <a:pt x="1510544" y="4766"/>
                  </a:lnTo>
                  <a:lnTo>
                    <a:pt x="1515308" y="9532"/>
                  </a:lnTo>
                  <a:lnTo>
                    <a:pt x="1520072" y="9532"/>
                  </a:lnTo>
                  <a:lnTo>
                    <a:pt x="1529604" y="4766"/>
                  </a:lnTo>
                  <a:lnTo>
                    <a:pt x="1539136" y="0"/>
                  </a:lnTo>
                  <a:lnTo>
                    <a:pt x="1543900" y="4766"/>
                  </a:lnTo>
                  <a:lnTo>
                    <a:pt x="1543900" y="9532"/>
                  </a:lnTo>
                  <a:lnTo>
                    <a:pt x="1539136" y="38122"/>
                  </a:lnTo>
                  <a:lnTo>
                    <a:pt x="1539136" y="47652"/>
                  </a:lnTo>
                  <a:lnTo>
                    <a:pt x="1548664" y="71478"/>
                  </a:lnTo>
                  <a:lnTo>
                    <a:pt x="1562960" y="104834"/>
                  </a:lnTo>
                  <a:lnTo>
                    <a:pt x="1577256" y="138190"/>
                  </a:lnTo>
                  <a:lnTo>
                    <a:pt x="1582020" y="162016"/>
                  </a:lnTo>
                  <a:lnTo>
                    <a:pt x="1586784" y="171546"/>
                  </a:lnTo>
                  <a:lnTo>
                    <a:pt x="1620140" y="181076"/>
                  </a:lnTo>
                  <a:lnTo>
                    <a:pt x="1643968" y="185840"/>
                  </a:lnTo>
                  <a:lnTo>
                    <a:pt x="1658264" y="200136"/>
                  </a:lnTo>
                  <a:lnTo>
                    <a:pt x="1672556" y="214432"/>
                  </a:lnTo>
                  <a:lnTo>
                    <a:pt x="1682088" y="219196"/>
                  </a:lnTo>
                  <a:lnTo>
                    <a:pt x="1691620" y="228728"/>
                  </a:lnTo>
                  <a:lnTo>
                    <a:pt x="1691620" y="238258"/>
                  </a:lnTo>
                  <a:lnTo>
                    <a:pt x="1691620" y="243022"/>
                  </a:lnTo>
                  <a:lnTo>
                    <a:pt x="1682088" y="252552"/>
                  </a:lnTo>
                  <a:lnTo>
                    <a:pt x="1653496" y="271614"/>
                  </a:lnTo>
                  <a:lnTo>
                    <a:pt x="1653496" y="276378"/>
                  </a:lnTo>
                  <a:lnTo>
                    <a:pt x="1653496" y="281144"/>
                  </a:lnTo>
                  <a:lnTo>
                    <a:pt x="1658264" y="304970"/>
                  </a:lnTo>
                  <a:lnTo>
                    <a:pt x="1658264" y="324030"/>
                  </a:lnTo>
                  <a:lnTo>
                    <a:pt x="1663028" y="352620"/>
                  </a:lnTo>
                  <a:lnTo>
                    <a:pt x="1663028" y="381212"/>
                  </a:lnTo>
                  <a:lnTo>
                    <a:pt x="1672556" y="390742"/>
                  </a:lnTo>
                  <a:lnTo>
                    <a:pt x="1682088" y="400272"/>
                  </a:lnTo>
                  <a:lnTo>
                    <a:pt x="1686852" y="409802"/>
                  </a:lnTo>
                  <a:lnTo>
                    <a:pt x="1696384" y="419332"/>
                  </a:lnTo>
                  <a:lnTo>
                    <a:pt x="1705912" y="424098"/>
                  </a:lnTo>
                  <a:lnTo>
                    <a:pt x="1710680" y="428862"/>
                  </a:lnTo>
                  <a:lnTo>
                    <a:pt x="1715444" y="443158"/>
                  </a:lnTo>
                  <a:lnTo>
                    <a:pt x="1715444" y="452688"/>
                  </a:lnTo>
                  <a:lnTo>
                    <a:pt x="1710680" y="462218"/>
                  </a:lnTo>
                  <a:lnTo>
                    <a:pt x="1710680" y="466984"/>
                  </a:lnTo>
                  <a:lnTo>
                    <a:pt x="1715444" y="471748"/>
                  </a:lnTo>
                  <a:lnTo>
                    <a:pt x="1724976" y="481278"/>
                  </a:lnTo>
                  <a:lnTo>
                    <a:pt x="1729740" y="495574"/>
                  </a:lnTo>
                  <a:lnTo>
                    <a:pt x="1724976" y="509870"/>
                  </a:lnTo>
                  <a:lnTo>
                    <a:pt x="1729740" y="519400"/>
                  </a:lnTo>
                  <a:lnTo>
                    <a:pt x="1729740" y="528930"/>
                  </a:lnTo>
                  <a:lnTo>
                    <a:pt x="1729740" y="552756"/>
                  </a:lnTo>
                  <a:lnTo>
                    <a:pt x="1729740" y="567052"/>
                  </a:lnTo>
                  <a:lnTo>
                    <a:pt x="1720208" y="567052"/>
                  </a:lnTo>
                  <a:lnTo>
                    <a:pt x="1715444" y="571816"/>
                  </a:lnTo>
                  <a:lnTo>
                    <a:pt x="1705912" y="586112"/>
                  </a:lnTo>
                  <a:lnTo>
                    <a:pt x="1696384" y="590876"/>
                  </a:lnTo>
                  <a:lnTo>
                    <a:pt x="1682088" y="590876"/>
                  </a:lnTo>
                  <a:lnTo>
                    <a:pt x="1667792" y="581346"/>
                  </a:lnTo>
                  <a:lnTo>
                    <a:pt x="1658264" y="571816"/>
                  </a:lnTo>
                  <a:lnTo>
                    <a:pt x="1658264" y="567052"/>
                  </a:lnTo>
                  <a:lnTo>
                    <a:pt x="1653496" y="557520"/>
                  </a:lnTo>
                  <a:lnTo>
                    <a:pt x="1648732" y="547990"/>
                  </a:lnTo>
                  <a:lnTo>
                    <a:pt x="1639200" y="552756"/>
                  </a:lnTo>
                  <a:lnTo>
                    <a:pt x="1620140" y="552756"/>
                  </a:lnTo>
                  <a:lnTo>
                    <a:pt x="1601080" y="557520"/>
                  </a:lnTo>
                  <a:lnTo>
                    <a:pt x="1601080" y="562286"/>
                  </a:lnTo>
                  <a:lnTo>
                    <a:pt x="1601080" y="571816"/>
                  </a:lnTo>
                  <a:lnTo>
                    <a:pt x="1605848" y="586112"/>
                  </a:lnTo>
                  <a:lnTo>
                    <a:pt x="1610612" y="605172"/>
                  </a:lnTo>
                  <a:lnTo>
                    <a:pt x="1615376" y="614702"/>
                  </a:lnTo>
                  <a:lnTo>
                    <a:pt x="1615376" y="619468"/>
                  </a:lnTo>
                  <a:lnTo>
                    <a:pt x="1643968" y="652824"/>
                  </a:lnTo>
                  <a:lnTo>
                    <a:pt x="1653496" y="662354"/>
                  </a:lnTo>
                  <a:lnTo>
                    <a:pt x="1653496" y="667118"/>
                  </a:lnTo>
                  <a:lnTo>
                    <a:pt x="1648732" y="681414"/>
                  </a:lnTo>
                  <a:lnTo>
                    <a:pt x="1648732" y="676648"/>
                  </a:lnTo>
                  <a:lnTo>
                    <a:pt x="1639200" y="662354"/>
                  </a:lnTo>
                  <a:lnTo>
                    <a:pt x="1648732" y="681414"/>
                  </a:lnTo>
                  <a:lnTo>
                    <a:pt x="1643968" y="695710"/>
                  </a:lnTo>
                  <a:lnTo>
                    <a:pt x="1643968" y="705240"/>
                  </a:lnTo>
                  <a:lnTo>
                    <a:pt x="1658264" y="719536"/>
                  </a:lnTo>
                  <a:lnTo>
                    <a:pt x="1663028" y="729066"/>
                  </a:lnTo>
                  <a:lnTo>
                    <a:pt x="1658264" y="738596"/>
                  </a:lnTo>
                  <a:lnTo>
                    <a:pt x="1653496" y="757656"/>
                  </a:lnTo>
                  <a:lnTo>
                    <a:pt x="1658264" y="762422"/>
                  </a:lnTo>
                  <a:lnTo>
                    <a:pt x="1653496" y="781482"/>
                  </a:lnTo>
                  <a:lnTo>
                    <a:pt x="1658264" y="786246"/>
                  </a:lnTo>
                  <a:lnTo>
                    <a:pt x="1663028" y="786246"/>
                  </a:lnTo>
                  <a:lnTo>
                    <a:pt x="1667792" y="786246"/>
                  </a:lnTo>
                  <a:lnTo>
                    <a:pt x="1677324" y="781482"/>
                  </a:lnTo>
                  <a:lnTo>
                    <a:pt x="1686852" y="781482"/>
                  </a:lnTo>
                  <a:lnTo>
                    <a:pt x="1691620" y="781482"/>
                  </a:lnTo>
                  <a:lnTo>
                    <a:pt x="1696384" y="767186"/>
                  </a:lnTo>
                  <a:lnTo>
                    <a:pt x="1701148" y="762422"/>
                  </a:lnTo>
                  <a:lnTo>
                    <a:pt x="1710680" y="767186"/>
                  </a:lnTo>
                  <a:lnTo>
                    <a:pt x="1729740" y="795778"/>
                  </a:lnTo>
                  <a:lnTo>
                    <a:pt x="1748800" y="824368"/>
                  </a:lnTo>
                  <a:lnTo>
                    <a:pt x="1753564" y="824368"/>
                  </a:lnTo>
                  <a:lnTo>
                    <a:pt x="1753564" y="829132"/>
                  </a:lnTo>
                  <a:lnTo>
                    <a:pt x="1772624" y="843428"/>
                  </a:lnTo>
                  <a:lnTo>
                    <a:pt x="1782156" y="848194"/>
                  </a:lnTo>
                  <a:lnTo>
                    <a:pt x="1796452" y="848194"/>
                  </a:lnTo>
                  <a:lnTo>
                    <a:pt x="1820276" y="848194"/>
                  </a:lnTo>
                  <a:lnTo>
                    <a:pt x="1829808" y="852958"/>
                  </a:lnTo>
                  <a:lnTo>
                    <a:pt x="1839336" y="862488"/>
                  </a:lnTo>
                  <a:lnTo>
                    <a:pt x="1863164" y="881550"/>
                  </a:lnTo>
                  <a:lnTo>
                    <a:pt x="1872692" y="881550"/>
                  </a:lnTo>
                  <a:lnTo>
                    <a:pt x="1882224" y="886314"/>
                  </a:lnTo>
                  <a:lnTo>
                    <a:pt x="1882224" y="900610"/>
                  </a:lnTo>
                  <a:lnTo>
                    <a:pt x="1877460" y="914906"/>
                  </a:lnTo>
                  <a:lnTo>
                    <a:pt x="1882224" y="919670"/>
                  </a:lnTo>
                  <a:lnTo>
                    <a:pt x="1891752" y="919670"/>
                  </a:lnTo>
                  <a:lnTo>
                    <a:pt x="1915580" y="929200"/>
                  </a:lnTo>
                  <a:lnTo>
                    <a:pt x="1934640" y="938730"/>
                  </a:lnTo>
                  <a:lnTo>
                    <a:pt x="1944168" y="943496"/>
                  </a:lnTo>
                  <a:lnTo>
                    <a:pt x="1958464" y="948262"/>
                  </a:lnTo>
                  <a:lnTo>
                    <a:pt x="1967996" y="957792"/>
                  </a:lnTo>
                  <a:lnTo>
                    <a:pt x="1987056" y="972086"/>
                  </a:lnTo>
                  <a:lnTo>
                    <a:pt x="2006116" y="981618"/>
                  </a:lnTo>
                  <a:lnTo>
                    <a:pt x="2006116" y="991148"/>
                  </a:lnTo>
                  <a:lnTo>
                    <a:pt x="2001352" y="991148"/>
                  </a:lnTo>
                  <a:lnTo>
                    <a:pt x="1991820" y="991148"/>
                  </a:lnTo>
                  <a:lnTo>
                    <a:pt x="1982292" y="995912"/>
                  </a:lnTo>
                  <a:lnTo>
                    <a:pt x="1977524" y="1000678"/>
                  </a:lnTo>
                  <a:lnTo>
                    <a:pt x="1958464" y="1024504"/>
                  </a:lnTo>
                  <a:lnTo>
                    <a:pt x="1944168" y="1029268"/>
                  </a:lnTo>
                  <a:lnTo>
                    <a:pt x="1934640" y="1038798"/>
                  </a:lnTo>
                  <a:lnTo>
                    <a:pt x="1915580" y="1072154"/>
                  </a:lnTo>
                  <a:lnTo>
                    <a:pt x="1901284" y="1100746"/>
                  </a:lnTo>
                  <a:lnTo>
                    <a:pt x="1891752" y="1124570"/>
                  </a:lnTo>
                  <a:lnTo>
                    <a:pt x="1891752" y="1143632"/>
                  </a:lnTo>
                  <a:lnTo>
                    <a:pt x="1886988" y="1167456"/>
                  </a:lnTo>
                  <a:lnTo>
                    <a:pt x="1877460" y="1181752"/>
                  </a:lnTo>
                  <a:lnTo>
                    <a:pt x="1872692" y="1186518"/>
                  </a:lnTo>
                  <a:lnTo>
                    <a:pt x="1863164" y="1205578"/>
                  </a:lnTo>
                  <a:lnTo>
                    <a:pt x="1858396" y="1224638"/>
                  </a:lnTo>
                  <a:lnTo>
                    <a:pt x="1863164" y="1234168"/>
                  </a:lnTo>
                  <a:lnTo>
                    <a:pt x="1872692" y="1243700"/>
                  </a:lnTo>
                  <a:lnTo>
                    <a:pt x="1886988" y="1253230"/>
                  </a:lnTo>
                  <a:lnTo>
                    <a:pt x="1901284" y="1262760"/>
                  </a:lnTo>
                  <a:lnTo>
                    <a:pt x="1915580" y="1272290"/>
                  </a:lnTo>
                  <a:lnTo>
                    <a:pt x="1925108" y="1272290"/>
                  </a:lnTo>
                  <a:lnTo>
                    <a:pt x="1929876" y="1267524"/>
                  </a:lnTo>
                  <a:lnTo>
                    <a:pt x="1929876" y="1262760"/>
                  </a:lnTo>
                  <a:lnTo>
                    <a:pt x="1944168" y="1262760"/>
                  </a:lnTo>
                  <a:lnTo>
                    <a:pt x="1953700" y="1272290"/>
                  </a:lnTo>
                  <a:lnTo>
                    <a:pt x="1963232" y="1281820"/>
                  </a:lnTo>
                  <a:lnTo>
                    <a:pt x="1967996" y="1286586"/>
                  </a:lnTo>
                  <a:lnTo>
                    <a:pt x="1991820" y="1296116"/>
                  </a:lnTo>
                  <a:lnTo>
                    <a:pt x="2010880" y="1305646"/>
                  </a:lnTo>
                  <a:lnTo>
                    <a:pt x="2034708" y="1319940"/>
                  </a:lnTo>
                  <a:lnTo>
                    <a:pt x="2039472" y="1329472"/>
                  </a:lnTo>
                  <a:lnTo>
                    <a:pt x="2044236" y="1339002"/>
                  </a:lnTo>
                  <a:lnTo>
                    <a:pt x="2053768" y="1348532"/>
                  </a:lnTo>
                  <a:lnTo>
                    <a:pt x="2082360" y="1367592"/>
                  </a:lnTo>
                  <a:lnTo>
                    <a:pt x="2106184" y="1381888"/>
                  </a:lnTo>
                  <a:lnTo>
                    <a:pt x="2125244" y="1396184"/>
                  </a:lnTo>
                  <a:lnTo>
                    <a:pt x="2139540" y="1405714"/>
                  </a:lnTo>
                  <a:lnTo>
                    <a:pt x="2149072" y="1400948"/>
                  </a:lnTo>
                  <a:lnTo>
                    <a:pt x="2153836" y="1396184"/>
                  </a:lnTo>
                  <a:lnTo>
                    <a:pt x="2163368" y="1396184"/>
                  </a:lnTo>
                  <a:lnTo>
                    <a:pt x="2168132" y="1396184"/>
                  </a:lnTo>
                  <a:lnTo>
                    <a:pt x="2177660" y="1405714"/>
                  </a:lnTo>
                  <a:lnTo>
                    <a:pt x="2206252" y="1424774"/>
                  </a:lnTo>
                  <a:lnTo>
                    <a:pt x="2234844" y="1439070"/>
                  </a:lnTo>
                  <a:lnTo>
                    <a:pt x="2263432" y="1434304"/>
                  </a:lnTo>
                  <a:lnTo>
                    <a:pt x="2268200" y="1439070"/>
                  </a:lnTo>
                  <a:lnTo>
                    <a:pt x="2272964" y="1448600"/>
                  </a:lnTo>
                  <a:lnTo>
                    <a:pt x="2277728" y="1462894"/>
                  </a:lnTo>
                  <a:lnTo>
                    <a:pt x="2306320" y="1472424"/>
                  </a:lnTo>
                  <a:lnTo>
                    <a:pt x="2330144" y="1477190"/>
                  </a:lnTo>
                  <a:lnTo>
                    <a:pt x="2353972" y="1486720"/>
                  </a:lnTo>
                  <a:lnTo>
                    <a:pt x="2363500" y="1491486"/>
                  </a:lnTo>
                  <a:lnTo>
                    <a:pt x="2377796" y="1481956"/>
                  </a:lnTo>
                  <a:lnTo>
                    <a:pt x="2377796" y="1477190"/>
                  </a:lnTo>
                  <a:lnTo>
                    <a:pt x="2387328" y="1472424"/>
                  </a:lnTo>
                  <a:lnTo>
                    <a:pt x="2406388" y="1477190"/>
                  </a:lnTo>
                  <a:lnTo>
                    <a:pt x="2434980" y="1486720"/>
                  </a:lnTo>
                  <a:lnTo>
                    <a:pt x="2449272" y="1491486"/>
                  </a:lnTo>
                  <a:lnTo>
                    <a:pt x="2458804" y="1481956"/>
                  </a:lnTo>
                  <a:lnTo>
                    <a:pt x="2477864" y="1477190"/>
                  </a:lnTo>
                  <a:lnTo>
                    <a:pt x="2487396" y="1467660"/>
                  </a:lnTo>
                  <a:lnTo>
                    <a:pt x="2511220" y="1481956"/>
                  </a:lnTo>
                  <a:lnTo>
                    <a:pt x="2549340" y="1496250"/>
                  </a:lnTo>
                  <a:lnTo>
                    <a:pt x="2573168" y="1505780"/>
                  </a:lnTo>
                  <a:lnTo>
                    <a:pt x="2573168" y="1510546"/>
                  </a:lnTo>
                  <a:lnTo>
                    <a:pt x="2577932" y="1520076"/>
                  </a:lnTo>
                  <a:lnTo>
                    <a:pt x="2577932" y="1539136"/>
                  </a:lnTo>
                  <a:lnTo>
                    <a:pt x="2582696" y="1548668"/>
                  </a:lnTo>
                  <a:lnTo>
                    <a:pt x="2620816" y="1567728"/>
                  </a:lnTo>
                  <a:lnTo>
                    <a:pt x="2635112" y="1577258"/>
                  </a:lnTo>
                  <a:lnTo>
                    <a:pt x="2644644" y="1582024"/>
                  </a:lnTo>
                  <a:lnTo>
                    <a:pt x="2649408" y="1582024"/>
                  </a:lnTo>
                  <a:lnTo>
                    <a:pt x="2654176" y="1582024"/>
                  </a:lnTo>
                  <a:lnTo>
                    <a:pt x="2658940" y="1596318"/>
                  </a:lnTo>
                  <a:lnTo>
                    <a:pt x="2668468" y="1601084"/>
                  </a:lnTo>
                  <a:lnTo>
                    <a:pt x="2678000" y="1601084"/>
                  </a:lnTo>
                  <a:lnTo>
                    <a:pt x="2701824" y="1591554"/>
                  </a:lnTo>
                  <a:lnTo>
                    <a:pt x="2720884" y="1582024"/>
                  </a:lnTo>
                  <a:lnTo>
                    <a:pt x="2735180" y="1586788"/>
                  </a:lnTo>
                  <a:lnTo>
                    <a:pt x="2739948" y="1596318"/>
                  </a:lnTo>
                  <a:lnTo>
                    <a:pt x="2739948" y="1605848"/>
                  </a:lnTo>
                  <a:lnTo>
                    <a:pt x="2744712" y="1620144"/>
                  </a:lnTo>
                  <a:lnTo>
                    <a:pt x="2754240" y="1624910"/>
                  </a:lnTo>
                  <a:lnTo>
                    <a:pt x="2763772" y="1624910"/>
                  </a:lnTo>
                  <a:lnTo>
                    <a:pt x="2787596" y="1615378"/>
                  </a:lnTo>
                  <a:lnTo>
                    <a:pt x="2806656" y="1624910"/>
                  </a:lnTo>
                  <a:lnTo>
                    <a:pt x="2825720" y="1624910"/>
                  </a:lnTo>
                  <a:lnTo>
                    <a:pt x="2844780" y="1629674"/>
                  </a:lnTo>
                  <a:lnTo>
                    <a:pt x="2854308" y="1634440"/>
                  </a:lnTo>
                  <a:lnTo>
                    <a:pt x="2873368" y="1643970"/>
                  </a:lnTo>
                  <a:lnTo>
                    <a:pt x="2897196" y="1653500"/>
                  </a:lnTo>
                  <a:lnTo>
                    <a:pt x="2906724" y="1653500"/>
                  </a:lnTo>
                  <a:lnTo>
                    <a:pt x="2944848" y="1634440"/>
                  </a:lnTo>
                  <a:lnTo>
                    <a:pt x="2949612" y="1634440"/>
                  </a:lnTo>
                  <a:lnTo>
                    <a:pt x="2959144" y="1653500"/>
                  </a:lnTo>
                  <a:lnTo>
                    <a:pt x="2968672" y="1663030"/>
                  </a:lnTo>
                  <a:lnTo>
                    <a:pt x="2987732" y="1667796"/>
                  </a:lnTo>
                  <a:lnTo>
                    <a:pt x="3006792" y="1658264"/>
                  </a:lnTo>
                  <a:lnTo>
                    <a:pt x="3025856" y="1658264"/>
                  </a:lnTo>
                  <a:lnTo>
                    <a:pt x="3044916" y="1663030"/>
                  </a:lnTo>
                  <a:lnTo>
                    <a:pt x="3059208" y="1658264"/>
                  </a:lnTo>
                  <a:lnTo>
                    <a:pt x="3078272" y="1653500"/>
                  </a:lnTo>
                  <a:lnTo>
                    <a:pt x="3097332" y="1663030"/>
                  </a:lnTo>
                  <a:lnTo>
                    <a:pt x="3102096" y="1663030"/>
                  </a:lnTo>
                  <a:lnTo>
                    <a:pt x="3106860" y="1653500"/>
                  </a:lnTo>
                  <a:lnTo>
                    <a:pt x="3116392" y="1629674"/>
                  </a:lnTo>
                  <a:lnTo>
                    <a:pt x="3125920" y="1605848"/>
                  </a:lnTo>
                  <a:lnTo>
                    <a:pt x="3125920" y="1591554"/>
                  </a:lnTo>
                  <a:lnTo>
                    <a:pt x="3116392" y="1567728"/>
                  </a:lnTo>
                  <a:lnTo>
                    <a:pt x="3097332" y="1539136"/>
                  </a:lnTo>
                  <a:lnTo>
                    <a:pt x="3097332" y="1534372"/>
                  </a:lnTo>
                  <a:lnTo>
                    <a:pt x="3102096" y="1481956"/>
                  </a:lnTo>
                  <a:lnTo>
                    <a:pt x="3111628" y="1458130"/>
                  </a:lnTo>
                  <a:lnTo>
                    <a:pt x="3116392" y="1443834"/>
                  </a:lnTo>
                  <a:lnTo>
                    <a:pt x="3121156" y="1424774"/>
                  </a:lnTo>
                  <a:lnTo>
                    <a:pt x="3125920" y="1415244"/>
                  </a:lnTo>
                  <a:lnTo>
                    <a:pt x="3125920" y="1405714"/>
                  </a:lnTo>
                  <a:lnTo>
                    <a:pt x="3116392" y="1400948"/>
                  </a:lnTo>
                  <a:lnTo>
                    <a:pt x="3116392" y="1396184"/>
                  </a:lnTo>
                  <a:lnTo>
                    <a:pt x="3116392" y="1391418"/>
                  </a:lnTo>
                  <a:lnTo>
                    <a:pt x="3121156" y="1386652"/>
                  </a:lnTo>
                  <a:lnTo>
                    <a:pt x="3144984" y="1386652"/>
                  </a:lnTo>
                  <a:lnTo>
                    <a:pt x="3168808" y="1377122"/>
                  </a:lnTo>
                  <a:lnTo>
                    <a:pt x="3173572" y="1372358"/>
                  </a:lnTo>
                  <a:lnTo>
                    <a:pt x="3183104" y="1367592"/>
                  </a:lnTo>
                  <a:lnTo>
                    <a:pt x="3187868" y="1362828"/>
                  </a:lnTo>
                  <a:lnTo>
                    <a:pt x="3197400" y="1362828"/>
                  </a:lnTo>
                  <a:lnTo>
                    <a:pt x="3216460" y="1372358"/>
                  </a:lnTo>
                  <a:lnTo>
                    <a:pt x="3225988" y="1377122"/>
                  </a:lnTo>
                  <a:lnTo>
                    <a:pt x="3230756" y="1396184"/>
                  </a:lnTo>
                  <a:lnTo>
                    <a:pt x="3230756" y="1400948"/>
                  </a:lnTo>
                  <a:lnTo>
                    <a:pt x="3230756" y="1420008"/>
                  </a:lnTo>
                  <a:lnTo>
                    <a:pt x="3216460" y="1462894"/>
                  </a:lnTo>
                  <a:lnTo>
                    <a:pt x="3221224" y="1481956"/>
                  </a:lnTo>
                  <a:lnTo>
                    <a:pt x="3230756" y="1491486"/>
                  </a:lnTo>
                  <a:lnTo>
                    <a:pt x="3240284" y="1501016"/>
                  </a:lnTo>
                  <a:lnTo>
                    <a:pt x="3240284" y="1505780"/>
                  </a:lnTo>
                  <a:lnTo>
                    <a:pt x="3221224" y="1520076"/>
                  </a:lnTo>
                  <a:lnTo>
                    <a:pt x="3216460" y="1524842"/>
                  </a:lnTo>
                  <a:lnTo>
                    <a:pt x="3221224" y="1534372"/>
                  </a:lnTo>
                  <a:lnTo>
                    <a:pt x="3225988" y="1539136"/>
                  </a:lnTo>
                  <a:lnTo>
                    <a:pt x="3230756" y="1543902"/>
                  </a:lnTo>
                  <a:lnTo>
                    <a:pt x="3235520" y="1562962"/>
                  </a:lnTo>
                  <a:lnTo>
                    <a:pt x="3245048" y="1567728"/>
                  </a:lnTo>
                  <a:lnTo>
                    <a:pt x="3264112" y="1582024"/>
                  </a:lnTo>
                  <a:lnTo>
                    <a:pt x="3278404" y="1586788"/>
                  </a:lnTo>
                  <a:lnTo>
                    <a:pt x="3306996" y="1582024"/>
                  </a:lnTo>
                  <a:lnTo>
                    <a:pt x="3316528" y="1586788"/>
                  </a:lnTo>
                  <a:lnTo>
                    <a:pt x="3330824" y="1591554"/>
                  </a:lnTo>
                  <a:lnTo>
                    <a:pt x="3340352" y="1591554"/>
                  </a:lnTo>
                  <a:lnTo>
                    <a:pt x="3349884" y="1596318"/>
                  </a:lnTo>
                  <a:lnTo>
                    <a:pt x="3349884" y="1601084"/>
                  </a:lnTo>
                  <a:lnTo>
                    <a:pt x="3349884" y="1605848"/>
                  </a:lnTo>
                  <a:lnTo>
                    <a:pt x="3368944" y="1605848"/>
                  </a:lnTo>
                  <a:lnTo>
                    <a:pt x="3373708" y="1605848"/>
                  </a:lnTo>
                  <a:lnTo>
                    <a:pt x="3402300" y="1605848"/>
                  </a:lnTo>
                  <a:lnTo>
                    <a:pt x="3430888" y="1601084"/>
                  </a:lnTo>
                  <a:lnTo>
                    <a:pt x="3445184" y="1582024"/>
                  </a:lnTo>
                  <a:lnTo>
                    <a:pt x="3449952" y="1582024"/>
                  </a:lnTo>
                  <a:lnTo>
                    <a:pt x="3464244" y="1577258"/>
                  </a:lnTo>
                  <a:lnTo>
                    <a:pt x="3483308" y="1582024"/>
                  </a:lnTo>
                  <a:lnTo>
                    <a:pt x="3497600" y="1591554"/>
                  </a:lnTo>
                  <a:lnTo>
                    <a:pt x="3511896" y="1596318"/>
                  </a:lnTo>
                  <a:lnTo>
                    <a:pt x="3526192" y="1596318"/>
                  </a:lnTo>
                  <a:lnTo>
                    <a:pt x="3545252" y="1596318"/>
                  </a:lnTo>
                  <a:lnTo>
                    <a:pt x="3588140" y="1591554"/>
                  </a:lnTo>
                  <a:lnTo>
                    <a:pt x="3611964" y="1591554"/>
                  </a:lnTo>
                  <a:lnTo>
                    <a:pt x="3635792" y="1577258"/>
                  </a:lnTo>
                  <a:lnTo>
                    <a:pt x="3640556" y="1577258"/>
                  </a:lnTo>
                  <a:lnTo>
                    <a:pt x="3650084" y="1591554"/>
                  </a:lnTo>
                  <a:lnTo>
                    <a:pt x="3673912" y="1591554"/>
                  </a:lnTo>
                  <a:lnTo>
                    <a:pt x="3688208" y="1586788"/>
                  </a:lnTo>
                  <a:lnTo>
                    <a:pt x="3697736" y="1582024"/>
                  </a:lnTo>
                  <a:lnTo>
                    <a:pt x="3707268" y="1582024"/>
                  </a:lnTo>
                  <a:lnTo>
                    <a:pt x="3716796" y="1582024"/>
                  </a:lnTo>
                  <a:lnTo>
                    <a:pt x="3726328" y="1582024"/>
                  </a:lnTo>
                  <a:lnTo>
                    <a:pt x="3731092" y="1577258"/>
                  </a:lnTo>
                  <a:lnTo>
                    <a:pt x="3735856" y="1572492"/>
                  </a:lnTo>
                  <a:lnTo>
                    <a:pt x="3735856" y="1558198"/>
                  </a:lnTo>
                  <a:lnTo>
                    <a:pt x="3731092" y="1548668"/>
                  </a:lnTo>
                  <a:lnTo>
                    <a:pt x="3726328" y="1543902"/>
                  </a:lnTo>
                  <a:lnTo>
                    <a:pt x="3721564" y="1539136"/>
                  </a:lnTo>
                  <a:lnTo>
                    <a:pt x="3726328" y="1529606"/>
                  </a:lnTo>
                  <a:lnTo>
                    <a:pt x="3731092" y="1520076"/>
                  </a:lnTo>
                  <a:lnTo>
                    <a:pt x="3735856" y="1505780"/>
                  </a:lnTo>
                  <a:lnTo>
                    <a:pt x="3731092" y="1491486"/>
                  </a:lnTo>
                  <a:lnTo>
                    <a:pt x="3721564" y="1477190"/>
                  </a:lnTo>
                  <a:lnTo>
                    <a:pt x="3716796" y="1477190"/>
                  </a:lnTo>
                  <a:lnTo>
                    <a:pt x="3702504" y="1477190"/>
                  </a:lnTo>
                  <a:lnTo>
                    <a:pt x="3683440" y="1477190"/>
                  </a:lnTo>
                  <a:lnTo>
                    <a:pt x="3669148" y="1467660"/>
                  </a:lnTo>
                  <a:lnTo>
                    <a:pt x="3659616" y="1458130"/>
                  </a:lnTo>
                  <a:lnTo>
                    <a:pt x="3659616" y="1448600"/>
                  </a:lnTo>
                  <a:lnTo>
                    <a:pt x="3659616" y="1439070"/>
                  </a:lnTo>
                  <a:lnTo>
                    <a:pt x="3669148" y="1424774"/>
                  </a:lnTo>
                  <a:lnTo>
                    <a:pt x="3678676" y="1424774"/>
                  </a:lnTo>
                  <a:lnTo>
                    <a:pt x="3697736" y="1424774"/>
                  </a:lnTo>
                  <a:lnTo>
                    <a:pt x="3712032" y="1429538"/>
                  </a:lnTo>
                  <a:lnTo>
                    <a:pt x="3721564" y="1429538"/>
                  </a:lnTo>
                  <a:lnTo>
                    <a:pt x="3740624" y="1415244"/>
                  </a:lnTo>
                  <a:lnTo>
                    <a:pt x="3750152" y="1415244"/>
                  </a:lnTo>
                  <a:lnTo>
                    <a:pt x="3759684" y="1410478"/>
                  </a:lnTo>
                  <a:lnTo>
                    <a:pt x="3764448" y="1405714"/>
                  </a:lnTo>
                  <a:lnTo>
                    <a:pt x="3769212" y="1410478"/>
                  </a:lnTo>
                  <a:lnTo>
                    <a:pt x="3778744" y="1410478"/>
                  </a:lnTo>
                  <a:lnTo>
                    <a:pt x="3788276" y="1410478"/>
                  </a:lnTo>
                  <a:lnTo>
                    <a:pt x="3797804" y="1405714"/>
                  </a:lnTo>
                  <a:lnTo>
                    <a:pt x="3812100" y="1400948"/>
                  </a:lnTo>
                  <a:lnTo>
                    <a:pt x="3826396" y="1386652"/>
                  </a:lnTo>
                  <a:lnTo>
                    <a:pt x="3831160" y="1381888"/>
                  </a:lnTo>
                  <a:lnTo>
                    <a:pt x="3831160" y="1377122"/>
                  </a:lnTo>
                  <a:lnTo>
                    <a:pt x="3831160" y="1372358"/>
                  </a:lnTo>
                  <a:lnTo>
                    <a:pt x="3826396" y="1367592"/>
                  </a:lnTo>
                  <a:lnTo>
                    <a:pt x="3826396" y="1362828"/>
                  </a:lnTo>
                  <a:lnTo>
                    <a:pt x="3835924" y="1353296"/>
                  </a:lnTo>
                  <a:lnTo>
                    <a:pt x="3864516" y="1339002"/>
                  </a:lnTo>
                  <a:lnTo>
                    <a:pt x="3888344" y="1319940"/>
                  </a:lnTo>
                  <a:lnTo>
                    <a:pt x="3897872" y="1310410"/>
                  </a:lnTo>
                  <a:lnTo>
                    <a:pt x="3907404" y="1291350"/>
                  </a:lnTo>
                  <a:lnTo>
                    <a:pt x="3912168" y="1277054"/>
                  </a:lnTo>
                  <a:lnTo>
                    <a:pt x="3921696" y="1267524"/>
                  </a:lnTo>
                  <a:lnTo>
                    <a:pt x="3935992" y="1262760"/>
                  </a:lnTo>
                  <a:lnTo>
                    <a:pt x="3983644" y="1257994"/>
                  </a:lnTo>
                  <a:lnTo>
                    <a:pt x="3997940" y="1248464"/>
                  </a:lnTo>
                  <a:lnTo>
                    <a:pt x="4021764" y="1238934"/>
                  </a:lnTo>
                  <a:lnTo>
                    <a:pt x="4031296" y="1229404"/>
                  </a:lnTo>
                  <a:lnTo>
                    <a:pt x="4040824" y="1219874"/>
                  </a:lnTo>
                  <a:lnTo>
                    <a:pt x="4040824" y="1210344"/>
                  </a:lnTo>
                  <a:lnTo>
                    <a:pt x="4055120" y="1205578"/>
                  </a:lnTo>
                  <a:lnTo>
                    <a:pt x="4069416" y="1191282"/>
                  </a:lnTo>
                  <a:lnTo>
                    <a:pt x="4083712" y="1176988"/>
                  </a:lnTo>
                  <a:lnTo>
                    <a:pt x="4112304" y="1162692"/>
                  </a:lnTo>
                  <a:lnTo>
                    <a:pt x="4136128" y="1148396"/>
                  </a:lnTo>
                  <a:lnTo>
                    <a:pt x="4140892" y="1148396"/>
                  </a:lnTo>
                  <a:lnTo>
                    <a:pt x="4150424" y="1157926"/>
                  </a:lnTo>
                  <a:lnTo>
                    <a:pt x="4155188" y="1167456"/>
                  </a:lnTo>
                  <a:lnTo>
                    <a:pt x="4159956" y="1172222"/>
                  </a:lnTo>
                  <a:lnTo>
                    <a:pt x="4188544" y="1176988"/>
                  </a:lnTo>
                  <a:lnTo>
                    <a:pt x="4193312" y="1176988"/>
                  </a:lnTo>
                  <a:lnTo>
                    <a:pt x="4217136" y="1181752"/>
                  </a:lnTo>
                  <a:lnTo>
                    <a:pt x="4236196" y="1191282"/>
                  </a:lnTo>
                  <a:lnTo>
                    <a:pt x="4250492" y="1196048"/>
                  </a:lnTo>
                  <a:lnTo>
                    <a:pt x="4255256" y="1196048"/>
                  </a:lnTo>
                  <a:lnTo>
                    <a:pt x="4260024" y="1191282"/>
                  </a:lnTo>
                  <a:lnTo>
                    <a:pt x="4264788" y="1186518"/>
                  </a:lnTo>
                  <a:lnTo>
                    <a:pt x="4269552" y="1176988"/>
                  </a:lnTo>
                  <a:lnTo>
                    <a:pt x="4274316" y="1176988"/>
                  </a:lnTo>
                  <a:lnTo>
                    <a:pt x="4274316" y="1167456"/>
                  </a:lnTo>
                  <a:lnTo>
                    <a:pt x="4302908" y="1148396"/>
                  </a:lnTo>
                  <a:lnTo>
                    <a:pt x="4331500" y="1134102"/>
                  </a:lnTo>
                  <a:lnTo>
                    <a:pt x="4355324" y="1119806"/>
                  </a:lnTo>
                  <a:lnTo>
                    <a:pt x="4360088" y="1124570"/>
                  </a:lnTo>
                  <a:lnTo>
                    <a:pt x="4369620" y="1134102"/>
                  </a:lnTo>
                  <a:lnTo>
                    <a:pt x="4379152" y="1153162"/>
                  </a:lnTo>
                  <a:lnTo>
                    <a:pt x="4383916" y="1157926"/>
                  </a:lnTo>
                  <a:lnTo>
                    <a:pt x="4402976" y="1153162"/>
                  </a:lnTo>
                  <a:lnTo>
                    <a:pt x="4402976" y="1157926"/>
                  </a:lnTo>
                  <a:lnTo>
                    <a:pt x="4402976" y="1162692"/>
                  </a:lnTo>
                  <a:lnTo>
                    <a:pt x="4393444" y="1172222"/>
                  </a:lnTo>
                  <a:lnTo>
                    <a:pt x="4379152" y="1181752"/>
                  </a:lnTo>
                  <a:lnTo>
                    <a:pt x="4369620" y="1186518"/>
                  </a:lnTo>
                  <a:lnTo>
                    <a:pt x="4369620" y="1210344"/>
                  </a:lnTo>
                  <a:lnTo>
                    <a:pt x="4369620" y="1215108"/>
                  </a:lnTo>
                  <a:lnTo>
                    <a:pt x="4374384" y="1219874"/>
                  </a:lnTo>
                  <a:lnTo>
                    <a:pt x="4402976" y="1196048"/>
                  </a:lnTo>
                  <a:lnTo>
                    <a:pt x="4417272" y="1191282"/>
                  </a:lnTo>
                  <a:lnTo>
                    <a:pt x="4422036" y="1196048"/>
                  </a:lnTo>
                  <a:lnTo>
                    <a:pt x="4422036" y="1210344"/>
                  </a:lnTo>
                  <a:lnTo>
                    <a:pt x="4436332" y="1234168"/>
                  </a:lnTo>
                  <a:lnTo>
                    <a:pt x="4441096" y="1243700"/>
                  </a:lnTo>
                  <a:lnTo>
                    <a:pt x="4412504" y="1272290"/>
                  </a:lnTo>
                  <a:lnTo>
                    <a:pt x="4402976" y="1286586"/>
                  </a:lnTo>
                  <a:lnTo>
                    <a:pt x="4402976" y="1291350"/>
                  </a:lnTo>
                  <a:lnTo>
                    <a:pt x="4398212" y="1296116"/>
                  </a:lnTo>
                  <a:lnTo>
                    <a:pt x="4393444" y="1305646"/>
                  </a:lnTo>
                  <a:lnTo>
                    <a:pt x="4398212" y="1310410"/>
                  </a:lnTo>
                  <a:lnTo>
                    <a:pt x="4407740" y="1315176"/>
                  </a:lnTo>
                  <a:lnTo>
                    <a:pt x="4412504" y="1315176"/>
                  </a:lnTo>
                  <a:lnTo>
                    <a:pt x="4417272" y="1305646"/>
                  </a:lnTo>
                  <a:lnTo>
                    <a:pt x="4445864" y="1296116"/>
                  </a:lnTo>
                  <a:lnTo>
                    <a:pt x="4450628" y="1300880"/>
                  </a:lnTo>
                  <a:lnTo>
                    <a:pt x="4469688" y="1315176"/>
                  </a:lnTo>
                  <a:lnTo>
                    <a:pt x="4479216" y="1315176"/>
                  </a:lnTo>
                  <a:lnTo>
                    <a:pt x="4503044" y="1319940"/>
                  </a:lnTo>
                  <a:lnTo>
                    <a:pt x="4517340" y="1315176"/>
                  </a:lnTo>
                  <a:lnTo>
                    <a:pt x="4526868" y="1319940"/>
                  </a:lnTo>
                  <a:lnTo>
                    <a:pt x="4550696" y="1339002"/>
                  </a:lnTo>
                  <a:lnTo>
                    <a:pt x="4555460" y="1343766"/>
                  </a:lnTo>
                  <a:lnTo>
                    <a:pt x="4555460" y="1353296"/>
                  </a:lnTo>
                  <a:lnTo>
                    <a:pt x="4555460" y="1362828"/>
                  </a:lnTo>
                  <a:lnTo>
                    <a:pt x="4560224" y="1372358"/>
                  </a:lnTo>
                  <a:lnTo>
                    <a:pt x="4560224" y="1381888"/>
                  </a:lnTo>
                  <a:lnTo>
                    <a:pt x="4560224" y="1391418"/>
                  </a:lnTo>
                  <a:lnTo>
                    <a:pt x="4555460" y="1396184"/>
                  </a:lnTo>
                  <a:lnTo>
                    <a:pt x="4541164" y="1400948"/>
                  </a:lnTo>
                  <a:lnTo>
                    <a:pt x="4531632" y="1410478"/>
                  </a:lnTo>
                  <a:lnTo>
                    <a:pt x="4512572" y="1424774"/>
                  </a:lnTo>
                  <a:lnTo>
                    <a:pt x="4498280" y="1434304"/>
                  </a:lnTo>
                  <a:lnTo>
                    <a:pt x="4488748" y="1443834"/>
                  </a:lnTo>
                  <a:lnTo>
                    <a:pt x="4483984" y="1453364"/>
                  </a:lnTo>
                  <a:lnTo>
                    <a:pt x="4488748" y="1467660"/>
                  </a:lnTo>
                  <a:lnTo>
                    <a:pt x="4488748" y="1477190"/>
                  </a:lnTo>
                  <a:lnTo>
                    <a:pt x="4522104" y="1529606"/>
                  </a:lnTo>
                  <a:lnTo>
                    <a:pt x="4522104" y="1534372"/>
                  </a:lnTo>
                  <a:lnTo>
                    <a:pt x="4512572" y="1539136"/>
                  </a:lnTo>
                  <a:lnTo>
                    <a:pt x="4498280" y="1534372"/>
                  </a:lnTo>
                  <a:lnTo>
                    <a:pt x="4488748" y="1524842"/>
                  </a:lnTo>
                  <a:lnTo>
                    <a:pt x="4474452" y="1505780"/>
                  </a:lnTo>
                  <a:lnTo>
                    <a:pt x="4464924" y="1496250"/>
                  </a:lnTo>
                  <a:lnTo>
                    <a:pt x="4455392" y="1496250"/>
                  </a:lnTo>
                  <a:lnTo>
                    <a:pt x="4393444" y="1505780"/>
                  </a:lnTo>
                  <a:lnTo>
                    <a:pt x="4379152" y="1510546"/>
                  </a:lnTo>
                  <a:lnTo>
                    <a:pt x="4360088" y="1520076"/>
                  </a:lnTo>
                  <a:lnTo>
                    <a:pt x="4345796" y="1534372"/>
                  </a:lnTo>
                  <a:lnTo>
                    <a:pt x="4336264" y="1548668"/>
                  </a:lnTo>
                  <a:lnTo>
                    <a:pt x="4321968" y="1553432"/>
                  </a:lnTo>
                  <a:lnTo>
                    <a:pt x="4307672" y="1562962"/>
                  </a:lnTo>
                  <a:lnTo>
                    <a:pt x="4264788" y="1601084"/>
                  </a:lnTo>
                  <a:lnTo>
                    <a:pt x="4240960" y="1615378"/>
                  </a:lnTo>
                  <a:lnTo>
                    <a:pt x="4226664" y="1620144"/>
                  </a:lnTo>
                  <a:lnTo>
                    <a:pt x="4212372" y="1624910"/>
                  </a:lnTo>
                  <a:lnTo>
                    <a:pt x="4207604" y="1639204"/>
                  </a:lnTo>
                  <a:lnTo>
                    <a:pt x="4202840" y="1648734"/>
                  </a:lnTo>
                  <a:lnTo>
                    <a:pt x="4202840" y="1672560"/>
                  </a:lnTo>
                  <a:lnTo>
                    <a:pt x="4202840" y="1696386"/>
                  </a:lnTo>
                  <a:lnTo>
                    <a:pt x="4212372" y="1715446"/>
                  </a:lnTo>
                  <a:lnTo>
                    <a:pt x="4212372" y="1720212"/>
                  </a:lnTo>
                  <a:lnTo>
                    <a:pt x="4212372" y="1724976"/>
                  </a:lnTo>
                  <a:lnTo>
                    <a:pt x="4207604" y="1734508"/>
                  </a:lnTo>
                  <a:lnTo>
                    <a:pt x="4198076" y="1739272"/>
                  </a:lnTo>
                  <a:lnTo>
                    <a:pt x="4198076" y="1744038"/>
                  </a:lnTo>
                  <a:lnTo>
                    <a:pt x="4193312" y="1772628"/>
                  </a:lnTo>
                  <a:lnTo>
                    <a:pt x="4183780" y="1782158"/>
                  </a:lnTo>
                  <a:lnTo>
                    <a:pt x="4169484" y="1801218"/>
                  </a:lnTo>
                  <a:lnTo>
                    <a:pt x="4159956" y="1815514"/>
                  </a:lnTo>
                  <a:lnTo>
                    <a:pt x="4140892" y="1825044"/>
                  </a:lnTo>
                  <a:lnTo>
                    <a:pt x="4136128" y="1834574"/>
                  </a:lnTo>
                  <a:lnTo>
                    <a:pt x="4126600" y="1848870"/>
                  </a:lnTo>
                  <a:lnTo>
                    <a:pt x="4121832" y="1863166"/>
                  </a:lnTo>
                  <a:lnTo>
                    <a:pt x="4121832" y="1867930"/>
                  </a:lnTo>
                  <a:lnTo>
                    <a:pt x="4126600" y="1872696"/>
                  </a:lnTo>
                  <a:lnTo>
                    <a:pt x="4131364" y="1877460"/>
                  </a:lnTo>
                  <a:lnTo>
                    <a:pt x="4140892" y="1877460"/>
                  </a:lnTo>
                  <a:lnTo>
                    <a:pt x="4145660" y="1886992"/>
                  </a:lnTo>
                  <a:lnTo>
                    <a:pt x="4145660" y="1896522"/>
                  </a:lnTo>
                  <a:lnTo>
                    <a:pt x="4140892" y="1915582"/>
                  </a:lnTo>
                  <a:lnTo>
                    <a:pt x="4126600" y="1944172"/>
                  </a:lnTo>
                  <a:lnTo>
                    <a:pt x="4098008" y="1987058"/>
                  </a:lnTo>
                  <a:lnTo>
                    <a:pt x="4098008" y="1991824"/>
                  </a:lnTo>
                  <a:lnTo>
                    <a:pt x="4083712" y="2020414"/>
                  </a:lnTo>
                  <a:lnTo>
                    <a:pt x="4069416" y="2053770"/>
                  </a:lnTo>
                  <a:lnTo>
                    <a:pt x="4064652" y="2077596"/>
                  </a:lnTo>
                  <a:lnTo>
                    <a:pt x="4055120" y="2096656"/>
                  </a:lnTo>
                  <a:lnTo>
                    <a:pt x="4050356" y="2096656"/>
                  </a:lnTo>
                  <a:lnTo>
                    <a:pt x="4040824" y="2091892"/>
                  </a:lnTo>
                  <a:lnTo>
                    <a:pt x="4012236" y="2087126"/>
                  </a:lnTo>
                  <a:lnTo>
                    <a:pt x="3997940" y="2077596"/>
                  </a:lnTo>
                  <a:lnTo>
                    <a:pt x="3988408" y="2072832"/>
                  </a:lnTo>
                  <a:lnTo>
                    <a:pt x="3978880" y="2072832"/>
                  </a:lnTo>
                  <a:lnTo>
                    <a:pt x="3969348" y="2077596"/>
                  </a:lnTo>
                  <a:lnTo>
                    <a:pt x="3959820" y="2077596"/>
                  </a:lnTo>
                  <a:lnTo>
                    <a:pt x="3950288" y="2077596"/>
                  </a:lnTo>
                  <a:lnTo>
                    <a:pt x="3935992" y="2063300"/>
                  </a:lnTo>
                  <a:lnTo>
                    <a:pt x="3931228" y="2063300"/>
                  </a:lnTo>
                  <a:lnTo>
                    <a:pt x="3931228" y="2072832"/>
                  </a:lnTo>
                  <a:lnTo>
                    <a:pt x="3940760" y="2115716"/>
                  </a:lnTo>
                  <a:lnTo>
                    <a:pt x="3945524" y="2130012"/>
                  </a:lnTo>
                  <a:lnTo>
                    <a:pt x="3945524" y="2153838"/>
                  </a:lnTo>
                  <a:lnTo>
                    <a:pt x="3940760" y="2187194"/>
                  </a:lnTo>
                  <a:lnTo>
                    <a:pt x="3940760" y="2225316"/>
                  </a:lnTo>
                  <a:lnTo>
                    <a:pt x="3935992" y="2230080"/>
                  </a:lnTo>
                  <a:lnTo>
                    <a:pt x="3931228" y="2239610"/>
                  </a:lnTo>
                  <a:lnTo>
                    <a:pt x="3921696" y="2244376"/>
                  </a:lnTo>
                  <a:lnTo>
                    <a:pt x="3912168" y="2239610"/>
                  </a:lnTo>
                  <a:lnTo>
                    <a:pt x="3907404" y="2239610"/>
                  </a:lnTo>
                  <a:lnTo>
                    <a:pt x="3902636" y="2244376"/>
                  </a:lnTo>
                  <a:lnTo>
                    <a:pt x="3907404" y="2263436"/>
                  </a:lnTo>
                  <a:lnTo>
                    <a:pt x="3897872" y="2277732"/>
                  </a:lnTo>
                  <a:lnTo>
                    <a:pt x="3893108" y="2292026"/>
                  </a:lnTo>
                  <a:lnTo>
                    <a:pt x="3893108" y="2306322"/>
                  </a:lnTo>
                  <a:lnTo>
                    <a:pt x="3897872" y="2320618"/>
                  </a:lnTo>
                  <a:lnTo>
                    <a:pt x="3907404" y="2353974"/>
                  </a:lnTo>
                  <a:lnTo>
                    <a:pt x="3907404" y="2363504"/>
                  </a:lnTo>
                  <a:lnTo>
                    <a:pt x="3902636" y="2377800"/>
                  </a:lnTo>
                  <a:lnTo>
                    <a:pt x="3902636" y="2382564"/>
                  </a:lnTo>
                  <a:lnTo>
                    <a:pt x="3893108" y="2377800"/>
                  </a:lnTo>
                  <a:lnTo>
                    <a:pt x="3888344" y="2382564"/>
                  </a:lnTo>
                  <a:lnTo>
                    <a:pt x="3883576" y="2392094"/>
                  </a:lnTo>
                  <a:lnTo>
                    <a:pt x="3874048" y="2415920"/>
                  </a:lnTo>
                  <a:lnTo>
                    <a:pt x="3869280" y="2415920"/>
                  </a:lnTo>
                  <a:lnTo>
                    <a:pt x="3859752" y="2411156"/>
                  </a:lnTo>
                  <a:lnTo>
                    <a:pt x="3845456" y="2396860"/>
                  </a:lnTo>
                  <a:lnTo>
                    <a:pt x="3835924" y="2392094"/>
                  </a:lnTo>
                  <a:lnTo>
                    <a:pt x="3831160" y="2392094"/>
                  </a:lnTo>
                  <a:lnTo>
                    <a:pt x="3831160" y="2396860"/>
                  </a:lnTo>
                  <a:lnTo>
                    <a:pt x="3826396" y="2406390"/>
                  </a:lnTo>
                  <a:lnTo>
                    <a:pt x="3821632" y="2411156"/>
                  </a:lnTo>
                  <a:lnTo>
                    <a:pt x="3816864" y="2420686"/>
                  </a:lnTo>
                  <a:lnTo>
                    <a:pt x="3812100" y="2406390"/>
                  </a:lnTo>
                  <a:lnTo>
                    <a:pt x="3807336" y="2344444"/>
                  </a:lnTo>
                  <a:lnTo>
                    <a:pt x="3802568" y="2325382"/>
                  </a:lnTo>
                  <a:lnTo>
                    <a:pt x="3802568" y="2301556"/>
                  </a:lnTo>
                  <a:lnTo>
                    <a:pt x="3797804" y="2292026"/>
                  </a:lnTo>
                  <a:lnTo>
                    <a:pt x="3793040" y="2277732"/>
                  </a:lnTo>
                  <a:lnTo>
                    <a:pt x="3788276" y="2263436"/>
                  </a:lnTo>
                  <a:lnTo>
                    <a:pt x="3783508" y="2258672"/>
                  </a:lnTo>
                  <a:lnTo>
                    <a:pt x="3778744" y="2234846"/>
                  </a:lnTo>
                  <a:lnTo>
                    <a:pt x="3778744" y="2206254"/>
                  </a:lnTo>
                  <a:lnTo>
                    <a:pt x="3778744" y="2191960"/>
                  </a:lnTo>
                  <a:lnTo>
                    <a:pt x="3769212" y="2163368"/>
                  </a:lnTo>
                  <a:lnTo>
                    <a:pt x="3764448" y="2130012"/>
                  </a:lnTo>
                  <a:lnTo>
                    <a:pt x="3754920" y="2130012"/>
                  </a:lnTo>
                  <a:lnTo>
                    <a:pt x="3750152" y="2125248"/>
                  </a:lnTo>
                  <a:lnTo>
                    <a:pt x="3745388" y="2125248"/>
                  </a:lnTo>
                  <a:lnTo>
                    <a:pt x="3731092" y="2130012"/>
                  </a:lnTo>
                  <a:lnTo>
                    <a:pt x="3721564" y="2130012"/>
                  </a:lnTo>
                  <a:lnTo>
                    <a:pt x="3712032" y="2130012"/>
                  </a:lnTo>
                  <a:lnTo>
                    <a:pt x="3712032" y="2144308"/>
                  </a:lnTo>
                  <a:lnTo>
                    <a:pt x="3716796" y="2158604"/>
                  </a:lnTo>
                  <a:lnTo>
                    <a:pt x="3712032" y="2163368"/>
                  </a:lnTo>
                  <a:lnTo>
                    <a:pt x="3692972" y="2182428"/>
                  </a:lnTo>
                  <a:lnTo>
                    <a:pt x="3688208" y="2196724"/>
                  </a:lnTo>
                  <a:lnTo>
                    <a:pt x="3688208" y="2211020"/>
                  </a:lnTo>
                  <a:lnTo>
                    <a:pt x="3688208" y="2225316"/>
                  </a:lnTo>
                  <a:lnTo>
                    <a:pt x="3683440" y="2234846"/>
                  </a:lnTo>
                  <a:lnTo>
                    <a:pt x="3678676" y="2244376"/>
                  </a:lnTo>
                  <a:lnTo>
                    <a:pt x="3664380" y="2249140"/>
                  </a:lnTo>
                  <a:lnTo>
                    <a:pt x="3654852" y="2249140"/>
                  </a:lnTo>
                  <a:lnTo>
                    <a:pt x="3650084" y="2239610"/>
                  </a:lnTo>
                  <a:lnTo>
                    <a:pt x="3640556" y="2220550"/>
                  </a:lnTo>
                  <a:lnTo>
                    <a:pt x="3635792" y="2211020"/>
                  </a:lnTo>
                  <a:lnTo>
                    <a:pt x="3631024" y="2211020"/>
                  </a:lnTo>
                  <a:lnTo>
                    <a:pt x="3626260" y="2211020"/>
                  </a:lnTo>
                  <a:lnTo>
                    <a:pt x="3626260" y="2225316"/>
                  </a:lnTo>
                  <a:lnTo>
                    <a:pt x="3626260" y="2234846"/>
                  </a:lnTo>
                  <a:lnTo>
                    <a:pt x="3621496" y="2230080"/>
                  </a:lnTo>
                  <a:lnTo>
                    <a:pt x="3616728" y="2230080"/>
                  </a:lnTo>
                  <a:lnTo>
                    <a:pt x="3607200" y="2182428"/>
                  </a:lnTo>
                  <a:lnTo>
                    <a:pt x="3592904" y="2149072"/>
                  </a:lnTo>
                  <a:lnTo>
                    <a:pt x="3592904" y="2134778"/>
                  </a:lnTo>
                  <a:lnTo>
                    <a:pt x="3597668" y="2115716"/>
                  </a:lnTo>
                  <a:lnTo>
                    <a:pt x="3602436" y="2087126"/>
                  </a:lnTo>
                  <a:lnTo>
                    <a:pt x="3621496" y="2072832"/>
                  </a:lnTo>
                  <a:lnTo>
                    <a:pt x="3621496" y="2063300"/>
                  </a:lnTo>
                  <a:lnTo>
                    <a:pt x="3626260" y="2058536"/>
                  </a:lnTo>
                  <a:lnTo>
                    <a:pt x="3631024" y="2058536"/>
                  </a:lnTo>
                  <a:lnTo>
                    <a:pt x="3650084" y="2058536"/>
                  </a:lnTo>
                  <a:lnTo>
                    <a:pt x="3659616" y="2058536"/>
                  </a:lnTo>
                  <a:lnTo>
                    <a:pt x="3664380" y="2049006"/>
                  </a:lnTo>
                  <a:lnTo>
                    <a:pt x="3673912" y="2044240"/>
                  </a:lnTo>
                  <a:lnTo>
                    <a:pt x="3683440" y="2039476"/>
                  </a:lnTo>
                  <a:lnTo>
                    <a:pt x="3688208" y="2039476"/>
                  </a:lnTo>
                  <a:lnTo>
                    <a:pt x="3702504" y="2044240"/>
                  </a:lnTo>
                  <a:lnTo>
                    <a:pt x="3707268" y="2039476"/>
                  </a:lnTo>
                  <a:lnTo>
                    <a:pt x="3707268" y="2029944"/>
                  </a:lnTo>
                  <a:lnTo>
                    <a:pt x="3712032" y="2020414"/>
                  </a:lnTo>
                  <a:lnTo>
                    <a:pt x="3716796" y="2015650"/>
                  </a:lnTo>
                  <a:lnTo>
                    <a:pt x="3726328" y="2010884"/>
                  </a:lnTo>
                  <a:lnTo>
                    <a:pt x="3735856" y="2010884"/>
                  </a:lnTo>
                  <a:lnTo>
                    <a:pt x="3740624" y="2006120"/>
                  </a:lnTo>
                  <a:lnTo>
                    <a:pt x="3745388" y="1991824"/>
                  </a:lnTo>
                  <a:lnTo>
                    <a:pt x="3754920" y="1958468"/>
                  </a:lnTo>
                  <a:lnTo>
                    <a:pt x="3759684" y="1944172"/>
                  </a:lnTo>
                  <a:lnTo>
                    <a:pt x="3759684" y="1939408"/>
                  </a:lnTo>
                  <a:lnTo>
                    <a:pt x="3759684" y="1925112"/>
                  </a:lnTo>
                  <a:lnTo>
                    <a:pt x="3764448" y="1920348"/>
                  </a:lnTo>
                  <a:lnTo>
                    <a:pt x="3783508" y="1929878"/>
                  </a:lnTo>
                  <a:lnTo>
                    <a:pt x="3793040" y="1929878"/>
                  </a:lnTo>
                  <a:lnTo>
                    <a:pt x="3797804" y="1925112"/>
                  </a:lnTo>
                  <a:lnTo>
                    <a:pt x="3802568" y="1920348"/>
                  </a:lnTo>
                  <a:lnTo>
                    <a:pt x="3797804" y="1915582"/>
                  </a:lnTo>
                  <a:lnTo>
                    <a:pt x="3783508" y="1901286"/>
                  </a:lnTo>
                  <a:lnTo>
                    <a:pt x="3754920" y="1882226"/>
                  </a:lnTo>
                  <a:lnTo>
                    <a:pt x="3731092" y="1872696"/>
                  </a:lnTo>
                  <a:lnTo>
                    <a:pt x="3688208" y="1877460"/>
                  </a:lnTo>
                  <a:lnTo>
                    <a:pt x="3645320" y="1877460"/>
                  </a:lnTo>
                  <a:lnTo>
                    <a:pt x="3631024" y="1877460"/>
                  </a:lnTo>
                  <a:lnTo>
                    <a:pt x="3616728" y="1872696"/>
                  </a:lnTo>
                  <a:lnTo>
                    <a:pt x="3573844" y="1872696"/>
                  </a:lnTo>
                  <a:lnTo>
                    <a:pt x="3526192" y="1877460"/>
                  </a:lnTo>
                  <a:lnTo>
                    <a:pt x="3507132" y="1872696"/>
                  </a:lnTo>
                  <a:lnTo>
                    <a:pt x="3497600" y="1872696"/>
                  </a:lnTo>
                  <a:lnTo>
                    <a:pt x="3483308" y="1877460"/>
                  </a:lnTo>
                  <a:lnTo>
                    <a:pt x="3449952" y="1872696"/>
                  </a:lnTo>
                  <a:lnTo>
                    <a:pt x="3430888" y="1867930"/>
                  </a:lnTo>
                  <a:lnTo>
                    <a:pt x="3411828" y="1858400"/>
                  </a:lnTo>
                  <a:lnTo>
                    <a:pt x="3392768" y="1853636"/>
                  </a:lnTo>
                  <a:lnTo>
                    <a:pt x="3388004" y="1853636"/>
                  </a:lnTo>
                  <a:lnTo>
                    <a:pt x="3383240" y="1848870"/>
                  </a:lnTo>
                  <a:lnTo>
                    <a:pt x="3383240" y="1844104"/>
                  </a:lnTo>
                  <a:lnTo>
                    <a:pt x="3378472" y="1839340"/>
                  </a:lnTo>
                  <a:lnTo>
                    <a:pt x="3383240" y="1805984"/>
                  </a:lnTo>
                  <a:lnTo>
                    <a:pt x="3383240" y="1758332"/>
                  </a:lnTo>
                  <a:lnTo>
                    <a:pt x="3383240" y="1739272"/>
                  </a:lnTo>
                  <a:lnTo>
                    <a:pt x="3368944" y="1701152"/>
                  </a:lnTo>
                  <a:lnTo>
                    <a:pt x="3359412" y="1691620"/>
                  </a:lnTo>
                  <a:lnTo>
                    <a:pt x="3354648" y="1691620"/>
                  </a:lnTo>
                  <a:lnTo>
                    <a:pt x="3349884" y="1696386"/>
                  </a:lnTo>
                  <a:lnTo>
                    <a:pt x="3345116" y="1705916"/>
                  </a:lnTo>
                  <a:lnTo>
                    <a:pt x="3349884" y="1720212"/>
                  </a:lnTo>
                  <a:lnTo>
                    <a:pt x="3340352" y="1729742"/>
                  </a:lnTo>
                  <a:lnTo>
                    <a:pt x="3330824" y="1734508"/>
                  </a:lnTo>
                  <a:lnTo>
                    <a:pt x="3316528" y="1729742"/>
                  </a:lnTo>
                  <a:lnTo>
                    <a:pt x="3302232" y="1724976"/>
                  </a:lnTo>
                  <a:lnTo>
                    <a:pt x="3283172" y="1710682"/>
                  </a:lnTo>
                  <a:lnTo>
                    <a:pt x="3273640" y="1696386"/>
                  </a:lnTo>
                  <a:lnTo>
                    <a:pt x="3273640" y="1677326"/>
                  </a:lnTo>
                  <a:lnTo>
                    <a:pt x="3268876" y="1663030"/>
                  </a:lnTo>
                  <a:lnTo>
                    <a:pt x="3259344" y="1658264"/>
                  </a:lnTo>
                  <a:lnTo>
                    <a:pt x="3254580" y="1658264"/>
                  </a:lnTo>
                  <a:lnTo>
                    <a:pt x="3249816" y="1658264"/>
                  </a:lnTo>
                  <a:lnTo>
                    <a:pt x="3245048" y="1663030"/>
                  </a:lnTo>
                  <a:lnTo>
                    <a:pt x="3249816" y="1672560"/>
                  </a:lnTo>
                  <a:lnTo>
                    <a:pt x="3254580" y="1682090"/>
                  </a:lnTo>
                  <a:lnTo>
                    <a:pt x="3249816" y="1686856"/>
                  </a:lnTo>
                  <a:lnTo>
                    <a:pt x="3245048" y="1686856"/>
                  </a:lnTo>
                  <a:lnTo>
                    <a:pt x="3240284" y="1686856"/>
                  </a:lnTo>
                  <a:lnTo>
                    <a:pt x="3230756" y="1686856"/>
                  </a:lnTo>
                  <a:lnTo>
                    <a:pt x="3221224" y="1682090"/>
                  </a:lnTo>
                  <a:lnTo>
                    <a:pt x="3211696" y="1682090"/>
                  </a:lnTo>
                  <a:lnTo>
                    <a:pt x="3206928" y="1682090"/>
                  </a:lnTo>
                  <a:lnTo>
                    <a:pt x="3206928" y="1667796"/>
                  </a:lnTo>
                  <a:lnTo>
                    <a:pt x="3197400" y="1653500"/>
                  </a:lnTo>
                  <a:lnTo>
                    <a:pt x="3183104" y="1639204"/>
                  </a:lnTo>
                  <a:lnTo>
                    <a:pt x="3164044" y="1629674"/>
                  </a:lnTo>
                  <a:lnTo>
                    <a:pt x="3159276" y="1634440"/>
                  </a:lnTo>
                  <a:lnTo>
                    <a:pt x="3154512" y="1643970"/>
                  </a:lnTo>
                  <a:lnTo>
                    <a:pt x="3159276" y="1648734"/>
                  </a:lnTo>
                  <a:lnTo>
                    <a:pt x="3168808" y="1653500"/>
                  </a:lnTo>
                  <a:lnTo>
                    <a:pt x="3168808" y="1663030"/>
                  </a:lnTo>
                  <a:lnTo>
                    <a:pt x="3168808" y="1667796"/>
                  </a:lnTo>
                  <a:lnTo>
                    <a:pt x="3159276" y="1677326"/>
                  </a:lnTo>
                  <a:lnTo>
                    <a:pt x="3149748" y="1686856"/>
                  </a:lnTo>
                  <a:lnTo>
                    <a:pt x="3135452" y="1701152"/>
                  </a:lnTo>
                  <a:lnTo>
                    <a:pt x="3125920" y="1715446"/>
                  </a:lnTo>
                  <a:lnTo>
                    <a:pt x="3121156" y="1724976"/>
                  </a:lnTo>
                  <a:lnTo>
                    <a:pt x="3116392" y="1739272"/>
                  </a:lnTo>
                  <a:lnTo>
                    <a:pt x="3111628" y="1748802"/>
                  </a:lnTo>
                  <a:lnTo>
                    <a:pt x="3116392" y="1758332"/>
                  </a:lnTo>
                  <a:lnTo>
                    <a:pt x="3121156" y="1763098"/>
                  </a:lnTo>
                  <a:lnTo>
                    <a:pt x="3140216" y="1767862"/>
                  </a:lnTo>
                  <a:lnTo>
                    <a:pt x="3159276" y="1782158"/>
                  </a:lnTo>
                  <a:lnTo>
                    <a:pt x="3168808" y="1805984"/>
                  </a:lnTo>
                  <a:lnTo>
                    <a:pt x="3178336" y="1810748"/>
                  </a:lnTo>
                  <a:lnTo>
                    <a:pt x="3192632" y="1820280"/>
                  </a:lnTo>
                  <a:lnTo>
                    <a:pt x="3221224" y="1820280"/>
                  </a:lnTo>
                  <a:lnTo>
                    <a:pt x="3225988" y="1825044"/>
                  </a:lnTo>
                  <a:lnTo>
                    <a:pt x="3225988" y="1839340"/>
                  </a:lnTo>
                  <a:lnTo>
                    <a:pt x="3235520" y="1844104"/>
                  </a:lnTo>
                  <a:lnTo>
                    <a:pt x="3245048" y="1853636"/>
                  </a:lnTo>
                  <a:lnTo>
                    <a:pt x="3249816" y="1858400"/>
                  </a:lnTo>
                  <a:lnTo>
                    <a:pt x="3245048" y="1863166"/>
                  </a:lnTo>
                  <a:lnTo>
                    <a:pt x="3240284" y="1867930"/>
                  </a:lnTo>
                  <a:lnTo>
                    <a:pt x="3225988" y="1872696"/>
                  </a:lnTo>
                  <a:lnTo>
                    <a:pt x="3216460" y="1872696"/>
                  </a:lnTo>
                  <a:lnTo>
                    <a:pt x="3206928" y="1872696"/>
                  </a:lnTo>
                  <a:lnTo>
                    <a:pt x="3187868" y="1872696"/>
                  </a:lnTo>
                  <a:lnTo>
                    <a:pt x="3168808" y="1872696"/>
                  </a:lnTo>
                  <a:lnTo>
                    <a:pt x="3159276" y="1910816"/>
                  </a:lnTo>
                  <a:lnTo>
                    <a:pt x="3149748" y="1925112"/>
                  </a:lnTo>
                  <a:lnTo>
                    <a:pt x="3144984" y="1925112"/>
                  </a:lnTo>
                  <a:lnTo>
                    <a:pt x="3130688" y="1915582"/>
                  </a:lnTo>
                  <a:lnTo>
                    <a:pt x="3121156" y="1920348"/>
                  </a:lnTo>
                  <a:lnTo>
                    <a:pt x="3106860" y="1953702"/>
                  </a:lnTo>
                  <a:lnTo>
                    <a:pt x="3106860" y="1963234"/>
                  </a:lnTo>
                  <a:lnTo>
                    <a:pt x="3102096" y="1967998"/>
                  </a:lnTo>
                  <a:lnTo>
                    <a:pt x="3111628" y="1982294"/>
                  </a:lnTo>
                  <a:lnTo>
                    <a:pt x="3121156" y="1991824"/>
                  </a:lnTo>
                  <a:lnTo>
                    <a:pt x="3135452" y="1996588"/>
                  </a:lnTo>
                  <a:lnTo>
                    <a:pt x="3144984" y="1991824"/>
                  </a:lnTo>
                  <a:lnTo>
                    <a:pt x="3154512" y="1996588"/>
                  </a:lnTo>
                  <a:lnTo>
                    <a:pt x="3164044" y="2010884"/>
                  </a:lnTo>
                  <a:lnTo>
                    <a:pt x="3178336" y="2015650"/>
                  </a:lnTo>
                  <a:lnTo>
                    <a:pt x="3202164" y="2020414"/>
                  </a:lnTo>
                  <a:lnTo>
                    <a:pt x="3211696" y="2029944"/>
                  </a:lnTo>
                  <a:lnTo>
                    <a:pt x="3216460" y="2034710"/>
                  </a:lnTo>
                  <a:lnTo>
                    <a:pt x="3211696" y="2044240"/>
                  </a:lnTo>
                  <a:lnTo>
                    <a:pt x="3211696" y="2063300"/>
                  </a:lnTo>
                  <a:lnTo>
                    <a:pt x="3206928" y="2072832"/>
                  </a:lnTo>
                  <a:lnTo>
                    <a:pt x="3197400" y="2106186"/>
                  </a:lnTo>
                  <a:lnTo>
                    <a:pt x="3187868" y="2130012"/>
                  </a:lnTo>
                  <a:lnTo>
                    <a:pt x="3192632" y="2144308"/>
                  </a:lnTo>
                  <a:lnTo>
                    <a:pt x="3197400" y="2149072"/>
                  </a:lnTo>
                  <a:lnTo>
                    <a:pt x="3197400" y="2153838"/>
                  </a:lnTo>
                  <a:lnTo>
                    <a:pt x="3206928" y="2163368"/>
                  </a:lnTo>
                  <a:lnTo>
                    <a:pt x="3216460" y="2172898"/>
                  </a:lnTo>
                  <a:lnTo>
                    <a:pt x="3211696" y="2196724"/>
                  </a:lnTo>
                  <a:lnTo>
                    <a:pt x="3211696" y="2201490"/>
                  </a:lnTo>
                  <a:lnTo>
                    <a:pt x="3225988" y="2206254"/>
                  </a:lnTo>
                  <a:lnTo>
                    <a:pt x="3240284" y="2211020"/>
                  </a:lnTo>
                  <a:lnTo>
                    <a:pt x="3245048" y="2215784"/>
                  </a:lnTo>
                  <a:lnTo>
                    <a:pt x="3230756" y="2239610"/>
                  </a:lnTo>
                  <a:lnTo>
                    <a:pt x="3235520" y="2258672"/>
                  </a:lnTo>
                  <a:lnTo>
                    <a:pt x="3240284" y="2272966"/>
                  </a:lnTo>
                  <a:lnTo>
                    <a:pt x="3245048" y="2296792"/>
                  </a:lnTo>
                  <a:lnTo>
                    <a:pt x="3245048" y="2301556"/>
                  </a:lnTo>
                  <a:lnTo>
                    <a:pt x="3245048" y="2306322"/>
                  </a:lnTo>
                  <a:lnTo>
                    <a:pt x="3249816" y="2330148"/>
                  </a:lnTo>
                  <a:lnTo>
                    <a:pt x="3264112" y="2368268"/>
                  </a:lnTo>
                  <a:lnTo>
                    <a:pt x="3264112" y="2382564"/>
                  </a:lnTo>
                  <a:lnTo>
                    <a:pt x="3264112" y="2396860"/>
                  </a:lnTo>
                  <a:lnTo>
                    <a:pt x="3259344" y="2425450"/>
                  </a:lnTo>
                  <a:lnTo>
                    <a:pt x="3249816" y="2425450"/>
                  </a:lnTo>
                  <a:lnTo>
                    <a:pt x="3259344" y="2444510"/>
                  </a:lnTo>
                  <a:lnTo>
                    <a:pt x="3264112" y="2454040"/>
                  </a:lnTo>
                  <a:lnTo>
                    <a:pt x="3264112" y="2473102"/>
                  </a:lnTo>
                  <a:lnTo>
                    <a:pt x="3249816" y="2473102"/>
                  </a:lnTo>
                  <a:lnTo>
                    <a:pt x="3240284" y="2473102"/>
                  </a:lnTo>
                  <a:lnTo>
                    <a:pt x="3235520" y="2458806"/>
                  </a:lnTo>
                  <a:lnTo>
                    <a:pt x="3230756" y="2473102"/>
                  </a:lnTo>
                  <a:lnTo>
                    <a:pt x="3216460" y="2482632"/>
                  </a:lnTo>
                  <a:lnTo>
                    <a:pt x="3211696" y="2477866"/>
                  </a:lnTo>
                  <a:lnTo>
                    <a:pt x="3206928" y="2473102"/>
                  </a:lnTo>
                  <a:lnTo>
                    <a:pt x="3206928" y="2458806"/>
                  </a:lnTo>
                  <a:lnTo>
                    <a:pt x="3216460" y="2415920"/>
                  </a:lnTo>
                  <a:lnTo>
                    <a:pt x="3211696" y="2406390"/>
                  </a:lnTo>
                  <a:lnTo>
                    <a:pt x="3202164" y="2401624"/>
                  </a:lnTo>
                  <a:lnTo>
                    <a:pt x="3202164" y="2392094"/>
                  </a:lnTo>
                  <a:lnTo>
                    <a:pt x="3187868" y="2444510"/>
                  </a:lnTo>
                  <a:lnTo>
                    <a:pt x="3192632" y="2463572"/>
                  </a:lnTo>
                  <a:lnTo>
                    <a:pt x="3192632" y="2473102"/>
                  </a:lnTo>
                  <a:lnTo>
                    <a:pt x="3168808" y="2477866"/>
                  </a:lnTo>
                  <a:lnTo>
                    <a:pt x="3149748" y="2463572"/>
                  </a:lnTo>
                  <a:lnTo>
                    <a:pt x="3144984" y="2454040"/>
                  </a:lnTo>
                  <a:lnTo>
                    <a:pt x="3144984" y="2463572"/>
                  </a:lnTo>
                  <a:lnTo>
                    <a:pt x="3140216" y="2477866"/>
                  </a:lnTo>
                  <a:lnTo>
                    <a:pt x="3121156" y="2477866"/>
                  </a:lnTo>
                  <a:lnTo>
                    <a:pt x="3106860" y="2468336"/>
                  </a:lnTo>
                  <a:lnTo>
                    <a:pt x="3116392" y="2449276"/>
                  </a:lnTo>
                  <a:lnTo>
                    <a:pt x="3125920" y="2411156"/>
                  </a:lnTo>
                  <a:lnTo>
                    <a:pt x="3130688" y="2392094"/>
                  </a:lnTo>
                  <a:lnTo>
                    <a:pt x="3111628" y="2377800"/>
                  </a:lnTo>
                  <a:lnTo>
                    <a:pt x="3097332" y="2368268"/>
                  </a:lnTo>
                  <a:lnTo>
                    <a:pt x="3092564" y="2349208"/>
                  </a:lnTo>
                  <a:lnTo>
                    <a:pt x="3092564" y="2373034"/>
                  </a:lnTo>
                  <a:lnTo>
                    <a:pt x="3102096" y="2377800"/>
                  </a:lnTo>
                  <a:lnTo>
                    <a:pt x="3111628" y="2382564"/>
                  </a:lnTo>
                  <a:lnTo>
                    <a:pt x="3125920" y="2392094"/>
                  </a:lnTo>
                  <a:lnTo>
                    <a:pt x="3116392" y="2406390"/>
                  </a:lnTo>
                  <a:lnTo>
                    <a:pt x="3106860" y="2415920"/>
                  </a:lnTo>
                  <a:lnTo>
                    <a:pt x="3092564" y="2444510"/>
                  </a:lnTo>
                  <a:lnTo>
                    <a:pt x="3073504" y="2458806"/>
                  </a:lnTo>
                  <a:lnTo>
                    <a:pt x="3049680" y="2473102"/>
                  </a:lnTo>
                  <a:lnTo>
                    <a:pt x="2973436" y="2492162"/>
                  </a:lnTo>
                  <a:lnTo>
                    <a:pt x="2959144" y="2496928"/>
                  </a:lnTo>
                  <a:lnTo>
                    <a:pt x="2935316" y="2520752"/>
                  </a:lnTo>
                  <a:lnTo>
                    <a:pt x="2921020" y="2544578"/>
                  </a:lnTo>
                  <a:lnTo>
                    <a:pt x="2921020" y="2563640"/>
                  </a:lnTo>
                  <a:lnTo>
                    <a:pt x="2925788" y="2587464"/>
                  </a:lnTo>
                  <a:lnTo>
                    <a:pt x="2935316" y="2625586"/>
                  </a:lnTo>
                  <a:lnTo>
                    <a:pt x="2940080" y="2635116"/>
                  </a:lnTo>
                  <a:lnTo>
                    <a:pt x="2930552" y="2644646"/>
                  </a:lnTo>
                  <a:lnTo>
                    <a:pt x="2916256" y="2658942"/>
                  </a:lnTo>
                  <a:lnTo>
                    <a:pt x="2906724" y="2678002"/>
                  </a:lnTo>
                  <a:lnTo>
                    <a:pt x="2906724" y="2692298"/>
                  </a:lnTo>
                  <a:lnTo>
                    <a:pt x="2906724" y="2697062"/>
                  </a:lnTo>
                  <a:lnTo>
                    <a:pt x="2863840" y="2720888"/>
                  </a:lnTo>
                  <a:lnTo>
                    <a:pt x="2859076" y="2735184"/>
                  </a:lnTo>
                  <a:lnTo>
                    <a:pt x="2844780" y="2749480"/>
                  </a:lnTo>
                  <a:lnTo>
                    <a:pt x="2835248" y="2739948"/>
                  </a:lnTo>
                  <a:lnTo>
                    <a:pt x="2825720" y="2739948"/>
                  </a:lnTo>
                  <a:lnTo>
                    <a:pt x="2835248" y="2749480"/>
                  </a:lnTo>
                  <a:lnTo>
                    <a:pt x="2835248" y="2759010"/>
                  </a:lnTo>
                  <a:lnTo>
                    <a:pt x="2830484" y="2763774"/>
                  </a:lnTo>
                  <a:lnTo>
                    <a:pt x="2820952" y="2768540"/>
                  </a:lnTo>
                  <a:lnTo>
                    <a:pt x="2763772" y="2782834"/>
                  </a:lnTo>
                  <a:lnTo>
                    <a:pt x="2720884" y="2801896"/>
                  </a:lnTo>
                  <a:lnTo>
                    <a:pt x="2711356" y="2797130"/>
                  </a:lnTo>
                  <a:lnTo>
                    <a:pt x="2711356" y="2792364"/>
                  </a:lnTo>
                  <a:lnTo>
                    <a:pt x="2720884" y="2792364"/>
                  </a:lnTo>
                  <a:lnTo>
                    <a:pt x="2716120" y="2773304"/>
                  </a:lnTo>
                  <a:lnTo>
                    <a:pt x="2711356" y="2768540"/>
                  </a:lnTo>
                  <a:lnTo>
                    <a:pt x="2701824" y="2768540"/>
                  </a:lnTo>
                  <a:lnTo>
                    <a:pt x="2668468" y="2787600"/>
                  </a:lnTo>
                  <a:lnTo>
                    <a:pt x="2658940" y="2811426"/>
                  </a:lnTo>
                  <a:lnTo>
                    <a:pt x="2658940" y="2816190"/>
                  </a:lnTo>
                  <a:lnTo>
                    <a:pt x="2668468" y="2816190"/>
                  </a:lnTo>
                  <a:lnTo>
                    <a:pt x="2687528" y="2801896"/>
                  </a:lnTo>
                  <a:lnTo>
                    <a:pt x="2701824" y="2806660"/>
                  </a:lnTo>
                  <a:lnTo>
                    <a:pt x="2701824" y="2811426"/>
                  </a:lnTo>
                  <a:lnTo>
                    <a:pt x="2668468" y="2830486"/>
                  </a:lnTo>
                  <a:lnTo>
                    <a:pt x="2596992" y="2892432"/>
                  </a:lnTo>
                  <a:lnTo>
                    <a:pt x="2592228" y="2906728"/>
                  </a:lnTo>
                  <a:lnTo>
                    <a:pt x="2582696" y="2921024"/>
                  </a:lnTo>
                  <a:lnTo>
                    <a:pt x="2568400" y="2935318"/>
                  </a:lnTo>
                  <a:lnTo>
                    <a:pt x="2549340" y="2968674"/>
                  </a:lnTo>
                  <a:lnTo>
                    <a:pt x="2501688" y="3011560"/>
                  </a:lnTo>
                  <a:lnTo>
                    <a:pt x="2492160" y="3030622"/>
                  </a:lnTo>
                  <a:lnTo>
                    <a:pt x="2420684" y="3068742"/>
                  </a:lnTo>
                  <a:lnTo>
                    <a:pt x="2406388" y="3078272"/>
                  </a:lnTo>
                  <a:lnTo>
                    <a:pt x="2377796" y="3116394"/>
                  </a:lnTo>
                  <a:lnTo>
                    <a:pt x="2349204" y="3144984"/>
                  </a:lnTo>
                  <a:lnTo>
                    <a:pt x="2315848" y="3168810"/>
                  </a:lnTo>
                  <a:lnTo>
                    <a:pt x="2253904" y="3197400"/>
                  </a:lnTo>
                  <a:lnTo>
                    <a:pt x="2220548" y="3225992"/>
                  </a:lnTo>
                  <a:lnTo>
                    <a:pt x="2206252" y="3245052"/>
                  </a:lnTo>
                  <a:lnTo>
                    <a:pt x="2206252" y="3254582"/>
                  </a:lnTo>
                  <a:lnTo>
                    <a:pt x="2211016" y="3264112"/>
                  </a:lnTo>
                  <a:lnTo>
                    <a:pt x="2215784" y="3273642"/>
                  </a:lnTo>
                  <a:lnTo>
                    <a:pt x="2220548" y="3278408"/>
                  </a:lnTo>
                  <a:lnTo>
                    <a:pt x="2215784" y="3292704"/>
                  </a:lnTo>
                  <a:lnTo>
                    <a:pt x="2215784" y="3297468"/>
                  </a:lnTo>
                  <a:lnTo>
                    <a:pt x="2201488" y="3316528"/>
                  </a:lnTo>
                  <a:lnTo>
                    <a:pt x="2187192" y="3326060"/>
                  </a:lnTo>
                  <a:lnTo>
                    <a:pt x="2125244" y="3354650"/>
                  </a:lnTo>
                  <a:lnTo>
                    <a:pt x="2115716" y="3349884"/>
                  </a:lnTo>
                  <a:lnTo>
                    <a:pt x="2068064" y="3345120"/>
                  </a:lnTo>
                  <a:lnTo>
                    <a:pt x="2049004" y="3349884"/>
                  </a:lnTo>
                  <a:lnTo>
                    <a:pt x="2044236" y="3364180"/>
                  </a:lnTo>
                  <a:lnTo>
                    <a:pt x="2025176" y="3411832"/>
                  </a:lnTo>
                  <a:lnTo>
                    <a:pt x="2010880" y="3426128"/>
                  </a:lnTo>
                  <a:lnTo>
                    <a:pt x="2006116" y="3435658"/>
                  </a:lnTo>
                  <a:lnTo>
                    <a:pt x="2001352" y="3445188"/>
                  </a:lnTo>
                  <a:lnTo>
                    <a:pt x="1991820" y="3445188"/>
                  </a:lnTo>
                  <a:lnTo>
                    <a:pt x="1987056" y="3440422"/>
                  </a:lnTo>
                  <a:lnTo>
                    <a:pt x="1977524" y="3445188"/>
                  </a:lnTo>
                  <a:lnTo>
                    <a:pt x="1972760" y="3426128"/>
                  </a:lnTo>
                  <a:lnTo>
                    <a:pt x="1958464" y="3426128"/>
                  </a:lnTo>
                  <a:lnTo>
                    <a:pt x="1953700" y="3421362"/>
                  </a:lnTo>
                  <a:lnTo>
                    <a:pt x="1910816" y="3440422"/>
                  </a:lnTo>
                  <a:lnTo>
                    <a:pt x="1896520" y="3454718"/>
                  </a:lnTo>
                  <a:lnTo>
                    <a:pt x="1867928" y="3516664"/>
                  </a:lnTo>
                  <a:lnTo>
                    <a:pt x="1858396" y="3554786"/>
                  </a:lnTo>
                  <a:lnTo>
                    <a:pt x="1863164" y="3602436"/>
                  </a:lnTo>
                  <a:lnTo>
                    <a:pt x="1877460" y="3635792"/>
                  </a:lnTo>
                  <a:lnTo>
                    <a:pt x="1877460" y="3654852"/>
                  </a:lnTo>
                  <a:lnTo>
                    <a:pt x="1877460" y="3673914"/>
                  </a:lnTo>
                  <a:lnTo>
                    <a:pt x="1872692" y="3683444"/>
                  </a:lnTo>
                  <a:lnTo>
                    <a:pt x="1867928" y="3697740"/>
                  </a:lnTo>
                  <a:lnTo>
                    <a:pt x="1872692" y="3721564"/>
                  </a:lnTo>
                  <a:lnTo>
                    <a:pt x="1886988" y="3754920"/>
                  </a:lnTo>
                  <a:lnTo>
                    <a:pt x="1886988" y="3764450"/>
                  </a:lnTo>
                  <a:lnTo>
                    <a:pt x="1886988" y="3778746"/>
                  </a:lnTo>
                  <a:lnTo>
                    <a:pt x="1896520" y="3812102"/>
                  </a:lnTo>
                  <a:lnTo>
                    <a:pt x="1891752" y="3807336"/>
                  </a:lnTo>
                  <a:lnTo>
                    <a:pt x="1886988" y="3793042"/>
                  </a:lnTo>
                  <a:lnTo>
                    <a:pt x="1872692" y="3773980"/>
                  </a:lnTo>
                  <a:lnTo>
                    <a:pt x="1858396" y="3793042"/>
                  </a:lnTo>
                  <a:lnTo>
                    <a:pt x="1867928" y="3807336"/>
                  </a:lnTo>
                  <a:lnTo>
                    <a:pt x="1896520" y="3821632"/>
                  </a:lnTo>
                  <a:lnTo>
                    <a:pt x="1901284" y="3831162"/>
                  </a:lnTo>
                  <a:lnTo>
                    <a:pt x="1886988" y="3940760"/>
                  </a:lnTo>
                  <a:lnTo>
                    <a:pt x="1872692" y="3978882"/>
                  </a:lnTo>
                  <a:lnTo>
                    <a:pt x="1858396" y="4002708"/>
                  </a:lnTo>
                  <a:lnTo>
                    <a:pt x="1848868" y="4012238"/>
                  </a:lnTo>
                  <a:lnTo>
                    <a:pt x="1829808" y="4050358"/>
                  </a:lnTo>
                  <a:lnTo>
                    <a:pt x="1815512" y="4098010"/>
                  </a:lnTo>
                  <a:lnTo>
                    <a:pt x="1810748" y="4117070"/>
                  </a:lnTo>
                  <a:lnTo>
                    <a:pt x="1820276" y="4140896"/>
                  </a:lnTo>
                  <a:lnTo>
                    <a:pt x="1810748" y="4150426"/>
                  </a:lnTo>
                  <a:lnTo>
                    <a:pt x="1801216" y="4159956"/>
                  </a:lnTo>
                  <a:lnTo>
                    <a:pt x="1820276" y="4155192"/>
                  </a:lnTo>
                  <a:lnTo>
                    <a:pt x="1825040" y="4164722"/>
                  </a:lnTo>
                  <a:lnTo>
                    <a:pt x="1825040" y="4179016"/>
                  </a:lnTo>
                  <a:lnTo>
                    <a:pt x="1825040" y="4245728"/>
                  </a:lnTo>
                  <a:lnTo>
                    <a:pt x="1825040" y="4317206"/>
                  </a:lnTo>
                  <a:lnTo>
                    <a:pt x="1810748" y="4321970"/>
                  </a:lnTo>
                  <a:lnTo>
                    <a:pt x="1796452" y="4321970"/>
                  </a:lnTo>
                  <a:lnTo>
                    <a:pt x="1786920" y="4317206"/>
                  </a:lnTo>
                  <a:lnTo>
                    <a:pt x="1777392" y="4317206"/>
                  </a:lnTo>
                  <a:lnTo>
                    <a:pt x="1753564" y="4321970"/>
                  </a:lnTo>
                  <a:lnTo>
                    <a:pt x="1744036" y="4326736"/>
                  </a:lnTo>
                  <a:lnTo>
                    <a:pt x="1734504" y="4341032"/>
                  </a:lnTo>
                  <a:lnTo>
                    <a:pt x="1734504" y="4364856"/>
                  </a:lnTo>
                  <a:lnTo>
                    <a:pt x="1691620" y="4417272"/>
                  </a:lnTo>
                  <a:lnTo>
                    <a:pt x="1686852" y="4436334"/>
                  </a:lnTo>
                  <a:lnTo>
                    <a:pt x="1682088" y="4455394"/>
                  </a:lnTo>
                  <a:lnTo>
                    <a:pt x="1686852" y="4464924"/>
                  </a:lnTo>
                  <a:lnTo>
                    <a:pt x="1696384" y="4474454"/>
                  </a:lnTo>
                  <a:lnTo>
                    <a:pt x="1710680" y="4479220"/>
                  </a:lnTo>
                  <a:lnTo>
                    <a:pt x="1739268" y="4483984"/>
                  </a:lnTo>
                  <a:lnTo>
                    <a:pt x="1748800" y="4488750"/>
                  </a:lnTo>
                  <a:lnTo>
                    <a:pt x="1758328" y="4498280"/>
                  </a:lnTo>
                  <a:lnTo>
                    <a:pt x="1729740" y="4483984"/>
                  </a:lnTo>
                  <a:lnTo>
                    <a:pt x="1691620" y="4483984"/>
                  </a:lnTo>
                  <a:lnTo>
                    <a:pt x="1605848" y="4512576"/>
                  </a:lnTo>
                  <a:lnTo>
                    <a:pt x="1582020" y="4526872"/>
                  </a:lnTo>
                  <a:lnTo>
                    <a:pt x="1567724" y="4545932"/>
                  </a:lnTo>
                  <a:lnTo>
                    <a:pt x="1558196" y="4579288"/>
                  </a:lnTo>
                  <a:lnTo>
                    <a:pt x="1558196" y="4603112"/>
                  </a:lnTo>
                  <a:lnTo>
                    <a:pt x="1548664" y="4626938"/>
                  </a:lnTo>
                  <a:lnTo>
                    <a:pt x="1501012" y="4655530"/>
                  </a:lnTo>
                  <a:lnTo>
                    <a:pt x="1472424" y="4665060"/>
                  </a:lnTo>
                  <a:lnTo>
                    <a:pt x="1462892" y="4674590"/>
                  </a:lnTo>
                  <a:lnTo>
                    <a:pt x="1429536" y="4660294"/>
                  </a:lnTo>
                  <a:lnTo>
                    <a:pt x="1391416" y="4636468"/>
                  </a:lnTo>
                  <a:lnTo>
                    <a:pt x="1377120" y="4622174"/>
                  </a:lnTo>
                  <a:lnTo>
                    <a:pt x="1319940" y="4550696"/>
                  </a:lnTo>
                  <a:lnTo>
                    <a:pt x="1310408" y="4541166"/>
                  </a:lnTo>
                  <a:lnTo>
                    <a:pt x="1300876" y="4512576"/>
                  </a:lnTo>
                  <a:lnTo>
                    <a:pt x="1300876" y="4503046"/>
                  </a:lnTo>
                  <a:lnTo>
                    <a:pt x="1296112" y="4498280"/>
                  </a:lnTo>
                  <a:lnTo>
                    <a:pt x="1291348" y="4493516"/>
                  </a:lnTo>
                  <a:lnTo>
                    <a:pt x="1286584" y="4488750"/>
                  </a:lnTo>
                  <a:lnTo>
                    <a:pt x="1277052" y="4455394"/>
                  </a:lnTo>
                  <a:lnTo>
                    <a:pt x="1272288" y="4422038"/>
                  </a:lnTo>
                  <a:lnTo>
                    <a:pt x="1262756" y="4379152"/>
                  </a:lnTo>
                  <a:lnTo>
                    <a:pt x="1272288" y="4383918"/>
                  </a:lnTo>
                  <a:lnTo>
                    <a:pt x="1281816" y="4398212"/>
                  </a:lnTo>
                  <a:lnTo>
                    <a:pt x="1281816" y="4417272"/>
                  </a:lnTo>
                  <a:lnTo>
                    <a:pt x="1286584" y="4441100"/>
                  </a:lnTo>
                  <a:lnTo>
                    <a:pt x="1291348" y="4445864"/>
                  </a:lnTo>
                  <a:lnTo>
                    <a:pt x="1296112" y="4441100"/>
                  </a:lnTo>
                  <a:lnTo>
                    <a:pt x="1281816" y="4379152"/>
                  </a:lnTo>
                  <a:lnTo>
                    <a:pt x="1262756" y="4364856"/>
                  </a:lnTo>
                  <a:lnTo>
                    <a:pt x="1257992" y="4355326"/>
                  </a:lnTo>
                  <a:lnTo>
                    <a:pt x="1253228" y="4341032"/>
                  </a:lnTo>
                  <a:lnTo>
                    <a:pt x="1257992" y="4336266"/>
                  </a:lnTo>
                  <a:lnTo>
                    <a:pt x="1243696" y="4317206"/>
                  </a:lnTo>
                  <a:lnTo>
                    <a:pt x="1238932" y="4302910"/>
                  </a:lnTo>
                  <a:lnTo>
                    <a:pt x="1215104" y="4245728"/>
                  </a:lnTo>
                  <a:lnTo>
                    <a:pt x="1200812" y="4202842"/>
                  </a:lnTo>
                  <a:lnTo>
                    <a:pt x="1181748" y="4150426"/>
                  </a:lnTo>
                  <a:lnTo>
                    <a:pt x="1172220" y="4136130"/>
                  </a:lnTo>
                  <a:lnTo>
                    <a:pt x="1153160" y="4098010"/>
                  </a:lnTo>
                  <a:lnTo>
                    <a:pt x="1134100" y="4078950"/>
                  </a:lnTo>
                  <a:lnTo>
                    <a:pt x="1119804" y="4055124"/>
                  </a:lnTo>
                  <a:lnTo>
                    <a:pt x="1105508" y="4045594"/>
                  </a:lnTo>
                  <a:lnTo>
                    <a:pt x="1100744" y="4040828"/>
                  </a:lnTo>
                  <a:lnTo>
                    <a:pt x="1062620" y="3959820"/>
                  </a:lnTo>
                  <a:lnTo>
                    <a:pt x="1048328" y="3916936"/>
                  </a:lnTo>
                  <a:lnTo>
                    <a:pt x="1038796" y="3893110"/>
                  </a:lnTo>
                  <a:lnTo>
                    <a:pt x="1034032" y="3878814"/>
                  </a:lnTo>
                  <a:lnTo>
                    <a:pt x="1019736" y="3807336"/>
                  </a:lnTo>
                  <a:lnTo>
                    <a:pt x="1019736" y="3797806"/>
                  </a:lnTo>
                  <a:lnTo>
                    <a:pt x="1019736" y="3783512"/>
                  </a:lnTo>
                  <a:lnTo>
                    <a:pt x="1010204" y="3754920"/>
                  </a:lnTo>
                  <a:lnTo>
                    <a:pt x="991144" y="3721564"/>
                  </a:lnTo>
                  <a:lnTo>
                    <a:pt x="986380" y="3702504"/>
                  </a:lnTo>
                  <a:lnTo>
                    <a:pt x="986380" y="3692974"/>
                  </a:lnTo>
                  <a:lnTo>
                    <a:pt x="976848" y="3664384"/>
                  </a:lnTo>
                  <a:lnTo>
                    <a:pt x="972084" y="3650088"/>
                  </a:lnTo>
                  <a:lnTo>
                    <a:pt x="967320" y="3635792"/>
                  </a:lnTo>
                  <a:lnTo>
                    <a:pt x="957788" y="3626262"/>
                  </a:lnTo>
                  <a:lnTo>
                    <a:pt x="948260" y="3616732"/>
                  </a:lnTo>
                  <a:lnTo>
                    <a:pt x="929196" y="3583376"/>
                  </a:lnTo>
                  <a:lnTo>
                    <a:pt x="919668" y="3578612"/>
                  </a:lnTo>
                  <a:lnTo>
                    <a:pt x="905372" y="3554786"/>
                  </a:lnTo>
                  <a:lnTo>
                    <a:pt x="895840" y="3516664"/>
                  </a:lnTo>
                  <a:lnTo>
                    <a:pt x="881548" y="3502368"/>
                  </a:lnTo>
                  <a:lnTo>
                    <a:pt x="900608" y="3502368"/>
                  </a:lnTo>
                  <a:lnTo>
                    <a:pt x="891076" y="3492838"/>
                  </a:lnTo>
                  <a:lnTo>
                    <a:pt x="886312" y="3483308"/>
                  </a:lnTo>
                  <a:lnTo>
                    <a:pt x="876780" y="3473778"/>
                  </a:lnTo>
                  <a:lnTo>
                    <a:pt x="886312" y="3459482"/>
                  </a:lnTo>
                  <a:lnTo>
                    <a:pt x="872016" y="3464248"/>
                  </a:lnTo>
                  <a:lnTo>
                    <a:pt x="862488" y="3454718"/>
                  </a:lnTo>
                  <a:lnTo>
                    <a:pt x="852956" y="3426128"/>
                  </a:lnTo>
                  <a:lnTo>
                    <a:pt x="833896" y="3397536"/>
                  </a:lnTo>
                  <a:lnTo>
                    <a:pt x="829132" y="3383240"/>
                  </a:lnTo>
                  <a:lnTo>
                    <a:pt x="810068" y="3330824"/>
                  </a:lnTo>
                  <a:lnTo>
                    <a:pt x="795776" y="3211696"/>
                  </a:lnTo>
                  <a:lnTo>
                    <a:pt x="781480" y="3154514"/>
                  </a:lnTo>
                  <a:lnTo>
                    <a:pt x="781480" y="3140220"/>
                  </a:lnTo>
                  <a:lnTo>
                    <a:pt x="762420" y="3092568"/>
                  </a:lnTo>
                  <a:lnTo>
                    <a:pt x="757652" y="3063978"/>
                  </a:lnTo>
                  <a:lnTo>
                    <a:pt x="752888" y="3035386"/>
                  </a:lnTo>
                  <a:lnTo>
                    <a:pt x="748124" y="3021092"/>
                  </a:lnTo>
                  <a:lnTo>
                    <a:pt x="743356" y="2982970"/>
                  </a:lnTo>
                  <a:lnTo>
                    <a:pt x="738592" y="2973440"/>
                  </a:lnTo>
                  <a:lnTo>
                    <a:pt x="738592" y="2968674"/>
                  </a:lnTo>
                  <a:lnTo>
                    <a:pt x="743356" y="2949614"/>
                  </a:lnTo>
                  <a:lnTo>
                    <a:pt x="752888" y="2925788"/>
                  </a:lnTo>
                  <a:lnTo>
                    <a:pt x="757652" y="2911494"/>
                  </a:lnTo>
                  <a:lnTo>
                    <a:pt x="752888" y="2887668"/>
                  </a:lnTo>
                  <a:lnTo>
                    <a:pt x="743356" y="2911494"/>
                  </a:lnTo>
                  <a:lnTo>
                    <a:pt x="733828" y="2921024"/>
                  </a:lnTo>
                  <a:lnTo>
                    <a:pt x="724296" y="2901964"/>
                  </a:lnTo>
                  <a:lnTo>
                    <a:pt x="724296" y="2878138"/>
                  </a:lnTo>
                  <a:lnTo>
                    <a:pt x="724296" y="2873372"/>
                  </a:lnTo>
                  <a:lnTo>
                    <a:pt x="729064" y="2863842"/>
                  </a:lnTo>
                  <a:lnTo>
                    <a:pt x="752888" y="2868608"/>
                  </a:lnTo>
                  <a:lnTo>
                    <a:pt x="724296" y="2854312"/>
                  </a:lnTo>
                  <a:lnTo>
                    <a:pt x="719532" y="2844782"/>
                  </a:lnTo>
                  <a:lnTo>
                    <a:pt x="719532" y="2840016"/>
                  </a:lnTo>
                  <a:lnTo>
                    <a:pt x="724296" y="2830486"/>
                  </a:lnTo>
                  <a:lnTo>
                    <a:pt x="714768" y="2820956"/>
                  </a:lnTo>
                  <a:lnTo>
                    <a:pt x="710000" y="2787600"/>
                  </a:lnTo>
                  <a:lnTo>
                    <a:pt x="705236" y="2782834"/>
                  </a:lnTo>
                  <a:lnTo>
                    <a:pt x="705236" y="2778070"/>
                  </a:lnTo>
                  <a:lnTo>
                    <a:pt x="710000" y="2735184"/>
                  </a:lnTo>
                  <a:lnTo>
                    <a:pt x="738592" y="2654176"/>
                  </a:lnTo>
                  <a:lnTo>
                    <a:pt x="738592" y="2635116"/>
                  </a:lnTo>
                  <a:lnTo>
                    <a:pt x="738592" y="2611290"/>
                  </a:lnTo>
                  <a:lnTo>
                    <a:pt x="733828" y="2592230"/>
                  </a:lnTo>
                  <a:lnTo>
                    <a:pt x="729064" y="2568404"/>
                  </a:lnTo>
                  <a:lnTo>
                    <a:pt x="729064" y="2563640"/>
                  </a:lnTo>
                  <a:lnTo>
                    <a:pt x="719532" y="2558874"/>
                  </a:lnTo>
                  <a:lnTo>
                    <a:pt x="710000" y="2554108"/>
                  </a:lnTo>
                  <a:lnTo>
                    <a:pt x="700472" y="2520752"/>
                  </a:lnTo>
                  <a:lnTo>
                    <a:pt x="710000" y="2511222"/>
                  </a:lnTo>
                  <a:lnTo>
                    <a:pt x="714768" y="2501692"/>
                  </a:lnTo>
                  <a:lnTo>
                    <a:pt x="705236" y="2506458"/>
                  </a:lnTo>
                  <a:lnTo>
                    <a:pt x="695708" y="2506458"/>
                  </a:lnTo>
                  <a:lnTo>
                    <a:pt x="714768" y="2492162"/>
                  </a:lnTo>
                  <a:lnTo>
                    <a:pt x="729064" y="2477866"/>
                  </a:lnTo>
                  <a:lnTo>
                    <a:pt x="762420" y="2463572"/>
                  </a:lnTo>
                  <a:lnTo>
                    <a:pt x="776712" y="2458806"/>
                  </a:lnTo>
                  <a:lnTo>
                    <a:pt x="752888" y="2463572"/>
                  </a:lnTo>
                  <a:lnTo>
                    <a:pt x="733828" y="2468336"/>
                  </a:lnTo>
                  <a:lnTo>
                    <a:pt x="686176" y="2463572"/>
                  </a:lnTo>
                  <a:lnTo>
                    <a:pt x="695708" y="2434980"/>
                  </a:lnTo>
                  <a:lnTo>
                    <a:pt x="700472" y="2425450"/>
                  </a:lnTo>
                  <a:lnTo>
                    <a:pt x="710000" y="2420686"/>
                  </a:lnTo>
                  <a:lnTo>
                    <a:pt x="695708" y="2420686"/>
                  </a:lnTo>
                  <a:lnTo>
                    <a:pt x="681412" y="2420686"/>
                  </a:lnTo>
                  <a:lnTo>
                    <a:pt x="686176" y="2387330"/>
                  </a:lnTo>
                  <a:lnTo>
                    <a:pt x="700472" y="2382564"/>
                  </a:lnTo>
                  <a:lnTo>
                    <a:pt x="710000" y="2377800"/>
                  </a:lnTo>
                  <a:lnTo>
                    <a:pt x="729064" y="2377800"/>
                  </a:lnTo>
                  <a:lnTo>
                    <a:pt x="710000" y="2368268"/>
                  </a:lnTo>
                  <a:lnTo>
                    <a:pt x="695708" y="2368268"/>
                  </a:lnTo>
                  <a:lnTo>
                    <a:pt x="671880" y="2373034"/>
                  </a:lnTo>
                  <a:lnTo>
                    <a:pt x="652820" y="2368268"/>
                  </a:lnTo>
                  <a:lnTo>
                    <a:pt x="628996" y="2368268"/>
                  </a:lnTo>
                  <a:lnTo>
                    <a:pt x="638524" y="2373034"/>
                  </a:lnTo>
                  <a:lnTo>
                    <a:pt x="648056" y="2382564"/>
                  </a:lnTo>
                  <a:lnTo>
                    <a:pt x="643292" y="2401624"/>
                  </a:lnTo>
                  <a:lnTo>
                    <a:pt x="638524" y="2411156"/>
                  </a:lnTo>
                  <a:lnTo>
                    <a:pt x="624228" y="2415920"/>
                  </a:lnTo>
                  <a:lnTo>
                    <a:pt x="614700" y="2430216"/>
                  </a:lnTo>
                  <a:lnTo>
                    <a:pt x="614700" y="2439746"/>
                  </a:lnTo>
                  <a:lnTo>
                    <a:pt x="605168" y="2444510"/>
                  </a:lnTo>
                  <a:lnTo>
                    <a:pt x="619464" y="2449276"/>
                  </a:lnTo>
                  <a:lnTo>
                    <a:pt x="628996" y="2454040"/>
                  </a:lnTo>
                  <a:lnTo>
                    <a:pt x="633760" y="2458806"/>
                  </a:lnTo>
                  <a:lnTo>
                    <a:pt x="643292" y="2473102"/>
                  </a:lnTo>
                  <a:lnTo>
                    <a:pt x="638524" y="2492162"/>
                  </a:lnTo>
                  <a:lnTo>
                    <a:pt x="614700" y="2544578"/>
                  </a:lnTo>
                  <a:lnTo>
                    <a:pt x="605168" y="2558874"/>
                  </a:lnTo>
                  <a:lnTo>
                    <a:pt x="533692" y="2587464"/>
                  </a:lnTo>
                  <a:lnTo>
                    <a:pt x="505100" y="2606526"/>
                  </a:lnTo>
                  <a:lnTo>
                    <a:pt x="447920" y="2625586"/>
                  </a:lnTo>
                  <a:lnTo>
                    <a:pt x="424096" y="2630350"/>
                  </a:lnTo>
                  <a:lnTo>
                    <a:pt x="400268" y="2625586"/>
                  </a:lnTo>
                  <a:lnTo>
                    <a:pt x="362148" y="2611290"/>
                  </a:lnTo>
                  <a:lnTo>
                    <a:pt x="309732" y="2568404"/>
                  </a:lnTo>
                  <a:lnTo>
                    <a:pt x="295436" y="2554108"/>
                  </a:lnTo>
                  <a:lnTo>
                    <a:pt x="247784" y="2496928"/>
                  </a:lnTo>
                  <a:lnTo>
                    <a:pt x="214428" y="2468336"/>
                  </a:lnTo>
                  <a:lnTo>
                    <a:pt x="190604" y="2439746"/>
                  </a:lnTo>
                  <a:lnTo>
                    <a:pt x="162012" y="2415920"/>
                  </a:lnTo>
                  <a:lnTo>
                    <a:pt x="133420" y="2382564"/>
                  </a:lnTo>
                  <a:lnTo>
                    <a:pt x="128656" y="2363504"/>
                  </a:lnTo>
                  <a:lnTo>
                    <a:pt x="128656" y="2349208"/>
                  </a:lnTo>
                  <a:lnTo>
                    <a:pt x="138188" y="2339678"/>
                  </a:lnTo>
                  <a:lnTo>
                    <a:pt x="152484" y="2344444"/>
                  </a:lnTo>
                  <a:lnTo>
                    <a:pt x="162012" y="2358738"/>
                  </a:lnTo>
                  <a:lnTo>
                    <a:pt x="171544" y="2363504"/>
                  </a:lnTo>
                  <a:lnTo>
                    <a:pt x="176308" y="2368268"/>
                  </a:lnTo>
                  <a:lnTo>
                    <a:pt x="219192" y="2344444"/>
                  </a:lnTo>
                  <a:lnTo>
                    <a:pt x="233488" y="2344444"/>
                  </a:lnTo>
                  <a:lnTo>
                    <a:pt x="247784" y="2334912"/>
                  </a:lnTo>
                  <a:lnTo>
                    <a:pt x="262080" y="2339678"/>
                  </a:lnTo>
                  <a:lnTo>
                    <a:pt x="290672" y="2320618"/>
                  </a:lnTo>
                  <a:lnTo>
                    <a:pt x="300200" y="2320618"/>
                  </a:lnTo>
                  <a:lnTo>
                    <a:pt x="314496" y="2315852"/>
                  </a:lnTo>
                  <a:lnTo>
                    <a:pt x="338324" y="2277732"/>
                  </a:lnTo>
                  <a:lnTo>
                    <a:pt x="357384" y="2249140"/>
                  </a:lnTo>
                  <a:lnTo>
                    <a:pt x="366912" y="2244376"/>
                  </a:lnTo>
                  <a:lnTo>
                    <a:pt x="366912" y="2239610"/>
                  </a:lnTo>
                  <a:lnTo>
                    <a:pt x="366912" y="2230080"/>
                  </a:lnTo>
                  <a:lnTo>
                    <a:pt x="357384" y="2230080"/>
                  </a:lnTo>
                  <a:lnTo>
                    <a:pt x="352616" y="2239610"/>
                  </a:lnTo>
                  <a:lnTo>
                    <a:pt x="347852" y="2249140"/>
                  </a:lnTo>
                  <a:lnTo>
                    <a:pt x="343088" y="2253906"/>
                  </a:lnTo>
                  <a:lnTo>
                    <a:pt x="328792" y="2249140"/>
                  </a:lnTo>
                  <a:lnTo>
                    <a:pt x="319260" y="2249140"/>
                  </a:lnTo>
                  <a:lnTo>
                    <a:pt x="304968" y="2253906"/>
                  </a:lnTo>
                  <a:lnTo>
                    <a:pt x="266844" y="2268202"/>
                  </a:lnTo>
                  <a:lnTo>
                    <a:pt x="247784" y="2282496"/>
                  </a:lnTo>
                  <a:lnTo>
                    <a:pt x="238256" y="2287262"/>
                  </a:lnTo>
                  <a:lnTo>
                    <a:pt x="171544" y="2272966"/>
                  </a:lnTo>
                  <a:lnTo>
                    <a:pt x="104832" y="2234846"/>
                  </a:lnTo>
                  <a:lnTo>
                    <a:pt x="76240" y="2211020"/>
                  </a:lnTo>
                  <a:lnTo>
                    <a:pt x="57180" y="2182428"/>
                  </a:lnTo>
                  <a:lnTo>
                    <a:pt x="42884" y="2149072"/>
                  </a:lnTo>
                  <a:lnTo>
                    <a:pt x="47648" y="2139542"/>
                  </a:lnTo>
                  <a:lnTo>
                    <a:pt x="76240" y="2115716"/>
                  </a:lnTo>
                  <a:lnTo>
                    <a:pt x="95300" y="2101422"/>
                  </a:lnTo>
                  <a:lnTo>
                    <a:pt x="76240" y="2106186"/>
                  </a:lnTo>
                  <a:lnTo>
                    <a:pt x="52416" y="2115716"/>
                  </a:lnTo>
                  <a:lnTo>
                    <a:pt x="42884" y="2125248"/>
                  </a:lnTo>
                  <a:lnTo>
                    <a:pt x="28588" y="2139542"/>
                  </a:lnTo>
                  <a:lnTo>
                    <a:pt x="14292" y="2144308"/>
                  </a:lnTo>
                  <a:lnTo>
                    <a:pt x="4764" y="2120482"/>
                  </a:lnTo>
                  <a:lnTo>
                    <a:pt x="0" y="2101422"/>
                  </a:lnTo>
                  <a:lnTo>
                    <a:pt x="14292" y="2091892"/>
                  </a:lnTo>
                  <a:lnTo>
                    <a:pt x="19060" y="2087126"/>
                  </a:lnTo>
                  <a:lnTo>
                    <a:pt x="33352" y="2082362"/>
                  </a:lnTo>
                  <a:lnTo>
                    <a:pt x="52416" y="2082362"/>
                  </a:lnTo>
                  <a:lnTo>
                    <a:pt x="66708" y="2082362"/>
                  </a:lnTo>
                  <a:lnTo>
                    <a:pt x="90536" y="2082362"/>
                  </a:lnTo>
                  <a:lnTo>
                    <a:pt x="90536" y="2029944"/>
                  </a:lnTo>
                  <a:lnTo>
                    <a:pt x="90536" y="2025180"/>
                  </a:lnTo>
                  <a:lnTo>
                    <a:pt x="95300" y="2025180"/>
                  </a:lnTo>
                  <a:lnTo>
                    <a:pt x="100064" y="2020414"/>
                  </a:lnTo>
                  <a:lnTo>
                    <a:pt x="104832" y="2029944"/>
                  </a:lnTo>
                  <a:lnTo>
                    <a:pt x="109596" y="2029944"/>
                  </a:lnTo>
                  <a:lnTo>
                    <a:pt x="114360" y="2025180"/>
                  </a:lnTo>
                  <a:lnTo>
                    <a:pt x="128656" y="2029944"/>
                  </a:lnTo>
                  <a:lnTo>
                    <a:pt x="138188" y="2025180"/>
                  </a:lnTo>
                  <a:lnTo>
                    <a:pt x="152484" y="2029944"/>
                  </a:lnTo>
                  <a:lnTo>
                    <a:pt x="171544" y="2029944"/>
                  </a:lnTo>
                  <a:lnTo>
                    <a:pt x="200132" y="2029944"/>
                  </a:lnTo>
                  <a:lnTo>
                    <a:pt x="219192" y="2029944"/>
                  </a:lnTo>
                  <a:lnTo>
                    <a:pt x="233488" y="2034710"/>
                  </a:lnTo>
                  <a:lnTo>
                    <a:pt x="243020" y="2044240"/>
                  </a:lnTo>
                  <a:lnTo>
                    <a:pt x="257316" y="2049006"/>
                  </a:lnTo>
                  <a:lnTo>
                    <a:pt x="276376" y="2044240"/>
                  </a:lnTo>
                  <a:lnTo>
                    <a:pt x="290672" y="2044240"/>
                  </a:lnTo>
                  <a:lnTo>
                    <a:pt x="300200" y="2034710"/>
                  </a:lnTo>
                  <a:lnTo>
                    <a:pt x="304968" y="2025180"/>
                  </a:lnTo>
                  <a:lnTo>
                    <a:pt x="333556" y="2015650"/>
                  </a:lnTo>
                  <a:lnTo>
                    <a:pt x="366912" y="2006120"/>
                  </a:lnTo>
                  <a:lnTo>
                    <a:pt x="371676" y="2001354"/>
                  </a:lnTo>
                  <a:lnTo>
                    <a:pt x="376444" y="2010884"/>
                  </a:lnTo>
                  <a:lnTo>
                    <a:pt x="376444" y="2020414"/>
                  </a:lnTo>
                  <a:lnTo>
                    <a:pt x="381208" y="2029944"/>
                  </a:lnTo>
                  <a:lnTo>
                    <a:pt x="390740" y="2034710"/>
                  </a:lnTo>
                  <a:lnTo>
                    <a:pt x="400268" y="2034710"/>
                  </a:lnTo>
                  <a:lnTo>
                    <a:pt x="409800" y="2034710"/>
                  </a:lnTo>
                  <a:lnTo>
                    <a:pt x="414564" y="2029944"/>
                  </a:lnTo>
                  <a:lnTo>
                    <a:pt x="428860" y="2015650"/>
                  </a:lnTo>
                  <a:lnTo>
                    <a:pt x="433624" y="2010884"/>
                  </a:lnTo>
                  <a:lnTo>
                    <a:pt x="443156" y="2015650"/>
                  </a:lnTo>
                  <a:lnTo>
                    <a:pt x="452684" y="2006120"/>
                  </a:lnTo>
                  <a:lnTo>
                    <a:pt x="452684" y="2001354"/>
                  </a:lnTo>
                  <a:lnTo>
                    <a:pt x="447920" y="1996588"/>
                  </a:lnTo>
                  <a:lnTo>
                    <a:pt x="438388" y="1991824"/>
                  </a:lnTo>
                  <a:lnTo>
                    <a:pt x="443156" y="1987058"/>
                  </a:lnTo>
                  <a:lnTo>
                    <a:pt x="438388" y="1977528"/>
                  </a:lnTo>
                  <a:lnTo>
                    <a:pt x="443156" y="1967998"/>
                  </a:lnTo>
                  <a:lnTo>
                    <a:pt x="443156" y="1963234"/>
                  </a:lnTo>
                  <a:lnTo>
                    <a:pt x="452684" y="1958468"/>
                  </a:lnTo>
                  <a:lnTo>
                    <a:pt x="447920" y="1944172"/>
                  </a:lnTo>
                  <a:lnTo>
                    <a:pt x="438388" y="1920348"/>
                  </a:lnTo>
                  <a:lnTo>
                    <a:pt x="424096" y="1891756"/>
                  </a:lnTo>
                  <a:lnTo>
                    <a:pt x="414564" y="1867930"/>
                  </a:lnTo>
                  <a:lnTo>
                    <a:pt x="400268" y="1844104"/>
                  </a:lnTo>
                  <a:lnTo>
                    <a:pt x="390740" y="1829810"/>
                  </a:lnTo>
                  <a:lnTo>
                    <a:pt x="390740" y="1796454"/>
                  </a:lnTo>
                  <a:lnTo>
                    <a:pt x="390740" y="1786924"/>
                  </a:lnTo>
                  <a:lnTo>
                    <a:pt x="385972" y="1782158"/>
                  </a:lnTo>
                  <a:lnTo>
                    <a:pt x="376444" y="1782158"/>
                  </a:lnTo>
                  <a:lnTo>
                    <a:pt x="366912" y="1786924"/>
                  </a:lnTo>
                  <a:lnTo>
                    <a:pt x="357384" y="1786924"/>
                  </a:lnTo>
                  <a:lnTo>
                    <a:pt x="338324" y="1786924"/>
                  </a:lnTo>
                  <a:lnTo>
                    <a:pt x="328792" y="1782158"/>
                  </a:lnTo>
                  <a:lnTo>
                    <a:pt x="304968" y="1744038"/>
                  </a:lnTo>
                  <a:lnTo>
                    <a:pt x="300200" y="1734508"/>
                  </a:lnTo>
                  <a:lnTo>
                    <a:pt x="300200" y="1720212"/>
                  </a:lnTo>
                  <a:lnTo>
                    <a:pt x="309732" y="1691620"/>
                  </a:lnTo>
                  <a:lnTo>
                    <a:pt x="309732" y="1672560"/>
                  </a:lnTo>
                  <a:lnTo>
                    <a:pt x="314496" y="1648734"/>
                  </a:lnTo>
                  <a:lnTo>
                    <a:pt x="309732" y="1643970"/>
                  </a:lnTo>
                  <a:lnTo>
                    <a:pt x="304968" y="1634440"/>
                  </a:lnTo>
                  <a:lnTo>
                    <a:pt x="295436" y="1629674"/>
                  </a:lnTo>
                  <a:lnTo>
                    <a:pt x="276376" y="1629674"/>
                  </a:lnTo>
                  <a:lnTo>
                    <a:pt x="247784" y="1620144"/>
                  </a:lnTo>
                  <a:lnTo>
                    <a:pt x="223960" y="1610614"/>
                  </a:lnTo>
                  <a:lnTo>
                    <a:pt x="209664" y="1601084"/>
                  </a:lnTo>
                  <a:lnTo>
                    <a:pt x="209664" y="1596318"/>
                  </a:lnTo>
                  <a:lnTo>
                    <a:pt x="204900" y="1591554"/>
                  </a:lnTo>
                  <a:lnTo>
                    <a:pt x="209664" y="1562962"/>
                  </a:lnTo>
                  <a:lnTo>
                    <a:pt x="214428" y="1534372"/>
                  </a:lnTo>
                  <a:lnTo>
                    <a:pt x="219192" y="1524842"/>
                  </a:lnTo>
                  <a:lnTo>
                    <a:pt x="228724" y="1515312"/>
                  </a:lnTo>
                  <a:lnTo>
                    <a:pt x="233488" y="1510546"/>
                  </a:lnTo>
                  <a:lnTo>
                    <a:pt x="247784" y="1501016"/>
                  </a:lnTo>
                  <a:lnTo>
                    <a:pt x="271612" y="1472424"/>
                  </a:lnTo>
                  <a:lnTo>
                    <a:pt x="295436" y="1434304"/>
                  </a:lnTo>
                  <a:lnTo>
                    <a:pt x="309732" y="1405714"/>
                  </a:lnTo>
                  <a:lnTo>
                    <a:pt x="319260" y="1400948"/>
                  </a:lnTo>
                  <a:lnTo>
                    <a:pt x="328792" y="1391418"/>
                  </a:lnTo>
                  <a:lnTo>
                    <a:pt x="338324" y="1381888"/>
                  </a:lnTo>
                  <a:lnTo>
                    <a:pt x="352616" y="1377122"/>
                  </a:lnTo>
                  <a:lnTo>
                    <a:pt x="366912" y="1377122"/>
                  </a:lnTo>
                  <a:lnTo>
                    <a:pt x="376444" y="1381888"/>
                  </a:lnTo>
                  <a:lnTo>
                    <a:pt x="385972" y="1391418"/>
                  </a:lnTo>
                  <a:lnTo>
                    <a:pt x="390740" y="1410478"/>
                  </a:lnTo>
                  <a:lnTo>
                    <a:pt x="395504" y="1420008"/>
                  </a:lnTo>
                  <a:lnTo>
                    <a:pt x="405032" y="1429538"/>
                  </a:lnTo>
                  <a:lnTo>
                    <a:pt x="414564" y="1429538"/>
                  </a:lnTo>
                  <a:lnTo>
                    <a:pt x="424096" y="1429538"/>
                  </a:lnTo>
                  <a:lnTo>
                    <a:pt x="471744" y="1410478"/>
                  </a:lnTo>
                  <a:lnTo>
                    <a:pt x="490808" y="1405714"/>
                  </a:lnTo>
                  <a:lnTo>
                    <a:pt x="528928" y="1400948"/>
                  </a:lnTo>
                  <a:lnTo>
                    <a:pt x="557516" y="1396184"/>
                  </a:lnTo>
                  <a:lnTo>
                    <a:pt x="581344" y="1386652"/>
                  </a:lnTo>
                  <a:lnTo>
                    <a:pt x="581344" y="1372358"/>
                  </a:lnTo>
                  <a:lnTo>
                    <a:pt x="590872" y="1348532"/>
                  </a:lnTo>
                  <a:lnTo>
                    <a:pt x="619464" y="1319940"/>
                  </a:lnTo>
                  <a:lnTo>
                    <a:pt x="628996" y="1305646"/>
                  </a:lnTo>
                  <a:lnTo>
                    <a:pt x="638524" y="1277054"/>
                  </a:lnTo>
                  <a:lnTo>
                    <a:pt x="648056" y="1257994"/>
                  </a:lnTo>
                  <a:lnTo>
                    <a:pt x="652820" y="1248464"/>
                  </a:lnTo>
                  <a:lnTo>
                    <a:pt x="700472" y="1219874"/>
                  </a:lnTo>
                  <a:lnTo>
                    <a:pt x="743356" y="1196048"/>
                  </a:lnTo>
                  <a:lnTo>
                    <a:pt x="748124" y="1186518"/>
                  </a:lnTo>
                  <a:lnTo>
                    <a:pt x="776712" y="1138866"/>
                  </a:lnTo>
                  <a:lnTo>
                    <a:pt x="795776" y="1105510"/>
                  </a:lnTo>
                  <a:lnTo>
                    <a:pt x="795776" y="1091216"/>
                  </a:lnTo>
                  <a:lnTo>
                    <a:pt x="814836" y="1034034"/>
                  </a:lnTo>
                  <a:lnTo>
                    <a:pt x="829132" y="1029268"/>
                  </a:lnTo>
                  <a:lnTo>
                    <a:pt x="857720" y="1014972"/>
                  </a:lnTo>
                  <a:lnTo>
                    <a:pt x="881548" y="1005442"/>
                  </a:lnTo>
                  <a:lnTo>
                    <a:pt x="895840" y="995912"/>
                  </a:lnTo>
                  <a:lnTo>
                    <a:pt x="900608" y="981618"/>
                  </a:lnTo>
                  <a:lnTo>
                    <a:pt x="900608" y="972086"/>
                  </a:lnTo>
                  <a:lnTo>
                    <a:pt x="895840" y="957792"/>
                  </a:lnTo>
                  <a:lnTo>
                    <a:pt x="895840" y="953026"/>
                  </a:lnTo>
                  <a:lnTo>
                    <a:pt x="895840" y="943496"/>
                  </a:lnTo>
                  <a:lnTo>
                    <a:pt x="914904" y="929200"/>
                  </a:lnTo>
                  <a:lnTo>
                    <a:pt x="948260" y="881550"/>
                  </a:lnTo>
                  <a:lnTo>
                    <a:pt x="967320" y="862488"/>
                  </a:lnTo>
                  <a:lnTo>
                    <a:pt x="972084" y="862488"/>
                  </a:lnTo>
                  <a:lnTo>
                    <a:pt x="991144" y="848194"/>
                  </a:lnTo>
                  <a:lnTo>
                    <a:pt x="1010204" y="833898"/>
                  </a:lnTo>
                  <a:lnTo>
                    <a:pt x="1010204" y="829132"/>
                  </a:lnTo>
                  <a:lnTo>
                    <a:pt x="1010204" y="819602"/>
                  </a:lnTo>
                  <a:lnTo>
                    <a:pt x="995908" y="819602"/>
                  </a:lnTo>
                  <a:lnTo>
                    <a:pt x="995908" y="805308"/>
                  </a:lnTo>
                  <a:lnTo>
                    <a:pt x="995908" y="795778"/>
                  </a:lnTo>
                  <a:lnTo>
                    <a:pt x="1005440" y="757656"/>
                  </a:lnTo>
                  <a:lnTo>
                    <a:pt x="1005440" y="743360"/>
                  </a:lnTo>
                  <a:lnTo>
                    <a:pt x="991144" y="710004"/>
                  </a:lnTo>
                  <a:lnTo>
                    <a:pt x="995908" y="700474"/>
                  </a:lnTo>
                  <a:lnTo>
                    <a:pt x="1000676" y="690944"/>
                  </a:lnTo>
                  <a:lnTo>
                    <a:pt x="1014972" y="676648"/>
                  </a:lnTo>
                  <a:lnTo>
                    <a:pt x="1029264" y="667118"/>
                  </a:lnTo>
                  <a:lnTo>
                    <a:pt x="1081680" y="643294"/>
                  </a:lnTo>
                  <a:lnTo>
                    <a:pt x="1091212" y="638528"/>
                  </a:lnTo>
                  <a:lnTo>
                    <a:pt x="1110272" y="633762"/>
                  </a:lnTo>
                  <a:lnTo>
                    <a:pt x="1119804" y="619468"/>
                  </a:lnTo>
                  <a:lnTo>
                    <a:pt x="1119804" y="605172"/>
                  </a:lnTo>
                  <a:lnTo>
                    <a:pt x="1115036" y="600406"/>
                  </a:lnTo>
                  <a:lnTo>
                    <a:pt x="1105508" y="590876"/>
                  </a:lnTo>
                  <a:lnTo>
                    <a:pt x="1086448" y="581346"/>
                  </a:lnTo>
                  <a:lnTo>
                    <a:pt x="1067388" y="571816"/>
                  </a:lnTo>
                  <a:lnTo>
                    <a:pt x="1034032" y="571816"/>
                  </a:lnTo>
                  <a:lnTo>
                    <a:pt x="1019736" y="567052"/>
                  </a:lnTo>
                  <a:lnTo>
                    <a:pt x="1014972" y="562286"/>
                  </a:lnTo>
                  <a:lnTo>
                    <a:pt x="1014972" y="547990"/>
                  </a:lnTo>
                  <a:lnTo>
                    <a:pt x="1014972" y="519400"/>
                  </a:lnTo>
                  <a:lnTo>
                    <a:pt x="1010204" y="514634"/>
                  </a:lnTo>
                  <a:lnTo>
                    <a:pt x="1005440" y="519400"/>
                  </a:lnTo>
                  <a:lnTo>
                    <a:pt x="991144" y="514634"/>
                  </a:lnTo>
                  <a:lnTo>
                    <a:pt x="967320" y="514634"/>
                  </a:lnTo>
                  <a:lnTo>
                    <a:pt x="962552" y="509870"/>
                  </a:lnTo>
                  <a:lnTo>
                    <a:pt x="962552" y="500340"/>
                  </a:lnTo>
                  <a:lnTo>
                    <a:pt x="962552" y="486044"/>
                  </a:lnTo>
                  <a:lnTo>
                    <a:pt x="962552" y="476514"/>
                  </a:lnTo>
                  <a:lnTo>
                    <a:pt x="957788" y="471748"/>
                  </a:lnTo>
                  <a:lnTo>
                    <a:pt x="948260" y="466984"/>
                  </a:lnTo>
                  <a:lnTo>
                    <a:pt x="933964" y="457454"/>
                  </a:lnTo>
                  <a:lnTo>
                    <a:pt x="919668" y="447922"/>
                  </a:lnTo>
                  <a:lnTo>
                    <a:pt x="914904" y="438392"/>
                  </a:lnTo>
                  <a:lnTo>
                    <a:pt x="910136" y="433628"/>
                  </a:lnTo>
                  <a:lnTo>
                    <a:pt x="914904" y="428862"/>
                  </a:lnTo>
                  <a:lnTo>
                    <a:pt x="919668" y="414568"/>
                  </a:lnTo>
                  <a:lnTo>
                    <a:pt x="933964" y="400272"/>
                  </a:lnTo>
                  <a:lnTo>
                    <a:pt x="933964" y="385976"/>
                  </a:lnTo>
                  <a:lnTo>
                    <a:pt x="938728" y="376446"/>
                  </a:lnTo>
                  <a:lnTo>
                    <a:pt x="933964" y="371680"/>
                  </a:lnTo>
                  <a:lnTo>
                    <a:pt x="924432" y="362150"/>
                  </a:lnTo>
                  <a:lnTo>
                    <a:pt x="914904" y="352620"/>
                  </a:lnTo>
                  <a:lnTo>
                    <a:pt x="910136" y="347856"/>
                  </a:lnTo>
                  <a:lnTo>
                    <a:pt x="910136" y="338324"/>
                  </a:lnTo>
                  <a:lnTo>
                    <a:pt x="914904" y="324030"/>
                  </a:lnTo>
                  <a:lnTo>
                    <a:pt x="924432" y="314500"/>
                  </a:lnTo>
                  <a:lnTo>
                    <a:pt x="948260" y="304970"/>
                  </a:lnTo>
                  <a:lnTo>
                    <a:pt x="953024" y="295438"/>
                  </a:lnTo>
                  <a:lnTo>
                    <a:pt x="953024" y="285908"/>
                  </a:lnTo>
                  <a:lnTo>
                    <a:pt x="948260" y="285908"/>
                  </a:lnTo>
                  <a:lnTo>
                    <a:pt x="929196" y="285908"/>
                  </a:lnTo>
                  <a:lnTo>
                    <a:pt x="905372" y="281144"/>
                  </a:lnTo>
                  <a:lnTo>
                    <a:pt x="900608" y="276378"/>
                  </a:lnTo>
                  <a:lnTo>
                    <a:pt x="900608" y="271614"/>
                  </a:lnTo>
                  <a:lnTo>
                    <a:pt x="900608" y="266848"/>
                  </a:lnTo>
                  <a:lnTo>
                    <a:pt x="905372" y="257318"/>
                  </a:lnTo>
                  <a:lnTo>
                    <a:pt x="910136" y="247788"/>
                  </a:lnTo>
                  <a:lnTo>
                    <a:pt x="910136" y="243022"/>
                  </a:lnTo>
                  <a:lnTo>
                    <a:pt x="900608" y="233492"/>
                  </a:lnTo>
                  <a:lnTo>
                    <a:pt x="881548" y="223962"/>
                  </a:lnTo>
                  <a:lnTo>
                    <a:pt x="881548" y="214432"/>
                  </a:lnTo>
                  <a:lnTo>
                    <a:pt x="881548" y="204902"/>
                  </a:lnTo>
                  <a:lnTo>
                    <a:pt x="891076" y="195372"/>
                  </a:lnTo>
                  <a:lnTo>
                    <a:pt x="895840" y="185840"/>
                  </a:lnTo>
                  <a:lnTo>
                    <a:pt x="905372" y="162016"/>
                  </a:lnTo>
                  <a:lnTo>
                    <a:pt x="919668" y="157250"/>
                  </a:lnTo>
                  <a:lnTo>
                    <a:pt x="938728" y="147720"/>
                  </a:lnTo>
                  <a:lnTo>
                    <a:pt x="957788" y="142954"/>
                  </a:lnTo>
                  <a:lnTo>
                    <a:pt x="991144" y="147720"/>
                  </a:lnTo>
                  <a:lnTo>
                    <a:pt x="1005440" y="152486"/>
                  </a:lnTo>
                  <a:lnTo>
                    <a:pt x="1034032" y="157250"/>
                  </a:lnTo>
                  <a:lnTo>
                    <a:pt x="1062620" y="162016"/>
                  </a:lnTo>
                  <a:lnTo>
                    <a:pt x="1086448" y="166780"/>
                  </a:lnTo>
                  <a:lnTo>
                    <a:pt x="1100744" y="166780"/>
                  </a:lnTo>
                  <a:lnTo>
                    <a:pt x="1110272" y="171546"/>
                  </a:lnTo>
                  <a:lnTo>
                    <a:pt x="1138864" y="185840"/>
                  </a:lnTo>
                  <a:lnTo>
                    <a:pt x="1162688" y="190606"/>
                  </a:lnTo>
                  <a:lnTo>
                    <a:pt x="1181748" y="190606"/>
                  </a:lnTo>
                  <a:lnTo>
                    <a:pt x="1205576" y="181076"/>
                  </a:lnTo>
                  <a:lnTo>
                    <a:pt x="1215104" y="171546"/>
                  </a:lnTo>
                  <a:lnTo>
                    <a:pt x="1234168" y="157250"/>
                  </a:lnTo>
                  <a:lnTo>
                    <a:pt x="1253228" y="157250"/>
                  </a:lnTo>
                  <a:lnTo>
                    <a:pt x="1296112" y="142954"/>
                  </a:lnTo>
                  <a:lnTo>
                    <a:pt x="1305644" y="142954"/>
                  </a:lnTo>
                  <a:lnTo>
                    <a:pt x="1319940" y="147720"/>
                  </a:lnTo>
                  <a:lnTo>
                    <a:pt x="1334232" y="138190"/>
                  </a:lnTo>
                  <a:lnTo>
                    <a:pt x="1343764" y="123894"/>
                  </a:lnTo>
                  <a:lnTo>
                    <a:pt x="1343764" y="119130"/>
                  </a:lnTo>
                  <a:lnTo>
                    <a:pt x="1348528" y="114364"/>
                  </a:lnTo>
                  <a:lnTo>
                    <a:pt x="1362824" y="109598"/>
                  </a:lnTo>
                  <a:lnTo>
                    <a:pt x="1381884" y="95304"/>
                  </a:lnTo>
                  <a:lnTo>
                    <a:pt x="1386652" y="85774"/>
                  </a:lnTo>
                  <a:lnTo>
                    <a:pt x="1391416" y="76244"/>
                  </a:lnTo>
                  <a:lnTo>
                    <a:pt x="1429536" y="52418"/>
                  </a:lnTo>
                  <a:lnTo>
                    <a:pt x="1448596" y="38122"/>
                  </a:lnTo>
                  <a:lnTo>
                    <a:pt x="1472424" y="23826"/>
                  </a:lnTo>
                  <a:lnTo>
                    <a:pt x="1491484" y="953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62" name="Google Shape;4629;p64">
              <a:extLst>
                <a:ext uri="{FF2B5EF4-FFF2-40B4-BE49-F238E27FC236}">
                  <a16:creationId xmlns:a16="http://schemas.microsoft.com/office/drawing/2014/main" id="{6805B6E2-A1AE-7213-9480-BBED7167FE49}"/>
                </a:ext>
              </a:extLst>
            </p:cNvPr>
            <p:cNvCxnSpPr/>
            <p:nvPr/>
          </p:nvCxnSpPr>
          <p:spPr>
            <a:xfrm>
              <a:off x="6218258" y="4265534"/>
              <a:ext cx="0" cy="0"/>
            </a:xfrm>
            <a:prstGeom prst="straightConnector1">
              <a:avLst/>
            </a:prstGeom>
            <a:grpFill/>
            <a:ln w="9525" cap="flat" cmpd="sng">
              <a:solidFill>
                <a:schemeClr val="bg2"/>
              </a:solidFill>
              <a:prstDash val="solid"/>
              <a:round/>
              <a:headEnd type="none" w="med" len="med"/>
              <a:tailEnd type="none" w="med" len="med"/>
            </a:ln>
          </p:spPr>
        </p:cxnSp>
        <p:cxnSp>
          <p:nvCxnSpPr>
            <p:cNvPr id="163" name="Google Shape;4630;p64">
              <a:extLst>
                <a:ext uri="{FF2B5EF4-FFF2-40B4-BE49-F238E27FC236}">
                  <a16:creationId xmlns:a16="http://schemas.microsoft.com/office/drawing/2014/main" id="{51F2CE31-AA8C-9DB5-48B0-28ED87634012}"/>
                </a:ext>
              </a:extLst>
            </p:cNvPr>
            <p:cNvCxnSpPr/>
            <p:nvPr/>
          </p:nvCxnSpPr>
          <p:spPr>
            <a:xfrm>
              <a:off x="6218258" y="4265534"/>
              <a:ext cx="0" cy="0"/>
            </a:xfrm>
            <a:prstGeom prst="straightConnector1">
              <a:avLst/>
            </a:prstGeom>
            <a:grpFill/>
            <a:ln w="9525" cap="flat" cmpd="sng">
              <a:solidFill>
                <a:schemeClr val="bg2"/>
              </a:solidFill>
              <a:prstDash val="solid"/>
              <a:round/>
              <a:headEnd type="none" w="med" len="med"/>
              <a:tailEnd type="none" w="med" len="med"/>
            </a:ln>
          </p:spPr>
        </p:cxnSp>
        <p:grpSp>
          <p:nvGrpSpPr>
            <p:cNvPr id="164" name="Google Shape;4631;p64">
              <a:extLst>
                <a:ext uri="{FF2B5EF4-FFF2-40B4-BE49-F238E27FC236}">
                  <a16:creationId xmlns:a16="http://schemas.microsoft.com/office/drawing/2014/main" id="{CC033280-A2CC-544D-4FAD-54F85223180E}"/>
                </a:ext>
              </a:extLst>
            </p:cNvPr>
            <p:cNvGrpSpPr/>
            <p:nvPr/>
          </p:nvGrpSpPr>
          <p:grpSpPr>
            <a:xfrm>
              <a:off x="6081745" y="5145652"/>
              <a:ext cx="2625" cy="4594"/>
              <a:chOff x="39929753" y="28174372"/>
              <a:chExt cx="19061" cy="33356"/>
            </a:xfrm>
            <a:grpFill/>
          </p:grpSpPr>
          <p:sp>
            <p:nvSpPr>
              <p:cNvPr id="165" name="Google Shape;4632;p64">
                <a:extLst>
                  <a:ext uri="{FF2B5EF4-FFF2-40B4-BE49-F238E27FC236}">
                    <a16:creationId xmlns:a16="http://schemas.microsoft.com/office/drawing/2014/main" id="{6AD1E025-7E34-C963-3A15-664D3D69293D}"/>
                  </a:ext>
                </a:extLst>
              </p:cNvPr>
              <p:cNvSpPr/>
              <p:nvPr/>
            </p:nvSpPr>
            <p:spPr>
              <a:xfrm>
                <a:off x="39929753" y="28174372"/>
                <a:ext cx="19061" cy="33356"/>
              </a:xfrm>
              <a:custGeom>
                <a:avLst/>
                <a:gdLst/>
                <a:ahLst/>
                <a:cxnLst/>
                <a:rect l="l" t="t" r="r" b="b"/>
                <a:pathLst>
                  <a:path w="8" h="14" extrusionOk="0">
                    <a:moveTo>
                      <a:pt x="8" y="10"/>
                    </a:moveTo>
                    <a:lnTo>
                      <a:pt x="8" y="4"/>
                    </a:lnTo>
                    <a:lnTo>
                      <a:pt x="8" y="2"/>
                    </a:lnTo>
                    <a:lnTo>
                      <a:pt x="6" y="0"/>
                    </a:lnTo>
                    <a:lnTo>
                      <a:pt x="4" y="0"/>
                    </a:lnTo>
                    <a:lnTo>
                      <a:pt x="6" y="2"/>
                    </a:lnTo>
                    <a:lnTo>
                      <a:pt x="8" y="4"/>
                    </a:lnTo>
                    <a:lnTo>
                      <a:pt x="6" y="6"/>
                    </a:lnTo>
                    <a:lnTo>
                      <a:pt x="6" y="8"/>
                    </a:lnTo>
                    <a:lnTo>
                      <a:pt x="6" y="10"/>
                    </a:lnTo>
                    <a:lnTo>
                      <a:pt x="4" y="4"/>
                    </a:lnTo>
                    <a:lnTo>
                      <a:pt x="0" y="2"/>
                    </a:lnTo>
                    <a:lnTo>
                      <a:pt x="0" y="2"/>
                    </a:lnTo>
                    <a:lnTo>
                      <a:pt x="2" y="6"/>
                    </a:lnTo>
                    <a:lnTo>
                      <a:pt x="4" y="14"/>
                    </a:lnTo>
                    <a:lnTo>
                      <a:pt x="8" y="12"/>
                    </a:lnTo>
                    <a:lnTo>
                      <a:pt x="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166" name="Google Shape;4633;p64">
                <a:extLst>
                  <a:ext uri="{FF2B5EF4-FFF2-40B4-BE49-F238E27FC236}">
                    <a16:creationId xmlns:a16="http://schemas.microsoft.com/office/drawing/2014/main" id="{EB1BF7CA-ACFE-70B1-9985-6B621166B9B0}"/>
                  </a:ext>
                </a:extLst>
              </p:cNvPr>
              <p:cNvCxnSpPr/>
              <p:nvPr/>
            </p:nvCxnSpPr>
            <p:spPr>
              <a:xfrm>
                <a:off x="39948813" y="28198200"/>
                <a:ext cx="0" cy="0"/>
              </a:xfrm>
              <a:prstGeom prst="straightConnector1">
                <a:avLst/>
              </a:prstGeom>
              <a:grpFill/>
              <a:ln w="9525" cap="flat" cmpd="sng">
                <a:solidFill>
                  <a:schemeClr val="bg2"/>
                </a:solidFill>
                <a:prstDash val="solid"/>
                <a:round/>
                <a:headEnd type="none" w="med" len="med"/>
                <a:tailEnd type="none" w="med" len="med"/>
              </a:ln>
            </p:spPr>
          </p:cxnSp>
          <p:cxnSp>
            <p:nvCxnSpPr>
              <p:cNvPr id="167" name="Google Shape;4634;p64">
                <a:extLst>
                  <a:ext uri="{FF2B5EF4-FFF2-40B4-BE49-F238E27FC236}">
                    <a16:creationId xmlns:a16="http://schemas.microsoft.com/office/drawing/2014/main" id="{EA1A0337-87E3-979E-3A05-845B63F590F6}"/>
                  </a:ext>
                </a:extLst>
              </p:cNvPr>
              <p:cNvCxnSpPr/>
              <p:nvPr/>
            </p:nvCxnSpPr>
            <p:spPr>
              <a:xfrm>
                <a:off x="39948813" y="28198200"/>
                <a:ext cx="0" cy="0"/>
              </a:xfrm>
              <a:prstGeom prst="straightConnector1">
                <a:avLst/>
              </a:prstGeom>
              <a:grpFill/>
              <a:ln w="9525" cap="flat" cmpd="sng">
                <a:solidFill>
                  <a:schemeClr val="bg2"/>
                </a:solidFill>
                <a:prstDash val="solid"/>
                <a:round/>
                <a:headEnd type="none" w="med" len="med"/>
                <a:tailEnd type="none" w="med" len="med"/>
              </a:ln>
            </p:spPr>
          </p:cxnSp>
        </p:grpSp>
        <p:sp>
          <p:nvSpPr>
            <p:cNvPr id="168" name="Google Shape;4635;p64">
              <a:extLst>
                <a:ext uri="{FF2B5EF4-FFF2-40B4-BE49-F238E27FC236}">
                  <a16:creationId xmlns:a16="http://schemas.microsoft.com/office/drawing/2014/main" id="{39E39665-1498-8CFC-9539-3ECA632E18AD}"/>
                </a:ext>
              </a:extLst>
            </p:cNvPr>
            <p:cNvSpPr/>
            <p:nvPr/>
          </p:nvSpPr>
          <p:spPr>
            <a:xfrm>
              <a:off x="4301163" y="3553434"/>
              <a:ext cx="93853" cy="140451"/>
            </a:xfrm>
            <a:custGeom>
              <a:avLst/>
              <a:gdLst/>
              <a:ahLst/>
              <a:cxnLst/>
              <a:rect l="l" t="t" r="r" b="b"/>
              <a:pathLst>
                <a:path w="454024" h="679450" extrusionOk="0">
                  <a:moveTo>
                    <a:pt x="22224" y="241300"/>
                  </a:moveTo>
                  <a:lnTo>
                    <a:pt x="28576" y="244475"/>
                  </a:lnTo>
                  <a:lnTo>
                    <a:pt x="41276" y="244475"/>
                  </a:lnTo>
                  <a:lnTo>
                    <a:pt x="47624" y="247650"/>
                  </a:lnTo>
                  <a:lnTo>
                    <a:pt x="47624" y="260350"/>
                  </a:lnTo>
                  <a:lnTo>
                    <a:pt x="47624" y="263525"/>
                  </a:lnTo>
                  <a:lnTo>
                    <a:pt x="38100" y="257175"/>
                  </a:lnTo>
                  <a:lnTo>
                    <a:pt x="34924" y="250825"/>
                  </a:lnTo>
                  <a:lnTo>
                    <a:pt x="15876" y="247650"/>
                  </a:lnTo>
                  <a:close/>
                  <a:moveTo>
                    <a:pt x="317500" y="0"/>
                  </a:moveTo>
                  <a:lnTo>
                    <a:pt x="323850" y="0"/>
                  </a:lnTo>
                  <a:lnTo>
                    <a:pt x="327024" y="0"/>
                  </a:lnTo>
                  <a:lnTo>
                    <a:pt x="339724" y="9525"/>
                  </a:lnTo>
                  <a:lnTo>
                    <a:pt x="349250" y="15875"/>
                  </a:lnTo>
                  <a:lnTo>
                    <a:pt x="358776" y="22225"/>
                  </a:lnTo>
                  <a:lnTo>
                    <a:pt x="349250" y="31750"/>
                  </a:lnTo>
                  <a:lnTo>
                    <a:pt x="336550" y="41275"/>
                  </a:lnTo>
                  <a:lnTo>
                    <a:pt x="330200" y="47625"/>
                  </a:lnTo>
                  <a:lnTo>
                    <a:pt x="314324" y="60325"/>
                  </a:lnTo>
                  <a:lnTo>
                    <a:pt x="311150" y="63500"/>
                  </a:lnTo>
                  <a:lnTo>
                    <a:pt x="307976" y="82550"/>
                  </a:lnTo>
                  <a:lnTo>
                    <a:pt x="307976" y="85725"/>
                  </a:lnTo>
                  <a:lnTo>
                    <a:pt x="301624" y="95250"/>
                  </a:lnTo>
                  <a:lnTo>
                    <a:pt x="298450" y="107950"/>
                  </a:lnTo>
                  <a:lnTo>
                    <a:pt x="292100" y="111125"/>
                  </a:lnTo>
                  <a:lnTo>
                    <a:pt x="282576" y="114300"/>
                  </a:lnTo>
                  <a:lnTo>
                    <a:pt x="276224" y="117475"/>
                  </a:lnTo>
                  <a:lnTo>
                    <a:pt x="269876" y="117475"/>
                  </a:lnTo>
                  <a:lnTo>
                    <a:pt x="263524" y="117475"/>
                  </a:lnTo>
                  <a:lnTo>
                    <a:pt x="260350" y="120650"/>
                  </a:lnTo>
                  <a:lnTo>
                    <a:pt x="260350" y="123825"/>
                  </a:lnTo>
                  <a:lnTo>
                    <a:pt x="263524" y="123825"/>
                  </a:lnTo>
                  <a:lnTo>
                    <a:pt x="269876" y="130175"/>
                  </a:lnTo>
                  <a:lnTo>
                    <a:pt x="276224" y="133350"/>
                  </a:lnTo>
                  <a:lnTo>
                    <a:pt x="276224" y="139700"/>
                  </a:lnTo>
                  <a:lnTo>
                    <a:pt x="273050" y="142875"/>
                  </a:lnTo>
                  <a:lnTo>
                    <a:pt x="244476" y="152400"/>
                  </a:lnTo>
                  <a:lnTo>
                    <a:pt x="238124" y="158750"/>
                  </a:lnTo>
                  <a:lnTo>
                    <a:pt x="234950" y="165100"/>
                  </a:lnTo>
                  <a:lnTo>
                    <a:pt x="238124" y="171450"/>
                  </a:lnTo>
                  <a:lnTo>
                    <a:pt x="260350" y="190500"/>
                  </a:lnTo>
                  <a:lnTo>
                    <a:pt x="263524" y="193675"/>
                  </a:lnTo>
                  <a:lnTo>
                    <a:pt x="266700" y="206375"/>
                  </a:lnTo>
                  <a:lnTo>
                    <a:pt x="282576" y="212725"/>
                  </a:lnTo>
                  <a:lnTo>
                    <a:pt x="292100" y="219075"/>
                  </a:lnTo>
                  <a:lnTo>
                    <a:pt x="298450" y="222250"/>
                  </a:lnTo>
                  <a:lnTo>
                    <a:pt x="311150" y="219075"/>
                  </a:lnTo>
                  <a:lnTo>
                    <a:pt x="317500" y="222250"/>
                  </a:lnTo>
                  <a:lnTo>
                    <a:pt x="320676" y="222250"/>
                  </a:lnTo>
                  <a:lnTo>
                    <a:pt x="323850" y="215900"/>
                  </a:lnTo>
                  <a:lnTo>
                    <a:pt x="333376" y="206375"/>
                  </a:lnTo>
                  <a:lnTo>
                    <a:pt x="339724" y="203200"/>
                  </a:lnTo>
                  <a:lnTo>
                    <a:pt x="336550" y="196850"/>
                  </a:lnTo>
                  <a:lnTo>
                    <a:pt x="333376" y="190500"/>
                  </a:lnTo>
                  <a:lnTo>
                    <a:pt x="339724" y="180975"/>
                  </a:lnTo>
                  <a:lnTo>
                    <a:pt x="349250" y="171450"/>
                  </a:lnTo>
                  <a:lnTo>
                    <a:pt x="352424" y="171450"/>
                  </a:lnTo>
                  <a:lnTo>
                    <a:pt x="361950" y="177800"/>
                  </a:lnTo>
                  <a:lnTo>
                    <a:pt x="368300" y="187325"/>
                  </a:lnTo>
                  <a:lnTo>
                    <a:pt x="368300" y="190500"/>
                  </a:lnTo>
                  <a:lnTo>
                    <a:pt x="368300" y="196850"/>
                  </a:lnTo>
                  <a:lnTo>
                    <a:pt x="374650" y="206375"/>
                  </a:lnTo>
                  <a:lnTo>
                    <a:pt x="377824" y="209550"/>
                  </a:lnTo>
                  <a:lnTo>
                    <a:pt x="387350" y="212725"/>
                  </a:lnTo>
                  <a:lnTo>
                    <a:pt x="390524" y="215900"/>
                  </a:lnTo>
                  <a:lnTo>
                    <a:pt x="390524" y="228600"/>
                  </a:lnTo>
                  <a:lnTo>
                    <a:pt x="390524" y="234950"/>
                  </a:lnTo>
                  <a:lnTo>
                    <a:pt x="400050" y="234950"/>
                  </a:lnTo>
                  <a:lnTo>
                    <a:pt x="412750" y="231775"/>
                  </a:lnTo>
                  <a:lnTo>
                    <a:pt x="415924" y="234950"/>
                  </a:lnTo>
                  <a:lnTo>
                    <a:pt x="419100" y="231775"/>
                  </a:lnTo>
                  <a:lnTo>
                    <a:pt x="425450" y="228600"/>
                  </a:lnTo>
                  <a:lnTo>
                    <a:pt x="434976" y="228600"/>
                  </a:lnTo>
                  <a:lnTo>
                    <a:pt x="441324" y="234950"/>
                  </a:lnTo>
                  <a:lnTo>
                    <a:pt x="441324" y="241300"/>
                  </a:lnTo>
                  <a:lnTo>
                    <a:pt x="434976" y="244475"/>
                  </a:lnTo>
                  <a:lnTo>
                    <a:pt x="425450" y="241300"/>
                  </a:lnTo>
                  <a:lnTo>
                    <a:pt x="422276" y="247650"/>
                  </a:lnTo>
                  <a:lnTo>
                    <a:pt x="422276" y="254000"/>
                  </a:lnTo>
                  <a:lnTo>
                    <a:pt x="425450" y="266700"/>
                  </a:lnTo>
                  <a:lnTo>
                    <a:pt x="431800" y="273050"/>
                  </a:lnTo>
                  <a:lnTo>
                    <a:pt x="434976" y="288925"/>
                  </a:lnTo>
                  <a:lnTo>
                    <a:pt x="438150" y="307975"/>
                  </a:lnTo>
                  <a:lnTo>
                    <a:pt x="444500" y="317500"/>
                  </a:lnTo>
                  <a:lnTo>
                    <a:pt x="444500" y="333375"/>
                  </a:lnTo>
                  <a:lnTo>
                    <a:pt x="444500" y="339725"/>
                  </a:lnTo>
                  <a:lnTo>
                    <a:pt x="444500" y="352425"/>
                  </a:lnTo>
                  <a:lnTo>
                    <a:pt x="441324" y="355600"/>
                  </a:lnTo>
                  <a:lnTo>
                    <a:pt x="444500" y="368300"/>
                  </a:lnTo>
                  <a:lnTo>
                    <a:pt x="450850" y="390525"/>
                  </a:lnTo>
                  <a:lnTo>
                    <a:pt x="454024" y="403225"/>
                  </a:lnTo>
                  <a:lnTo>
                    <a:pt x="454024" y="431800"/>
                  </a:lnTo>
                  <a:lnTo>
                    <a:pt x="450850" y="441325"/>
                  </a:lnTo>
                  <a:lnTo>
                    <a:pt x="444500" y="454025"/>
                  </a:lnTo>
                  <a:lnTo>
                    <a:pt x="441324" y="463550"/>
                  </a:lnTo>
                  <a:lnTo>
                    <a:pt x="438150" y="476250"/>
                  </a:lnTo>
                  <a:lnTo>
                    <a:pt x="434976" y="498475"/>
                  </a:lnTo>
                  <a:lnTo>
                    <a:pt x="422276" y="520700"/>
                  </a:lnTo>
                  <a:lnTo>
                    <a:pt x="415924" y="527050"/>
                  </a:lnTo>
                  <a:lnTo>
                    <a:pt x="409576" y="530225"/>
                  </a:lnTo>
                  <a:lnTo>
                    <a:pt x="425450" y="549275"/>
                  </a:lnTo>
                  <a:lnTo>
                    <a:pt x="412750" y="555625"/>
                  </a:lnTo>
                  <a:lnTo>
                    <a:pt x="400050" y="558800"/>
                  </a:lnTo>
                  <a:lnTo>
                    <a:pt x="384176" y="555625"/>
                  </a:lnTo>
                  <a:lnTo>
                    <a:pt x="377824" y="555625"/>
                  </a:lnTo>
                  <a:lnTo>
                    <a:pt x="368300" y="558800"/>
                  </a:lnTo>
                  <a:lnTo>
                    <a:pt x="365124" y="561975"/>
                  </a:lnTo>
                  <a:lnTo>
                    <a:pt x="361950" y="561975"/>
                  </a:lnTo>
                  <a:lnTo>
                    <a:pt x="358776" y="549275"/>
                  </a:lnTo>
                  <a:lnTo>
                    <a:pt x="352424" y="561975"/>
                  </a:lnTo>
                  <a:lnTo>
                    <a:pt x="346076" y="565150"/>
                  </a:lnTo>
                  <a:lnTo>
                    <a:pt x="330200" y="565150"/>
                  </a:lnTo>
                  <a:lnTo>
                    <a:pt x="307976" y="568325"/>
                  </a:lnTo>
                  <a:lnTo>
                    <a:pt x="298450" y="574675"/>
                  </a:lnTo>
                  <a:lnTo>
                    <a:pt x="295276" y="581025"/>
                  </a:lnTo>
                  <a:lnTo>
                    <a:pt x="292100" y="587375"/>
                  </a:lnTo>
                  <a:lnTo>
                    <a:pt x="288924" y="590550"/>
                  </a:lnTo>
                  <a:lnTo>
                    <a:pt x="285750" y="593725"/>
                  </a:lnTo>
                  <a:lnTo>
                    <a:pt x="266700" y="600075"/>
                  </a:lnTo>
                  <a:lnTo>
                    <a:pt x="263524" y="600075"/>
                  </a:lnTo>
                  <a:lnTo>
                    <a:pt x="254000" y="612775"/>
                  </a:lnTo>
                  <a:lnTo>
                    <a:pt x="244476" y="619125"/>
                  </a:lnTo>
                  <a:lnTo>
                    <a:pt x="234950" y="622300"/>
                  </a:lnTo>
                  <a:lnTo>
                    <a:pt x="225424" y="615950"/>
                  </a:lnTo>
                  <a:lnTo>
                    <a:pt x="222250" y="609600"/>
                  </a:lnTo>
                  <a:lnTo>
                    <a:pt x="219076" y="609600"/>
                  </a:lnTo>
                  <a:lnTo>
                    <a:pt x="212724" y="609600"/>
                  </a:lnTo>
                  <a:lnTo>
                    <a:pt x="215900" y="615950"/>
                  </a:lnTo>
                  <a:lnTo>
                    <a:pt x="215900" y="625475"/>
                  </a:lnTo>
                  <a:lnTo>
                    <a:pt x="212724" y="635000"/>
                  </a:lnTo>
                  <a:lnTo>
                    <a:pt x="206376" y="638175"/>
                  </a:lnTo>
                  <a:lnTo>
                    <a:pt x="200024" y="641350"/>
                  </a:lnTo>
                  <a:lnTo>
                    <a:pt x="190500" y="650875"/>
                  </a:lnTo>
                  <a:lnTo>
                    <a:pt x="174624" y="650875"/>
                  </a:lnTo>
                  <a:lnTo>
                    <a:pt x="165100" y="660400"/>
                  </a:lnTo>
                  <a:lnTo>
                    <a:pt x="114300" y="673100"/>
                  </a:lnTo>
                  <a:lnTo>
                    <a:pt x="111124" y="673100"/>
                  </a:lnTo>
                  <a:lnTo>
                    <a:pt x="104776" y="669925"/>
                  </a:lnTo>
                  <a:lnTo>
                    <a:pt x="98424" y="669925"/>
                  </a:lnTo>
                  <a:lnTo>
                    <a:pt x="92076" y="669925"/>
                  </a:lnTo>
                  <a:lnTo>
                    <a:pt x="69850" y="679450"/>
                  </a:lnTo>
                  <a:lnTo>
                    <a:pt x="60324" y="676275"/>
                  </a:lnTo>
                  <a:lnTo>
                    <a:pt x="73024" y="657225"/>
                  </a:lnTo>
                  <a:lnTo>
                    <a:pt x="88900" y="647700"/>
                  </a:lnTo>
                  <a:lnTo>
                    <a:pt x="92076" y="644525"/>
                  </a:lnTo>
                  <a:lnTo>
                    <a:pt x="85724" y="641350"/>
                  </a:lnTo>
                  <a:lnTo>
                    <a:pt x="53976" y="650875"/>
                  </a:lnTo>
                  <a:lnTo>
                    <a:pt x="41276" y="657225"/>
                  </a:lnTo>
                  <a:lnTo>
                    <a:pt x="28576" y="657225"/>
                  </a:lnTo>
                  <a:lnTo>
                    <a:pt x="34924" y="647700"/>
                  </a:lnTo>
                  <a:lnTo>
                    <a:pt x="50800" y="635000"/>
                  </a:lnTo>
                  <a:lnTo>
                    <a:pt x="57150" y="628650"/>
                  </a:lnTo>
                  <a:lnTo>
                    <a:pt x="63500" y="628650"/>
                  </a:lnTo>
                  <a:lnTo>
                    <a:pt x="66676" y="619125"/>
                  </a:lnTo>
                  <a:lnTo>
                    <a:pt x="82550" y="612775"/>
                  </a:lnTo>
                  <a:lnTo>
                    <a:pt x="34924" y="628650"/>
                  </a:lnTo>
                  <a:lnTo>
                    <a:pt x="19050" y="625475"/>
                  </a:lnTo>
                  <a:lnTo>
                    <a:pt x="15876" y="622300"/>
                  </a:lnTo>
                  <a:lnTo>
                    <a:pt x="6350" y="625475"/>
                  </a:lnTo>
                  <a:lnTo>
                    <a:pt x="3176" y="612775"/>
                  </a:lnTo>
                  <a:lnTo>
                    <a:pt x="19050" y="593725"/>
                  </a:lnTo>
                  <a:lnTo>
                    <a:pt x="25400" y="587375"/>
                  </a:lnTo>
                  <a:lnTo>
                    <a:pt x="38100" y="584200"/>
                  </a:lnTo>
                  <a:lnTo>
                    <a:pt x="47624" y="577850"/>
                  </a:lnTo>
                  <a:lnTo>
                    <a:pt x="50800" y="568325"/>
                  </a:lnTo>
                  <a:lnTo>
                    <a:pt x="47624" y="568325"/>
                  </a:lnTo>
                  <a:lnTo>
                    <a:pt x="15876" y="568325"/>
                  </a:lnTo>
                  <a:lnTo>
                    <a:pt x="0" y="568325"/>
                  </a:lnTo>
                  <a:lnTo>
                    <a:pt x="3176" y="561975"/>
                  </a:lnTo>
                  <a:lnTo>
                    <a:pt x="6350" y="555625"/>
                  </a:lnTo>
                  <a:lnTo>
                    <a:pt x="19050" y="546100"/>
                  </a:lnTo>
                  <a:lnTo>
                    <a:pt x="28576" y="542925"/>
                  </a:lnTo>
                  <a:lnTo>
                    <a:pt x="34924" y="542925"/>
                  </a:lnTo>
                  <a:lnTo>
                    <a:pt x="41276" y="546100"/>
                  </a:lnTo>
                  <a:lnTo>
                    <a:pt x="47624" y="549275"/>
                  </a:lnTo>
                  <a:lnTo>
                    <a:pt x="66676" y="549275"/>
                  </a:lnTo>
                  <a:lnTo>
                    <a:pt x="60324" y="539750"/>
                  </a:lnTo>
                  <a:lnTo>
                    <a:pt x="57150" y="527050"/>
                  </a:lnTo>
                  <a:lnTo>
                    <a:pt x="50800" y="520700"/>
                  </a:lnTo>
                  <a:lnTo>
                    <a:pt x="60324" y="514350"/>
                  </a:lnTo>
                  <a:lnTo>
                    <a:pt x="66676" y="511175"/>
                  </a:lnTo>
                  <a:lnTo>
                    <a:pt x="79376" y="498475"/>
                  </a:lnTo>
                  <a:lnTo>
                    <a:pt x="85724" y="495300"/>
                  </a:lnTo>
                  <a:lnTo>
                    <a:pt x="111124" y="492125"/>
                  </a:lnTo>
                  <a:lnTo>
                    <a:pt x="139700" y="485775"/>
                  </a:lnTo>
                  <a:lnTo>
                    <a:pt x="168276" y="473075"/>
                  </a:lnTo>
                  <a:lnTo>
                    <a:pt x="155576" y="469900"/>
                  </a:lnTo>
                  <a:lnTo>
                    <a:pt x="146050" y="460375"/>
                  </a:lnTo>
                  <a:lnTo>
                    <a:pt x="136524" y="476250"/>
                  </a:lnTo>
                  <a:lnTo>
                    <a:pt x="127000" y="482600"/>
                  </a:lnTo>
                  <a:lnTo>
                    <a:pt x="104776" y="485775"/>
                  </a:lnTo>
                  <a:lnTo>
                    <a:pt x="98424" y="482600"/>
                  </a:lnTo>
                  <a:lnTo>
                    <a:pt x="88900" y="479425"/>
                  </a:lnTo>
                  <a:lnTo>
                    <a:pt x="85724" y="479425"/>
                  </a:lnTo>
                  <a:lnTo>
                    <a:pt x="82550" y="485775"/>
                  </a:lnTo>
                  <a:lnTo>
                    <a:pt x="66676" y="492125"/>
                  </a:lnTo>
                  <a:lnTo>
                    <a:pt x="50800" y="492125"/>
                  </a:lnTo>
                  <a:lnTo>
                    <a:pt x="69850" y="479425"/>
                  </a:lnTo>
                  <a:lnTo>
                    <a:pt x="92076" y="457200"/>
                  </a:lnTo>
                  <a:lnTo>
                    <a:pt x="98424" y="450850"/>
                  </a:lnTo>
                  <a:lnTo>
                    <a:pt x="104776" y="438150"/>
                  </a:lnTo>
                  <a:lnTo>
                    <a:pt x="101600" y="431800"/>
                  </a:lnTo>
                  <a:lnTo>
                    <a:pt x="98424" y="428625"/>
                  </a:lnTo>
                  <a:lnTo>
                    <a:pt x="114300" y="403225"/>
                  </a:lnTo>
                  <a:lnTo>
                    <a:pt x="120650" y="396875"/>
                  </a:lnTo>
                  <a:lnTo>
                    <a:pt x="133350" y="396875"/>
                  </a:lnTo>
                  <a:lnTo>
                    <a:pt x="139700" y="393700"/>
                  </a:lnTo>
                  <a:lnTo>
                    <a:pt x="142876" y="393700"/>
                  </a:lnTo>
                  <a:lnTo>
                    <a:pt x="146050" y="390525"/>
                  </a:lnTo>
                  <a:lnTo>
                    <a:pt x="152400" y="384175"/>
                  </a:lnTo>
                  <a:lnTo>
                    <a:pt x="142876" y="377825"/>
                  </a:lnTo>
                  <a:lnTo>
                    <a:pt x="130176" y="374650"/>
                  </a:lnTo>
                  <a:lnTo>
                    <a:pt x="98424" y="377825"/>
                  </a:lnTo>
                  <a:lnTo>
                    <a:pt x="92076" y="377825"/>
                  </a:lnTo>
                  <a:lnTo>
                    <a:pt x="88900" y="374650"/>
                  </a:lnTo>
                  <a:lnTo>
                    <a:pt x="85724" y="371475"/>
                  </a:lnTo>
                  <a:lnTo>
                    <a:pt x="82550" y="361950"/>
                  </a:lnTo>
                  <a:lnTo>
                    <a:pt x="79376" y="361950"/>
                  </a:lnTo>
                  <a:lnTo>
                    <a:pt x="73024" y="361950"/>
                  </a:lnTo>
                  <a:lnTo>
                    <a:pt x="66676" y="365125"/>
                  </a:lnTo>
                  <a:lnTo>
                    <a:pt x="60324" y="365125"/>
                  </a:lnTo>
                  <a:lnTo>
                    <a:pt x="53976" y="358775"/>
                  </a:lnTo>
                  <a:lnTo>
                    <a:pt x="63500" y="352425"/>
                  </a:lnTo>
                  <a:lnTo>
                    <a:pt x="53976" y="349250"/>
                  </a:lnTo>
                  <a:lnTo>
                    <a:pt x="41276" y="349250"/>
                  </a:lnTo>
                  <a:lnTo>
                    <a:pt x="31750" y="346075"/>
                  </a:lnTo>
                  <a:lnTo>
                    <a:pt x="31750" y="342900"/>
                  </a:lnTo>
                  <a:lnTo>
                    <a:pt x="38100" y="336550"/>
                  </a:lnTo>
                  <a:lnTo>
                    <a:pt x="31750" y="330200"/>
                  </a:lnTo>
                  <a:lnTo>
                    <a:pt x="28576" y="323850"/>
                  </a:lnTo>
                  <a:lnTo>
                    <a:pt x="34924" y="320675"/>
                  </a:lnTo>
                  <a:lnTo>
                    <a:pt x="41276" y="320675"/>
                  </a:lnTo>
                  <a:lnTo>
                    <a:pt x="53976" y="317500"/>
                  </a:lnTo>
                  <a:lnTo>
                    <a:pt x="69850" y="314325"/>
                  </a:lnTo>
                  <a:lnTo>
                    <a:pt x="57150" y="307975"/>
                  </a:lnTo>
                  <a:lnTo>
                    <a:pt x="50800" y="304800"/>
                  </a:lnTo>
                  <a:lnTo>
                    <a:pt x="50800" y="298450"/>
                  </a:lnTo>
                  <a:lnTo>
                    <a:pt x="50800" y="292100"/>
                  </a:lnTo>
                  <a:lnTo>
                    <a:pt x="69850" y="282575"/>
                  </a:lnTo>
                  <a:lnTo>
                    <a:pt x="85724" y="279400"/>
                  </a:lnTo>
                  <a:lnTo>
                    <a:pt x="85724" y="273050"/>
                  </a:lnTo>
                  <a:lnTo>
                    <a:pt x="85724" y="266700"/>
                  </a:lnTo>
                  <a:lnTo>
                    <a:pt x="69850" y="263525"/>
                  </a:lnTo>
                  <a:lnTo>
                    <a:pt x="50800" y="269875"/>
                  </a:lnTo>
                  <a:lnTo>
                    <a:pt x="53976" y="254000"/>
                  </a:lnTo>
                  <a:lnTo>
                    <a:pt x="57150" y="244475"/>
                  </a:lnTo>
                  <a:lnTo>
                    <a:pt x="57150" y="234950"/>
                  </a:lnTo>
                  <a:lnTo>
                    <a:pt x="57150" y="228600"/>
                  </a:lnTo>
                  <a:lnTo>
                    <a:pt x="47624" y="231775"/>
                  </a:lnTo>
                  <a:lnTo>
                    <a:pt x="47624" y="219075"/>
                  </a:lnTo>
                  <a:lnTo>
                    <a:pt x="44450" y="212725"/>
                  </a:lnTo>
                  <a:lnTo>
                    <a:pt x="31750" y="215900"/>
                  </a:lnTo>
                  <a:lnTo>
                    <a:pt x="31750" y="206375"/>
                  </a:lnTo>
                  <a:lnTo>
                    <a:pt x="34924" y="200025"/>
                  </a:lnTo>
                  <a:lnTo>
                    <a:pt x="41276" y="196850"/>
                  </a:lnTo>
                  <a:lnTo>
                    <a:pt x="47624" y="196850"/>
                  </a:lnTo>
                  <a:lnTo>
                    <a:pt x="60324" y="196850"/>
                  </a:lnTo>
                  <a:lnTo>
                    <a:pt x="69850" y="190500"/>
                  </a:lnTo>
                  <a:lnTo>
                    <a:pt x="88900" y="190500"/>
                  </a:lnTo>
                  <a:lnTo>
                    <a:pt x="114300" y="190500"/>
                  </a:lnTo>
                  <a:lnTo>
                    <a:pt x="130176" y="206375"/>
                  </a:lnTo>
                  <a:lnTo>
                    <a:pt x="136524" y="203200"/>
                  </a:lnTo>
                  <a:lnTo>
                    <a:pt x="142876" y="193675"/>
                  </a:lnTo>
                  <a:lnTo>
                    <a:pt x="146050" y="193675"/>
                  </a:lnTo>
                  <a:lnTo>
                    <a:pt x="171450" y="196850"/>
                  </a:lnTo>
                  <a:lnTo>
                    <a:pt x="190500" y="203200"/>
                  </a:lnTo>
                  <a:lnTo>
                    <a:pt x="193676" y="200025"/>
                  </a:lnTo>
                  <a:lnTo>
                    <a:pt x="190500" y="190500"/>
                  </a:lnTo>
                  <a:lnTo>
                    <a:pt x="184150" y="184150"/>
                  </a:lnTo>
                  <a:lnTo>
                    <a:pt x="193676" y="171450"/>
                  </a:lnTo>
                  <a:lnTo>
                    <a:pt x="200024" y="165100"/>
                  </a:lnTo>
                  <a:lnTo>
                    <a:pt x="206376" y="161925"/>
                  </a:lnTo>
                  <a:lnTo>
                    <a:pt x="219076" y="158750"/>
                  </a:lnTo>
                  <a:lnTo>
                    <a:pt x="225424" y="155575"/>
                  </a:lnTo>
                  <a:lnTo>
                    <a:pt x="231776" y="139700"/>
                  </a:lnTo>
                  <a:lnTo>
                    <a:pt x="234950" y="130175"/>
                  </a:lnTo>
                  <a:lnTo>
                    <a:pt x="203200" y="136525"/>
                  </a:lnTo>
                  <a:lnTo>
                    <a:pt x="171450" y="123825"/>
                  </a:lnTo>
                  <a:lnTo>
                    <a:pt x="174624" y="114300"/>
                  </a:lnTo>
                  <a:lnTo>
                    <a:pt x="184150" y="107950"/>
                  </a:lnTo>
                  <a:lnTo>
                    <a:pt x="193676" y="104775"/>
                  </a:lnTo>
                  <a:lnTo>
                    <a:pt x="196850" y="98425"/>
                  </a:lnTo>
                  <a:lnTo>
                    <a:pt x="200024" y="95250"/>
                  </a:lnTo>
                  <a:lnTo>
                    <a:pt x="209550" y="85725"/>
                  </a:lnTo>
                  <a:lnTo>
                    <a:pt x="206376" y="73025"/>
                  </a:lnTo>
                  <a:lnTo>
                    <a:pt x="209550" y="60325"/>
                  </a:lnTo>
                  <a:lnTo>
                    <a:pt x="215900" y="53975"/>
                  </a:lnTo>
                  <a:lnTo>
                    <a:pt x="219076" y="44450"/>
                  </a:lnTo>
                  <a:lnTo>
                    <a:pt x="222250" y="38100"/>
                  </a:lnTo>
                  <a:lnTo>
                    <a:pt x="234950" y="34925"/>
                  </a:lnTo>
                  <a:lnTo>
                    <a:pt x="250824" y="28575"/>
                  </a:lnTo>
                  <a:lnTo>
                    <a:pt x="254000" y="31750"/>
                  </a:lnTo>
                  <a:lnTo>
                    <a:pt x="269876" y="28575"/>
                  </a:lnTo>
                  <a:lnTo>
                    <a:pt x="276224" y="31750"/>
                  </a:lnTo>
                  <a:lnTo>
                    <a:pt x="276224" y="19050"/>
                  </a:lnTo>
                  <a:lnTo>
                    <a:pt x="285750" y="19050"/>
                  </a:lnTo>
                  <a:lnTo>
                    <a:pt x="288924" y="22225"/>
                  </a:lnTo>
                  <a:lnTo>
                    <a:pt x="288924" y="28575"/>
                  </a:lnTo>
                  <a:lnTo>
                    <a:pt x="295276" y="34925"/>
                  </a:lnTo>
                  <a:lnTo>
                    <a:pt x="295276" y="44450"/>
                  </a:lnTo>
                  <a:lnTo>
                    <a:pt x="292100" y="50800"/>
                  </a:lnTo>
                  <a:lnTo>
                    <a:pt x="288924" y="53975"/>
                  </a:lnTo>
                  <a:lnTo>
                    <a:pt x="292100" y="60325"/>
                  </a:lnTo>
                  <a:lnTo>
                    <a:pt x="285750" y="69850"/>
                  </a:lnTo>
                  <a:lnTo>
                    <a:pt x="295276" y="66675"/>
                  </a:lnTo>
                  <a:lnTo>
                    <a:pt x="304800" y="57150"/>
                  </a:lnTo>
                  <a:lnTo>
                    <a:pt x="304800" y="47625"/>
                  </a:lnTo>
                  <a:lnTo>
                    <a:pt x="301624" y="38100"/>
                  </a:lnTo>
                  <a:lnTo>
                    <a:pt x="298450" y="28575"/>
                  </a:lnTo>
                  <a:lnTo>
                    <a:pt x="301624" y="19050"/>
                  </a:lnTo>
                  <a:lnTo>
                    <a:pt x="307976" y="12700"/>
                  </a:lnTo>
                  <a:lnTo>
                    <a:pt x="323850" y="952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69" name="Google Shape;4636;p64">
              <a:extLst>
                <a:ext uri="{FF2B5EF4-FFF2-40B4-BE49-F238E27FC236}">
                  <a16:creationId xmlns:a16="http://schemas.microsoft.com/office/drawing/2014/main" id="{885DA78D-6F7A-9BD7-4A33-83EF3A6D4F7C}"/>
                </a:ext>
              </a:extLst>
            </p:cNvPr>
            <p:cNvSpPr/>
            <p:nvPr/>
          </p:nvSpPr>
          <p:spPr>
            <a:xfrm>
              <a:off x="5472029" y="4055514"/>
              <a:ext cx="414791" cy="376068"/>
            </a:xfrm>
            <a:custGeom>
              <a:avLst/>
              <a:gdLst/>
              <a:ahLst/>
              <a:cxnLst/>
              <a:rect l="l" t="t" r="r" b="b"/>
              <a:pathLst>
                <a:path w="3011560" h="2730418" extrusionOk="0">
                  <a:moveTo>
                    <a:pt x="1906048" y="2396858"/>
                  </a:moveTo>
                  <a:lnTo>
                    <a:pt x="1915580" y="2406390"/>
                  </a:lnTo>
                  <a:lnTo>
                    <a:pt x="1901284" y="2411154"/>
                  </a:lnTo>
                  <a:lnTo>
                    <a:pt x="1886988" y="2434980"/>
                  </a:lnTo>
                  <a:lnTo>
                    <a:pt x="1863164" y="2449276"/>
                  </a:lnTo>
                  <a:lnTo>
                    <a:pt x="1853632" y="2444510"/>
                  </a:lnTo>
                  <a:lnTo>
                    <a:pt x="1848868" y="2444510"/>
                  </a:lnTo>
                  <a:lnTo>
                    <a:pt x="1829808" y="2454040"/>
                  </a:lnTo>
                  <a:lnTo>
                    <a:pt x="1820276" y="2454040"/>
                  </a:lnTo>
                  <a:lnTo>
                    <a:pt x="1801216" y="2468336"/>
                  </a:lnTo>
                  <a:lnTo>
                    <a:pt x="1782156" y="2473102"/>
                  </a:lnTo>
                  <a:lnTo>
                    <a:pt x="1767860" y="2473102"/>
                  </a:lnTo>
                  <a:lnTo>
                    <a:pt x="1763096" y="2468336"/>
                  </a:lnTo>
                  <a:lnTo>
                    <a:pt x="1758328" y="2463570"/>
                  </a:lnTo>
                  <a:lnTo>
                    <a:pt x="1763096" y="2458806"/>
                  </a:lnTo>
                  <a:lnTo>
                    <a:pt x="1767860" y="2463570"/>
                  </a:lnTo>
                  <a:lnTo>
                    <a:pt x="1796452" y="2449276"/>
                  </a:lnTo>
                  <a:lnTo>
                    <a:pt x="1834572" y="2430214"/>
                  </a:lnTo>
                  <a:lnTo>
                    <a:pt x="1839336" y="2425450"/>
                  </a:lnTo>
                  <a:lnTo>
                    <a:pt x="1829808" y="2411154"/>
                  </a:lnTo>
                  <a:lnTo>
                    <a:pt x="1834572" y="2406390"/>
                  </a:lnTo>
                  <a:lnTo>
                    <a:pt x="1858396" y="2415920"/>
                  </a:lnTo>
                  <a:lnTo>
                    <a:pt x="1882224" y="2401624"/>
                  </a:lnTo>
                  <a:close/>
                  <a:moveTo>
                    <a:pt x="90536" y="0"/>
                  </a:moveTo>
                  <a:lnTo>
                    <a:pt x="109596" y="19060"/>
                  </a:lnTo>
                  <a:lnTo>
                    <a:pt x="119128" y="23826"/>
                  </a:lnTo>
                  <a:lnTo>
                    <a:pt x="123892" y="23826"/>
                  </a:lnTo>
                  <a:lnTo>
                    <a:pt x="128656" y="28590"/>
                  </a:lnTo>
                  <a:lnTo>
                    <a:pt x="152484" y="71476"/>
                  </a:lnTo>
                  <a:lnTo>
                    <a:pt x="162012" y="85772"/>
                  </a:lnTo>
                  <a:lnTo>
                    <a:pt x="171544" y="95302"/>
                  </a:lnTo>
                  <a:lnTo>
                    <a:pt x="176308" y="104832"/>
                  </a:lnTo>
                  <a:lnTo>
                    <a:pt x="181072" y="114364"/>
                  </a:lnTo>
                  <a:lnTo>
                    <a:pt x="190604" y="119128"/>
                  </a:lnTo>
                  <a:lnTo>
                    <a:pt x="204900" y="128658"/>
                  </a:lnTo>
                  <a:lnTo>
                    <a:pt x="214428" y="138188"/>
                  </a:lnTo>
                  <a:lnTo>
                    <a:pt x="228724" y="157250"/>
                  </a:lnTo>
                  <a:lnTo>
                    <a:pt x="243020" y="162014"/>
                  </a:lnTo>
                  <a:lnTo>
                    <a:pt x="295436" y="176310"/>
                  </a:lnTo>
                  <a:lnTo>
                    <a:pt x="328792" y="181074"/>
                  </a:lnTo>
                  <a:lnTo>
                    <a:pt x="333556" y="181074"/>
                  </a:lnTo>
                  <a:lnTo>
                    <a:pt x="357384" y="176310"/>
                  </a:lnTo>
                  <a:lnTo>
                    <a:pt x="385972" y="176310"/>
                  </a:lnTo>
                  <a:lnTo>
                    <a:pt x="395504" y="176310"/>
                  </a:lnTo>
                  <a:lnTo>
                    <a:pt x="433624" y="138188"/>
                  </a:lnTo>
                  <a:lnTo>
                    <a:pt x="443156" y="128658"/>
                  </a:lnTo>
                  <a:lnTo>
                    <a:pt x="462216" y="119128"/>
                  </a:lnTo>
                  <a:lnTo>
                    <a:pt x="476512" y="104832"/>
                  </a:lnTo>
                  <a:lnTo>
                    <a:pt x="495572" y="85772"/>
                  </a:lnTo>
                  <a:lnTo>
                    <a:pt x="519396" y="71476"/>
                  </a:lnTo>
                  <a:lnTo>
                    <a:pt x="538456" y="57182"/>
                  </a:lnTo>
                  <a:lnTo>
                    <a:pt x="557516" y="47652"/>
                  </a:lnTo>
                  <a:lnTo>
                    <a:pt x="586108" y="23826"/>
                  </a:lnTo>
                  <a:lnTo>
                    <a:pt x="605168" y="19060"/>
                  </a:lnTo>
                  <a:lnTo>
                    <a:pt x="619464" y="19060"/>
                  </a:lnTo>
                  <a:lnTo>
                    <a:pt x="643292" y="42886"/>
                  </a:lnTo>
                  <a:lnTo>
                    <a:pt x="667116" y="66712"/>
                  </a:lnTo>
                  <a:lnTo>
                    <a:pt x="671880" y="76242"/>
                  </a:lnTo>
                  <a:lnTo>
                    <a:pt x="662352" y="85772"/>
                  </a:lnTo>
                  <a:lnTo>
                    <a:pt x="643292" y="95302"/>
                  </a:lnTo>
                  <a:lnTo>
                    <a:pt x="638524" y="100068"/>
                  </a:lnTo>
                  <a:lnTo>
                    <a:pt x="638524" y="109598"/>
                  </a:lnTo>
                  <a:lnTo>
                    <a:pt x="638524" y="114364"/>
                  </a:lnTo>
                  <a:lnTo>
                    <a:pt x="638524" y="123894"/>
                  </a:lnTo>
                  <a:lnTo>
                    <a:pt x="662352" y="138188"/>
                  </a:lnTo>
                  <a:lnTo>
                    <a:pt x="667116" y="142954"/>
                  </a:lnTo>
                  <a:lnTo>
                    <a:pt x="667116" y="152484"/>
                  </a:lnTo>
                  <a:lnTo>
                    <a:pt x="662352" y="157250"/>
                  </a:lnTo>
                  <a:lnTo>
                    <a:pt x="657584" y="162014"/>
                  </a:lnTo>
                  <a:lnTo>
                    <a:pt x="643292" y="166780"/>
                  </a:lnTo>
                  <a:lnTo>
                    <a:pt x="628996" y="171544"/>
                  </a:lnTo>
                  <a:lnTo>
                    <a:pt x="624228" y="176310"/>
                  </a:lnTo>
                  <a:lnTo>
                    <a:pt x="619464" y="181074"/>
                  </a:lnTo>
                  <a:lnTo>
                    <a:pt x="619464" y="185840"/>
                  </a:lnTo>
                  <a:lnTo>
                    <a:pt x="624228" y="195370"/>
                  </a:lnTo>
                  <a:lnTo>
                    <a:pt x="652820" y="214430"/>
                  </a:lnTo>
                  <a:lnTo>
                    <a:pt x="657584" y="219196"/>
                  </a:lnTo>
                  <a:lnTo>
                    <a:pt x="662352" y="228726"/>
                  </a:lnTo>
                  <a:lnTo>
                    <a:pt x="667116" y="233492"/>
                  </a:lnTo>
                  <a:lnTo>
                    <a:pt x="681412" y="238256"/>
                  </a:lnTo>
                  <a:lnTo>
                    <a:pt x="686176" y="238256"/>
                  </a:lnTo>
                  <a:lnTo>
                    <a:pt x="714768" y="276378"/>
                  </a:lnTo>
                  <a:lnTo>
                    <a:pt x="719532" y="276378"/>
                  </a:lnTo>
                  <a:lnTo>
                    <a:pt x="752888" y="271612"/>
                  </a:lnTo>
                  <a:lnTo>
                    <a:pt x="757652" y="271612"/>
                  </a:lnTo>
                  <a:lnTo>
                    <a:pt x="757652" y="276378"/>
                  </a:lnTo>
                  <a:lnTo>
                    <a:pt x="762420" y="328794"/>
                  </a:lnTo>
                  <a:lnTo>
                    <a:pt x="767184" y="352620"/>
                  </a:lnTo>
                  <a:lnTo>
                    <a:pt x="771948" y="376446"/>
                  </a:lnTo>
                  <a:lnTo>
                    <a:pt x="781480" y="400270"/>
                  </a:lnTo>
                  <a:lnTo>
                    <a:pt x="791008" y="424096"/>
                  </a:lnTo>
                  <a:lnTo>
                    <a:pt x="805304" y="433626"/>
                  </a:lnTo>
                  <a:lnTo>
                    <a:pt x="833896" y="452688"/>
                  </a:lnTo>
                  <a:lnTo>
                    <a:pt x="852956" y="457452"/>
                  </a:lnTo>
                  <a:lnTo>
                    <a:pt x="891076" y="457452"/>
                  </a:lnTo>
                  <a:lnTo>
                    <a:pt x="929196" y="466982"/>
                  </a:lnTo>
                  <a:lnTo>
                    <a:pt x="953024" y="471748"/>
                  </a:lnTo>
                  <a:lnTo>
                    <a:pt x="962552" y="476512"/>
                  </a:lnTo>
                  <a:lnTo>
                    <a:pt x="967320" y="486042"/>
                  </a:lnTo>
                  <a:lnTo>
                    <a:pt x="986380" y="524164"/>
                  </a:lnTo>
                  <a:lnTo>
                    <a:pt x="1014968" y="552754"/>
                  </a:lnTo>
                  <a:lnTo>
                    <a:pt x="1076916" y="590876"/>
                  </a:lnTo>
                  <a:lnTo>
                    <a:pt x="1110272" y="605172"/>
                  </a:lnTo>
                  <a:lnTo>
                    <a:pt x="1210340" y="628996"/>
                  </a:lnTo>
                  <a:lnTo>
                    <a:pt x="1277052" y="628996"/>
                  </a:lnTo>
                  <a:lnTo>
                    <a:pt x="1462892" y="581346"/>
                  </a:lnTo>
                  <a:lnTo>
                    <a:pt x="1520072" y="567050"/>
                  </a:lnTo>
                  <a:lnTo>
                    <a:pt x="1543900" y="567050"/>
                  </a:lnTo>
                  <a:lnTo>
                    <a:pt x="1529604" y="576580"/>
                  </a:lnTo>
                  <a:lnTo>
                    <a:pt x="1510544" y="581346"/>
                  </a:lnTo>
                  <a:lnTo>
                    <a:pt x="1520072" y="590876"/>
                  </a:lnTo>
                  <a:lnTo>
                    <a:pt x="1543900" y="590876"/>
                  </a:lnTo>
                  <a:lnTo>
                    <a:pt x="1553428" y="590876"/>
                  </a:lnTo>
                  <a:lnTo>
                    <a:pt x="1562960" y="581346"/>
                  </a:lnTo>
                  <a:lnTo>
                    <a:pt x="1562960" y="571816"/>
                  </a:lnTo>
                  <a:lnTo>
                    <a:pt x="1562960" y="562286"/>
                  </a:lnTo>
                  <a:lnTo>
                    <a:pt x="1553428" y="519398"/>
                  </a:lnTo>
                  <a:lnTo>
                    <a:pt x="1543900" y="486042"/>
                  </a:lnTo>
                  <a:lnTo>
                    <a:pt x="1586784" y="486042"/>
                  </a:lnTo>
                  <a:lnTo>
                    <a:pt x="1605844" y="486042"/>
                  </a:lnTo>
                  <a:lnTo>
                    <a:pt x="1629672" y="471748"/>
                  </a:lnTo>
                  <a:lnTo>
                    <a:pt x="1648732" y="466982"/>
                  </a:lnTo>
                  <a:lnTo>
                    <a:pt x="1658264" y="466982"/>
                  </a:lnTo>
                  <a:lnTo>
                    <a:pt x="1667792" y="462218"/>
                  </a:lnTo>
                  <a:lnTo>
                    <a:pt x="1677324" y="452688"/>
                  </a:lnTo>
                  <a:lnTo>
                    <a:pt x="1691616" y="409800"/>
                  </a:lnTo>
                  <a:lnTo>
                    <a:pt x="1701148" y="400270"/>
                  </a:lnTo>
                  <a:lnTo>
                    <a:pt x="1724972" y="376446"/>
                  </a:lnTo>
                  <a:lnTo>
                    <a:pt x="1748800" y="362150"/>
                  </a:lnTo>
                  <a:lnTo>
                    <a:pt x="1772624" y="347854"/>
                  </a:lnTo>
                  <a:lnTo>
                    <a:pt x="1805980" y="338324"/>
                  </a:lnTo>
                  <a:lnTo>
                    <a:pt x="1844104" y="338324"/>
                  </a:lnTo>
                  <a:lnTo>
                    <a:pt x="1877456" y="343090"/>
                  </a:lnTo>
                  <a:lnTo>
                    <a:pt x="1896520" y="343090"/>
                  </a:lnTo>
                  <a:lnTo>
                    <a:pt x="1906048" y="343090"/>
                  </a:lnTo>
                  <a:lnTo>
                    <a:pt x="1915580" y="338324"/>
                  </a:lnTo>
                  <a:lnTo>
                    <a:pt x="1920344" y="319264"/>
                  </a:lnTo>
                  <a:lnTo>
                    <a:pt x="1929876" y="314498"/>
                  </a:lnTo>
                  <a:lnTo>
                    <a:pt x="1939404" y="304968"/>
                  </a:lnTo>
                  <a:lnTo>
                    <a:pt x="1953700" y="304968"/>
                  </a:lnTo>
                  <a:lnTo>
                    <a:pt x="1977524" y="304968"/>
                  </a:lnTo>
                  <a:lnTo>
                    <a:pt x="1991820" y="304968"/>
                  </a:lnTo>
                  <a:lnTo>
                    <a:pt x="2010880" y="314498"/>
                  </a:lnTo>
                  <a:lnTo>
                    <a:pt x="2039472" y="314498"/>
                  </a:lnTo>
                  <a:lnTo>
                    <a:pt x="2058532" y="314498"/>
                  </a:lnTo>
                  <a:lnTo>
                    <a:pt x="2068064" y="319264"/>
                  </a:lnTo>
                  <a:lnTo>
                    <a:pt x="2072828" y="328794"/>
                  </a:lnTo>
                  <a:lnTo>
                    <a:pt x="2077592" y="338324"/>
                  </a:lnTo>
                  <a:lnTo>
                    <a:pt x="2077592" y="347854"/>
                  </a:lnTo>
                  <a:lnTo>
                    <a:pt x="2077592" y="357384"/>
                  </a:lnTo>
                  <a:lnTo>
                    <a:pt x="2082360" y="362150"/>
                  </a:lnTo>
                  <a:lnTo>
                    <a:pt x="2091888" y="366914"/>
                  </a:lnTo>
                  <a:lnTo>
                    <a:pt x="2106184" y="371680"/>
                  </a:lnTo>
                  <a:lnTo>
                    <a:pt x="2139540" y="376446"/>
                  </a:lnTo>
                  <a:lnTo>
                    <a:pt x="2168132" y="385976"/>
                  </a:lnTo>
                  <a:lnTo>
                    <a:pt x="2182424" y="390740"/>
                  </a:lnTo>
                  <a:lnTo>
                    <a:pt x="2201488" y="400270"/>
                  </a:lnTo>
                  <a:lnTo>
                    <a:pt x="2225312" y="424096"/>
                  </a:lnTo>
                  <a:lnTo>
                    <a:pt x="2234844" y="428862"/>
                  </a:lnTo>
                  <a:lnTo>
                    <a:pt x="2244372" y="428862"/>
                  </a:lnTo>
                  <a:lnTo>
                    <a:pt x="2253904" y="428862"/>
                  </a:lnTo>
                  <a:lnTo>
                    <a:pt x="2268200" y="419332"/>
                  </a:lnTo>
                  <a:lnTo>
                    <a:pt x="2282492" y="424096"/>
                  </a:lnTo>
                  <a:lnTo>
                    <a:pt x="2292024" y="424096"/>
                  </a:lnTo>
                  <a:lnTo>
                    <a:pt x="2311084" y="419332"/>
                  </a:lnTo>
                  <a:lnTo>
                    <a:pt x="2330144" y="424096"/>
                  </a:lnTo>
                  <a:lnTo>
                    <a:pt x="2377796" y="452688"/>
                  </a:lnTo>
                  <a:lnTo>
                    <a:pt x="2382560" y="452688"/>
                  </a:lnTo>
                  <a:lnTo>
                    <a:pt x="2387328" y="452688"/>
                  </a:lnTo>
                  <a:lnTo>
                    <a:pt x="2392092" y="457452"/>
                  </a:lnTo>
                  <a:lnTo>
                    <a:pt x="2392092" y="466982"/>
                  </a:lnTo>
                  <a:lnTo>
                    <a:pt x="2396856" y="486042"/>
                  </a:lnTo>
                  <a:lnTo>
                    <a:pt x="2411152" y="505104"/>
                  </a:lnTo>
                  <a:lnTo>
                    <a:pt x="2425448" y="519398"/>
                  </a:lnTo>
                  <a:lnTo>
                    <a:pt x="2449272" y="524164"/>
                  </a:lnTo>
                  <a:lnTo>
                    <a:pt x="2487392" y="543224"/>
                  </a:lnTo>
                  <a:lnTo>
                    <a:pt x="2506456" y="562286"/>
                  </a:lnTo>
                  <a:lnTo>
                    <a:pt x="2525516" y="586110"/>
                  </a:lnTo>
                  <a:lnTo>
                    <a:pt x="2544576" y="619466"/>
                  </a:lnTo>
                  <a:lnTo>
                    <a:pt x="2549340" y="624232"/>
                  </a:lnTo>
                  <a:lnTo>
                    <a:pt x="2606524" y="624232"/>
                  </a:lnTo>
                  <a:lnTo>
                    <a:pt x="2668468" y="624232"/>
                  </a:lnTo>
                  <a:lnTo>
                    <a:pt x="2678000" y="638528"/>
                  </a:lnTo>
                  <a:lnTo>
                    <a:pt x="2678000" y="662352"/>
                  </a:lnTo>
                  <a:lnTo>
                    <a:pt x="2678000" y="690944"/>
                  </a:lnTo>
                  <a:lnTo>
                    <a:pt x="2687528" y="710004"/>
                  </a:lnTo>
                  <a:lnTo>
                    <a:pt x="2687528" y="729064"/>
                  </a:lnTo>
                  <a:lnTo>
                    <a:pt x="2678000" y="738594"/>
                  </a:lnTo>
                  <a:lnTo>
                    <a:pt x="2678000" y="748126"/>
                  </a:lnTo>
                  <a:lnTo>
                    <a:pt x="2678000" y="752890"/>
                  </a:lnTo>
                  <a:lnTo>
                    <a:pt x="2682764" y="757656"/>
                  </a:lnTo>
                  <a:lnTo>
                    <a:pt x="2692296" y="771950"/>
                  </a:lnTo>
                  <a:lnTo>
                    <a:pt x="2692296" y="791012"/>
                  </a:lnTo>
                  <a:lnTo>
                    <a:pt x="2687528" y="805306"/>
                  </a:lnTo>
                  <a:lnTo>
                    <a:pt x="2687528" y="814836"/>
                  </a:lnTo>
                  <a:lnTo>
                    <a:pt x="2692296" y="819602"/>
                  </a:lnTo>
                  <a:lnTo>
                    <a:pt x="2697060" y="833898"/>
                  </a:lnTo>
                  <a:lnTo>
                    <a:pt x="2697060" y="843428"/>
                  </a:lnTo>
                  <a:lnTo>
                    <a:pt x="2692296" y="848192"/>
                  </a:lnTo>
                  <a:lnTo>
                    <a:pt x="2687528" y="857722"/>
                  </a:lnTo>
                  <a:lnTo>
                    <a:pt x="2682764" y="872018"/>
                  </a:lnTo>
                  <a:lnTo>
                    <a:pt x="2682764" y="881548"/>
                  </a:lnTo>
                  <a:lnTo>
                    <a:pt x="2673232" y="886314"/>
                  </a:lnTo>
                  <a:lnTo>
                    <a:pt x="2668468" y="886314"/>
                  </a:lnTo>
                  <a:lnTo>
                    <a:pt x="2668468" y="900610"/>
                  </a:lnTo>
                  <a:lnTo>
                    <a:pt x="2673232" y="910140"/>
                  </a:lnTo>
                  <a:lnTo>
                    <a:pt x="2673232" y="919670"/>
                  </a:lnTo>
                  <a:lnTo>
                    <a:pt x="2673232" y="929200"/>
                  </a:lnTo>
                  <a:lnTo>
                    <a:pt x="2668468" y="938730"/>
                  </a:lnTo>
                  <a:lnTo>
                    <a:pt x="2663704" y="953026"/>
                  </a:lnTo>
                  <a:lnTo>
                    <a:pt x="2663704" y="967320"/>
                  </a:lnTo>
                  <a:lnTo>
                    <a:pt x="2658940" y="976852"/>
                  </a:lnTo>
                  <a:lnTo>
                    <a:pt x="2649408" y="986382"/>
                  </a:lnTo>
                  <a:lnTo>
                    <a:pt x="2644644" y="995912"/>
                  </a:lnTo>
                  <a:lnTo>
                    <a:pt x="2644644" y="1005442"/>
                  </a:lnTo>
                  <a:lnTo>
                    <a:pt x="2639880" y="1010206"/>
                  </a:lnTo>
                  <a:lnTo>
                    <a:pt x="2625584" y="1019738"/>
                  </a:lnTo>
                  <a:lnTo>
                    <a:pt x="2620816" y="1024502"/>
                  </a:lnTo>
                  <a:lnTo>
                    <a:pt x="2611288" y="1024502"/>
                  </a:lnTo>
                  <a:lnTo>
                    <a:pt x="2611288" y="1029268"/>
                  </a:lnTo>
                  <a:lnTo>
                    <a:pt x="2611288" y="1034032"/>
                  </a:lnTo>
                  <a:lnTo>
                    <a:pt x="2616052" y="1038798"/>
                  </a:lnTo>
                  <a:lnTo>
                    <a:pt x="2620816" y="1048328"/>
                  </a:lnTo>
                  <a:lnTo>
                    <a:pt x="2635112" y="1067388"/>
                  </a:lnTo>
                  <a:lnTo>
                    <a:pt x="2596992" y="1072154"/>
                  </a:lnTo>
                  <a:lnTo>
                    <a:pt x="2587460" y="1086450"/>
                  </a:lnTo>
                  <a:lnTo>
                    <a:pt x="2573168" y="1110274"/>
                  </a:lnTo>
                  <a:lnTo>
                    <a:pt x="2577932" y="1157926"/>
                  </a:lnTo>
                  <a:lnTo>
                    <a:pt x="2573168" y="1181752"/>
                  </a:lnTo>
                  <a:lnTo>
                    <a:pt x="2573168" y="1196046"/>
                  </a:lnTo>
                  <a:lnTo>
                    <a:pt x="2587460" y="1205578"/>
                  </a:lnTo>
                  <a:lnTo>
                    <a:pt x="2596992" y="1210342"/>
                  </a:lnTo>
                  <a:lnTo>
                    <a:pt x="2620816" y="1210342"/>
                  </a:lnTo>
                  <a:lnTo>
                    <a:pt x="2635112" y="1215108"/>
                  </a:lnTo>
                  <a:lnTo>
                    <a:pt x="2639880" y="1219872"/>
                  </a:lnTo>
                  <a:lnTo>
                    <a:pt x="2630348" y="1229402"/>
                  </a:lnTo>
                  <a:lnTo>
                    <a:pt x="2616052" y="1248464"/>
                  </a:lnTo>
                  <a:lnTo>
                    <a:pt x="2606524" y="1257994"/>
                  </a:lnTo>
                  <a:lnTo>
                    <a:pt x="2582696" y="1291350"/>
                  </a:lnTo>
                  <a:lnTo>
                    <a:pt x="2582696" y="1305644"/>
                  </a:lnTo>
                  <a:lnTo>
                    <a:pt x="2587460" y="1315176"/>
                  </a:lnTo>
                  <a:lnTo>
                    <a:pt x="2596992" y="1353296"/>
                  </a:lnTo>
                  <a:lnTo>
                    <a:pt x="2606524" y="1391418"/>
                  </a:lnTo>
                  <a:lnTo>
                    <a:pt x="2625584" y="1453364"/>
                  </a:lnTo>
                  <a:lnTo>
                    <a:pt x="2625584" y="1472424"/>
                  </a:lnTo>
                  <a:lnTo>
                    <a:pt x="2620816" y="1505780"/>
                  </a:lnTo>
                  <a:lnTo>
                    <a:pt x="2620816" y="1524840"/>
                  </a:lnTo>
                  <a:lnTo>
                    <a:pt x="2620816" y="1548666"/>
                  </a:lnTo>
                  <a:lnTo>
                    <a:pt x="2620816" y="1562962"/>
                  </a:lnTo>
                  <a:lnTo>
                    <a:pt x="2625584" y="1596318"/>
                  </a:lnTo>
                  <a:lnTo>
                    <a:pt x="2630348" y="1596318"/>
                  </a:lnTo>
                  <a:lnTo>
                    <a:pt x="2668468" y="1601082"/>
                  </a:lnTo>
                  <a:lnTo>
                    <a:pt x="2706592" y="1605848"/>
                  </a:lnTo>
                  <a:lnTo>
                    <a:pt x="2754240" y="1615378"/>
                  </a:lnTo>
                  <a:lnTo>
                    <a:pt x="2768536" y="1634438"/>
                  </a:lnTo>
                  <a:lnTo>
                    <a:pt x="2778068" y="1672560"/>
                  </a:lnTo>
                  <a:lnTo>
                    <a:pt x="2778068" y="1701150"/>
                  </a:lnTo>
                  <a:lnTo>
                    <a:pt x="2773300" y="1715446"/>
                  </a:lnTo>
                  <a:lnTo>
                    <a:pt x="2739944" y="1758332"/>
                  </a:lnTo>
                  <a:lnTo>
                    <a:pt x="2701824" y="1801218"/>
                  </a:lnTo>
                  <a:lnTo>
                    <a:pt x="2668468" y="1844104"/>
                  </a:lnTo>
                  <a:lnTo>
                    <a:pt x="2630348" y="1886990"/>
                  </a:lnTo>
                  <a:lnTo>
                    <a:pt x="2625584" y="1891756"/>
                  </a:lnTo>
                  <a:lnTo>
                    <a:pt x="2658940" y="1925112"/>
                  </a:lnTo>
                  <a:lnTo>
                    <a:pt x="2673232" y="1948938"/>
                  </a:lnTo>
                  <a:lnTo>
                    <a:pt x="2701824" y="1977528"/>
                  </a:lnTo>
                  <a:lnTo>
                    <a:pt x="2706592" y="1987058"/>
                  </a:lnTo>
                  <a:lnTo>
                    <a:pt x="2706592" y="1996588"/>
                  </a:lnTo>
                  <a:lnTo>
                    <a:pt x="2730416" y="2044240"/>
                  </a:lnTo>
                  <a:lnTo>
                    <a:pt x="2739944" y="2068066"/>
                  </a:lnTo>
                  <a:lnTo>
                    <a:pt x="2749476" y="2082360"/>
                  </a:lnTo>
                  <a:lnTo>
                    <a:pt x="2768536" y="2106186"/>
                  </a:lnTo>
                  <a:lnTo>
                    <a:pt x="2792364" y="2125246"/>
                  </a:lnTo>
                  <a:lnTo>
                    <a:pt x="2811424" y="2134778"/>
                  </a:lnTo>
                  <a:lnTo>
                    <a:pt x="2830484" y="2139542"/>
                  </a:lnTo>
                  <a:lnTo>
                    <a:pt x="2863840" y="2149072"/>
                  </a:lnTo>
                  <a:lnTo>
                    <a:pt x="2873368" y="2158602"/>
                  </a:lnTo>
                  <a:lnTo>
                    <a:pt x="2897196" y="2182428"/>
                  </a:lnTo>
                  <a:lnTo>
                    <a:pt x="2921020" y="2177664"/>
                  </a:lnTo>
                  <a:lnTo>
                    <a:pt x="2925784" y="2177664"/>
                  </a:lnTo>
                  <a:lnTo>
                    <a:pt x="2925784" y="2187194"/>
                  </a:lnTo>
                  <a:lnTo>
                    <a:pt x="2925784" y="2225314"/>
                  </a:lnTo>
                  <a:lnTo>
                    <a:pt x="2930552" y="2258670"/>
                  </a:lnTo>
                  <a:lnTo>
                    <a:pt x="2935316" y="2311086"/>
                  </a:lnTo>
                  <a:lnTo>
                    <a:pt x="2935316" y="2320618"/>
                  </a:lnTo>
                  <a:lnTo>
                    <a:pt x="2925784" y="2334912"/>
                  </a:lnTo>
                  <a:lnTo>
                    <a:pt x="2925784" y="2344442"/>
                  </a:lnTo>
                  <a:lnTo>
                    <a:pt x="2925784" y="2353974"/>
                  </a:lnTo>
                  <a:lnTo>
                    <a:pt x="2935316" y="2358738"/>
                  </a:lnTo>
                  <a:lnTo>
                    <a:pt x="2949612" y="2363504"/>
                  </a:lnTo>
                  <a:lnTo>
                    <a:pt x="2992496" y="2353974"/>
                  </a:lnTo>
                  <a:lnTo>
                    <a:pt x="2997264" y="2353974"/>
                  </a:lnTo>
                  <a:lnTo>
                    <a:pt x="3002028" y="2363504"/>
                  </a:lnTo>
                  <a:lnTo>
                    <a:pt x="3011560" y="2373034"/>
                  </a:lnTo>
                  <a:lnTo>
                    <a:pt x="3011560" y="2377798"/>
                  </a:lnTo>
                  <a:lnTo>
                    <a:pt x="3002028" y="2387328"/>
                  </a:lnTo>
                  <a:lnTo>
                    <a:pt x="3002028" y="2401624"/>
                  </a:lnTo>
                  <a:lnTo>
                    <a:pt x="3002028" y="2420684"/>
                  </a:lnTo>
                  <a:lnTo>
                    <a:pt x="3002028" y="2425450"/>
                  </a:lnTo>
                  <a:lnTo>
                    <a:pt x="2992496" y="2430214"/>
                  </a:lnTo>
                  <a:lnTo>
                    <a:pt x="2992496" y="2458806"/>
                  </a:lnTo>
                  <a:lnTo>
                    <a:pt x="2987732" y="2458806"/>
                  </a:lnTo>
                  <a:lnTo>
                    <a:pt x="2978200" y="2463570"/>
                  </a:lnTo>
                  <a:lnTo>
                    <a:pt x="2930552" y="2463570"/>
                  </a:lnTo>
                  <a:lnTo>
                    <a:pt x="2925784" y="2463570"/>
                  </a:lnTo>
                  <a:lnTo>
                    <a:pt x="2906724" y="2468336"/>
                  </a:lnTo>
                  <a:lnTo>
                    <a:pt x="2878136" y="2477866"/>
                  </a:lnTo>
                  <a:lnTo>
                    <a:pt x="2868604" y="2477866"/>
                  </a:lnTo>
                  <a:lnTo>
                    <a:pt x="2859072" y="2487396"/>
                  </a:lnTo>
                  <a:lnTo>
                    <a:pt x="2849544" y="2501692"/>
                  </a:lnTo>
                  <a:lnTo>
                    <a:pt x="2844780" y="2511222"/>
                  </a:lnTo>
                  <a:lnTo>
                    <a:pt x="2825720" y="2511222"/>
                  </a:lnTo>
                  <a:lnTo>
                    <a:pt x="2820952" y="2520752"/>
                  </a:lnTo>
                  <a:lnTo>
                    <a:pt x="2787596" y="2530282"/>
                  </a:lnTo>
                  <a:lnTo>
                    <a:pt x="2782832" y="2535048"/>
                  </a:lnTo>
                  <a:lnTo>
                    <a:pt x="2778068" y="2544578"/>
                  </a:lnTo>
                  <a:lnTo>
                    <a:pt x="2773300" y="2573168"/>
                  </a:lnTo>
                  <a:lnTo>
                    <a:pt x="2768536" y="2601760"/>
                  </a:lnTo>
                  <a:lnTo>
                    <a:pt x="2768536" y="2606524"/>
                  </a:lnTo>
                  <a:lnTo>
                    <a:pt x="2754240" y="2616054"/>
                  </a:lnTo>
                  <a:lnTo>
                    <a:pt x="2754240" y="2625586"/>
                  </a:lnTo>
                  <a:lnTo>
                    <a:pt x="2749476" y="2644646"/>
                  </a:lnTo>
                  <a:lnTo>
                    <a:pt x="2749476" y="2697062"/>
                  </a:lnTo>
                  <a:lnTo>
                    <a:pt x="2744712" y="2711358"/>
                  </a:lnTo>
                  <a:lnTo>
                    <a:pt x="2735180" y="2711358"/>
                  </a:lnTo>
                  <a:lnTo>
                    <a:pt x="2730416" y="2720888"/>
                  </a:lnTo>
                  <a:lnTo>
                    <a:pt x="2716120" y="2730418"/>
                  </a:lnTo>
                  <a:lnTo>
                    <a:pt x="2692296" y="2720888"/>
                  </a:lnTo>
                  <a:lnTo>
                    <a:pt x="2668468" y="2716122"/>
                  </a:lnTo>
                  <a:lnTo>
                    <a:pt x="2596992" y="2697062"/>
                  </a:lnTo>
                  <a:lnTo>
                    <a:pt x="2592228" y="2687532"/>
                  </a:lnTo>
                  <a:lnTo>
                    <a:pt x="2587460" y="2678002"/>
                  </a:lnTo>
                  <a:lnTo>
                    <a:pt x="2573168" y="2673236"/>
                  </a:lnTo>
                  <a:lnTo>
                    <a:pt x="2558872" y="2692298"/>
                  </a:lnTo>
                  <a:lnTo>
                    <a:pt x="2501688" y="2682766"/>
                  </a:lnTo>
                  <a:lnTo>
                    <a:pt x="2477864" y="2682766"/>
                  </a:lnTo>
                  <a:lnTo>
                    <a:pt x="2468332" y="2678002"/>
                  </a:lnTo>
                  <a:lnTo>
                    <a:pt x="2434976" y="2678002"/>
                  </a:lnTo>
                  <a:lnTo>
                    <a:pt x="2411152" y="2663706"/>
                  </a:lnTo>
                  <a:lnTo>
                    <a:pt x="2373032" y="2673236"/>
                  </a:lnTo>
                  <a:lnTo>
                    <a:pt x="2344440" y="2673236"/>
                  </a:lnTo>
                  <a:lnTo>
                    <a:pt x="2306320" y="2649410"/>
                  </a:lnTo>
                  <a:lnTo>
                    <a:pt x="2268200" y="2644646"/>
                  </a:lnTo>
                  <a:lnTo>
                    <a:pt x="2234844" y="2644646"/>
                  </a:lnTo>
                  <a:lnTo>
                    <a:pt x="2215780" y="2644646"/>
                  </a:lnTo>
                  <a:lnTo>
                    <a:pt x="2187192" y="2635116"/>
                  </a:lnTo>
                  <a:lnTo>
                    <a:pt x="2172896" y="2625586"/>
                  </a:lnTo>
                  <a:lnTo>
                    <a:pt x="2149072" y="2635116"/>
                  </a:lnTo>
                  <a:lnTo>
                    <a:pt x="2139540" y="2620820"/>
                  </a:lnTo>
                  <a:lnTo>
                    <a:pt x="2077592" y="2611290"/>
                  </a:lnTo>
                  <a:lnTo>
                    <a:pt x="2068064" y="2587464"/>
                  </a:lnTo>
                  <a:lnTo>
                    <a:pt x="2058532" y="2568404"/>
                  </a:lnTo>
                  <a:lnTo>
                    <a:pt x="2058532" y="2544578"/>
                  </a:lnTo>
                  <a:lnTo>
                    <a:pt x="2044236" y="2511222"/>
                  </a:lnTo>
                  <a:lnTo>
                    <a:pt x="2039472" y="2454040"/>
                  </a:lnTo>
                  <a:lnTo>
                    <a:pt x="2034708" y="2434980"/>
                  </a:lnTo>
                  <a:lnTo>
                    <a:pt x="2025176" y="2415920"/>
                  </a:lnTo>
                  <a:lnTo>
                    <a:pt x="2010880" y="2401624"/>
                  </a:lnTo>
                  <a:lnTo>
                    <a:pt x="1996584" y="2382564"/>
                  </a:lnTo>
                  <a:lnTo>
                    <a:pt x="1987056" y="2377798"/>
                  </a:lnTo>
                  <a:lnTo>
                    <a:pt x="1925108" y="2363504"/>
                  </a:lnTo>
                  <a:lnTo>
                    <a:pt x="1915580" y="2368268"/>
                  </a:lnTo>
                  <a:lnTo>
                    <a:pt x="1891752" y="2373034"/>
                  </a:lnTo>
                  <a:lnTo>
                    <a:pt x="1863164" y="2392094"/>
                  </a:lnTo>
                  <a:lnTo>
                    <a:pt x="1815512" y="2401624"/>
                  </a:lnTo>
                  <a:lnTo>
                    <a:pt x="1805980" y="2411154"/>
                  </a:lnTo>
                  <a:lnTo>
                    <a:pt x="1796452" y="2430214"/>
                  </a:lnTo>
                  <a:lnTo>
                    <a:pt x="1782156" y="2439746"/>
                  </a:lnTo>
                  <a:lnTo>
                    <a:pt x="1758328" y="2434980"/>
                  </a:lnTo>
                  <a:lnTo>
                    <a:pt x="1739268" y="2449276"/>
                  </a:lnTo>
                  <a:lnTo>
                    <a:pt x="1696384" y="2477866"/>
                  </a:lnTo>
                  <a:lnTo>
                    <a:pt x="1677324" y="2487396"/>
                  </a:lnTo>
                  <a:lnTo>
                    <a:pt x="1658264" y="2487396"/>
                  </a:lnTo>
                  <a:lnTo>
                    <a:pt x="1639200" y="2473102"/>
                  </a:lnTo>
                  <a:lnTo>
                    <a:pt x="1596316" y="2454040"/>
                  </a:lnTo>
                  <a:lnTo>
                    <a:pt x="1567724" y="2444510"/>
                  </a:lnTo>
                  <a:lnTo>
                    <a:pt x="1529604" y="2449276"/>
                  </a:lnTo>
                  <a:lnTo>
                    <a:pt x="1510544" y="2449276"/>
                  </a:lnTo>
                  <a:lnTo>
                    <a:pt x="1481952" y="2425450"/>
                  </a:lnTo>
                  <a:lnTo>
                    <a:pt x="1472424" y="2411154"/>
                  </a:lnTo>
                  <a:lnTo>
                    <a:pt x="1458128" y="2396858"/>
                  </a:lnTo>
                  <a:lnTo>
                    <a:pt x="1400944" y="2373034"/>
                  </a:lnTo>
                  <a:lnTo>
                    <a:pt x="1353296" y="2344442"/>
                  </a:lnTo>
                  <a:lnTo>
                    <a:pt x="1343764" y="2330148"/>
                  </a:lnTo>
                  <a:lnTo>
                    <a:pt x="1339000" y="2311086"/>
                  </a:lnTo>
                  <a:lnTo>
                    <a:pt x="1319940" y="2292026"/>
                  </a:lnTo>
                  <a:lnTo>
                    <a:pt x="1277052" y="2272966"/>
                  </a:lnTo>
                  <a:lnTo>
                    <a:pt x="1248460" y="2253906"/>
                  </a:lnTo>
                  <a:lnTo>
                    <a:pt x="1219872" y="2249140"/>
                  </a:lnTo>
                  <a:lnTo>
                    <a:pt x="1196044" y="2249140"/>
                  </a:lnTo>
                  <a:lnTo>
                    <a:pt x="1181748" y="2249140"/>
                  </a:lnTo>
                  <a:lnTo>
                    <a:pt x="1172220" y="2239610"/>
                  </a:lnTo>
                  <a:lnTo>
                    <a:pt x="1134100" y="2201488"/>
                  </a:lnTo>
                  <a:lnTo>
                    <a:pt x="1134100" y="2187194"/>
                  </a:lnTo>
                  <a:lnTo>
                    <a:pt x="1110272" y="2144308"/>
                  </a:lnTo>
                  <a:lnTo>
                    <a:pt x="1105508" y="2134778"/>
                  </a:lnTo>
                  <a:lnTo>
                    <a:pt x="1100744" y="2096656"/>
                  </a:lnTo>
                  <a:lnTo>
                    <a:pt x="1091212" y="2087126"/>
                  </a:lnTo>
                  <a:lnTo>
                    <a:pt x="1067388" y="2068066"/>
                  </a:lnTo>
                  <a:lnTo>
                    <a:pt x="1067388" y="2058534"/>
                  </a:lnTo>
                  <a:lnTo>
                    <a:pt x="1072152" y="2044240"/>
                  </a:lnTo>
                  <a:lnTo>
                    <a:pt x="1072152" y="2034710"/>
                  </a:lnTo>
                  <a:lnTo>
                    <a:pt x="1057856" y="2025180"/>
                  </a:lnTo>
                  <a:lnTo>
                    <a:pt x="1038796" y="2020414"/>
                  </a:lnTo>
                  <a:lnTo>
                    <a:pt x="1034032" y="2006118"/>
                  </a:lnTo>
                  <a:lnTo>
                    <a:pt x="1038796" y="1982294"/>
                  </a:lnTo>
                  <a:lnTo>
                    <a:pt x="1034032" y="1972762"/>
                  </a:lnTo>
                  <a:lnTo>
                    <a:pt x="1019736" y="1948938"/>
                  </a:lnTo>
                  <a:lnTo>
                    <a:pt x="995908" y="1925112"/>
                  </a:lnTo>
                  <a:lnTo>
                    <a:pt x="972084" y="1891756"/>
                  </a:lnTo>
                  <a:lnTo>
                    <a:pt x="962552" y="1882226"/>
                  </a:lnTo>
                  <a:lnTo>
                    <a:pt x="953024" y="1858400"/>
                  </a:lnTo>
                  <a:lnTo>
                    <a:pt x="943492" y="1829808"/>
                  </a:lnTo>
                  <a:lnTo>
                    <a:pt x="929196" y="1829808"/>
                  </a:lnTo>
                  <a:lnTo>
                    <a:pt x="862484" y="1863164"/>
                  </a:lnTo>
                  <a:lnTo>
                    <a:pt x="843424" y="1844104"/>
                  </a:lnTo>
                  <a:lnTo>
                    <a:pt x="786244" y="1810748"/>
                  </a:lnTo>
                  <a:lnTo>
                    <a:pt x="781480" y="1805984"/>
                  </a:lnTo>
                  <a:lnTo>
                    <a:pt x="776712" y="1796454"/>
                  </a:lnTo>
                  <a:lnTo>
                    <a:pt x="786244" y="1796454"/>
                  </a:lnTo>
                  <a:lnTo>
                    <a:pt x="791008" y="1791688"/>
                  </a:lnTo>
                  <a:lnTo>
                    <a:pt x="805304" y="1796454"/>
                  </a:lnTo>
                  <a:lnTo>
                    <a:pt x="814836" y="1791688"/>
                  </a:lnTo>
                  <a:lnTo>
                    <a:pt x="814836" y="1782158"/>
                  </a:lnTo>
                  <a:lnTo>
                    <a:pt x="795776" y="1772628"/>
                  </a:lnTo>
                  <a:lnTo>
                    <a:pt x="776712" y="1772628"/>
                  </a:lnTo>
                  <a:lnTo>
                    <a:pt x="781480" y="1786922"/>
                  </a:lnTo>
                  <a:lnTo>
                    <a:pt x="767184" y="1796454"/>
                  </a:lnTo>
                  <a:lnTo>
                    <a:pt x="762420" y="1805984"/>
                  </a:lnTo>
                  <a:lnTo>
                    <a:pt x="762420" y="1820278"/>
                  </a:lnTo>
                  <a:lnTo>
                    <a:pt x="767184" y="1844104"/>
                  </a:lnTo>
                  <a:lnTo>
                    <a:pt x="757652" y="1853634"/>
                  </a:lnTo>
                  <a:lnTo>
                    <a:pt x="752888" y="1858400"/>
                  </a:lnTo>
                  <a:lnTo>
                    <a:pt x="724296" y="1863164"/>
                  </a:lnTo>
                  <a:lnTo>
                    <a:pt x="714768" y="1872696"/>
                  </a:lnTo>
                  <a:lnTo>
                    <a:pt x="705236" y="1872696"/>
                  </a:lnTo>
                  <a:lnTo>
                    <a:pt x="695708" y="1863164"/>
                  </a:lnTo>
                  <a:lnTo>
                    <a:pt x="690940" y="1858400"/>
                  </a:lnTo>
                  <a:lnTo>
                    <a:pt x="681412" y="1844104"/>
                  </a:lnTo>
                  <a:lnTo>
                    <a:pt x="681412" y="1839340"/>
                  </a:lnTo>
                  <a:lnTo>
                    <a:pt x="686176" y="1834574"/>
                  </a:lnTo>
                  <a:lnTo>
                    <a:pt x="681412" y="1825044"/>
                  </a:lnTo>
                  <a:lnTo>
                    <a:pt x="671880" y="1815514"/>
                  </a:lnTo>
                  <a:lnTo>
                    <a:pt x="662352" y="1810748"/>
                  </a:lnTo>
                  <a:lnTo>
                    <a:pt x="657584" y="1805984"/>
                  </a:lnTo>
                  <a:lnTo>
                    <a:pt x="648056" y="1801218"/>
                  </a:lnTo>
                  <a:lnTo>
                    <a:pt x="643292" y="1791688"/>
                  </a:lnTo>
                  <a:lnTo>
                    <a:pt x="633760" y="1782158"/>
                  </a:lnTo>
                  <a:lnTo>
                    <a:pt x="624228" y="1782158"/>
                  </a:lnTo>
                  <a:lnTo>
                    <a:pt x="624228" y="1748802"/>
                  </a:lnTo>
                  <a:lnTo>
                    <a:pt x="624228" y="1715446"/>
                  </a:lnTo>
                  <a:lnTo>
                    <a:pt x="624228" y="1686856"/>
                  </a:lnTo>
                  <a:lnTo>
                    <a:pt x="595640" y="1686856"/>
                  </a:lnTo>
                  <a:lnTo>
                    <a:pt x="571812" y="1682090"/>
                  </a:lnTo>
                  <a:lnTo>
                    <a:pt x="571812" y="1610614"/>
                  </a:lnTo>
                  <a:lnTo>
                    <a:pt x="581344" y="1572492"/>
                  </a:lnTo>
                  <a:lnTo>
                    <a:pt x="595640" y="1539136"/>
                  </a:lnTo>
                  <a:lnTo>
                    <a:pt x="576580" y="1515310"/>
                  </a:lnTo>
                  <a:lnTo>
                    <a:pt x="557516" y="1486720"/>
                  </a:lnTo>
                  <a:lnTo>
                    <a:pt x="543224" y="1472424"/>
                  </a:lnTo>
                  <a:lnTo>
                    <a:pt x="528928" y="1439068"/>
                  </a:lnTo>
                  <a:lnTo>
                    <a:pt x="524160" y="1424774"/>
                  </a:lnTo>
                  <a:lnTo>
                    <a:pt x="514632" y="1415242"/>
                  </a:lnTo>
                  <a:lnTo>
                    <a:pt x="509868" y="1415242"/>
                  </a:lnTo>
                  <a:lnTo>
                    <a:pt x="486040" y="1415242"/>
                  </a:lnTo>
                  <a:lnTo>
                    <a:pt x="462216" y="1396182"/>
                  </a:lnTo>
                  <a:lnTo>
                    <a:pt x="433624" y="1372356"/>
                  </a:lnTo>
                  <a:lnTo>
                    <a:pt x="400268" y="1348530"/>
                  </a:lnTo>
                  <a:lnTo>
                    <a:pt x="366912" y="1329470"/>
                  </a:lnTo>
                  <a:lnTo>
                    <a:pt x="357384" y="1324706"/>
                  </a:lnTo>
                  <a:lnTo>
                    <a:pt x="328792" y="1324706"/>
                  </a:lnTo>
                  <a:lnTo>
                    <a:pt x="324028" y="1319940"/>
                  </a:lnTo>
                  <a:lnTo>
                    <a:pt x="324028" y="1310410"/>
                  </a:lnTo>
                  <a:lnTo>
                    <a:pt x="324028" y="1300880"/>
                  </a:lnTo>
                  <a:lnTo>
                    <a:pt x="328792" y="1286584"/>
                  </a:lnTo>
                  <a:lnTo>
                    <a:pt x="333556" y="1272290"/>
                  </a:lnTo>
                  <a:lnTo>
                    <a:pt x="309732" y="1238934"/>
                  </a:lnTo>
                  <a:lnTo>
                    <a:pt x="304968" y="1229402"/>
                  </a:lnTo>
                  <a:lnTo>
                    <a:pt x="290672" y="1224638"/>
                  </a:lnTo>
                  <a:lnTo>
                    <a:pt x="290672" y="1215108"/>
                  </a:lnTo>
                  <a:lnTo>
                    <a:pt x="290672" y="1210342"/>
                  </a:lnTo>
                  <a:lnTo>
                    <a:pt x="290672" y="1200812"/>
                  </a:lnTo>
                  <a:lnTo>
                    <a:pt x="285904" y="1200812"/>
                  </a:lnTo>
                  <a:lnTo>
                    <a:pt x="281140" y="1200812"/>
                  </a:lnTo>
                  <a:lnTo>
                    <a:pt x="266844" y="1205578"/>
                  </a:lnTo>
                  <a:lnTo>
                    <a:pt x="257316" y="1186516"/>
                  </a:lnTo>
                  <a:lnTo>
                    <a:pt x="228724" y="1143630"/>
                  </a:lnTo>
                  <a:lnTo>
                    <a:pt x="214428" y="1138866"/>
                  </a:lnTo>
                  <a:lnTo>
                    <a:pt x="214428" y="1134100"/>
                  </a:lnTo>
                  <a:lnTo>
                    <a:pt x="223960" y="1119806"/>
                  </a:lnTo>
                  <a:lnTo>
                    <a:pt x="233488" y="1100744"/>
                  </a:lnTo>
                  <a:lnTo>
                    <a:pt x="238256" y="1086450"/>
                  </a:lnTo>
                  <a:lnTo>
                    <a:pt x="233488" y="1076918"/>
                  </a:lnTo>
                  <a:lnTo>
                    <a:pt x="219192" y="1053094"/>
                  </a:lnTo>
                  <a:lnTo>
                    <a:pt x="223960" y="1038798"/>
                  </a:lnTo>
                  <a:lnTo>
                    <a:pt x="228724" y="1029268"/>
                  </a:lnTo>
                  <a:lnTo>
                    <a:pt x="228724" y="1019738"/>
                  </a:lnTo>
                  <a:lnTo>
                    <a:pt x="238256" y="1019738"/>
                  </a:lnTo>
                  <a:lnTo>
                    <a:pt x="252548" y="1019738"/>
                  </a:lnTo>
                  <a:lnTo>
                    <a:pt x="257316" y="1014972"/>
                  </a:lnTo>
                  <a:lnTo>
                    <a:pt x="257316" y="986382"/>
                  </a:lnTo>
                  <a:lnTo>
                    <a:pt x="257316" y="976852"/>
                  </a:lnTo>
                  <a:lnTo>
                    <a:pt x="295436" y="933966"/>
                  </a:lnTo>
                  <a:lnTo>
                    <a:pt x="314496" y="924434"/>
                  </a:lnTo>
                  <a:lnTo>
                    <a:pt x="328792" y="914904"/>
                  </a:lnTo>
                  <a:lnTo>
                    <a:pt x="333556" y="900610"/>
                  </a:lnTo>
                  <a:lnTo>
                    <a:pt x="328792" y="895844"/>
                  </a:lnTo>
                  <a:lnTo>
                    <a:pt x="328792" y="886314"/>
                  </a:lnTo>
                  <a:lnTo>
                    <a:pt x="328792" y="876784"/>
                  </a:lnTo>
                  <a:lnTo>
                    <a:pt x="309732" y="857722"/>
                  </a:lnTo>
                  <a:lnTo>
                    <a:pt x="304968" y="848192"/>
                  </a:lnTo>
                  <a:lnTo>
                    <a:pt x="304968" y="838662"/>
                  </a:lnTo>
                  <a:lnTo>
                    <a:pt x="309732" y="824368"/>
                  </a:lnTo>
                  <a:lnTo>
                    <a:pt x="314496" y="810072"/>
                  </a:lnTo>
                  <a:lnTo>
                    <a:pt x="338320" y="805306"/>
                  </a:lnTo>
                  <a:lnTo>
                    <a:pt x="347852" y="795776"/>
                  </a:lnTo>
                  <a:lnTo>
                    <a:pt x="352616" y="791012"/>
                  </a:lnTo>
                  <a:lnTo>
                    <a:pt x="333556" y="781480"/>
                  </a:lnTo>
                  <a:lnTo>
                    <a:pt x="300200" y="781480"/>
                  </a:lnTo>
                  <a:lnTo>
                    <a:pt x="276376" y="781480"/>
                  </a:lnTo>
                  <a:lnTo>
                    <a:pt x="266844" y="781480"/>
                  </a:lnTo>
                  <a:lnTo>
                    <a:pt x="252548" y="762420"/>
                  </a:lnTo>
                  <a:lnTo>
                    <a:pt x="243020" y="752890"/>
                  </a:lnTo>
                  <a:lnTo>
                    <a:pt x="228724" y="748126"/>
                  </a:lnTo>
                  <a:lnTo>
                    <a:pt x="214428" y="748126"/>
                  </a:lnTo>
                  <a:lnTo>
                    <a:pt x="209664" y="743360"/>
                  </a:lnTo>
                  <a:lnTo>
                    <a:pt x="209664" y="738594"/>
                  </a:lnTo>
                  <a:lnTo>
                    <a:pt x="190604" y="681414"/>
                  </a:lnTo>
                  <a:lnTo>
                    <a:pt x="185836" y="671882"/>
                  </a:lnTo>
                  <a:lnTo>
                    <a:pt x="176308" y="667118"/>
                  </a:lnTo>
                  <a:lnTo>
                    <a:pt x="171544" y="667118"/>
                  </a:lnTo>
                  <a:lnTo>
                    <a:pt x="166776" y="662352"/>
                  </a:lnTo>
                  <a:lnTo>
                    <a:pt x="162012" y="657588"/>
                  </a:lnTo>
                  <a:lnTo>
                    <a:pt x="157248" y="648058"/>
                  </a:lnTo>
                  <a:lnTo>
                    <a:pt x="157248" y="633762"/>
                  </a:lnTo>
                  <a:lnTo>
                    <a:pt x="157248" y="619466"/>
                  </a:lnTo>
                  <a:lnTo>
                    <a:pt x="157248" y="609936"/>
                  </a:lnTo>
                  <a:lnTo>
                    <a:pt x="147716" y="605172"/>
                  </a:lnTo>
                  <a:lnTo>
                    <a:pt x="142952" y="600406"/>
                  </a:lnTo>
                  <a:lnTo>
                    <a:pt x="133420" y="590876"/>
                  </a:lnTo>
                  <a:lnTo>
                    <a:pt x="123892" y="543224"/>
                  </a:lnTo>
                  <a:lnTo>
                    <a:pt x="114360" y="528930"/>
                  </a:lnTo>
                  <a:lnTo>
                    <a:pt x="114360" y="524164"/>
                  </a:lnTo>
                  <a:lnTo>
                    <a:pt x="119128" y="524164"/>
                  </a:lnTo>
                  <a:lnTo>
                    <a:pt x="114360" y="509868"/>
                  </a:lnTo>
                  <a:lnTo>
                    <a:pt x="119128" y="500338"/>
                  </a:lnTo>
                  <a:lnTo>
                    <a:pt x="119128" y="495574"/>
                  </a:lnTo>
                  <a:lnTo>
                    <a:pt x="109596" y="481278"/>
                  </a:lnTo>
                  <a:lnTo>
                    <a:pt x="90536" y="471748"/>
                  </a:lnTo>
                  <a:lnTo>
                    <a:pt x="85772" y="466982"/>
                  </a:lnTo>
                  <a:lnTo>
                    <a:pt x="85772" y="452688"/>
                  </a:lnTo>
                  <a:lnTo>
                    <a:pt x="85772" y="443156"/>
                  </a:lnTo>
                  <a:lnTo>
                    <a:pt x="85772" y="433626"/>
                  </a:lnTo>
                  <a:lnTo>
                    <a:pt x="81004" y="428862"/>
                  </a:lnTo>
                  <a:lnTo>
                    <a:pt x="81004" y="424096"/>
                  </a:lnTo>
                  <a:lnTo>
                    <a:pt x="90536" y="414566"/>
                  </a:lnTo>
                  <a:lnTo>
                    <a:pt x="85772" y="405036"/>
                  </a:lnTo>
                  <a:lnTo>
                    <a:pt x="57180" y="390740"/>
                  </a:lnTo>
                  <a:lnTo>
                    <a:pt x="47648" y="381210"/>
                  </a:lnTo>
                  <a:lnTo>
                    <a:pt x="33352" y="381210"/>
                  </a:lnTo>
                  <a:lnTo>
                    <a:pt x="28588" y="376446"/>
                  </a:lnTo>
                  <a:lnTo>
                    <a:pt x="33352" y="362150"/>
                  </a:lnTo>
                  <a:lnTo>
                    <a:pt x="38120" y="347854"/>
                  </a:lnTo>
                  <a:lnTo>
                    <a:pt x="47648" y="333558"/>
                  </a:lnTo>
                  <a:lnTo>
                    <a:pt x="52416" y="328794"/>
                  </a:lnTo>
                  <a:lnTo>
                    <a:pt x="52416" y="314498"/>
                  </a:lnTo>
                  <a:lnTo>
                    <a:pt x="57180" y="304968"/>
                  </a:lnTo>
                  <a:lnTo>
                    <a:pt x="66708" y="295438"/>
                  </a:lnTo>
                  <a:lnTo>
                    <a:pt x="66708" y="290672"/>
                  </a:lnTo>
                  <a:lnTo>
                    <a:pt x="61944" y="285908"/>
                  </a:lnTo>
                  <a:lnTo>
                    <a:pt x="57180" y="281142"/>
                  </a:lnTo>
                  <a:lnTo>
                    <a:pt x="47648" y="281142"/>
                  </a:lnTo>
                  <a:lnTo>
                    <a:pt x="42884" y="281142"/>
                  </a:lnTo>
                  <a:lnTo>
                    <a:pt x="42884" y="271612"/>
                  </a:lnTo>
                  <a:lnTo>
                    <a:pt x="42884" y="243022"/>
                  </a:lnTo>
                  <a:lnTo>
                    <a:pt x="42884" y="228726"/>
                  </a:lnTo>
                  <a:lnTo>
                    <a:pt x="38120" y="219196"/>
                  </a:lnTo>
                  <a:lnTo>
                    <a:pt x="38120" y="190606"/>
                  </a:lnTo>
                  <a:lnTo>
                    <a:pt x="33352" y="185840"/>
                  </a:lnTo>
                  <a:lnTo>
                    <a:pt x="23824" y="171544"/>
                  </a:lnTo>
                  <a:lnTo>
                    <a:pt x="19060" y="157250"/>
                  </a:lnTo>
                  <a:lnTo>
                    <a:pt x="19060" y="152484"/>
                  </a:lnTo>
                  <a:lnTo>
                    <a:pt x="23824" y="147718"/>
                  </a:lnTo>
                  <a:lnTo>
                    <a:pt x="23824" y="133424"/>
                  </a:lnTo>
                  <a:lnTo>
                    <a:pt x="23824" y="128658"/>
                  </a:lnTo>
                  <a:lnTo>
                    <a:pt x="14292" y="119128"/>
                  </a:lnTo>
                  <a:lnTo>
                    <a:pt x="9528" y="114364"/>
                  </a:lnTo>
                  <a:lnTo>
                    <a:pt x="9528" y="104832"/>
                  </a:lnTo>
                  <a:lnTo>
                    <a:pt x="4764" y="95302"/>
                  </a:lnTo>
                  <a:lnTo>
                    <a:pt x="0" y="85772"/>
                  </a:lnTo>
                  <a:lnTo>
                    <a:pt x="0" y="81008"/>
                  </a:lnTo>
                  <a:lnTo>
                    <a:pt x="4764" y="76242"/>
                  </a:lnTo>
                  <a:lnTo>
                    <a:pt x="14292" y="76242"/>
                  </a:lnTo>
                  <a:lnTo>
                    <a:pt x="33352" y="76242"/>
                  </a:lnTo>
                  <a:lnTo>
                    <a:pt x="47648" y="76242"/>
                  </a:lnTo>
                  <a:lnTo>
                    <a:pt x="57180" y="71476"/>
                  </a:lnTo>
                  <a:lnTo>
                    <a:pt x="66708" y="23826"/>
                  </a:lnTo>
                  <a:lnTo>
                    <a:pt x="7624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0" name="Google Shape;4637;p64">
              <a:extLst>
                <a:ext uri="{FF2B5EF4-FFF2-40B4-BE49-F238E27FC236}">
                  <a16:creationId xmlns:a16="http://schemas.microsoft.com/office/drawing/2014/main" id="{86F7751C-555E-6E0C-77BA-174AC801069A}"/>
                </a:ext>
              </a:extLst>
            </p:cNvPr>
            <p:cNvSpPr/>
            <p:nvPr/>
          </p:nvSpPr>
          <p:spPr>
            <a:xfrm>
              <a:off x="5359143" y="4121802"/>
              <a:ext cx="210021" cy="213959"/>
            </a:xfrm>
            <a:custGeom>
              <a:avLst/>
              <a:gdLst/>
              <a:ahLst/>
              <a:cxnLst/>
              <a:rect l="l" t="t" r="r" b="b"/>
              <a:pathLst>
                <a:path w="640" h="652" extrusionOk="0">
                  <a:moveTo>
                    <a:pt x="392" y="18"/>
                  </a:moveTo>
                  <a:lnTo>
                    <a:pt x="390" y="16"/>
                  </a:lnTo>
                  <a:lnTo>
                    <a:pt x="386" y="16"/>
                  </a:lnTo>
                  <a:lnTo>
                    <a:pt x="382" y="16"/>
                  </a:lnTo>
                  <a:lnTo>
                    <a:pt x="380" y="18"/>
                  </a:lnTo>
                  <a:lnTo>
                    <a:pt x="376" y="22"/>
                  </a:lnTo>
                  <a:lnTo>
                    <a:pt x="368" y="26"/>
                  </a:lnTo>
                  <a:lnTo>
                    <a:pt x="364" y="30"/>
                  </a:lnTo>
                  <a:lnTo>
                    <a:pt x="362" y="32"/>
                  </a:lnTo>
                  <a:lnTo>
                    <a:pt x="358" y="32"/>
                  </a:lnTo>
                  <a:lnTo>
                    <a:pt x="356" y="30"/>
                  </a:lnTo>
                  <a:lnTo>
                    <a:pt x="356" y="26"/>
                  </a:lnTo>
                  <a:lnTo>
                    <a:pt x="356" y="14"/>
                  </a:lnTo>
                  <a:lnTo>
                    <a:pt x="356" y="10"/>
                  </a:lnTo>
                  <a:lnTo>
                    <a:pt x="352" y="6"/>
                  </a:lnTo>
                  <a:lnTo>
                    <a:pt x="350" y="6"/>
                  </a:lnTo>
                  <a:lnTo>
                    <a:pt x="346" y="4"/>
                  </a:lnTo>
                  <a:lnTo>
                    <a:pt x="344" y="4"/>
                  </a:lnTo>
                  <a:lnTo>
                    <a:pt x="338" y="8"/>
                  </a:lnTo>
                  <a:lnTo>
                    <a:pt x="332" y="12"/>
                  </a:lnTo>
                  <a:lnTo>
                    <a:pt x="322" y="12"/>
                  </a:lnTo>
                  <a:lnTo>
                    <a:pt x="314" y="10"/>
                  </a:lnTo>
                  <a:lnTo>
                    <a:pt x="312" y="10"/>
                  </a:lnTo>
                  <a:lnTo>
                    <a:pt x="298" y="4"/>
                  </a:lnTo>
                  <a:lnTo>
                    <a:pt x="294" y="4"/>
                  </a:lnTo>
                  <a:lnTo>
                    <a:pt x="290" y="2"/>
                  </a:lnTo>
                  <a:lnTo>
                    <a:pt x="284" y="0"/>
                  </a:lnTo>
                  <a:lnTo>
                    <a:pt x="272" y="4"/>
                  </a:lnTo>
                  <a:lnTo>
                    <a:pt x="268" y="2"/>
                  </a:lnTo>
                  <a:lnTo>
                    <a:pt x="262" y="0"/>
                  </a:lnTo>
                  <a:lnTo>
                    <a:pt x="260" y="0"/>
                  </a:lnTo>
                  <a:lnTo>
                    <a:pt x="254" y="10"/>
                  </a:lnTo>
                  <a:lnTo>
                    <a:pt x="242" y="20"/>
                  </a:lnTo>
                  <a:lnTo>
                    <a:pt x="234" y="22"/>
                  </a:lnTo>
                  <a:lnTo>
                    <a:pt x="234" y="22"/>
                  </a:lnTo>
                  <a:lnTo>
                    <a:pt x="234" y="26"/>
                  </a:lnTo>
                  <a:lnTo>
                    <a:pt x="226" y="34"/>
                  </a:lnTo>
                  <a:lnTo>
                    <a:pt x="216" y="44"/>
                  </a:lnTo>
                  <a:lnTo>
                    <a:pt x="210" y="52"/>
                  </a:lnTo>
                  <a:lnTo>
                    <a:pt x="198" y="64"/>
                  </a:lnTo>
                  <a:lnTo>
                    <a:pt x="188" y="66"/>
                  </a:lnTo>
                  <a:lnTo>
                    <a:pt x="174" y="70"/>
                  </a:lnTo>
                  <a:lnTo>
                    <a:pt x="170" y="74"/>
                  </a:lnTo>
                  <a:lnTo>
                    <a:pt x="166" y="80"/>
                  </a:lnTo>
                  <a:lnTo>
                    <a:pt x="164" y="90"/>
                  </a:lnTo>
                  <a:lnTo>
                    <a:pt x="162" y="96"/>
                  </a:lnTo>
                  <a:lnTo>
                    <a:pt x="162" y="106"/>
                  </a:lnTo>
                  <a:lnTo>
                    <a:pt x="166" y="116"/>
                  </a:lnTo>
                  <a:lnTo>
                    <a:pt x="170" y="128"/>
                  </a:lnTo>
                  <a:lnTo>
                    <a:pt x="170" y="134"/>
                  </a:lnTo>
                  <a:lnTo>
                    <a:pt x="170" y="140"/>
                  </a:lnTo>
                  <a:lnTo>
                    <a:pt x="166" y="148"/>
                  </a:lnTo>
                  <a:lnTo>
                    <a:pt x="162" y="158"/>
                  </a:lnTo>
                  <a:lnTo>
                    <a:pt x="160" y="170"/>
                  </a:lnTo>
                  <a:lnTo>
                    <a:pt x="160" y="190"/>
                  </a:lnTo>
                  <a:lnTo>
                    <a:pt x="160" y="208"/>
                  </a:lnTo>
                  <a:lnTo>
                    <a:pt x="158" y="210"/>
                  </a:lnTo>
                  <a:lnTo>
                    <a:pt x="152" y="224"/>
                  </a:lnTo>
                  <a:lnTo>
                    <a:pt x="146" y="238"/>
                  </a:lnTo>
                  <a:lnTo>
                    <a:pt x="142" y="242"/>
                  </a:lnTo>
                  <a:lnTo>
                    <a:pt x="126" y="246"/>
                  </a:lnTo>
                  <a:lnTo>
                    <a:pt x="108" y="256"/>
                  </a:lnTo>
                  <a:lnTo>
                    <a:pt x="88" y="268"/>
                  </a:lnTo>
                  <a:lnTo>
                    <a:pt x="70" y="278"/>
                  </a:lnTo>
                  <a:lnTo>
                    <a:pt x="52" y="290"/>
                  </a:lnTo>
                  <a:lnTo>
                    <a:pt x="32" y="302"/>
                  </a:lnTo>
                  <a:lnTo>
                    <a:pt x="18" y="310"/>
                  </a:lnTo>
                  <a:lnTo>
                    <a:pt x="0" y="322"/>
                  </a:lnTo>
                  <a:lnTo>
                    <a:pt x="4" y="338"/>
                  </a:lnTo>
                  <a:lnTo>
                    <a:pt x="10" y="356"/>
                  </a:lnTo>
                  <a:lnTo>
                    <a:pt x="14" y="374"/>
                  </a:lnTo>
                  <a:lnTo>
                    <a:pt x="18" y="390"/>
                  </a:lnTo>
                  <a:lnTo>
                    <a:pt x="14" y="392"/>
                  </a:lnTo>
                  <a:lnTo>
                    <a:pt x="18" y="404"/>
                  </a:lnTo>
                  <a:lnTo>
                    <a:pt x="24" y="402"/>
                  </a:lnTo>
                  <a:lnTo>
                    <a:pt x="30" y="400"/>
                  </a:lnTo>
                  <a:lnTo>
                    <a:pt x="34" y="410"/>
                  </a:lnTo>
                  <a:lnTo>
                    <a:pt x="24" y="418"/>
                  </a:lnTo>
                  <a:lnTo>
                    <a:pt x="38" y="422"/>
                  </a:lnTo>
                  <a:lnTo>
                    <a:pt x="60" y="424"/>
                  </a:lnTo>
                  <a:lnTo>
                    <a:pt x="82" y="428"/>
                  </a:lnTo>
                  <a:lnTo>
                    <a:pt x="104" y="432"/>
                  </a:lnTo>
                  <a:lnTo>
                    <a:pt x="112" y="436"/>
                  </a:lnTo>
                  <a:lnTo>
                    <a:pt x="134" y="450"/>
                  </a:lnTo>
                  <a:lnTo>
                    <a:pt x="148" y="458"/>
                  </a:lnTo>
                  <a:lnTo>
                    <a:pt x="164" y="468"/>
                  </a:lnTo>
                  <a:lnTo>
                    <a:pt x="184" y="480"/>
                  </a:lnTo>
                  <a:lnTo>
                    <a:pt x="198" y="488"/>
                  </a:lnTo>
                  <a:lnTo>
                    <a:pt x="216" y="498"/>
                  </a:lnTo>
                  <a:lnTo>
                    <a:pt x="230" y="512"/>
                  </a:lnTo>
                  <a:lnTo>
                    <a:pt x="248" y="526"/>
                  </a:lnTo>
                  <a:lnTo>
                    <a:pt x="268" y="544"/>
                  </a:lnTo>
                  <a:lnTo>
                    <a:pt x="284" y="556"/>
                  </a:lnTo>
                  <a:lnTo>
                    <a:pt x="306" y="576"/>
                  </a:lnTo>
                  <a:lnTo>
                    <a:pt x="328" y="592"/>
                  </a:lnTo>
                  <a:lnTo>
                    <a:pt x="350" y="610"/>
                  </a:lnTo>
                  <a:lnTo>
                    <a:pt x="366" y="624"/>
                  </a:lnTo>
                  <a:lnTo>
                    <a:pt x="388" y="642"/>
                  </a:lnTo>
                  <a:lnTo>
                    <a:pt x="390" y="642"/>
                  </a:lnTo>
                  <a:lnTo>
                    <a:pt x="412" y="644"/>
                  </a:lnTo>
                  <a:lnTo>
                    <a:pt x="470" y="650"/>
                  </a:lnTo>
                  <a:lnTo>
                    <a:pt x="498" y="652"/>
                  </a:lnTo>
                  <a:lnTo>
                    <a:pt x="508" y="650"/>
                  </a:lnTo>
                  <a:lnTo>
                    <a:pt x="520" y="638"/>
                  </a:lnTo>
                  <a:lnTo>
                    <a:pt x="524" y="630"/>
                  </a:lnTo>
                  <a:lnTo>
                    <a:pt x="532" y="616"/>
                  </a:lnTo>
                  <a:lnTo>
                    <a:pt x="538" y="606"/>
                  </a:lnTo>
                  <a:lnTo>
                    <a:pt x="542" y="594"/>
                  </a:lnTo>
                  <a:lnTo>
                    <a:pt x="546" y="586"/>
                  </a:lnTo>
                  <a:lnTo>
                    <a:pt x="546" y="584"/>
                  </a:lnTo>
                  <a:lnTo>
                    <a:pt x="548" y="582"/>
                  </a:lnTo>
                  <a:lnTo>
                    <a:pt x="554" y="578"/>
                  </a:lnTo>
                  <a:lnTo>
                    <a:pt x="562" y="576"/>
                  </a:lnTo>
                  <a:lnTo>
                    <a:pt x="572" y="574"/>
                  </a:lnTo>
                  <a:lnTo>
                    <a:pt x="582" y="574"/>
                  </a:lnTo>
                  <a:lnTo>
                    <a:pt x="584" y="574"/>
                  </a:lnTo>
                  <a:lnTo>
                    <a:pt x="588" y="576"/>
                  </a:lnTo>
                  <a:lnTo>
                    <a:pt x="604" y="582"/>
                  </a:lnTo>
                  <a:lnTo>
                    <a:pt x="604" y="580"/>
                  </a:lnTo>
                  <a:lnTo>
                    <a:pt x="610" y="578"/>
                  </a:lnTo>
                  <a:lnTo>
                    <a:pt x="614" y="578"/>
                  </a:lnTo>
                  <a:lnTo>
                    <a:pt x="628" y="584"/>
                  </a:lnTo>
                  <a:lnTo>
                    <a:pt x="634" y="586"/>
                  </a:lnTo>
                  <a:lnTo>
                    <a:pt x="640" y="584"/>
                  </a:lnTo>
                  <a:lnTo>
                    <a:pt x="636" y="580"/>
                  </a:lnTo>
                  <a:lnTo>
                    <a:pt x="634" y="578"/>
                  </a:lnTo>
                  <a:lnTo>
                    <a:pt x="630" y="572"/>
                  </a:lnTo>
                  <a:lnTo>
                    <a:pt x="630" y="570"/>
                  </a:lnTo>
                  <a:lnTo>
                    <a:pt x="632" y="568"/>
                  </a:lnTo>
                  <a:lnTo>
                    <a:pt x="630" y="564"/>
                  </a:lnTo>
                  <a:lnTo>
                    <a:pt x="626" y="560"/>
                  </a:lnTo>
                  <a:lnTo>
                    <a:pt x="622" y="558"/>
                  </a:lnTo>
                  <a:lnTo>
                    <a:pt x="620" y="556"/>
                  </a:lnTo>
                  <a:lnTo>
                    <a:pt x="616" y="554"/>
                  </a:lnTo>
                  <a:lnTo>
                    <a:pt x="614" y="550"/>
                  </a:lnTo>
                  <a:lnTo>
                    <a:pt x="610" y="546"/>
                  </a:lnTo>
                  <a:lnTo>
                    <a:pt x="606" y="546"/>
                  </a:lnTo>
                  <a:lnTo>
                    <a:pt x="606" y="532"/>
                  </a:lnTo>
                  <a:lnTo>
                    <a:pt x="606" y="518"/>
                  </a:lnTo>
                  <a:lnTo>
                    <a:pt x="606" y="506"/>
                  </a:lnTo>
                  <a:lnTo>
                    <a:pt x="594" y="506"/>
                  </a:lnTo>
                  <a:lnTo>
                    <a:pt x="584" y="504"/>
                  </a:lnTo>
                  <a:lnTo>
                    <a:pt x="584" y="474"/>
                  </a:lnTo>
                  <a:lnTo>
                    <a:pt x="588" y="458"/>
                  </a:lnTo>
                  <a:lnTo>
                    <a:pt x="594" y="444"/>
                  </a:lnTo>
                  <a:lnTo>
                    <a:pt x="586" y="434"/>
                  </a:lnTo>
                  <a:lnTo>
                    <a:pt x="578" y="422"/>
                  </a:lnTo>
                  <a:lnTo>
                    <a:pt x="572" y="416"/>
                  </a:lnTo>
                  <a:lnTo>
                    <a:pt x="566" y="402"/>
                  </a:lnTo>
                  <a:lnTo>
                    <a:pt x="564" y="396"/>
                  </a:lnTo>
                  <a:lnTo>
                    <a:pt x="560" y="392"/>
                  </a:lnTo>
                  <a:lnTo>
                    <a:pt x="558" y="392"/>
                  </a:lnTo>
                  <a:lnTo>
                    <a:pt x="548" y="392"/>
                  </a:lnTo>
                  <a:lnTo>
                    <a:pt x="538" y="384"/>
                  </a:lnTo>
                  <a:lnTo>
                    <a:pt x="526" y="374"/>
                  </a:lnTo>
                  <a:lnTo>
                    <a:pt x="512" y="364"/>
                  </a:lnTo>
                  <a:lnTo>
                    <a:pt x="498" y="356"/>
                  </a:lnTo>
                  <a:lnTo>
                    <a:pt x="494" y="354"/>
                  </a:lnTo>
                  <a:lnTo>
                    <a:pt x="482" y="354"/>
                  </a:lnTo>
                  <a:lnTo>
                    <a:pt x="480" y="352"/>
                  </a:lnTo>
                  <a:lnTo>
                    <a:pt x="480" y="348"/>
                  </a:lnTo>
                  <a:lnTo>
                    <a:pt x="480" y="344"/>
                  </a:lnTo>
                  <a:lnTo>
                    <a:pt x="482" y="338"/>
                  </a:lnTo>
                  <a:lnTo>
                    <a:pt x="484" y="332"/>
                  </a:lnTo>
                  <a:lnTo>
                    <a:pt x="474" y="318"/>
                  </a:lnTo>
                  <a:lnTo>
                    <a:pt x="472" y="314"/>
                  </a:lnTo>
                  <a:lnTo>
                    <a:pt x="466" y="312"/>
                  </a:lnTo>
                  <a:lnTo>
                    <a:pt x="466" y="308"/>
                  </a:lnTo>
                  <a:lnTo>
                    <a:pt x="466" y="306"/>
                  </a:lnTo>
                  <a:lnTo>
                    <a:pt x="466" y="302"/>
                  </a:lnTo>
                  <a:lnTo>
                    <a:pt x="464" y="302"/>
                  </a:lnTo>
                  <a:lnTo>
                    <a:pt x="462" y="302"/>
                  </a:lnTo>
                  <a:lnTo>
                    <a:pt x="456" y="304"/>
                  </a:lnTo>
                  <a:lnTo>
                    <a:pt x="452" y="296"/>
                  </a:lnTo>
                  <a:lnTo>
                    <a:pt x="440" y="278"/>
                  </a:lnTo>
                  <a:lnTo>
                    <a:pt x="434" y="276"/>
                  </a:lnTo>
                  <a:lnTo>
                    <a:pt x="434" y="274"/>
                  </a:lnTo>
                  <a:lnTo>
                    <a:pt x="438" y="268"/>
                  </a:lnTo>
                  <a:lnTo>
                    <a:pt x="442" y="260"/>
                  </a:lnTo>
                  <a:lnTo>
                    <a:pt x="444" y="254"/>
                  </a:lnTo>
                  <a:lnTo>
                    <a:pt x="442" y="250"/>
                  </a:lnTo>
                  <a:lnTo>
                    <a:pt x="436" y="240"/>
                  </a:lnTo>
                  <a:lnTo>
                    <a:pt x="438" y="234"/>
                  </a:lnTo>
                  <a:lnTo>
                    <a:pt x="440" y="230"/>
                  </a:lnTo>
                  <a:lnTo>
                    <a:pt x="440" y="226"/>
                  </a:lnTo>
                  <a:lnTo>
                    <a:pt x="444" y="226"/>
                  </a:lnTo>
                  <a:lnTo>
                    <a:pt x="450" y="226"/>
                  </a:lnTo>
                  <a:lnTo>
                    <a:pt x="452" y="224"/>
                  </a:lnTo>
                  <a:lnTo>
                    <a:pt x="452" y="212"/>
                  </a:lnTo>
                  <a:lnTo>
                    <a:pt x="452" y="208"/>
                  </a:lnTo>
                  <a:lnTo>
                    <a:pt x="468" y="190"/>
                  </a:lnTo>
                  <a:lnTo>
                    <a:pt x="476" y="186"/>
                  </a:lnTo>
                  <a:lnTo>
                    <a:pt x="482" y="182"/>
                  </a:lnTo>
                  <a:lnTo>
                    <a:pt x="484" y="176"/>
                  </a:lnTo>
                  <a:lnTo>
                    <a:pt x="482" y="174"/>
                  </a:lnTo>
                  <a:lnTo>
                    <a:pt x="482" y="170"/>
                  </a:lnTo>
                  <a:lnTo>
                    <a:pt x="482" y="166"/>
                  </a:lnTo>
                  <a:lnTo>
                    <a:pt x="474" y="158"/>
                  </a:lnTo>
                  <a:lnTo>
                    <a:pt x="472" y="154"/>
                  </a:lnTo>
                  <a:lnTo>
                    <a:pt x="472" y="150"/>
                  </a:lnTo>
                  <a:lnTo>
                    <a:pt x="474" y="144"/>
                  </a:lnTo>
                  <a:lnTo>
                    <a:pt x="476" y="138"/>
                  </a:lnTo>
                  <a:lnTo>
                    <a:pt x="486" y="136"/>
                  </a:lnTo>
                  <a:lnTo>
                    <a:pt x="490" y="132"/>
                  </a:lnTo>
                  <a:lnTo>
                    <a:pt x="492" y="130"/>
                  </a:lnTo>
                  <a:lnTo>
                    <a:pt x="484" y="126"/>
                  </a:lnTo>
                  <a:lnTo>
                    <a:pt x="470" y="126"/>
                  </a:lnTo>
                  <a:lnTo>
                    <a:pt x="460" y="126"/>
                  </a:lnTo>
                  <a:lnTo>
                    <a:pt x="456" y="126"/>
                  </a:lnTo>
                  <a:lnTo>
                    <a:pt x="450" y="118"/>
                  </a:lnTo>
                  <a:lnTo>
                    <a:pt x="446" y="114"/>
                  </a:lnTo>
                  <a:lnTo>
                    <a:pt x="440" y="112"/>
                  </a:lnTo>
                  <a:lnTo>
                    <a:pt x="434" y="112"/>
                  </a:lnTo>
                  <a:lnTo>
                    <a:pt x="432" y="110"/>
                  </a:lnTo>
                  <a:lnTo>
                    <a:pt x="432" y="108"/>
                  </a:lnTo>
                  <a:lnTo>
                    <a:pt x="424" y="84"/>
                  </a:lnTo>
                  <a:lnTo>
                    <a:pt x="422" y="80"/>
                  </a:lnTo>
                  <a:lnTo>
                    <a:pt x="418" y="78"/>
                  </a:lnTo>
                  <a:lnTo>
                    <a:pt x="416" y="78"/>
                  </a:lnTo>
                  <a:lnTo>
                    <a:pt x="414" y="76"/>
                  </a:lnTo>
                  <a:lnTo>
                    <a:pt x="412" y="74"/>
                  </a:lnTo>
                  <a:lnTo>
                    <a:pt x="410" y="70"/>
                  </a:lnTo>
                  <a:lnTo>
                    <a:pt x="410" y="64"/>
                  </a:lnTo>
                  <a:lnTo>
                    <a:pt x="410" y="58"/>
                  </a:lnTo>
                  <a:lnTo>
                    <a:pt x="410" y="54"/>
                  </a:lnTo>
                  <a:lnTo>
                    <a:pt x="406" y="52"/>
                  </a:lnTo>
                  <a:lnTo>
                    <a:pt x="404" y="50"/>
                  </a:lnTo>
                  <a:lnTo>
                    <a:pt x="400" y="46"/>
                  </a:lnTo>
                  <a:lnTo>
                    <a:pt x="396" y="26"/>
                  </a:lnTo>
                  <a:lnTo>
                    <a:pt x="392" y="20"/>
                  </a:lnTo>
                  <a:lnTo>
                    <a:pt x="392"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1" name="Google Shape;4638;p64">
              <a:extLst>
                <a:ext uri="{FF2B5EF4-FFF2-40B4-BE49-F238E27FC236}">
                  <a16:creationId xmlns:a16="http://schemas.microsoft.com/office/drawing/2014/main" id="{6CFF5AFD-ECF0-27E5-A1A5-13411251B2A1}"/>
                </a:ext>
              </a:extLst>
            </p:cNvPr>
            <p:cNvSpPr/>
            <p:nvPr/>
          </p:nvSpPr>
          <p:spPr>
            <a:xfrm>
              <a:off x="3998602" y="3052666"/>
              <a:ext cx="234961" cy="158828"/>
            </a:xfrm>
            <a:custGeom>
              <a:avLst/>
              <a:gdLst/>
              <a:ahLst/>
              <a:cxnLst/>
              <a:rect l="l" t="t" r="r" b="b"/>
              <a:pathLst>
                <a:path w="716" h="484" extrusionOk="0">
                  <a:moveTo>
                    <a:pt x="586" y="50"/>
                  </a:moveTo>
                  <a:lnTo>
                    <a:pt x="578" y="44"/>
                  </a:lnTo>
                  <a:lnTo>
                    <a:pt x="574" y="40"/>
                  </a:lnTo>
                  <a:lnTo>
                    <a:pt x="574" y="28"/>
                  </a:lnTo>
                  <a:lnTo>
                    <a:pt x="570" y="22"/>
                  </a:lnTo>
                  <a:lnTo>
                    <a:pt x="564" y="16"/>
                  </a:lnTo>
                  <a:lnTo>
                    <a:pt x="556" y="2"/>
                  </a:lnTo>
                  <a:lnTo>
                    <a:pt x="552" y="0"/>
                  </a:lnTo>
                  <a:lnTo>
                    <a:pt x="538" y="0"/>
                  </a:lnTo>
                  <a:lnTo>
                    <a:pt x="522" y="8"/>
                  </a:lnTo>
                  <a:lnTo>
                    <a:pt x="520" y="14"/>
                  </a:lnTo>
                  <a:lnTo>
                    <a:pt x="528" y="40"/>
                  </a:lnTo>
                  <a:lnTo>
                    <a:pt x="526" y="44"/>
                  </a:lnTo>
                  <a:lnTo>
                    <a:pt x="524" y="54"/>
                  </a:lnTo>
                  <a:lnTo>
                    <a:pt x="514" y="58"/>
                  </a:lnTo>
                  <a:lnTo>
                    <a:pt x="506" y="64"/>
                  </a:lnTo>
                  <a:lnTo>
                    <a:pt x="500" y="66"/>
                  </a:lnTo>
                  <a:lnTo>
                    <a:pt x="494" y="62"/>
                  </a:lnTo>
                  <a:lnTo>
                    <a:pt x="492" y="58"/>
                  </a:lnTo>
                  <a:lnTo>
                    <a:pt x="486" y="54"/>
                  </a:lnTo>
                  <a:lnTo>
                    <a:pt x="482" y="52"/>
                  </a:lnTo>
                  <a:lnTo>
                    <a:pt x="480" y="54"/>
                  </a:lnTo>
                  <a:lnTo>
                    <a:pt x="468" y="72"/>
                  </a:lnTo>
                  <a:lnTo>
                    <a:pt x="462" y="82"/>
                  </a:lnTo>
                  <a:lnTo>
                    <a:pt x="460" y="86"/>
                  </a:lnTo>
                  <a:lnTo>
                    <a:pt x="454" y="90"/>
                  </a:lnTo>
                  <a:lnTo>
                    <a:pt x="454" y="92"/>
                  </a:lnTo>
                  <a:lnTo>
                    <a:pt x="452" y="90"/>
                  </a:lnTo>
                  <a:lnTo>
                    <a:pt x="448" y="86"/>
                  </a:lnTo>
                  <a:lnTo>
                    <a:pt x="436" y="68"/>
                  </a:lnTo>
                  <a:lnTo>
                    <a:pt x="430" y="62"/>
                  </a:lnTo>
                  <a:lnTo>
                    <a:pt x="412" y="60"/>
                  </a:lnTo>
                  <a:lnTo>
                    <a:pt x="404" y="60"/>
                  </a:lnTo>
                  <a:lnTo>
                    <a:pt x="404" y="66"/>
                  </a:lnTo>
                  <a:lnTo>
                    <a:pt x="404" y="70"/>
                  </a:lnTo>
                  <a:lnTo>
                    <a:pt x="414" y="102"/>
                  </a:lnTo>
                  <a:lnTo>
                    <a:pt x="418" y="114"/>
                  </a:lnTo>
                  <a:lnTo>
                    <a:pt x="418" y="122"/>
                  </a:lnTo>
                  <a:lnTo>
                    <a:pt x="416" y="126"/>
                  </a:lnTo>
                  <a:lnTo>
                    <a:pt x="414" y="128"/>
                  </a:lnTo>
                  <a:lnTo>
                    <a:pt x="414" y="128"/>
                  </a:lnTo>
                  <a:lnTo>
                    <a:pt x="412" y="124"/>
                  </a:lnTo>
                  <a:lnTo>
                    <a:pt x="406" y="104"/>
                  </a:lnTo>
                  <a:lnTo>
                    <a:pt x="394" y="92"/>
                  </a:lnTo>
                  <a:lnTo>
                    <a:pt x="384" y="74"/>
                  </a:lnTo>
                  <a:lnTo>
                    <a:pt x="378" y="64"/>
                  </a:lnTo>
                  <a:lnTo>
                    <a:pt x="374" y="58"/>
                  </a:lnTo>
                  <a:lnTo>
                    <a:pt x="368" y="56"/>
                  </a:lnTo>
                  <a:lnTo>
                    <a:pt x="364" y="56"/>
                  </a:lnTo>
                  <a:lnTo>
                    <a:pt x="360" y="60"/>
                  </a:lnTo>
                  <a:lnTo>
                    <a:pt x="352" y="66"/>
                  </a:lnTo>
                  <a:lnTo>
                    <a:pt x="346" y="70"/>
                  </a:lnTo>
                  <a:lnTo>
                    <a:pt x="334" y="74"/>
                  </a:lnTo>
                  <a:lnTo>
                    <a:pt x="330" y="80"/>
                  </a:lnTo>
                  <a:lnTo>
                    <a:pt x="328" y="88"/>
                  </a:lnTo>
                  <a:lnTo>
                    <a:pt x="330" y="116"/>
                  </a:lnTo>
                  <a:lnTo>
                    <a:pt x="330" y="120"/>
                  </a:lnTo>
                  <a:lnTo>
                    <a:pt x="328" y="122"/>
                  </a:lnTo>
                  <a:lnTo>
                    <a:pt x="326" y="124"/>
                  </a:lnTo>
                  <a:lnTo>
                    <a:pt x="320" y="122"/>
                  </a:lnTo>
                  <a:lnTo>
                    <a:pt x="316" y="118"/>
                  </a:lnTo>
                  <a:lnTo>
                    <a:pt x="310" y="108"/>
                  </a:lnTo>
                  <a:lnTo>
                    <a:pt x="302" y="98"/>
                  </a:lnTo>
                  <a:lnTo>
                    <a:pt x="292" y="78"/>
                  </a:lnTo>
                  <a:lnTo>
                    <a:pt x="286" y="74"/>
                  </a:lnTo>
                  <a:lnTo>
                    <a:pt x="280" y="70"/>
                  </a:lnTo>
                  <a:lnTo>
                    <a:pt x="274" y="72"/>
                  </a:lnTo>
                  <a:lnTo>
                    <a:pt x="270" y="80"/>
                  </a:lnTo>
                  <a:lnTo>
                    <a:pt x="268" y="94"/>
                  </a:lnTo>
                  <a:lnTo>
                    <a:pt x="270" y="114"/>
                  </a:lnTo>
                  <a:lnTo>
                    <a:pt x="270" y="132"/>
                  </a:lnTo>
                  <a:lnTo>
                    <a:pt x="266" y="146"/>
                  </a:lnTo>
                  <a:lnTo>
                    <a:pt x="264" y="154"/>
                  </a:lnTo>
                  <a:lnTo>
                    <a:pt x="262" y="156"/>
                  </a:lnTo>
                  <a:lnTo>
                    <a:pt x="258" y="154"/>
                  </a:lnTo>
                  <a:lnTo>
                    <a:pt x="250" y="142"/>
                  </a:lnTo>
                  <a:lnTo>
                    <a:pt x="248" y="140"/>
                  </a:lnTo>
                  <a:lnTo>
                    <a:pt x="244" y="140"/>
                  </a:lnTo>
                  <a:lnTo>
                    <a:pt x="240" y="144"/>
                  </a:lnTo>
                  <a:lnTo>
                    <a:pt x="232" y="156"/>
                  </a:lnTo>
                  <a:lnTo>
                    <a:pt x="228" y="170"/>
                  </a:lnTo>
                  <a:lnTo>
                    <a:pt x="228" y="174"/>
                  </a:lnTo>
                  <a:lnTo>
                    <a:pt x="226" y="176"/>
                  </a:lnTo>
                  <a:lnTo>
                    <a:pt x="224" y="176"/>
                  </a:lnTo>
                  <a:lnTo>
                    <a:pt x="222" y="184"/>
                  </a:lnTo>
                  <a:lnTo>
                    <a:pt x="220" y="198"/>
                  </a:lnTo>
                  <a:lnTo>
                    <a:pt x="218" y="202"/>
                  </a:lnTo>
                  <a:lnTo>
                    <a:pt x="216" y="196"/>
                  </a:lnTo>
                  <a:lnTo>
                    <a:pt x="212" y="178"/>
                  </a:lnTo>
                  <a:lnTo>
                    <a:pt x="206" y="172"/>
                  </a:lnTo>
                  <a:lnTo>
                    <a:pt x="204" y="172"/>
                  </a:lnTo>
                  <a:lnTo>
                    <a:pt x="200" y="172"/>
                  </a:lnTo>
                  <a:lnTo>
                    <a:pt x="200" y="170"/>
                  </a:lnTo>
                  <a:lnTo>
                    <a:pt x="202" y="166"/>
                  </a:lnTo>
                  <a:lnTo>
                    <a:pt x="202" y="160"/>
                  </a:lnTo>
                  <a:lnTo>
                    <a:pt x="204" y="154"/>
                  </a:lnTo>
                  <a:lnTo>
                    <a:pt x="202" y="152"/>
                  </a:lnTo>
                  <a:lnTo>
                    <a:pt x="198" y="154"/>
                  </a:lnTo>
                  <a:lnTo>
                    <a:pt x="198" y="152"/>
                  </a:lnTo>
                  <a:lnTo>
                    <a:pt x="198" y="148"/>
                  </a:lnTo>
                  <a:lnTo>
                    <a:pt x="196" y="144"/>
                  </a:lnTo>
                  <a:lnTo>
                    <a:pt x="188" y="136"/>
                  </a:lnTo>
                  <a:lnTo>
                    <a:pt x="184" y="130"/>
                  </a:lnTo>
                  <a:lnTo>
                    <a:pt x="198" y="134"/>
                  </a:lnTo>
                  <a:lnTo>
                    <a:pt x="200" y="132"/>
                  </a:lnTo>
                  <a:lnTo>
                    <a:pt x="202" y="128"/>
                  </a:lnTo>
                  <a:lnTo>
                    <a:pt x="208" y="106"/>
                  </a:lnTo>
                  <a:lnTo>
                    <a:pt x="208" y="102"/>
                  </a:lnTo>
                  <a:lnTo>
                    <a:pt x="202" y="96"/>
                  </a:lnTo>
                  <a:lnTo>
                    <a:pt x="194" y="94"/>
                  </a:lnTo>
                  <a:lnTo>
                    <a:pt x="194" y="92"/>
                  </a:lnTo>
                  <a:lnTo>
                    <a:pt x="200" y="88"/>
                  </a:lnTo>
                  <a:lnTo>
                    <a:pt x="202" y="84"/>
                  </a:lnTo>
                  <a:lnTo>
                    <a:pt x="200" y="82"/>
                  </a:lnTo>
                  <a:lnTo>
                    <a:pt x="186" y="72"/>
                  </a:lnTo>
                  <a:lnTo>
                    <a:pt x="172" y="54"/>
                  </a:lnTo>
                  <a:lnTo>
                    <a:pt x="166" y="48"/>
                  </a:lnTo>
                  <a:lnTo>
                    <a:pt x="164" y="44"/>
                  </a:lnTo>
                  <a:lnTo>
                    <a:pt x="150" y="36"/>
                  </a:lnTo>
                  <a:lnTo>
                    <a:pt x="140" y="24"/>
                  </a:lnTo>
                  <a:lnTo>
                    <a:pt x="134" y="16"/>
                  </a:lnTo>
                  <a:lnTo>
                    <a:pt x="126" y="14"/>
                  </a:lnTo>
                  <a:lnTo>
                    <a:pt x="114" y="16"/>
                  </a:lnTo>
                  <a:lnTo>
                    <a:pt x="104" y="14"/>
                  </a:lnTo>
                  <a:lnTo>
                    <a:pt x="100" y="16"/>
                  </a:lnTo>
                  <a:lnTo>
                    <a:pt x="92" y="24"/>
                  </a:lnTo>
                  <a:lnTo>
                    <a:pt x="88" y="28"/>
                  </a:lnTo>
                  <a:lnTo>
                    <a:pt x="88" y="32"/>
                  </a:lnTo>
                  <a:lnTo>
                    <a:pt x="98" y="34"/>
                  </a:lnTo>
                  <a:lnTo>
                    <a:pt x="108" y="34"/>
                  </a:lnTo>
                  <a:lnTo>
                    <a:pt x="116" y="32"/>
                  </a:lnTo>
                  <a:lnTo>
                    <a:pt x="118" y="36"/>
                  </a:lnTo>
                  <a:lnTo>
                    <a:pt x="120" y="36"/>
                  </a:lnTo>
                  <a:lnTo>
                    <a:pt x="126" y="40"/>
                  </a:lnTo>
                  <a:lnTo>
                    <a:pt x="130" y="42"/>
                  </a:lnTo>
                  <a:lnTo>
                    <a:pt x="128" y="44"/>
                  </a:lnTo>
                  <a:lnTo>
                    <a:pt x="112" y="44"/>
                  </a:lnTo>
                  <a:lnTo>
                    <a:pt x="106" y="46"/>
                  </a:lnTo>
                  <a:lnTo>
                    <a:pt x="100" y="48"/>
                  </a:lnTo>
                  <a:lnTo>
                    <a:pt x="100" y="52"/>
                  </a:lnTo>
                  <a:lnTo>
                    <a:pt x="104" y="58"/>
                  </a:lnTo>
                  <a:lnTo>
                    <a:pt x="108" y="62"/>
                  </a:lnTo>
                  <a:lnTo>
                    <a:pt x="132" y="74"/>
                  </a:lnTo>
                  <a:lnTo>
                    <a:pt x="134" y="76"/>
                  </a:lnTo>
                  <a:lnTo>
                    <a:pt x="134" y="86"/>
                  </a:lnTo>
                  <a:lnTo>
                    <a:pt x="134" y="98"/>
                  </a:lnTo>
                  <a:lnTo>
                    <a:pt x="132" y="100"/>
                  </a:lnTo>
                  <a:lnTo>
                    <a:pt x="126" y="102"/>
                  </a:lnTo>
                  <a:lnTo>
                    <a:pt x="122" y="108"/>
                  </a:lnTo>
                  <a:lnTo>
                    <a:pt x="122" y="106"/>
                  </a:lnTo>
                  <a:lnTo>
                    <a:pt x="122" y="94"/>
                  </a:lnTo>
                  <a:lnTo>
                    <a:pt x="122" y="90"/>
                  </a:lnTo>
                  <a:lnTo>
                    <a:pt x="120" y="86"/>
                  </a:lnTo>
                  <a:lnTo>
                    <a:pt x="118" y="82"/>
                  </a:lnTo>
                  <a:lnTo>
                    <a:pt x="114" y="80"/>
                  </a:lnTo>
                  <a:lnTo>
                    <a:pt x="108" y="88"/>
                  </a:lnTo>
                  <a:lnTo>
                    <a:pt x="106" y="90"/>
                  </a:lnTo>
                  <a:lnTo>
                    <a:pt x="102" y="86"/>
                  </a:lnTo>
                  <a:lnTo>
                    <a:pt x="94" y="88"/>
                  </a:lnTo>
                  <a:lnTo>
                    <a:pt x="94" y="86"/>
                  </a:lnTo>
                  <a:lnTo>
                    <a:pt x="96" y="80"/>
                  </a:lnTo>
                  <a:lnTo>
                    <a:pt x="94" y="76"/>
                  </a:lnTo>
                  <a:lnTo>
                    <a:pt x="92" y="72"/>
                  </a:lnTo>
                  <a:lnTo>
                    <a:pt x="76" y="60"/>
                  </a:lnTo>
                  <a:lnTo>
                    <a:pt x="72" y="56"/>
                  </a:lnTo>
                  <a:lnTo>
                    <a:pt x="66" y="56"/>
                  </a:lnTo>
                  <a:lnTo>
                    <a:pt x="62" y="60"/>
                  </a:lnTo>
                  <a:lnTo>
                    <a:pt x="62" y="62"/>
                  </a:lnTo>
                  <a:lnTo>
                    <a:pt x="60" y="66"/>
                  </a:lnTo>
                  <a:lnTo>
                    <a:pt x="58" y="68"/>
                  </a:lnTo>
                  <a:lnTo>
                    <a:pt x="58" y="70"/>
                  </a:lnTo>
                  <a:lnTo>
                    <a:pt x="64" y="78"/>
                  </a:lnTo>
                  <a:lnTo>
                    <a:pt x="68" y="82"/>
                  </a:lnTo>
                  <a:lnTo>
                    <a:pt x="64" y="82"/>
                  </a:lnTo>
                  <a:lnTo>
                    <a:pt x="48" y="74"/>
                  </a:lnTo>
                  <a:lnTo>
                    <a:pt x="46" y="76"/>
                  </a:lnTo>
                  <a:lnTo>
                    <a:pt x="46" y="80"/>
                  </a:lnTo>
                  <a:lnTo>
                    <a:pt x="46" y="84"/>
                  </a:lnTo>
                  <a:lnTo>
                    <a:pt x="46" y="86"/>
                  </a:lnTo>
                  <a:lnTo>
                    <a:pt x="52" y="94"/>
                  </a:lnTo>
                  <a:lnTo>
                    <a:pt x="62" y="106"/>
                  </a:lnTo>
                  <a:lnTo>
                    <a:pt x="48" y="104"/>
                  </a:lnTo>
                  <a:lnTo>
                    <a:pt x="44" y="108"/>
                  </a:lnTo>
                  <a:lnTo>
                    <a:pt x="42" y="110"/>
                  </a:lnTo>
                  <a:lnTo>
                    <a:pt x="46" y="118"/>
                  </a:lnTo>
                  <a:lnTo>
                    <a:pt x="50" y="120"/>
                  </a:lnTo>
                  <a:lnTo>
                    <a:pt x="58" y="124"/>
                  </a:lnTo>
                  <a:lnTo>
                    <a:pt x="76" y="124"/>
                  </a:lnTo>
                  <a:lnTo>
                    <a:pt x="78" y="126"/>
                  </a:lnTo>
                  <a:lnTo>
                    <a:pt x="70" y="130"/>
                  </a:lnTo>
                  <a:lnTo>
                    <a:pt x="66" y="134"/>
                  </a:lnTo>
                  <a:lnTo>
                    <a:pt x="56" y="138"/>
                  </a:lnTo>
                  <a:lnTo>
                    <a:pt x="36" y="124"/>
                  </a:lnTo>
                  <a:lnTo>
                    <a:pt x="28" y="120"/>
                  </a:lnTo>
                  <a:lnTo>
                    <a:pt x="24" y="122"/>
                  </a:lnTo>
                  <a:lnTo>
                    <a:pt x="24" y="124"/>
                  </a:lnTo>
                  <a:lnTo>
                    <a:pt x="26" y="132"/>
                  </a:lnTo>
                  <a:lnTo>
                    <a:pt x="30" y="136"/>
                  </a:lnTo>
                  <a:lnTo>
                    <a:pt x="30" y="142"/>
                  </a:lnTo>
                  <a:lnTo>
                    <a:pt x="30" y="148"/>
                  </a:lnTo>
                  <a:lnTo>
                    <a:pt x="40" y="160"/>
                  </a:lnTo>
                  <a:lnTo>
                    <a:pt x="32" y="158"/>
                  </a:lnTo>
                  <a:lnTo>
                    <a:pt x="20" y="148"/>
                  </a:lnTo>
                  <a:lnTo>
                    <a:pt x="14" y="148"/>
                  </a:lnTo>
                  <a:lnTo>
                    <a:pt x="8" y="150"/>
                  </a:lnTo>
                  <a:lnTo>
                    <a:pt x="0" y="162"/>
                  </a:lnTo>
                  <a:lnTo>
                    <a:pt x="0" y="166"/>
                  </a:lnTo>
                  <a:lnTo>
                    <a:pt x="16" y="168"/>
                  </a:lnTo>
                  <a:lnTo>
                    <a:pt x="30" y="174"/>
                  </a:lnTo>
                  <a:lnTo>
                    <a:pt x="38" y="180"/>
                  </a:lnTo>
                  <a:lnTo>
                    <a:pt x="44" y="178"/>
                  </a:lnTo>
                  <a:lnTo>
                    <a:pt x="56" y="170"/>
                  </a:lnTo>
                  <a:lnTo>
                    <a:pt x="88" y="160"/>
                  </a:lnTo>
                  <a:lnTo>
                    <a:pt x="102" y="152"/>
                  </a:lnTo>
                  <a:lnTo>
                    <a:pt x="108" y="158"/>
                  </a:lnTo>
                  <a:lnTo>
                    <a:pt x="120" y="156"/>
                  </a:lnTo>
                  <a:lnTo>
                    <a:pt x="136" y="160"/>
                  </a:lnTo>
                  <a:lnTo>
                    <a:pt x="142" y="168"/>
                  </a:lnTo>
                  <a:lnTo>
                    <a:pt x="162" y="166"/>
                  </a:lnTo>
                  <a:lnTo>
                    <a:pt x="172" y="174"/>
                  </a:lnTo>
                  <a:lnTo>
                    <a:pt x="172" y="178"/>
                  </a:lnTo>
                  <a:lnTo>
                    <a:pt x="168" y="182"/>
                  </a:lnTo>
                  <a:lnTo>
                    <a:pt x="152" y="190"/>
                  </a:lnTo>
                  <a:lnTo>
                    <a:pt x="142" y="198"/>
                  </a:lnTo>
                  <a:lnTo>
                    <a:pt x="130" y="208"/>
                  </a:lnTo>
                  <a:lnTo>
                    <a:pt x="128" y="214"/>
                  </a:lnTo>
                  <a:lnTo>
                    <a:pt x="136" y="220"/>
                  </a:lnTo>
                  <a:lnTo>
                    <a:pt x="156" y="224"/>
                  </a:lnTo>
                  <a:lnTo>
                    <a:pt x="160" y="224"/>
                  </a:lnTo>
                  <a:lnTo>
                    <a:pt x="176" y="214"/>
                  </a:lnTo>
                  <a:lnTo>
                    <a:pt x="178" y="216"/>
                  </a:lnTo>
                  <a:lnTo>
                    <a:pt x="174" y="228"/>
                  </a:lnTo>
                  <a:lnTo>
                    <a:pt x="174" y="232"/>
                  </a:lnTo>
                  <a:lnTo>
                    <a:pt x="168" y="236"/>
                  </a:lnTo>
                  <a:lnTo>
                    <a:pt x="142" y="238"/>
                  </a:lnTo>
                  <a:lnTo>
                    <a:pt x="130" y="238"/>
                  </a:lnTo>
                  <a:lnTo>
                    <a:pt x="122" y="240"/>
                  </a:lnTo>
                  <a:lnTo>
                    <a:pt x="118" y="240"/>
                  </a:lnTo>
                  <a:lnTo>
                    <a:pt x="110" y="236"/>
                  </a:lnTo>
                  <a:lnTo>
                    <a:pt x="108" y="238"/>
                  </a:lnTo>
                  <a:lnTo>
                    <a:pt x="108" y="240"/>
                  </a:lnTo>
                  <a:lnTo>
                    <a:pt x="102" y="244"/>
                  </a:lnTo>
                  <a:lnTo>
                    <a:pt x="88" y="250"/>
                  </a:lnTo>
                  <a:lnTo>
                    <a:pt x="88" y="246"/>
                  </a:lnTo>
                  <a:lnTo>
                    <a:pt x="84" y="244"/>
                  </a:lnTo>
                  <a:lnTo>
                    <a:pt x="80" y="246"/>
                  </a:lnTo>
                  <a:lnTo>
                    <a:pt x="76" y="250"/>
                  </a:lnTo>
                  <a:lnTo>
                    <a:pt x="74" y="252"/>
                  </a:lnTo>
                  <a:lnTo>
                    <a:pt x="64" y="252"/>
                  </a:lnTo>
                  <a:lnTo>
                    <a:pt x="50" y="258"/>
                  </a:lnTo>
                  <a:lnTo>
                    <a:pt x="40" y="256"/>
                  </a:lnTo>
                  <a:lnTo>
                    <a:pt x="36" y="258"/>
                  </a:lnTo>
                  <a:lnTo>
                    <a:pt x="30" y="260"/>
                  </a:lnTo>
                  <a:lnTo>
                    <a:pt x="28" y="266"/>
                  </a:lnTo>
                  <a:lnTo>
                    <a:pt x="32" y="272"/>
                  </a:lnTo>
                  <a:lnTo>
                    <a:pt x="36" y="278"/>
                  </a:lnTo>
                  <a:lnTo>
                    <a:pt x="38" y="282"/>
                  </a:lnTo>
                  <a:lnTo>
                    <a:pt x="42" y="284"/>
                  </a:lnTo>
                  <a:lnTo>
                    <a:pt x="52" y="282"/>
                  </a:lnTo>
                  <a:lnTo>
                    <a:pt x="66" y="274"/>
                  </a:lnTo>
                  <a:lnTo>
                    <a:pt x="74" y="272"/>
                  </a:lnTo>
                  <a:lnTo>
                    <a:pt x="114" y="276"/>
                  </a:lnTo>
                  <a:lnTo>
                    <a:pt x="132" y="276"/>
                  </a:lnTo>
                  <a:lnTo>
                    <a:pt x="142" y="286"/>
                  </a:lnTo>
                  <a:lnTo>
                    <a:pt x="146" y="286"/>
                  </a:lnTo>
                  <a:lnTo>
                    <a:pt x="146" y="288"/>
                  </a:lnTo>
                  <a:lnTo>
                    <a:pt x="140" y="298"/>
                  </a:lnTo>
                  <a:lnTo>
                    <a:pt x="140" y="302"/>
                  </a:lnTo>
                  <a:lnTo>
                    <a:pt x="144" y="308"/>
                  </a:lnTo>
                  <a:lnTo>
                    <a:pt x="146" y="310"/>
                  </a:lnTo>
                  <a:lnTo>
                    <a:pt x="152" y="314"/>
                  </a:lnTo>
                  <a:lnTo>
                    <a:pt x="156" y="316"/>
                  </a:lnTo>
                  <a:lnTo>
                    <a:pt x="166" y="312"/>
                  </a:lnTo>
                  <a:lnTo>
                    <a:pt x="184" y="298"/>
                  </a:lnTo>
                  <a:lnTo>
                    <a:pt x="186" y="300"/>
                  </a:lnTo>
                  <a:lnTo>
                    <a:pt x="188" y="302"/>
                  </a:lnTo>
                  <a:lnTo>
                    <a:pt x="186" y="304"/>
                  </a:lnTo>
                  <a:lnTo>
                    <a:pt x="182" y="306"/>
                  </a:lnTo>
                  <a:lnTo>
                    <a:pt x="166" y="318"/>
                  </a:lnTo>
                  <a:lnTo>
                    <a:pt x="162" y="328"/>
                  </a:lnTo>
                  <a:lnTo>
                    <a:pt x="162" y="334"/>
                  </a:lnTo>
                  <a:lnTo>
                    <a:pt x="164" y="336"/>
                  </a:lnTo>
                  <a:lnTo>
                    <a:pt x="168" y="338"/>
                  </a:lnTo>
                  <a:lnTo>
                    <a:pt x="162" y="344"/>
                  </a:lnTo>
                  <a:lnTo>
                    <a:pt x="158" y="348"/>
                  </a:lnTo>
                  <a:lnTo>
                    <a:pt x="158" y="350"/>
                  </a:lnTo>
                  <a:lnTo>
                    <a:pt x="166" y="350"/>
                  </a:lnTo>
                  <a:lnTo>
                    <a:pt x="184" y="336"/>
                  </a:lnTo>
                  <a:lnTo>
                    <a:pt x="190" y="336"/>
                  </a:lnTo>
                  <a:lnTo>
                    <a:pt x="198" y="340"/>
                  </a:lnTo>
                  <a:lnTo>
                    <a:pt x="188" y="342"/>
                  </a:lnTo>
                  <a:lnTo>
                    <a:pt x="184" y="344"/>
                  </a:lnTo>
                  <a:lnTo>
                    <a:pt x="180" y="348"/>
                  </a:lnTo>
                  <a:lnTo>
                    <a:pt x="178" y="354"/>
                  </a:lnTo>
                  <a:lnTo>
                    <a:pt x="172" y="366"/>
                  </a:lnTo>
                  <a:lnTo>
                    <a:pt x="170" y="370"/>
                  </a:lnTo>
                  <a:lnTo>
                    <a:pt x="166" y="374"/>
                  </a:lnTo>
                  <a:lnTo>
                    <a:pt x="162" y="382"/>
                  </a:lnTo>
                  <a:lnTo>
                    <a:pt x="158" y="386"/>
                  </a:lnTo>
                  <a:lnTo>
                    <a:pt x="150" y="390"/>
                  </a:lnTo>
                  <a:lnTo>
                    <a:pt x="128" y="398"/>
                  </a:lnTo>
                  <a:lnTo>
                    <a:pt x="126" y="394"/>
                  </a:lnTo>
                  <a:lnTo>
                    <a:pt x="122" y="388"/>
                  </a:lnTo>
                  <a:lnTo>
                    <a:pt x="120" y="384"/>
                  </a:lnTo>
                  <a:lnTo>
                    <a:pt x="116" y="384"/>
                  </a:lnTo>
                  <a:lnTo>
                    <a:pt x="114" y="390"/>
                  </a:lnTo>
                  <a:lnTo>
                    <a:pt x="114" y="394"/>
                  </a:lnTo>
                  <a:lnTo>
                    <a:pt x="114" y="402"/>
                  </a:lnTo>
                  <a:lnTo>
                    <a:pt x="116" y="416"/>
                  </a:lnTo>
                  <a:lnTo>
                    <a:pt x="120" y="422"/>
                  </a:lnTo>
                  <a:lnTo>
                    <a:pt x="122" y="420"/>
                  </a:lnTo>
                  <a:lnTo>
                    <a:pt x="138" y="420"/>
                  </a:lnTo>
                  <a:lnTo>
                    <a:pt x="198" y="418"/>
                  </a:lnTo>
                  <a:lnTo>
                    <a:pt x="202" y="416"/>
                  </a:lnTo>
                  <a:lnTo>
                    <a:pt x="212" y="406"/>
                  </a:lnTo>
                  <a:lnTo>
                    <a:pt x="218" y="404"/>
                  </a:lnTo>
                  <a:lnTo>
                    <a:pt x="220" y="406"/>
                  </a:lnTo>
                  <a:lnTo>
                    <a:pt x="222" y="406"/>
                  </a:lnTo>
                  <a:lnTo>
                    <a:pt x="218" y="410"/>
                  </a:lnTo>
                  <a:lnTo>
                    <a:pt x="218" y="414"/>
                  </a:lnTo>
                  <a:lnTo>
                    <a:pt x="226" y="420"/>
                  </a:lnTo>
                  <a:lnTo>
                    <a:pt x="236" y="426"/>
                  </a:lnTo>
                  <a:lnTo>
                    <a:pt x="246" y="428"/>
                  </a:lnTo>
                  <a:lnTo>
                    <a:pt x="246" y="432"/>
                  </a:lnTo>
                  <a:lnTo>
                    <a:pt x="250" y="436"/>
                  </a:lnTo>
                  <a:lnTo>
                    <a:pt x="254" y="436"/>
                  </a:lnTo>
                  <a:lnTo>
                    <a:pt x="262" y="428"/>
                  </a:lnTo>
                  <a:lnTo>
                    <a:pt x="266" y="426"/>
                  </a:lnTo>
                  <a:lnTo>
                    <a:pt x="270" y="432"/>
                  </a:lnTo>
                  <a:lnTo>
                    <a:pt x="268" y="432"/>
                  </a:lnTo>
                  <a:lnTo>
                    <a:pt x="264" y="432"/>
                  </a:lnTo>
                  <a:lnTo>
                    <a:pt x="262" y="434"/>
                  </a:lnTo>
                  <a:lnTo>
                    <a:pt x="260" y="436"/>
                  </a:lnTo>
                  <a:lnTo>
                    <a:pt x="260" y="440"/>
                  </a:lnTo>
                  <a:lnTo>
                    <a:pt x="260" y="442"/>
                  </a:lnTo>
                  <a:lnTo>
                    <a:pt x="266" y="450"/>
                  </a:lnTo>
                  <a:lnTo>
                    <a:pt x="280" y="462"/>
                  </a:lnTo>
                  <a:lnTo>
                    <a:pt x="296" y="462"/>
                  </a:lnTo>
                  <a:lnTo>
                    <a:pt x="308" y="464"/>
                  </a:lnTo>
                  <a:lnTo>
                    <a:pt x="326" y="474"/>
                  </a:lnTo>
                  <a:lnTo>
                    <a:pt x="342" y="478"/>
                  </a:lnTo>
                  <a:lnTo>
                    <a:pt x="382" y="484"/>
                  </a:lnTo>
                  <a:lnTo>
                    <a:pt x="404" y="478"/>
                  </a:lnTo>
                  <a:lnTo>
                    <a:pt x="410" y="474"/>
                  </a:lnTo>
                  <a:lnTo>
                    <a:pt x="406" y="468"/>
                  </a:lnTo>
                  <a:lnTo>
                    <a:pt x="406" y="466"/>
                  </a:lnTo>
                  <a:lnTo>
                    <a:pt x="408" y="466"/>
                  </a:lnTo>
                  <a:lnTo>
                    <a:pt x="410" y="466"/>
                  </a:lnTo>
                  <a:lnTo>
                    <a:pt x="414" y="470"/>
                  </a:lnTo>
                  <a:lnTo>
                    <a:pt x="418" y="470"/>
                  </a:lnTo>
                  <a:lnTo>
                    <a:pt x="428" y="466"/>
                  </a:lnTo>
                  <a:lnTo>
                    <a:pt x="432" y="458"/>
                  </a:lnTo>
                  <a:lnTo>
                    <a:pt x="432" y="454"/>
                  </a:lnTo>
                  <a:lnTo>
                    <a:pt x="430" y="452"/>
                  </a:lnTo>
                  <a:lnTo>
                    <a:pt x="430" y="450"/>
                  </a:lnTo>
                  <a:lnTo>
                    <a:pt x="434" y="444"/>
                  </a:lnTo>
                  <a:lnTo>
                    <a:pt x="436" y="438"/>
                  </a:lnTo>
                  <a:lnTo>
                    <a:pt x="448" y="434"/>
                  </a:lnTo>
                  <a:lnTo>
                    <a:pt x="484" y="426"/>
                  </a:lnTo>
                  <a:lnTo>
                    <a:pt x="494" y="420"/>
                  </a:lnTo>
                  <a:lnTo>
                    <a:pt x="506" y="418"/>
                  </a:lnTo>
                  <a:lnTo>
                    <a:pt x="514" y="416"/>
                  </a:lnTo>
                  <a:lnTo>
                    <a:pt x="524" y="408"/>
                  </a:lnTo>
                  <a:lnTo>
                    <a:pt x="540" y="390"/>
                  </a:lnTo>
                  <a:lnTo>
                    <a:pt x="552" y="380"/>
                  </a:lnTo>
                  <a:lnTo>
                    <a:pt x="566" y="370"/>
                  </a:lnTo>
                  <a:lnTo>
                    <a:pt x="588" y="358"/>
                  </a:lnTo>
                  <a:lnTo>
                    <a:pt x="604" y="352"/>
                  </a:lnTo>
                  <a:lnTo>
                    <a:pt x="620" y="352"/>
                  </a:lnTo>
                  <a:lnTo>
                    <a:pt x="626" y="348"/>
                  </a:lnTo>
                  <a:lnTo>
                    <a:pt x="634" y="340"/>
                  </a:lnTo>
                  <a:lnTo>
                    <a:pt x="646" y="334"/>
                  </a:lnTo>
                  <a:lnTo>
                    <a:pt x="650" y="330"/>
                  </a:lnTo>
                  <a:lnTo>
                    <a:pt x="654" y="322"/>
                  </a:lnTo>
                  <a:lnTo>
                    <a:pt x="658" y="316"/>
                  </a:lnTo>
                  <a:lnTo>
                    <a:pt x="658" y="308"/>
                  </a:lnTo>
                  <a:lnTo>
                    <a:pt x="656" y="306"/>
                  </a:lnTo>
                  <a:lnTo>
                    <a:pt x="656" y="300"/>
                  </a:lnTo>
                  <a:lnTo>
                    <a:pt x="662" y="294"/>
                  </a:lnTo>
                  <a:lnTo>
                    <a:pt x="660" y="284"/>
                  </a:lnTo>
                  <a:lnTo>
                    <a:pt x="666" y="286"/>
                  </a:lnTo>
                  <a:lnTo>
                    <a:pt x="678" y="288"/>
                  </a:lnTo>
                  <a:lnTo>
                    <a:pt x="684" y="284"/>
                  </a:lnTo>
                  <a:lnTo>
                    <a:pt x="690" y="278"/>
                  </a:lnTo>
                  <a:lnTo>
                    <a:pt x="696" y="266"/>
                  </a:lnTo>
                  <a:lnTo>
                    <a:pt x="698" y="258"/>
                  </a:lnTo>
                  <a:lnTo>
                    <a:pt x="698" y="250"/>
                  </a:lnTo>
                  <a:lnTo>
                    <a:pt x="696" y="246"/>
                  </a:lnTo>
                  <a:lnTo>
                    <a:pt x="700" y="242"/>
                  </a:lnTo>
                  <a:lnTo>
                    <a:pt x="710" y="242"/>
                  </a:lnTo>
                  <a:lnTo>
                    <a:pt x="712" y="238"/>
                  </a:lnTo>
                  <a:lnTo>
                    <a:pt x="714" y="234"/>
                  </a:lnTo>
                  <a:lnTo>
                    <a:pt x="716" y="228"/>
                  </a:lnTo>
                  <a:lnTo>
                    <a:pt x="716" y="224"/>
                  </a:lnTo>
                  <a:lnTo>
                    <a:pt x="714" y="222"/>
                  </a:lnTo>
                  <a:lnTo>
                    <a:pt x="702" y="214"/>
                  </a:lnTo>
                  <a:lnTo>
                    <a:pt x="706" y="210"/>
                  </a:lnTo>
                  <a:lnTo>
                    <a:pt x="708" y="210"/>
                  </a:lnTo>
                  <a:lnTo>
                    <a:pt x="710" y="208"/>
                  </a:lnTo>
                  <a:lnTo>
                    <a:pt x="710" y="204"/>
                  </a:lnTo>
                  <a:lnTo>
                    <a:pt x="710" y="202"/>
                  </a:lnTo>
                  <a:lnTo>
                    <a:pt x="710" y="198"/>
                  </a:lnTo>
                  <a:lnTo>
                    <a:pt x="704" y="198"/>
                  </a:lnTo>
                  <a:lnTo>
                    <a:pt x="702" y="194"/>
                  </a:lnTo>
                  <a:lnTo>
                    <a:pt x="700" y="188"/>
                  </a:lnTo>
                  <a:lnTo>
                    <a:pt x="700" y="186"/>
                  </a:lnTo>
                  <a:lnTo>
                    <a:pt x="706" y="184"/>
                  </a:lnTo>
                  <a:lnTo>
                    <a:pt x="708" y="182"/>
                  </a:lnTo>
                  <a:lnTo>
                    <a:pt x="708" y="176"/>
                  </a:lnTo>
                  <a:lnTo>
                    <a:pt x="712" y="168"/>
                  </a:lnTo>
                  <a:lnTo>
                    <a:pt x="712" y="162"/>
                  </a:lnTo>
                  <a:lnTo>
                    <a:pt x="708" y="158"/>
                  </a:lnTo>
                  <a:lnTo>
                    <a:pt x="706" y="158"/>
                  </a:lnTo>
                  <a:lnTo>
                    <a:pt x="700" y="160"/>
                  </a:lnTo>
                  <a:lnTo>
                    <a:pt x="696" y="152"/>
                  </a:lnTo>
                  <a:lnTo>
                    <a:pt x="690" y="148"/>
                  </a:lnTo>
                  <a:lnTo>
                    <a:pt x="676" y="144"/>
                  </a:lnTo>
                  <a:lnTo>
                    <a:pt x="666" y="146"/>
                  </a:lnTo>
                  <a:lnTo>
                    <a:pt x="656" y="154"/>
                  </a:lnTo>
                  <a:lnTo>
                    <a:pt x="664" y="140"/>
                  </a:lnTo>
                  <a:lnTo>
                    <a:pt x="666" y="136"/>
                  </a:lnTo>
                  <a:lnTo>
                    <a:pt x="664" y="132"/>
                  </a:lnTo>
                  <a:lnTo>
                    <a:pt x="662" y="128"/>
                  </a:lnTo>
                  <a:lnTo>
                    <a:pt x="662" y="122"/>
                  </a:lnTo>
                  <a:lnTo>
                    <a:pt x="660" y="120"/>
                  </a:lnTo>
                  <a:lnTo>
                    <a:pt x="658" y="120"/>
                  </a:lnTo>
                  <a:lnTo>
                    <a:pt x="636" y="126"/>
                  </a:lnTo>
                  <a:lnTo>
                    <a:pt x="632" y="124"/>
                  </a:lnTo>
                  <a:lnTo>
                    <a:pt x="632" y="120"/>
                  </a:lnTo>
                  <a:lnTo>
                    <a:pt x="636" y="112"/>
                  </a:lnTo>
                  <a:lnTo>
                    <a:pt x="642" y="102"/>
                  </a:lnTo>
                  <a:lnTo>
                    <a:pt x="642" y="92"/>
                  </a:lnTo>
                  <a:lnTo>
                    <a:pt x="642" y="88"/>
                  </a:lnTo>
                  <a:lnTo>
                    <a:pt x="640" y="82"/>
                  </a:lnTo>
                  <a:lnTo>
                    <a:pt x="638" y="78"/>
                  </a:lnTo>
                  <a:lnTo>
                    <a:pt x="634" y="76"/>
                  </a:lnTo>
                  <a:lnTo>
                    <a:pt x="628" y="80"/>
                  </a:lnTo>
                  <a:lnTo>
                    <a:pt x="620" y="76"/>
                  </a:lnTo>
                  <a:lnTo>
                    <a:pt x="614" y="70"/>
                  </a:lnTo>
                  <a:lnTo>
                    <a:pt x="612" y="66"/>
                  </a:lnTo>
                  <a:lnTo>
                    <a:pt x="618" y="58"/>
                  </a:lnTo>
                  <a:lnTo>
                    <a:pt x="626" y="40"/>
                  </a:lnTo>
                  <a:lnTo>
                    <a:pt x="634" y="32"/>
                  </a:lnTo>
                  <a:lnTo>
                    <a:pt x="640" y="30"/>
                  </a:lnTo>
                  <a:lnTo>
                    <a:pt x="648" y="26"/>
                  </a:lnTo>
                  <a:lnTo>
                    <a:pt x="648" y="24"/>
                  </a:lnTo>
                  <a:lnTo>
                    <a:pt x="642" y="24"/>
                  </a:lnTo>
                  <a:lnTo>
                    <a:pt x="630" y="24"/>
                  </a:lnTo>
                  <a:lnTo>
                    <a:pt x="622" y="28"/>
                  </a:lnTo>
                  <a:lnTo>
                    <a:pt x="610" y="40"/>
                  </a:lnTo>
                  <a:lnTo>
                    <a:pt x="604" y="44"/>
                  </a:lnTo>
                  <a:lnTo>
                    <a:pt x="592" y="50"/>
                  </a:lnTo>
                  <a:lnTo>
                    <a:pt x="586" y="5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2" name="Google Shape;4639;p64">
              <a:extLst>
                <a:ext uri="{FF2B5EF4-FFF2-40B4-BE49-F238E27FC236}">
                  <a16:creationId xmlns:a16="http://schemas.microsoft.com/office/drawing/2014/main" id="{2A24D6E7-4E08-EA3B-77A5-8DA254A33085}"/>
                </a:ext>
              </a:extLst>
            </p:cNvPr>
            <p:cNvSpPr/>
            <p:nvPr/>
          </p:nvSpPr>
          <p:spPr>
            <a:xfrm>
              <a:off x="5261352" y="4225499"/>
              <a:ext cx="36097" cy="99760"/>
            </a:xfrm>
            <a:custGeom>
              <a:avLst/>
              <a:gdLst/>
              <a:ahLst/>
              <a:cxnLst/>
              <a:rect l="l" t="t" r="r" b="b"/>
              <a:pathLst>
                <a:path w="110" h="304" extrusionOk="0">
                  <a:moveTo>
                    <a:pt x="102" y="56"/>
                  </a:moveTo>
                  <a:lnTo>
                    <a:pt x="104" y="52"/>
                  </a:lnTo>
                  <a:lnTo>
                    <a:pt x="106" y="46"/>
                  </a:lnTo>
                  <a:lnTo>
                    <a:pt x="110" y="38"/>
                  </a:lnTo>
                  <a:lnTo>
                    <a:pt x="108" y="34"/>
                  </a:lnTo>
                  <a:lnTo>
                    <a:pt x="108" y="32"/>
                  </a:lnTo>
                  <a:lnTo>
                    <a:pt x="108" y="28"/>
                  </a:lnTo>
                  <a:lnTo>
                    <a:pt x="110" y="24"/>
                  </a:lnTo>
                  <a:lnTo>
                    <a:pt x="108" y="20"/>
                  </a:lnTo>
                  <a:lnTo>
                    <a:pt x="106" y="16"/>
                  </a:lnTo>
                  <a:lnTo>
                    <a:pt x="106" y="12"/>
                  </a:lnTo>
                  <a:lnTo>
                    <a:pt x="106" y="8"/>
                  </a:lnTo>
                  <a:lnTo>
                    <a:pt x="106" y="6"/>
                  </a:lnTo>
                  <a:lnTo>
                    <a:pt x="108" y="0"/>
                  </a:lnTo>
                  <a:lnTo>
                    <a:pt x="106" y="2"/>
                  </a:lnTo>
                  <a:lnTo>
                    <a:pt x="102" y="6"/>
                  </a:lnTo>
                  <a:lnTo>
                    <a:pt x="98" y="8"/>
                  </a:lnTo>
                  <a:lnTo>
                    <a:pt x="92" y="14"/>
                  </a:lnTo>
                  <a:lnTo>
                    <a:pt x="90" y="16"/>
                  </a:lnTo>
                  <a:lnTo>
                    <a:pt x="88" y="14"/>
                  </a:lnTo>
                  <a:lnTo>
                    <a:pt x="86" y="14"/>
                  </a:lnTo>
                  <a:lnTo>
                    <a:pt x="82" y="26"/>
                  </a:lnTo>
                  <a:lnTo>
                    <a:pt x="78" y="28"/>
                  </a:lnTo>
                  <a:lnTo>
                    <a:pt x="70" y="28"/>
                  </a:lnTo>
                  <a:lnTo>
                    <a:pt x="66" y="28"/>
                  </a:lnTo>
                  <a:lnTo>
                    <a:pt x="58" y="28"/>
                  </a:lnTo>
                  <a:lnTo>
                    <a:pt x="56" y="38"/>
                  </a:lnTo>
                  <a:lnTo>
                    <a:pt x="50" y="48"/>
                  </a:lnTo>
                  <a:lnTo>
                    <a:pt x="46" y="64"/>
                  </a:lnTo>
                  <a:lnTo>
                    <a:pt x="38" y="98"/>
                  </a:lnTo>
                  <a:lnTo>
                    <a:pt x="30" y="120"/>
                  </a:lnTo>
                  <a:lnTo>
                    <a:pt x="16" y="144"/>
                  </a:lnTo>
                  <a:lnTo>
                    <a:pt x="16" y="144"/>
                  </a:lnTo>
                  <a:lnTo>
                    <a:pt x="20" y="148"/>
                  </a:lnTo>
                  <a:lnTo>
                    <a:pt x="20" y="148"/>
                  </a:lnTo>
                  <a:lnTo>
                    <a:pt x="8" y="162"/>
                  </a:lnTo>
                  <a:lnTo>
                    <a:pt x="8" y="166"/>
                  </a:lnTo>
                  <a:lnTo>
                    <a:pt x="0" y="174"/>
                  </a:lnTo>
                  <a:lnTo>
                    <a:pt x="6" y="190"/>
                  </a:lnTo>
                  <a:lnTo>
                    <a:pt x="12" y="202"/>
                  </a:lnTo>
                  <a:lnTo>
                    <a:pt x="18" y="220"/>
                  </a:lnTo>
                  <a:lnTo>
                    <a:pt x="20" y="226"/>
                  </a:lnTo>
                  <a:lnTo>
                    <a:pt x="20" y="232"/>
                  </a:lnTo>
                  <a:lnTo>
                    <a:pt x="28" y="250"/>
                  </a:lnTo>
                  <a:lnTo>
                    <a:pt x="34" y="266"/>
                  </a:lnTo>
                  <a:lnTo>
                    <a:pt x="36" y="280"/>
                  </a:lnTo>
                  <a:lnTo>
                    <a:pt x="42" y="298"/>
                  </a:lnTo>
                  <a:lnTo>
                    <a:pt x="44" y="304"/>
                  </a:lnTo>
                  <a:lnTo>
                    <a:pt x="48" y="298"/>
                  </a:lnTo>
                  <a:lnTo>
                    <a:pt x="52" y="282"/>
                  </a:lnTo>
                  <a:lnTo>
                    <a:pt x="54" y="272"/>
                  </a:lnTo>
                  <a:lnTo>
                    <a:pt x="56" y="268"/>
                  </a:lnTo>
                  <a:lnTo>
                    <a:pt x="60" y="254"/>
                  </a:lnTo>
                  <a:lnTo>
                    <a:pt x="60" y="250"/>
                  </a:lnTo>
                  <a:lnTo>
                    <a:pt x="60" y="236"/>
                  </a:lnTo>
                  <a:lnTo>
                    <a:pt x="60" y="234"/>
                  </a:lnTo>
                  <a:lnTo>
                    <a:pt x="62" y="226"/>
                  </a:lnTo>
                  <a:lnTo>
                    <a:pt x="66" y="214"/>
                  </a:lnTo>
                  <a:lnTo>
                    <a:pt x="70" y="204"/>
                  </a:lnTo>
                  <a:lnTo>
                    <a:pt x="72" y="200"/>
                  </a:lnTo>
                  <a:lnTo>
                    <a:pt x="76" y="190"/>
                  </a:lnTo>
                  <a:lnTo>
                    <a:pt x="80" y="180"/>
                  </a:lnTo>
                  <a:lnTo>
                    <a:pt x="78" y="172"/>
                  </a:lnTo>
                  <a:lnTo>
                    <a:pt x="76" y="172"/>
                  </a:lnTo>
                  <a:lnTo>
                    <a:pt x="78" y="164"/>
                  </a:lnTo>
                  <a:lnTo>
                    <a:pt x="80" y="152"/>
                  </a:lnTo>
                  <a:lnTo>
                    <a:pt x="78" y="152"/>
                  </a:lnTo>
                  <a:lnTo>
                    <a:pt x="68" y="156"/>
                  </a:lnTo>
                  <a:lnTo>
                    <a:pt x="58" y="162"/>
                  </a:lnTo>
                  <a:lnTo>
                    <a:pt x="44" y="162"/>
                  </a:lnTo>
                  <a:lnTo>
                    <a:pt x="42" y="162"/>
                  </a:lnTo>
                  <a:lnTo>
                    <a:pt x="42" y="158"/>
                  </a:lnTo>
                  <a:lnTo>
                    <a:pt x="46" y="148"/>
                  </a:lnTo>
                  <a:lnTo>
                    <a:pt x="48" y="142"/>
                  </a:lnTo>
                  <a:lnTo>
                    <a:pt x="52" y="138"/>
                  </a:lnTo>
                  <a:lnTo>
                    <a:pt x="60" y="132"/>
                  </a:lnTo>
                  <a:lnTo>
                    <a:pt x="64" y="132"/>
                  </a:lnTo>
                  <a:lnTo>
                    <a:pt x="64" y="130"/>
                  </a:lnTo>
                  <a:lnTo>
                    <a:pt x="60" y="126"/>
                  </a:lnTo>
                  <a:lnTo>
                    <a:pt x="54" y="124"/>
                  </a:lnTo>
                  <a:lnTo>
                    <a:pt x="50" y="126"/>
                  </a:lnTo>
                  <a:lnTo>
                    <a:pt x="48" y="126"/>
                  </a:lnTo>
                  <a:lnTo>
                    <a:pt x="48" y="124"/>
                  </a:lnTo>
                  <a:lnTo>
                    <a:pt x="50" y="122"/>
                  </a:lnTo>
                  <a:lnTo>
                    <a:pt x="50" y="120"/>
                  </a:lnTo>
                  <a:lnTo>
                    <a:pt x="50" y="112"/>
                  </a:lnTo>
                  <a:lnTo>
                    <a:pt x="48" y="106"/>
                  </a:lnTo>
                  <a:lnTo>
                    <a:pt x="48" y="100"/>
                  </a:lnTo>
                  <a:lnTo>
                    <a:pt x="50" y="90"/>
                  </a:lnTo>
                  <a:lnTo>
                    <a:pt x="52" y="86"/>
                  </a:lnTo>
                  <a:lnTo>
                    <a:pt x="54" y="76"/>
                  </a:lnTo>
                  <a:lnTo>
                    <a:pt x="64" y="70"/>
                  </a:lnTo>
                  <a:lnTo>
                    <a:pt x="70" y="72"/>
                  </a:lnTo>
                  <a:lnTo>
                    <a:pt x="74" y="72"/>
                  </a:lnTo>
                  <a:lnTo>
                    <a:pt x="76" y="74"/>
                  </a:lnTo>
                  <a:lnTo>
                    <a:pt x="78" y="78"/>
                  </a:lnTo>
                  <a:lnTo>
                    <a:pt x="82" y="82"/>
                  </a:lnTo>
                  <a:lnTo>
                    <a:pt x="86" y="82"/>
                  </a:lnTo>
                  <a:lnTo>
                    <a:pt x="88" y="64"/>
                  </a:lnTo>
                  <a:lnTo>
                    <a:pt x="88" y="62"/>
                  </a:lnTo>
                  <a:lnTo>
                    <a:pt x="90" y="60"/>
                  </a:lnTo>
                  <a:lnTo>
                    <a:pt x="90" y="60"/>
                  </a:lnTo>
                  <a:lnTo>
                    <a:pt x="98" y="56"/>
                  </a:lnTo>
                  <a:lnTo>
                    <a:pt x="102" y="5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3" name="Google Shape;4640;p64">
              <a:extLst>
                <a:ext uri="{FF2B5EF4-FFF2-40B4-BE49-F238E27FC236}">
                  <a16:creationId xmlns:a16="http://schemas.microsoft.com/office/drawing/2014/main" id="{93B891FE-B41C-E0BD-5509-9A054AF9DEA1}"/>
                </a:ext>
              </a:extLst>
            </p:cNvPr>
            <p:cNvSpPr/>
            <p:nvPr/>
          </p:nvSpPr>
          <p:spPr>
            <a:xfrm>
              <a:off x="4667387" y="3838930"/>
              <a:ext cx="255306" cy="301249"/>
            </a:xfrm>
            <a:custGeom>
              <a:avLst/>
              <a:gdLst/>
              <a:ahLst/>
              <a:cxnLst/>
              <a:rect l="l" t="t" r="r" b="b"/>
              <a:pathLst>
                <a:path w="1853634" h="2187196" extrusionOk="0">
                  <a:moveTo>
                    <a:pt x="829132" y="2158604"/>
                  </a:moveTo>
                  <a:lnTo>
                    <a:pt x="833898" y="2158604"/>
                  </a:lnTo>
                  <a:lnTo>
                    <a:pt x="843428" y="2158604"/>
                  </a:lnTo>
                  <a:lnTo>
                    <a:pt x="848192" y="2168132"/>
                  </a:lnTo>
                  <a:lnTo>
                    <a:pt x="848192" y="2172900"/>
                  </a:lnTo>
                  <a:lnTo>
                    <a:pt x="843428" y="2177664"/>
                  </a:lnTo>
                  <a:lnTo>
                    <a:pt x="829132" y="2168132"/>
                  </a:lnTo>
                  <a:close/>
                  <a:moveTo>
                    <a:pt x="1396182" y="1867932"/>
                  </a:moveTo>
                  <a:lnTo>
                    <a:pt x="1410476" y="1877460"/>
                  </a:lnTo>
                  <a:lnTo>
                    <a:pt x="1400946" y="1886992"/>
                  </a:lnTo>
                  <a:lnTo>
                    <a:pt x="1386652" y="1906052"/>
                  </a:lnTo>
                  <a:lnTo>
                    <a:pt x="1381886" y="1915584"/>
                  </a:lnTo>
                  <a:lnTo>
                    <a:pt x="1343766" y="1972764"/>
                  </a:lnTo>
                  <a:lnTo>
                    <a:pt x="1343766" y="1982292"/>
                  </a:lnTo>
                  <a:lnTo>
                    <a:pt x="1339000" y="1996588"/>
                  </a:lnTo>
                  <a:lnTo>
                    <a:pt x="1334236" y="2010884"/>
                  </a:lnTo>
                  <a:lnTo>
                    <a:pt x="1329470" y="2020416"/>
                  </a:lnTo>
                  <a:lnTo>
                    <a:pt x="1324704" y="2034712"/>
                  </a:lnTo>
                  <a:lnTo>
                    <a:pt x="1324704" y="2053772"/>
                  </a:lnTo>
                  <a:lnTo>
                    <a:pt x="1329470" y="2058536"/>
                  </a:lnTo>
                  <a:lnTo>
                    <a:pt x="1334236" y="2063300"/>
                  </a:lnTo>
                  <a:lnTo>
                    <a:pt x="1339000" y="2068068"/>
                  </a:lnTo>
                  <a:lnTo>
                    <a:pt x="1343766" y="2077596"/>
                  </a:lnTo>
                  <a:lnTo>
                    <a:pt x="1334236" y="2087128"/>
                  </a:lnTo>
                  <a:lnTo>
                    <a:pt x="1348530" y="2096656"/>
                  </a:lnTo>
                  <a:lnTo>
                    <a:pt x="1353296" y="2106188"/>
                  </a:lnTo>
                  <a:lnTo>
                    <a:pt x="1353296" y="2115716"/>
                  </a:lnTo>
                  <a:lnTo>
                    <a:pt x="1353296" y="2125248"/>
                  </a:lnTo>
                  <a:lnTo>
                    <a:pt x="1339000" y="2139544"/>
                  </a:lnTo>
                  <a:lnTo>
                    <a:pt x="1329470" y="2149072"/>
                  </a:lnTo>
                  <a:lnTo>
                    <a:pt x="1329470" y="2158604"/>
                  </a:lnTo>
                  <a:lnTo>
                    <a:pt x="1324704" y="2168132"/>
                  </a:lnTo>
                  <a:lnTo>
                    <a:pt x="1329470" y="2177664"/>
                  </a:lnTo>
                  <a:lnTo>
                    <a:pt x="1324704" y="2187196"/>
                  </a:lnTo>
                  <a:lnTo>
                    <a:pt x="1310410" y="2187196"/>
                  </a:lnTo>
                  <a:lnTo>
                    <a:pt x="1291348" y="2177664"/>
                  </a:lnTo>
                  <a:lnTo>
                    <a:pt x="1272288" y="2182428"/>
                  </a:lnTo>
                  <a:lnTo>
                    <a:pt x="1248462" y="2172900"/>
                  </a:lnTo>
                  <a:lnTo>
                    <a:pt x="1238932" y="2168132"/>
                  </a:lnTo>
                  <a:lnTo>
                    <a:pt x="1229402" y="2163368"/>
                  </a:lnTo>
                  <a:lnTo>
                    <a:pt x="1210342" y="2130012"/>
                  </a:lnTo>
                  <a:lnTo>
                    <a:pt x="1191282" y="2115716"/>
                  </a:lnTo>
                  <a:lnTo>
                    <a:pt x="1176986" y="2106188"/>
                  </a:lnTo>
                  <a:lnTo>
                    <a:pt x="1157926" y="2106188"/>
                  </a:lnTo>
                  <a:lnTo>
                    <a:pt x="1138864" y="2106188"/>
                  </a:lnTo>
                  <a:lnTo>
                    <a:pt x="1119804" y="2101420"/>
                  </a:lnTo>
                  <a:lnTo>
                    <a:pt x="1086448" y="2077596"/>
                  </a:lnTo>
                  <a:lnTo>
                    <a:pt x="1053092" y="2058536"/>
                  </a:lnTo>
                  <a:lnTo>
                    <a:pt x="1038798" y="2044240"/>
                  </a:lnTo>
                  <a:lnTo>
                    <a:pt x="1029268" y="2039476"/>
                  </a:lnTo>
                  <a:lnTo>
                    <a:pt x="1024502" y="2029944"/>
                  </a:lnTo>
                  <a:lnTo>
                    <a:pt x="1000676" y="2025180"/>
                  </a:lnTo>
                  <a:lnTo>
                    <a:pt x="986380" y="2015648"/>
                  </a:lnTo>
                  <a:lnTo>
                    <a:pt x="976850" y="2010884"/>
                  </a:lnTo>
                  <a:lnTo>
                    <a:pt x="957790" y="2015648"/>
                  </a:lnTo>
                  <a:lnTo>
                    <a:pt x="948260" y="2015648"/>
                  </a:lnTo>
                  <a:lnTo>
                    <a:pt x="938730" y="2010884"/>
                  </a:lnTo>
                  <a:lnTo>
                    <a:pt x="924434" y="1996588"/>
                  </a:lnTo>
                  <a:lnTo>
                    <a:pt x="910140" y="1972764"/>
                  </a:lnTo>
                  <a:lnTo>
                    <a:pt x="910140" y="1963232"/>
                  </a:lnTo>
                  <a:lnTo>
                    <a:pt x="914904" y="1939408"/>
                  </a:lnTo>
                  <a:lnTo>
                    <a:pt x="924434" y="1920348"/>
                  </a:lnTo>
                  <a:lnTo>
                    <a:pt x="933964" y="1910816"/>
                  </a:lnTo>
                  <a:lnTo>
                    <a:pt x="943494" y="1906052"/>
                  </a:lnTo>
                  <a:lnTo>
                    <a:pt x="948260" y="1901288"/>
                  </a:lnTo>
                  <a:lnTo>
                    <a:pt x="957790" y="1891756"/>
                  </a:lnTo>
                  <a:lnTo>
                    <a:pt x="972086" y="1915584"/>
                  </a:lnTo>
                  <a:lnTo>
                    <a:pt x="981616" y="1920348"/>
                  </a:lnTo>
                  <a:lnTo>
                    <a:pt x="991146" y="1920348"/>
                  </a:lnTo>
                  <a:lnTo>
                    <a:pt x="1005442" y="1910816"/>
                  </a:lnTo>
                  <a:lnTo>
                    <a:pt x="1005442" y="1901288"/>
                  </a:lnTo>
                  <a:lnTo>
                    <a:pt x="1019736" y="1891756"/>
                  </a:lnTo>
                  <a:lnTo>
                    <a:pt x="1043562" y="1891756"/>
                  </a:lnTo>
                  <a:lnTo>
                    <a:pt x="1053092" y="1891756"/>
                  </a:lnTo>
                  <a:lnTo>
                    <a:pt x="1057858" y="1906052"/>
                  </a:lnTo>
                  <a:lnTo>
                    <a:pt x="1062622" y="1906052"/>
                  </a:lnTo>
                  <a:lnTo>
                    <a:pt x="1072154" y="1910816"/>
                  </a:lnTo>
                  <a:lnTo>
                    <a:pt x="1100744" y="1929876"/>
                  </a:lnTo>
                  <a:lnTo>
                    <a:pt x="1110274" y="1929876"/>
                  </a:lnTo>
                  <a:lnTo>
                    <a:pt x="1119804" y="1934644"/>
                  </a:lnTo>
                  <a:lnTo>
                    <a:pt x="1143630" y="1925112"/>
                  </a:lnTo>
                  <a:lnTo>
                    <a:pt x="1162690" y="1920348"/>
                  </a:lnTo>
                  <a:lnTo>
                    <a:pt x="1196046" y="1925112"/>
                  </a:lnTo>
                  <a:lnTo>
                    <a:pt x="1219872" y="1920348"/>
                  </a:lnTo>
                  <a:lnTo>
                    <a:pt x="1234168" y="1920348"/>
                  </a:lnTo>
                  <a:lnTo>
                    <a:pt x="1253228" y="1910816"/>
                  </a:lnTo>
                  <a:lnTo>
                    <a:pt x="1267524" y="1901288"/>
                  </a:lnTo>
                  <a:lnTo>
                    <a:pt x="1277054" y="1896520"/>
                  </a:lnTo>
                  <a:lnTo>
                    <a:pt x="1286584" y="1896520"/>
                  </a:lnTo>
                  <a:lnTo>
                    <a:pt x="1305644" y="1896520"/>
                  </a:lnTo>
                  <a:lnTo>
                    <a:pt x="1329470" y="1901288"/>
                  </a:lnTo>
                  <a:lnTo>
                    <a:pt x="1334236" y="1896520"/>
                  </a:lnTo>
                  <a:lnTo>
                    <a:pt x="1343766" y="1886992"/>
                  </a:lnTo>
                  <a:lnTo>
                    <a:pt x="1353296" y="1882228"/>
                  </a:lnTo>
                  <a:lnTo>
                    <a:pt x="1362826" y="1886992"/>
                  </a:lnTo>
                  <a:lnTo>
                    <a:pt x="1386652" y="1872696"/>
                  </a:lnTo>
                  <a:close/>
                  <a:moveTo>
                    <a:pt x="271612" y="1705916"/>
                  </a:moveTo>
                  <a:lnTo>
                    <a:pt x="285908" y="1710680"/>
                  </a:lnTo>
                  <a:lnTo>
                    <a:pt x="290672" y="1715448"/>
                  </a:lnTo>
                  <a:lnTo>
                    <a:pt x="281142" y="1734508"/>
                  </a:lnTo>
                  <a:lnTo>
                    <a:pt x="271612" y="1720212"/>
                  </a:lnTo>
                  <a:lnTo>
                    <a:pt x="271612" y="1710680"/>
                  </a:lnTo>
                  <a:close/>
                  <a:moveTo>
                    <a:pt x="1134100" y="1372356"/>
                  </a:moveTo>
                  <a:lnTo>
                    <a:pt x="1148396" y="1377124"/>
                  </a:lnTo>
                  <a:lnTo>
                    <a:pt x="1148396" y="1381888"/>
                  </a:lnTo>
                  <a:lnTo>
                    <a:pt x="1143630" y="1381888"/>
                  </a:lnTo>
                  <a:lnTo>
                    <a:pt x="1134100" y="1381888"/>
                  </a:lnTo>
                  <a:lnTo>
                    <a:pt x="1129336" y="1377124"/>
                  </a:lnTo>
                  <a:close/>
                  <a:moveTo>
                    <a:pt x="266848" y="1296116"/>
                  </a:moveTo>
                  <a:lnTo>
                    <a:pt x="271612" y="1300882"/>
                  </a:lnTo>
                  <a:lnTo>
                    <a:pt x="266848" y="1310412"/>
                  </a:lnTo>
                  <a:lnTo>
                    <a:pt x="262082" y="1315176"/>
                  </a:lnTo>
                  <a:lnTo>
                    <a:pt x="257318" y="1324708"/>
                  </a:lnTo>
                  <a:lnTo>
                    <a:pt x="247788" y="1319942"/>
                  </a:lnTo>
                  <a:lnTo>
                    <a:pt x="252552" y="1315176"/>
                  </a:lnTo>
                  <a:lnTo>
                    <a:pt x="257318" y="1300882"/>
                  </a:lnTo>
                  <a:close/>
                  <a:moveTo>
                    <a:pt x="409800" y="1267524"/>
                  </a:moveTo>
                  <a:lnTo>
                    <a:pt x="414566" y="1281820"/>
                  </a:lnTo>
                  <a:lnTo>
                    <a:pt x="428862" y="1281820"/>
                  </a:lnTo>
                  <a:lnTo>
                    <a:pt x="443156" y="1291352"/>
                  </a:lnTo>
                  <a:lnTo>
                    <a:pt x="447922" y="1300880"/>
                  </a:lnTo>
                  <a:lnTo>
                    <a:pt x="457452" y="1310412"/>
                  </a:lnTo>
                  <a:lnTo>
                    <a:pt x="462218" y="1315176"/>
                  </a:lnTo>
                  <a:lnTo>
                    <a:pt x="466982" y="1319940"/>
                  </a:lnTo>
                  <a:lnTo>
                    <a:pt x="462218" y="1324708"/>
                  </a:lnTo>
                  <a:lnTo>
                    <a:pt x="457452" y="1334236"/>
                  </a:lnTo>
                  <a:lnTo>
                    <a:pt x="462218" y="1339000"/>
                  </a:lnTo>
                  <a:lnTo>
                    <a:pt x="471748" y="1343768"/>
                  </a:lnTo>
                  <a:lnTo>
                    <a:pt x="476512" y="1358064"/>
                  </a:lnTo>
                  <a:lnTo>
                    <a:pt x="495572" y="1415244"/>
                  </a:lnTo>
                  <a:lnTo>
                    <a:pt x="495572" y="1424776"/>
                  </a:lnTo>
                  <a:lnTo>
                    <a:pt x="495572" y="1439068"/>
                  </a:lnTo>
                  <a:lnTo>
                    <a:pt x="490808" y="1443836"/>
                  </a:lnTo>
                  <a:lnTo>
                    <a:pt x="471748" y="1472424"/>
                  </a:lnTo>
                  <a:lnTo>
                    <a:pt x="476512" y="1496252"/>
                  </a:lnTo>
                  <a:lnTo>
                    <a:pt x="481278" y="1510548"/>
                  </a:lnTo>
                  <a:lnTo>
                    <a:pt x="481278" y="1524840"/>
                  </a:lnTo>
                  <a:lnTo>
                    <a:pt x="476512" y="1543904"/>
                  </a:lnTo>
                  <a:lnTo>
                    <a:pt x="466982" y="1658264"/>
                  </a:lnTo>
                  <a:lnTo>
                    <a:pt x="462218" y="1677328"/>
                  </a:lnTo>
                  <a:lnTo>
                    <a:pt x="457452" y="1696388"/>
                  </a:lnTo>
                  <a:lnTo>
                    <a:pt x="447922" y="1701152"/>
                  </a:lnTo>
                  <a:lnTo>
                    <a:pt x="433626" y="1696388"/>
                  </a:lnTo>
                  <a:lnTo>
                    <a:pt x="414566" y="1686856"/>
                  </a:lnTo>
                  <a:lnTo>
                    <a:pt x="405036" y="1686856"/>
                  </a:lnTo>
                  <a:lnTo>
                    <a:pt x="395506" y="1691620"/>
                  </a:lnTo>
                  <a:lnTo>
                    <a:pt x="385974" y="1686856"/>
                  </a:lnTo>
                  <a:lnTo>
                    <a:pt x="381210" y="1682092"/>
                  </a:lnTo>
                  <a:lnTo>
                    <a:pt x="376444" y="1720212"/>
                  </a:lnTo>
                  <a:lnTo>
                    <a:pt x="366914" y="1734508"/>
                  </a:lnTo>
                  <a:lnTo>
                    <a:pt x="352620" y="1748804"/>
                  </a:lnTo>
                  <a:lnTo>
                    <a:pt x="338324" y="1748804"/>
                  </a:lnTo>
                  <a:lnTo>
                    <a:pt x="328794" y="1744036"/>
                  </a:lnTo>
                  <a:lnTo>
                    <a:pt x="319264" y="1744036"/>
                  </a:lnTo>
                  <a:lnTo>
                    <a:pt x="309732" y="1734508"/>
                  </a:lnTo>
                  <a:lnTo>
                    <a:pt x="300202" y="1724976"/>
                  </a:lnTo>
                  <a:lnTo>
                    <a:pt x="290672" y="1705916"/>
                  </a:lnTo>
                  <a:lnTo>
                    <a:pt x="281142" y="1686856"/>
                  </a:lnTo>
                  <a:lnTo>
                    <a:pt x="281142" y="1672560"/>
                  </a:lnTo>
                  <a:lnTo>
                    <a:pt x="276376" y="1634440"/>
                  </a:lnTo>
                  <a:lnTo>
                    <a:pt x="281142" y="1624908"/>
                  </a:lnTo>
                  <a:lnTo>
                    <a:pt x="285908" y="1615380"/>
                  </a:lnTo>
                  <a:lnTo>
                    <a:pt x="285908" y="1596320"/>
                  </a:lnTo>
                  <a:lnTo>
                    <a:pt x="285908" y="1582024"/>
                  </a:lnTo>
                  <a:lnTo>
                    <a:pt x="290672" y="1577260"/>
                  </a:lnTo>
                  <a:lnTo>
                    <a:pt x="295438" y="1582024"/>
                  </a:lnTo>
                  <a:lnTo>
                    <a:pt x="300202" y="1582024"/>
                  </a:lnTo>
                  <a:lnTo>
                    <a:pt x="300202" y="1572492"/>
                  </a:lnTo>
                  <a:lnTo>
                    <a:pt x="300202" y="1558196"/>
                  </a:lnTo>
                  <a:lnTo>
                    <a:pt x="295438" y="1548668"/>
                  </a:lnTo>
                  <a:lnTo>
                    <a:pt x="281142" y="1543904"/>
                  </a:lnTo>
                  <a:lnTo>
                    <a:pt x="276376" y="1529608"/>
                  </a:lnTo>
                  <a:lnTo>
                    <a:pt x="281142" y="1520076"/>
                  </a:lnTo>
                  <a:lnTo>
                    <a:pt x="285908" y="1510548"/>
                  </a:lnTo>
                  <a:lnTo>
                    <a:pt x="290672" y="1501016"/>
                  </a:lnTo>
                  <a:lnTo>
                    <a:pt x="290672" y="1467660"/>
                  </a:lnTo>
                  <a:lnTo>
                    <a:pt x="281142" y="1453364"/>
                  </a:lnTo>
                  <a:lnTo>
                    <a:pt x="276376" y="1434304"/>
                  </a:lnTo>
                  <a:lnTo>
                    <a:pt x="271612" y="1424776"/>
                  </a:lnTo>
                  <a:lnTo>
                    <a:pt x="262082" y="1410480"/>
                  </a:lnTo>
                  <a:lnTo>
                    <a:pt x="252552" y="1400948"/>
                  </a:lnTo>
                  <a:lnTo>
                    <a:pt x="243020" y="1391420"/>
                  </a:lnTo>
                  <a:lnTo>
                    <a:pt x="243020" y="1367592"/>
                  </a:lnTo>
                  <a:lnTo>
                    <a:pt x="247786" y="1348532"/>
                  </a:lnTo>
                  <a:lnTo>
                    <a:pt x="252552" y="1339000"/>
                  </a:lnTo>
                  <a:lnTo>
                    <a:pt x="262082" y="1353296"/>
                  </a:lnTo>
                  <a:lnTo>
                    <a:pt x="271612" y="1353296"/>
                  </a:lnTo>
                  <a:lnTo>
                    <a:pt x="290672" y="1358064"/>
                  </a:lnTo>
                  <a:lnTo>
                    <a:pt x="304968" y="1353296"/>
                  </a:lnTo>
                  <a:lnTo>
                    <a:pt x="324028" y="1343768"/>
                  </a:lnTo>
                  <a:lnTo>
                    <a:pt x="343088" y="1334236"/>
                  </a:lnTo>
                  <a:lnTo>
                    <a:pt x="371680" y="1300880"/>
                  </a:lnTo>
                  <a:lnTo>
                    <a:pt x="390740" y="1291352"/>
                  </a:lnTo>
                  <a:lnTo>
                    <a:pt x="395506" y="1281820"/>
                  </a:lnTo>
                  <a:lnTo>
                    <a:pt x="400270" y="1272292"/>
                  </a:lnTo>
                  <a:close/>
                  <a:moveTo>
                    <a:pt x="590874" y="929200"/>
                  </a:moveTo>
                  <a:lnTo>
                    <a:pt x="595640" y="938732"/>
                  </a:lnTo>
                  <a:lnTo>
                    <a:pt x="595640" y="943496"/>
                  </a:lnTo>
                  <a:lnTo>
                    <a:pt x="590874" y="948260"/>
                  </a:lnTo>
                  <a:lnTo>
                    <a:pt x="595640" y="962556"/>
                  </a:lnTo>
                  <a:lnTo>
                    <a:pt x="581344" y="953028"/>
                  </a:lnTo>
                  <a:lnTo>
                    <a:pt x="562284" y="957792"/>
                  </a:lnTo>
                  <a:lnTo>
                    <a:pt x="547990" y="957792"/>
                  </a:lnTo>
                  <a:lnTo>
                    <a:pt x="543224" y="948260"/>
                  </a:lnTo>
                  <a:lnTo>
                    <a:pt x="547990" y="943496"/>
                  </a:lnTo>
                  <a:lnTo>
                    <a:pt x="567050" y="938732"/>
                  </a:lnTo>
                  <a:lnTo>
                    <a:pt x="571814" y="938732"/>
                  </a:lnTo>
                  <a:lnTo>
                    <a:pt x="586110" y="938732"/>
                  </a:lnTo>
                  <a:close/>
                  <a:moveTo>
                    <a:pt x="867252" y="0"/>
                  </a:moveTo>
                  <a:lnTo>
                    <a:pt x="872018" y="0"/>
                  </a:lnTo>
                  <a:lnTo>
                    <a:pt x="872018" y="4768"/>
                  </a:lnTo>
                  <a:lnTo>
                    <a:pt x="867252" y="9532"/>
                  </a:lnTo>
                  <a:lnTo>
                    <a:pt x="862488" y="19060"/>
                  </a:lnTo>
                  <a:lnTo>
                    <a:pt x="862488" y="33356"/>
                  </a:lnTo>
                  <a:lnTo>
                    <a:pt x="881548" y="52416"/>
                  </a:lnTo>
                  <a:lnTo>
                    <a:pt x="891078" y="71476"/>
                  </a:lnTo>
                  <a:lnTo>
                    <a:pt x="900608" y="85772"/>
                  </a:lnTo>
                  <a:lnTo>
                    <a:pt x="914904" y="90540"/>
                  </a:lnTo>
                  <a:lnTo>
                    <a:pt x="933964" y="95304"/>
                  </a:lnTo>
                  <a:lnTo>
                    <a:pt x="948260" y="100068"/>
                  </a:lnTo>
                  <a:lnTo>
                    <a:pt x="967320" y="104832"/>
                  </a:lnTo>
                  <a:lnTo>
                    <a:pt x="1024502" y="114364"/>
                  </a:lnTo>
                  <a:lnTo>
                    <a:pt x="1053092" y="119128"/>
                  </a:lnTo>
                  <a:lnTo>
                    <a:pt x="1072154" y="119128"/>
                  </a:lnTo>
                  <a:lnTo>
                    <a:pt x="1105510" y="128660"/>
                  </a:lnTo>
                  <a:lnTo>
                    <a:pt x="1100744" y="138188"/>
                  </a:lnTo>
                  <a:lnTo>
                    <a:pt x="1095980" y="142956"/>
                  </a:lnTo>
                  <a:lnTo>
                    <a:pt x="1086448" y="152484"/>
                  </a:lnTo>
                  <a:lnTo>
                    <a:pt x="1072154" y="162016"/>
                  </a:lnTo>
                  <a:lnTo>
                    <a:pt x="1057858" y="171544"/>
                  </a:lnTo>
                  <a:lnTo>
                    <a:pt x="1057858" y="185840"/>
                  </a:lnTo>
                  <a:lnTo>
                    <a:pt x="1057858" y="195372"/>
                  </a:lnTo>
                  <a:lnTo>
                    <a:pt x="1062624" y="195372"/>
                  </a:lnTo>
                  <a:lnTo>
                    <a:pt x="1067388" y="195372"/>
                  </a:lnTo>
                  <a:lnTo>
                    <a:pt x="1072154" y="195372"/>
                  </a:lnTo>
                  <a:lnTo>
                    <a:pt x="1081684" y="200136"/>
                  </a:lnTo>
                  <a:lnTo>
                    <a:pt x="1095980" y="204900"/>
                  </a:lnTo>
                  <a:lnTo>
                    <a:pt x="1095980" y="209668"/>
                  </a:lnTo>
                  <a:lnTo>
                    <a:pt x="1091214" y="214432"/>
                  </a:lnTo>
                  <a:lnTo>
                    <a:pt x="1081684" y="223964"/>
                  </a:lnTo>
                  <a:lnTo>
                    <a:pt x="1072154" y="233492"/>
                  </a:lnTo>
                  <a:lnTo>
                    <a:pt x="1072154" y="243024"/>
                  </a:lnTo>
                  <a:lnTo>
                    <a:pt x="1072154" y="247788"/>
                  </a:lnTo>
                  <a:lnTo>
                    <a:pt x="1076918" y="247788"/>
                  </a:lnTo>
                  <a:lnTo>
                    <a:pt x="1091214" y="247788"/>
                  </a:lnTo>
                  <a:lnTo>
                    <a:pt x="1091214" y="252552"/>
                  </a:lnTo>
                  <a:lnTo>
                    <a:pt x="1086448" y="281144"/>
                  </a:lnTo>
                  <a:lnTo>
                    <a:pt x="1086448" y="285908"/>
                  </a:lnTo>
                  <a:lnTo>
                    <a:pt x="1100744" y="290672"/>
                  </a:lnTo>
                  <a:lnTo>
                    <a:pt x="1110274" y="295440"/>
                  </a:lnTo>
                  <a:lnTo>
                    <a:pt x="1124570" y="314500"/>
                  </a:lnTo>
                  <a:lnTo>
                    <a:pt x="1134100" y="328796"/>
                  </a:lnTo>
                  <a:lnTo>
                    <a:pt x="1129334" y="333560"/>
                  </a:lnTo>
                  <a:lnTo>
                    <a:pt x="1119804" y="338324"/>
                  </a:lnTo>
                  <a:lnTo>
                    <a:pt x="1110274" y="338324"/>
                  </a:lnTo>
                  <a:lnTo>
                    <a:pt x="1119804" y="328796"/>
                  </a:lnTo>
                  <a:lnTo>
                    <a:pt x="1095980" y="295440"/>
                  </a:lnTo>
                  <a:lnTo>
                    <a:pt x="1081684" y="295440"/>
                  </a:lnTo>
                  <a:lnTo>
                    <a:pt x="1067388" y="309736"/>
                  </a:lnTo>
                  <a:lnTo>
                    <a:pt x="1029268" y="295440"/>
                  </a:lnTo>
                  <a:lnTo>
                    <a:pt x="1019736" y="300204"/>
                  </a:lnTo>
                  <a:lnTo>
                    <a:pt x="1014972" y="309736"/>
                  </a:lnTo>
                  <a:lnTo>
                    <a:pt x="1000676" y="324028"/>
                  </a:lnTo>
                  <a:lnTo>
                    <a:pt x="981616" y="333560"/>
                  </a:lnTo>
                  <a:lnTo>
                    <a:pt x="957790" y="347856"/>
                  </a:lnTo>
                  <a:lnTo>
                    <a:pt x="933964" y="357384"/>
                  </a:lnTo>
                  <a:lnTo>
                    <a:pt x="919670" y="362152"/>
                  </a:lnTo>
                  <a:lnTo>
                    <a:pt x="910140" y="362152"/>
                  </a:lnTo>
                  <a:lnTo>
                    <a:pt x="924434" y="347856"/>
                  </a:lnTo>
                  <a:lnTo>
                    <a:pt x="919670" y="343092"/>
                  </a:lnTo>
                  <a:lnTo>
                    <a:pt x="895844" y="357384"/>
                  </a:lnTo>
                  <a:lnTo>
                    <a:pt x="881548" y="366916"/>
                  </a:lnTo>
                  <a:lnTo>
                    <a:pt x="881548" y="385976"/>
                  </a:lnTo>
                  <a:lnTo>
                    <a:pt x="876784" y="414568"/>
                  </a:lnTo>
                  <a:lnTo>
                    <a:pt x="886314" y="419332"/>
                  </a:lnTo>
                  <a:lnTo>
                    <a:pt x="900608" y="457452"/>
                  </a:lnTo>
                  <a:lnTo>
                    <a:pt x="924434" y="471748"/>
                  </a:lnTo>
                  <a:lnTo>
                    <a:pt x="919670" y="490808"/>
                  </a:lnTo>
                  <a:lnTo>
                    <a:pt x="914904" y="500340"/>
                  </a:lnTo>
                  <a:lnTo>
                    <a:pt x="900608" y="509868"/>
                  </a:lnTo>
                  <a:lnTo>
                    <a:pt x="891078" y="505104"/>
                  </a:lnTo>
                  <a:lnTo>
                    <a:pt x="886314" y="505104"/>
                  </a:lnTo>
                  <a:lnTo>
                    <a:pt x="881548" y="528932"/>
                  </a:lnTo>
                  <a:lnTo>
                    <a:pt x="886314" y="590876"/>
                  </a:lnTo>
                  <a:lnTo>
                    <a:pt x="900608" y="638528"/>
                  </a:lnTo>
                  <a:lnTo>
                    <a:pt x="914904" y="657588"/>
                  </a:lnTo>
                  <a:lnTo>
                    <a:pt x="948260" y="686180"/>
                  </a:lnTo>
                  <a:lnTo>
                    <a:pt x="981616" y="700476"/>
                  </a:lnTo>
                  <a:lnTo>
                    <a:pt x="1043562" y="752892"/>
                  </a:lnTo>
                  <a:lnTo>
                    <a:pt x="1076918" y="771952"/>
                  </a:lnTo>
                  <a:lnTo>
                    <a:pt x="1086448" y="776716"/>
                  </a:lnTo>
                  <a:lnTo>
                    <a:pt x="1105510" y="819604"/>
                  </a:lnTo>
                  <a:lnTo>
                    <a:pt x="1124570" y="862488"/>
                  </a:lnTo>
                  <a:lnTo>
                    <a:pt x="1138866" y="933968"/>
                  </a:lnTo>
                  <a:lnTo>
                    <a:pt x="1153160" y="967320"/>
                  </a:lnTo>
                  <a:lnTo>
                    <a:pt x="1181752" y="1005444"/>
                  </a:lnTo>
                  <a:lnTo>
                    <a:pt x="1238932" y="1062624"/>
                  </a:lnTo>
                  <a:lnTo>
                    <a:pt x="1286584" y="1100744"/>
                  </a:lnTo>
                  <a:lnTo>
                    <a:pt x="1334236" y="1124572"/>
                  </a:lnTo>
                  <a:lnTo>
                    <a:pt x="1372356" y="1129336"/>
                  </a:lnTo>
                  <a:lnTo>
                    <a:pt x="1458128" y="1124572"/>
                  </a:lnTo>
                  <a:lnTo>
                    <a:pt x="1472424" y="1129336"/>
                  </a:lnTo>
                  <a:lnTo>
                    <a:pt x="1491484" y="1134100"/>
                  </a:lnTo>
                  <a:lnTo>
                    <a:pt x="1496250" y="1153160"/>
                  </a:lnTo>
                  <a:lnTo>
                    <a:pt x="1486720" y="1162692"/>
                  </a:lnTo>
                  <a:lnTo>
                    <a:pt x="1472424" y="1176988"/>
                  </a:lnTo>
                  <a:lnTo>
                    <a:pt x="1453364" y="1191284"/>
                  </a:lnTo>
                  <a:lnTo>
                    <a:pt x="1448598" y="1215108"/>
                  </a:lnTo>
                  <a:lnTo>
                    <a:pt x="1467658" y="1229404"/>
                  </a:lnTo>
                  <a:lnTo>
                    <a:pt x="1553432" y="1272292"/>
                  </a:lnTo>
                  <a:lnTo>
                    <a:pt x="1639204" y="1310412"/>
                  </a:lnTo>
                  <a:lnTo>
                    <a:pt x="1663028" y="1324708"/>
                  </a:lnTo>
                  <a:lnTo>
                    <a:pt x="1696384" y="1353296"/>
                  </a:lnTo>
                  <a:lnTo>
                    <a:pt x="1772626" y="1391420"/>
                  </a:lnTo>
                  <a:lnTo>
                    <a:pt x="1782158" y="1410480"/>
                  </a:lnTo>
                  <a:lnTo>
                    <a:pt x="1829808" y="1453364"/>
                  </a:lnTo>
                  <a:lnTo>
                    <a:pt x="1848868" y="1481956"/>
                  </a:lnTo>
                  <a:lnTo>
                    <a:pt x="1853634" y="1505780"/>
                  </a:lnTo>
                  <a:lnTo>
                    <a:pt x="1844104" y="1529608"/>
                  </a:lnTo>
                  <a:lnTo>
                    <a:pt x="1839338" y="1548668"/>
                  </a:lnTo>
                  <a:lnTo>
                    <a:pt x="1829808" y="1562964"/>
                  </a:lnTo>
                  <a:lnTo>
                    <a:pt x="1810748" y="1558196"/>
                  </a:lnTo>
                  <a:lnTo>
                    <a:pt x="1791688" y="1539136"/>
                  </a:lnTo>
                  <a:lnTo>
                    <a:pt x="1758332" y="1467660"/>
                  </a:lnTo>
                  <a:lnTo>
                    <a:pt x="1696384" y="1462896"/>
                  </a:lnTo>
                  <a:lnTo>
                    <a:pt x="1682090" y="1458132"/>
                  </a:lnTo>
                  <a:lnTo>
                    <a:pt x="1663028" y="1443836"/>
                  </a:lnTo>
                  <a:lnTo>
                    <a:pt x="1658264" y="1439068"/>
                  </a:lnTo>
                  <a:lnTo>
                    <a:pt x="1653498" y="1429540"/>
                  </a:lnTo>
                  <a:lnTo>
                    <a:pt x="1648734" y="1424776"/>
                  </a:lnTo>
                  <a:lnTo>
                    <a:pt x="1624908" y="1420008"/>
                  </a:lnTo>
                  <a:lnTo>
                    <a:pt x="1610612" y="1434304"/>
                  </a:lnTo>
                  <a:lnTo>
                    <a:pt x="1591552" y="1458132"/>
                  </a:lnTo>
                  <a:lnTo>
                    <a:pt x="1567726" y="1501016"/>
                  </a:lnTo>
                  <a:lnTo>
                    <a:pt x="1548666" y="1553432"/>
                  </a:lnTo>
                  <a:lnTo>
                    <a:pt x="1548666" y="1577260"/>
                  </a:lnTo>
                  <a:lnTo>
                    <a:pt x="1558196" y="1601084"/>
                  </a:lnTo>
                  <a:lnTo>
                    <a:pt x="1591552" y="1610616"/>
                  </a:lnTo>
                  <a:lnTo>
                    <a:pt x="1620142" y="1634440"/>
                  </a:lnTo>
                  <a:lnTo>
                    <a:pt x="1639204" y="1653500"/>
                  </a:lnTo>
                  <a:lnTo>
                    <a:pt x="1639204" y="1701152"/>
                  </a:lnTo>
                  <a:lnTo>
                    <a:pt x="1648734" y="1729744"/>
                  </a:lnTo>
                  <a:lnTo>
                    <a:pt x="1634438" y="1744036"/>
                  </a:lnTo>
                  <a:lnTo>
                    <a:pt x="1615378" y="1744036"/>
                  </a:lnTo>
                  <a:lnTo>
                    <a:pt x="1582022" y="1753568"/>
                  </a:lnTo>
                  <a:lnTo>
                    <a:pt x="1562962" y="1767864"/>
                  </a:lnTo>
                  <a:lnTo>
                    <a:pt x="1553432" y="1786924"/>
                  </a:lnTo>
                  <a:lnTo>
                    <a:pt x="1553432" y="1829812"/>
                  </a:lnTo>
                  <a:lnTo>
                    <a:pt x="1548666" y="1848872"/>
                  </a:lnTo>
                  <a:lnTo>
                    <a:pt x="1510544" y="1877460"/>
                  </a:lnTo>
                  <a:lnTo>
                    <a:pt x="1486720" y="1910816"/>
                  </a:lnTo>
                  <a:lnTo>
                    <a:pt x="1481954" y="1925112"/>
                  </a:lnTo>
                  <a:lnTo>
                    <a:pt x="1472424" y="1939408"/>
                  </a:lnTo>
                  <a:lnTo>
                    <a:pt x="1424772" y="1939408"/>
                  </a:lnTo>
                  <a:lnTo>
                    <a:pt x="1410478" y="1920348"/>
                  </a:lnTo>
                  <a:lnTo>
                    <a:pt x="1410478" y="1891756"/>
                  </a:lnTo>
                  <a:lnTo>
                    <a:pt x="1420008" y="1877460"/>
                  </a:lnTo>
                  <a:lnTo>
                    <a:pt x="1439068" y="1867932"/>
                  </a:lnTo>
                  <a:lnTo>
                    <a:pt x="1448598" y="1834576"/>
                  </a:lnTo>
                  <a:lnTo>
                    <a:pt x="1448598" y="1805984"/>
                  </a:lnTo>
                  <a:lnTo>
                    <a:pt x="1453364" y="1796456"/>
                  </a:lnTo>
                  <a:lnTo>
                    <a:pt x="1462894" y="1786924"/>
                  </a:lnTo>
                  <a:lnTo>
                    <a:pt x="1477188" y="1782160"/>
                  </a:lnTo>
                  <a:lnTo>
                    <a:pt x="1496250" y="1777392"/>
                  </a:lnTo>
                  <a:lnTo>
                    <a:pt x="1496250" y="1739272"/>
                  </a:lnTo>
                  <a:lnTo>
                    <a:pt x="1481954" y="1724976"/>
                  </a:lnTo>
                  <a:lnTo>
                    <a:pt x="1477188" y="1701152"/>
                  </a:lnTo>
                  <a:lnTo>
                    <a:pt x="1467658" y="1658264"/>
                  </a:lnTo>
                  <a:lnTo>
                    <a:pt x="1443834" y="1601084"/>
                  </a:lnTo>
                  <a:lnTo>
                    <a:pt x="1429538" y="1553432"/>
                  </a:lnTo>
                  <a:lnTo>
                    <a:pt x="1415242" y="1529608"/>
                  </a:lnTo>
                  <a:lnTo>
                    <a:pt x="1400948" y="1515312"/>
                  </a:lnTo>
                  <a:lnTo>
                    <a:pt x="1372356" y="1515312"/>
                  </a:lnTo>
                  <a:lnTo>
                    <a:pt x="1353296" y="1510548"/>
                  </a:lnTo>
                  <a:lnTo>
                    <a:pt x="1300880" y="1477192"/>
                  </a:lnTo>
                  <a:lnTo>
                    <a:pt x="1296114" y="1472424"/>
                  </a:lnTo>
                  <a:lnTo>
                    <a:pt x="1296114" y="1462896"/>
                  </a:lnTo>
                  <a:lnTo>
                    <a:pt x="1305644" y="1448600"/>
                  </a:lnTo>
                  <a:lnTo>
                    <a:pt x="1300880" y="1429540"/>
                  </a:lnTo>
                  <a:lnTo>
                    <a:pt x="1296114" y="1415244"/>
                  </a:lnTo>
                  <a:lnTo>
                    <a:pt x="1281818" y="1396184"/>
                  </a:lnTo>
                  <a:lnTo>
                    <a:pt x="1272288" y="1391420"/>
                  </a:lnTo>
                  <a:lnTo>
                    <a:pt x="1248464" y="1396184"/>
                  </a:lnTo>
                  <a:lnTo>
                    <a:pt x="1238932" y="1400948"/>
                  </a:lnTo>
                  <a:lnTo>
                    <a:pt x="1224638" y="1396184"/>
                  </a:lnTo>
                  <a:lnTo>
                    <a:pt x="1215108" y="1405712"/>
                  </a:lnTo>
                  <a:lnTo>
                    <a:pt x="1205576" y="1405712"/>
                  </a:lnTo>
                  <a:lnTo>
                    <a:pt x="1224638" y="1377124"/>
                  </a:lnTo>
                  <a:lnTo>
                    <a:pt x="1219872" y="1372356"/>
                  </a:lnTo>
                  <a:lnTo>
                    <a:pt x="1200812" y="1358064"/>
                  </a:lnTo>
                  <a:lnTo>
                    <a:pt x="1176986" y="1358064"/>
                  </a:lnTo>
                  <a:lnTo>
                    <a:pt x="1167456" y="1358064"/>
                  </a:lnTo>
                  <a:lnTo>
                    <a:pt x="1162690" y="1362828"/>
                  </a:lnTo>
                  <a:lnTo>
                    <a:pt x="1157926" y="1358064"/>
                  </a:lnTo>
                  <a:lnTo>
                    <a:pt x="1157926" y="1348532"/>
                  </a:lnTo>
                  <a:lnTo>
                    <a:pt x="1129334" y="1296116"/>
                  </a:lnTo>
                  <a:lnTo>
                    <a:pt x="1110274" y="1272292"/>
                  </a:lnTo>
                  <a:lnTo>
                    <a:pt x="1100744" y="1267524"/>
                  </a:lnTo>
                  <a:lnTo>
                    <a:pt x="1081684" y="1272292"/>
                  </a:lnTo>
                  <a:lnTo>
                    <a:pt x="1053092" y="1262760"/>
                  </a:lnTo>
                  <a:lnTo>
                    <a:pt x="1034032" y="1262760"/>
                  </a:lnTo>
                  <a:lnTo>
                    <a:pt x="1024502" y="1262760"/>
                  </a:lnTo>
                  <a:lnTo>
                    <a:pt x="1010206" y="1272292"/>
                  </a:lnTo>
                  <a:lnTo>
                    <a:pt x="1000676" y="1267524"/>
                  </a:lnTo>
                  <a:lnTo>
                    <a:pt x="1000676" y="1257996"/>
                  </a:lnTo>
                  <a:lnTo>
                    <a:pt x="972086" y="1238936"/>
                  </a:lnTo>
                  <a:lnTo>
                    <a:pt x="938730" y="1224640"/>
                  </a:lnTo>
                  <a:lnTo>
                    <a:pt x="872018" y="1153160"/>
                  </a:lnTo>
                  <a:lnTo>
                    <a:pt x="852958" y="1124572"/>
                  </a:lnTo>
                  <a:lnTo>
                    <a:pt x="810072" y="1095980"/>
                  </a:lnTo>
                  <a:lnTo>
                    <a:pt x="786246" y="1053096"/>
                  </a:lnTo>
                  <a:lnTo>
                    <a:pt x="762420" y="1038800"/>
                  </a:lnTo>
                  <a:lnTo>
                    <a:pt x="729064" y="1024504"/>
                  </a:lnTo>
                  <a:lnTo>
                    <a:pt x="724300" y="1024504"/>
                  </a:lnTo>
                  <a:lnTo>
                    <a:pt x="714768" y="1029268"/>
                  </a:lnTo>
                  <a:lnTo>
                    <a:pt x="705238" y="1029268"/>
                  </a:lnTo>
                  <a:lnTo>
                    <a:pt x="700474" y="1024504"/>
                  </a:lnTo>
                  <a:lnTo>
                    <a:pt x="705238" y="1019740"/>
                  </a:lnTo>
                  <a:lnTo>
                    <a:pt x="714768" y="1014972"/>
                  </a:lnTo>
                  <a:lnTo>
                    <a:pt x="710004" y="1000676"/>
                  </a:lnTo>
                  <a:lnTo>
                    <a:pt x="676648" y="957792"/>
                  </a:lnTo>
                  <a:lnTo>
                    <a:pt x="652822" y="943496"/>
                  </a:lnTo>
                  <a:lnTo>
                    <a:pt x="648058" y="933968"/>
                  </a:lnTo>
                  <a:lnTo>
                    <a:pt x="643292" y="924436"/>
                  </a:lnTo>
                  <a:lnTo>
                    <a:pt x="638526" y="914904"/>
                  </a:lnTo>
                  <a:lnTo>
                    <a:pt x="628996" y="910140"/>
                  </a:lnTo>
                  <a:lnTo>
                    <a:pt x="619466" y="910140"/>
                  </a:lnTo>
                  <a:lnTo>
                    <a:pt x="609936" y="910140"/>
                  </a:lnTo>
                  <a:lnTo>
                    <a:pt x="609936" y="886316"/>
                  </a:lnTo>
                  <a:lnTo>
                    <a:pt x="609936" y="872020"/>
                  </a:lnTo>
                  <a:lnTo>
                    <a:pt x="609936" y="857724"/>
                  </a:lnTo>
                  <a:lnTo>
                    <a:pt x="595640" y="819604"/>
                  </a:lnTo>
                  <a:lnTo>
                    <a:pt x="576580" y="791012"/>
                  </a:lnTo>
                  <a:lnTo>
                    <a:pt x="567050" y="719536"/>
                  </a:lnTo>
                  <a:lnTo>
                    <a:pt x="557520" y="695708"/>
                  </a:lnTo>
                  <a:lnTo>
                    <a:pt x="533694" y="681416"/>
                  </a:lnTo>
                  <a:lnTo>
                    <a:pt x="486042" y="662352"/>
                  </a:lnTo>
                  <a:lnTo>
                    <a:pt x="419332" y="614704"/>
                  </a:lnTo>
                  <a:lnTo>
                    <a:pt x="400270" y="614704"/>
                  </a:lnTo>
                  <a:lnTo>
                    <a:pt x="362150" y="595644"/>
                  </a:lnTo>
                  <a:lnTo>
                    <a:pt x="333558" y="595644"/>
                  </a:lnTo>
                  <a:lnTo>
                    <a:pt x="300202" y="609936"/>
                  </a:lnTo>
                  <a:lnTo>
                    <a:pt x="262082" y="657588"/>
                  </a:lnTo>
                  <a:lnTo>
                    <a:pt x="228726" y="705240"/>
                  </a:lnTo>
                  <a:lnTo>
                    <a:pt x="214430" y="714772"/>
                  </a:lnTo>
                  <a:lnTo>
                    <a:pt x="176310" y="729064"/>
                  </a:lnTo>
                  <a:lnTo>
                    <a:pt x="138188" y="733832"/>
                  </a:lnTo>
                  <a:lnTo>
                    <a:pt x="138188" y="724300"/>
                  </a:lnTo>
                  <a:lnTo>
                    <a:pt x="133424" y="714772"/>
                  </a:lnTo>
                  <a:lnTo>
                    <a:pt x="142954" y="705240"/>
                  </a:lnTo>
                  <a:lnTo>
                    <a:pt x="152484" y="695708"/>
                  </a:lnTo>
                  <a:lnTo>
                    <a:pt x="162014" y="676648"/>
                  </a:lnTo>
                  <a:lnTo>
                    <a:pt x="166780" y="667120"/>
                  </a:lnTo>
                  <a:lnTo>
                    <a:pt x="162014" y="662352"/>
                  </a:lnTo>
                  <a:lnTo>
                    <a:pt x="157250" y="648060"/>
                  </a:lnTo>
                  <a:lnTo>
                    <a:pt x="152484" y="648060"/>
                  </a:lnTo>
                  <a:lnTo>
                    <a:pt x="119128" y="657588"/>
                  </a:lnTo>
                  <a:lnTo>
                    <a:pt x="109598" y="657588"/>
                  </a:lnTo>
                  <a:lnTo>
                    <a:pt x="81008" y="643292"/>
                  </a:lnTo>
                  <a:lnTo>
                    <a:pt x="52416" y="624232"/>
                  </a:lnTo>
                  <a:lnTo>
                    <a:pt x="42886" y="614704"/>
                  </a:lnTo>
                  <a:lnTo>
                    <a:pt x="38122" y="600408"/>
                  </a:lnTo>
                  <a:lnTo>
                    <a:pt x="42886" y="590876"/>
                  </a:lnTo>
                  <a:lnTo>
                    <a:pt x="42886" y="586112"/>
                  </a:lnTo>
                  <a:lnTo>
                    <a:pt x="33356" y="576580"/>
                  </a:lnTo>
                  <a:lnTo>
                    <a:pt x="38122" y="562288"/>
                  </a:lnTo>
                  <a:lnTo>
                    <a:pt x="47652" y="547992"/>
                  </a:lnTo>
                  <a:lnTo>
                    <a:pt x="52416" y="538460"/>
                  </a:lnTo>
                  <a:lnTo>
                    <a:pt x="61946" y="533696"/>
                  </a:lnTo>
                  <a:lnTo>
                    <a:pt x="61946" y="528932"/>
                  </a:lnTo>
                  <a:lnTo>
                    <a:pt x="57182" y="505104"/>
                  </a:lnTo>
                  <a:lnTo>
                    <a:pt x="57182" y="500340"/>
                  </a:lnTo>
                  <a:lnTo>
                    <a:pt x="47652" y="500340"/>
                  </a:lnTo>
                  <a:lnTo>
                    <a:pt x="42886" y="495576"/>
                  </a:lnTo>
                  <a:lnTo>
                    <a:pt x="28590" y="490808"/>
                  </a:lnTo>
                  <a:lnTo>
                    <a:pt x="19060" y="486044"/>
                  </a:lnTo>
                  <a:lnTo>
                    <a:pt x="19060" y="471748"/>
                  </a:lnTo>
                  <a:lnTo>
                    <a:pt x="9530" y="462220"/>
                  </a:lnTo>
                  <a:lnTo>
                    <a:pt x="4766" y="452688"/>
                  </a:lnTo>
                  <a:lnTo>
                    <a:pt x="0" y="438392"/>
                  </a:lnTo>
                  <a:lnTo>
                    <a:pt x="9530" y="433628"/>
                  </a:lnTo>
                  <a:lnTo>
                    <a:pt x="23826" y="433628"/>
                  </a:lnTo>
                  <a:lnTo>
                    <a:pt x="33356" y="438392"/>
                  </a:lnTo>
                  <a:lnTo>
                    <a:pt x="57182" y="419332"/>
                  </a:lnTo>
                  <a:lnTo>
                    <a:pt x="66712" y="419332"/>
                  </a:lnTo>
                  <a:lnTo>
                    <a:pt x="71476" y="414568"/>
                  </a:lnTo>
                  <a:lnTo>
                    <a:pt x="76242" y="390740"/>
                  </a:lnTo>
                  <a:lnTo>
                    <a:pt x="81008" y="381212"/>
                  </a:lnTo>
                  <a:lnTo>
                    <a:pt x="85772" y="376448"/>
                  </a:lnTo>
                  <a:lnTo>
                    <a:pt x="61946" y="357384"/>
                  </a:lnTo>
                  <a:lnTo>
                    <a:pt x="52416" y="338324"/>
                  </a:lnTo>
                  <a:lnTo>
                    <a:pt x="42886" y="319264"/>
                  </a:lnTo>
                  <a:lnTo>
                    <a:pt x="28590" y="309736"/>
                  </a:lnTo>
                  <a:lnTo>
                    <a:pt x="28590" y="300204"/>
                  </a:lnTo>
                  <a:lnTo>
                    <a:pt x="28590" y="295440"/>
                  </a:lnTo>
                  <a:lnTo>
                    <a:pt x="28590" y="285908"/>
                  </a:lnTo>
                  <a:lnTo>
                    <a:pt x="47652" y="271612"/>
                  </a:lnTo>
                  <a:lnTo>
                    <a:pt x="61946" y="262084"/>
                  </a:lnTo>
                  <a:lnTo>
                    <a:pt x="66712" y="266848"/>
                  </a:lnTo>
                  <a:lnTo>
                    <a:pt x="81008" y="271612"/>
                  </a:lnTo>
                  <a:lnTo>
                    <a:pt x="109598" y="262084"/>
                  </a:lnTo>
                  <a:lnTo>
                    <a:pt x="128658" y="257316"/>
                  </a:lnTo>
                  <a:lnTo>
                    <a:pt x="142954" y="247788"/>
                  </a:lnTo>
                  <a:lnTo>
                    <a:pt x="152484" y="247788"/>
                  </a:lnTo>
                  <a:lnTo>
                    <a:pt x="181074" y="262084"/>
                  </a:lnTo>
                  <a:lnTo>
                    <a:pt x="190606" y="257316"/>
                  </a:lnTo>
                  <a:lnTo>
                    <a:pt x="214430" y="238256"/>
                  </a:lnTo>
                  <a:lnTo>
                    <a:pt x="219196" y="233492"/>
                  </a:lnTo>
                  <a:lnTo>
                    <a:pt x="233492" y="209668"/>
                  </a:lnTo>
                  <a:lnTo>
                    <a:pt x="233492" y="200136"/>
                  </a:lnTo>
                  <a:lnTo>
                    <a:pt x="228726" y="185840"/>
                  </a:lnTo>
                  <a:lnTo>
                    <a:pt x="228726" y="181076"/>
                  </a:lnTo>
                  <a:lnTo>
                    <a:pt x="252552" y="166780"/>
                  </a:lnTo>
                  <a:lnTo>
                    <a:pt x="262082" y="152484"/>
                  </a:lnTo>
                  <a:lnTo>
                    <a:pt x="271612" y="142956"/>
                  </a:lnTo>
                  <a:lnTo>
                    <a:pt x="281142" y="142956"/>
                  </a:lnTo>
                  <a:lnTo>
                    <a:pt x="285908" y="147720"/>
                  </a:lnTo>
                  <a:lnTo>
                    <a:pt x="285908" y="152484"/>
                  </a:lnTo>
                  <a:lnTo>
                    <a:pt x="285908" y="181076"/>
                  </a:lnTo>
                  <a:lnTo>
                    <a:pt x="285908" y="190608"/>
                  </a:lnTo>
                  <a:lnTo>
                    <a:pt x="304968" y="209668"/>
                  </a:lnTo>
                  <a:lnTo>
                    <a:pt x="314498" y="219196"/>
                  </a:lnTo>
                  <a:lnTo>
                    <a:pt x="343090" y="228728"/>
                  </a:lnTo>
                  <a:lnTo>
                    <a:pt x="338324" y="243024"/>
                  </a:lnTo>
                  <a:lnTo>
                    <a:pt x="352620" y="262084"/>
                  </a:lnTo>
                  <a:lnTo>
                    <a:pt x="357384" y="276380"/>
                  </a:lnTo>
                  <a:lnTo>
                    <a:pt x="362150" y="281144"/>
                  </a:lnTo>
                  <a:lnTo>
                    <a:pt x="376444" y="281144"/>
                  </a:lnTo>
                  <a:lnTo>
                    <a:pt x="381210" y="271612"/>
                  </a:lnTo>
                  <a:lnTo>
                    <a:pt x="376444" y="262084"/>
                  </a:lnTo>
                  <a:lnTo>
                    <a:pt x="371680" y="247788"/>
                  </a:lnTo>
                  <a:lnTo>
                    <a:pt x="371680" y="243024"/>
                  </a:lnTo>
                  <a:lnTo>
                    <a:pt x="376444" y="233492"/>
                  </a:lnTo>
                  <a:lnTo>
                    <a:pt x="381210" y="219196"/>
                  </a:lnTo>
                  <a:lnTo>
                    <a:pt x="405036" y="195372"/>
                  </a:lnTo>
                  <a:lnTo>
                    <a:pt x="409800" y="181076"/>
                  </a:lnTo>
                  <a:lnTo>
                    <a:pt x="414566" y="157252"/>
                  </a:lnTo>
                  <a:lnTo>
                    <a:pt x="414566" y="138188"/>
                  </a:lnTo>
                  <a:lnTo>
                    <a:pt x="419332" y="133424"/>
                  </a:lnTo>
                  <a:lnTo>
                    <a:pt x="433626" y="133424"/>
                  </a:lnTo>
                  <a:lnTo>
                    <a:pt x="438392" y="133424"/>
                  </a:lnTo>
                  <a:lnTo>
                    <a:pt x="438392" y="147720"/>
                  </a:lnTo>
                  <a:lnTo>
                    <a:pt x="447922" y="166780"/>
                  </a:lnTo>
                  <a:lnTo>
                    <a:pt x="452686" y="176312"/>
                  </a:lnTo>
                  <a:lnTo>
                    <a:pt x="462218" y="176312"/>
                  </a:lnTo>
                  <a:lnTo>
                    <a:pt x="471748" y="176312"/>
                  </a:lnTo>
                  <a:lnTo>
                    <a:pt x="495574" y="166780"/>
                  </a:lnTo>
                  <a:lnTo>
                    <a:pt x="509868" y="162016"/>
                  </a:lnTo>
                  <a:lnTo>
                    <a:pt x="519398" y="162016"/>
                  </a:lnTo>
                  <a:lnTo>
                    <a:pt x="524164" y="171544"/>
                  </a:lnTo>
                  <a:lnTo>
                    <a:pt x="533694" y="190608"/>
                  </a:lnTo>
                  <a:lnTo>
                    <a:pt x="543224" y="190608"/>
                  </a:lnTo>
                  <a:lnTo>
                    <a:pt x="547990" y="190608"/>
                  </a:lnTo>
                  <a:lnTo>
                    <a:pt x="552754" y="185840"/>
                  </a:lnTo>
                  <a:lnTo>
                    <a:pt x="547990" y="181076"/>
                  </a:lnTo>
                  <a:lnTo>
                    <a:pt x="543224" y="162016"/>
                  </a:lnTo>
                  <a:lnTo>
                    <a:pt x="543224" y="147720"/>
                  </a:lnTo>
                  <a:lnTo>
                    <a:pt x="533694" y="142956"/>
                  </a:lnTo>
                  <a:lnTo>
                    <a:pt x="533694" y="133424"/>
                  </a:lnTo>
                  <a:lnTo>
                    <a:pt x="538460" y="119128"/>
                  </a:lnTo>
                  <a:lnTo>
                    <a:pt x="543224" y="109600"/>
                  </a:lnTo>
                  <a:lnTo>
                    <a:pt x="547990" y="104832"/>
                  </a:lnTo>
                  <a:lnTo>
                    <a:pt x="557520" y="104832"/>
                  </a:lnTo>
                  <a:lnTo>
                    <a:pt x="571816" y="114364"/>
                  </a:lnTo>
                  <a:lnTo>
                    <a:pt x="586110" y="119128"/>
                  </a:lnTo>
                  <a:lnTo>
                    <a:pt x="595640" y="119128"/>
                  </a:lnTo>
                  <a:lnTo>
                    <a:pt x="595640" y="114364"/>
                  </a:lnTo>
                  <a:lnTo>
                    <a:pt x="595640" y="104832"/>
                  </a:lnTo>
                  <a:lnTo>
                    <a:pt x="590876" y="95304"/>
                  </a:lnTo>
                  <a:lnTo>
                    <a:pt x="590876" y="76244"/>
                  </a:lnTo>
                  <a:lnTo>
                    <a:pt x="600406" y="47652"/>
                  </a:lnTo>
                  <a:lnTo>
                    <a:pt x="605172" y="52416"/>
                  </a:lnTo>
                  <a:lnTo>
                    <a:pt x="619466" y="52416"/>
                  </a:lnTo>
                  <a:lnTo>
                    <a:pt x="633762" y="52416"/>
                  </a:lnTo>
                  <a:lnTo>
                    <a:pt x="648058" y="66712"/>
                  </a:lnTo>
                  <a:lnTo>
                    <a:pt x="657588" y="66712"/>
                  </a:lnTo>
                  <a:lnTo>
                    <a:pt x="671882" y="71476"/>
                  </a:lnTo>
                  <a:lnTo>
                    <a:pt x="681412" y="66712"/>
                  </a:lnTo>
                  <a:lnTo>
                    <a:pt x="686178" y="61948"/>
                  </a:lnTo>
                  <a:lnTo>
                    <a:pt x="695708" y="47652"/>
                  </a:lnTo>
                  <a:lnTo>
                    <a:pt x="705238" y="33356"/>
                  </a:lnTo>
                  <a:lnTo>
                    <a:pt x="724300" y="23828"/>
                  </a:lnTo>
                  <a:lnTo>
                    <a:pt x="752890" y="19060"/>
                  </a:lnTo>
                  <a:lnTo>
                    <a:pt x="767186" y="19060"/>
                  </a:lnTo>
                  <a:lnTo>
                    <a:pt x="781480" y="19060"/>
                  </a:lnTo>
                  <a:lnTo>
                    <a:pt x="791010" y="19060"/>
                  </a:lnTo>
                  <a:lnTo>
                    <a:pt x="805306" y="19060"/>
                  </a:lnTo>
                  <a:lnTo>
                    <a:pt x="833898" y="953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4" name="Google Shape;4641;p64">
              <a:extLst>
                <a:ext uri="{FF2B5EF4-FFF2-40B4-BE49-F238E27FC236}">
                  <a16:creationId xmlns:a16="http://schemas.microsoft.com/office/drawing/2014/main" id="{295D03F8-05D6-84D2-5964-321901458C8A}"/>
                </a:ext>
              </a:extLst>
            </p:cNvPr>
            <p:cNvSpPr/>
            <p:nvPr/>
          </p:nvSpPr>
          <p:spPr>
            <a:xfrm>
              <a:off x="2839551" y="4583847"/>
              <a:ext cx="45942" cy="18377"/>
            </a:xfrm>
            <a:custGeom>
              <a:avLst/>
              <a:gdLst/>
              <a:ahLst/>
              <a:cxnLst/>
              <a:rect l="l" t="t" r="r" b="b"/>
              <a:pathLst>
                <a:path w="333559" h="133424" extrusionOk="0">
                  <a:moveTo>
                    <a:pt x="71477" y="0"/>
                  </a:moveTo>
                  <a:lnTo>
                    <a:pt x="138189" y="9532"/>
                  </a:lnTo>
                  <a:lnTo>
                    <a:pt x="152484" y="9532"/>
                  </a:lnTo>
                  <a:lnTo>
                    <a:pt x="166779" y="14296"/>
                  </a:lnTo>
                  <a:lnTo>
                    <a:pt x="185840" y="19062"/>
                  </a:lnTo>
                  <a:lnTo>
                    <a:pt x="209666" y="19062"/>
                  </a:lnTo>
                  <a:lnTo>
                    <a:pt x="214431" y="19062"/>
                  </a:lnTo>
                  <a:lnTo>
                    <a:pt x="223961" y="23826"/>
                  </a:lnTo>
                  <a:lnTo>
                    <a:pt x="243022" y="38122"/>
                  </a:lnTo>
                  <a:lnTo>
                    <a:pt x="257317" y="42888"/>
                  </a:lnTo>
                  <a:lnTo>
                    <a:pt x="309733" y="61948"/>
                  </a:lnTo>
                  <a:lnTo>
                    <a:pt x="328794" y="90538"/>
                  </a:lnTo>
                  <a:lnTo>
                    <a:pt x="333559" y="100068"/>
                  </a:lnTo>
                  <a:lnTo>
                    <a:pt x="319264" y="109600"/>
                  </a:lnTo>
                  <a:lnTo>
                    <a:pt x="300203" y="109600"/>
                  </a:lnTo>
                  <a:lnTo>
                    <a:pt x="285908" y="109600"/>
                  </a:lnTo>
                  <a:lnTo>
                    <a:pt x="266847" y="104834"/>
                  </a:lnTo>
                  <a:lnTo>
                    <a:pt x="262082" y="100068"/>
                  </a:lnTo>
                  <a:lnTo>
                    <a:pt x="243022" y="95304"/>
                  </a:lnTo>
                  <a:lnTo>
                    <a:pt x="247787" y="95304"/>
                  </a:lnTo>
                  <a:lnTo>
                    <a:pt x="243022" y="90538"/>
                  </a:lnTo>
                  <a:lnTo>
                    <a:pt x="233491" y="90538"/>
                  </a:lnTo>
                  <a:lnTo>
                    <a:pt x="223961" y="104834"/>
                  </a:lnTo>
                  <a:lnTo>
                    <a:pt x="219196" y="114364"/>
                  </a:lnTo>
                  <a:lnTo>
                    <a:pt x="204901" y="109600"/>
                  </a:lnTo>
                  <a:lnTo>
                    <a:pt x="200135" y="104834"/>
                  </a:lnTo>
                  <a:lnTo>
                    <a:pt x="190605" y="104834"/>
                  </a:lnTo>
                  <a:lnTo>
                    <a:pt x="185840" y="114364"/>
                  </a:lnTo>
                  <a:lnTo>
                    <a:pt x="176310" y="133424"/>
                  </a:lnTo>
                  <a:lnTo>
                    <a:pt x="166779" y="123894"/>
                  </a:lnTo>
                  <a:lnTo>
                    <a:pt x="152484" y="114364"/>
                  </a:lnTo>
                  <a:lnTo>
                    <a:pt x="138189" y="109600"/>
                  </a:lnTo>
                  <a:lnTo>
                    <a:pt x="104833" y="109600"/>
                  </a:lnTo>
                  <a:lnTo>
                    <a:pt x="90537" y="109600"/>
                  </a:lnTo>
                  <a:lnTo>
                    <a:pt x="76242" y="90538"/>
                  </a:lnTo>
                  <a:lnTo>
                    <a:pt x="71477" y="85774"/>
                  </a:lnTo>
                  <a:lnTo>
                    <a:pt x="61947" y="81008"/>
                  </a:lnTo>
                  <a:lnTo>
                    <a:pt x="47651" y="57182"/>
                  </a:lnTo>
                  <a:lnTo>
                    <a:pt x="42886" y="57182"/>
                  </a:lnTo>
                  <a:lnTo>
                    <a:pt x="9530" y="52418"/>
                  </a:lnTo>
                  <a:lnTo>
                    <a:pt x="0" y="38122"/>
                  </a:lnTo>
                  <a:lnTo>
                    <a:pt x="4765" y="28592"/>
                  </a:lnTo>
                  <a:lnTo>
                    <a:pt x="14295" y="19062"/>
                  </a:lnTo>
                  <a:lnTo>
                    <a:pt x="19061" y="14296"/>
                  </a:lnTo>
                  <a:lnTo>
                    <a:pt x="38121" y="14296"/>
                  </a:lnTo>
                  <a:lnTo>
                    <a:pt x="57182" y="9532"/>
                  </a:lnTo>
                  <a:lnTo>
                    <a:pt x="66712"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5" name="Google Shape;4642;p64">
              <a:extLst>
                <a:ext uri="{FF2B5EF4-FFF2-40B4-BE49-F238E27FC236}">
                  <a16:creationId xmlns:a16="http://schemas.microsoft.com/office/drawing/2014/main" id="{09CBF425-DD89-7F56-38A7-AC733047F8AB}"/>
                </a:ext>
              </a:extLst>
            </p:cNvPr>
            <p:cNvSpPr/>
            <p:nvPr/>
          </p:nvSpPr>
          <p:spPr>
            <a:xfrm>
              <a:off x="4421925" y="3588875"/>
              <a:ext cx="9844" cy="13126"/>
            </a:xfrm>
            <a:custGeom>
              <a:avLst/>
              <a:gdLst/>
              <a:ahLst/>
              <a:cxnLst/>
              <a:rect l="l" t="t" r="r" b="b"/>
              <a:pathLst>
                <a:path w="71478" h="95304" extrusionOk="0">
                  <a:moveTo>
                    <a:pt x="57182" y="0"/>
                  </a:moveTo>
                  <a:lnTo>
                    <a:pt x="61946" y="0"/>
                  </a:lnTo>
                  <a:lnTo>
                    <a:pt x="66712" y="4766"/>
                  </a:lnTo>
                  <a:lnTo>
                    <a:pt x="71478" y="38122"/>
                  </a:lnTo>
                  <a:lnTo>
                    <a:pt x="61946" y="47652"/>
                  </a:lnTo>
                  <a:lnTo>
                    <a:pt x="57182" y="61948"/>
                  </a:lnTo>
                  <a:lnTo>
                    <a:pt x="28590" y="95304"/>
                  </a:lnTo>
                  <a:lnTo>
                    <a:pt x="14296" y="85774"/>
                  </a:lnTo>
                  <a:lnTo>
                    <a:pt x="4766" y="90538"/>
                  </a:lnTo>
                  <a:lnTo>
                    <a:pt x="0" y="90538"/>
                  </a:lnTo>
                  <a:lnTo>
                    <a:pt x="4766" y="76244"/>
                  </a:lnTo>
                  <a:lnTo>
                    <a:pt x="14296" y="47652"/>
                  </a:lnTo>
                  <a:lnTo>
                    <a:pt x="28590" y="38122"/>
                  </a:lnTo>
                  <a:lnTo>
                    <a:pt x="42886" y="953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176" name="Google Shape;4643;p64">
              <a:extLst>
                <a:ext uri="{FF2B5EF4-FFF2-40B4-BE49-F238E27FC236}">
                  <a16:creationId xmlns:a16="http://schemas.microsoft.com/office/drawing/2014/main" id="{95F542D2-3D05-9FBC-0EC7-6B087A83414C}"/>
                </a:ext>
              </a:extLst>
            </p:cNvPr>
            <p:cNvGrpSpPr/>
            <p:nvPr/>
          </p:nvGrpSpPr>
          <p:grpSpPr>
            <a:xfrm>
              <a:off x="4349730" y="3330286"/>
              <a:ext cx="212646" cy="439074"/>
              <a:chOff x="27354581" y="14994033"/>
              <a:chExt cx="1543903" cy="3187870"/>
            </a:xfrm>
            <a:grpFill/>
          </p:grpSpPr>
          <p:sp>
            <p:nvSpPr>
              <p:cNvPr id="177" name="Google Shape;4644;p64">
                <a:extLst>
                  <a:ext uri="{FF2B5EF4-FFF2-40B4-BE49-F238E27FC236}">
                    <a16:creationId xmlns:a16="http://schemas.microsoft.com/office/drawing/2014/main" id="{A3E132F5-6456-73DC-2660-13B382775AB1}"/>
                  </a:ext>
                </a:extLst>
              </p:cNvPr>
              <p:cNvSpPr/>
              <p:nvPr/>
            </p:nvSpPr>
            <p:spPr>
              <a:xfrm>
                <a:off x="28383850" y="17805458"/>
                <a:ext cx="76242" cy="47651"/>
              </a:xfrm>
              <a:custGeom>
                <a:avLst/>
                <a:gdLst/>
                <a:ahLst/>
                <a:cxnLst/>
                <a:rect l="l" t="t" r="r" b="b"/>
                <a:pathLst>
                  <a:path w="32" h="20" extrusionOk="0">
                    <a:moveTo>
                      <a:pt x="32" y="10"/>
                    </a:moveTo>
                    <a:lnTo>
                      <a:pt x="28" y="4"/>
                    </a:lnTo>
                    <a:lnTo>
                      <a:pt x="16" y="0"/>
                    </a:lnTo>
                    <a:lnTo>
                      <a:pt x="12" y="4"/>
                    </a:lnTo>
                    <a:lnTo>
                      <a:pt x="2" y="8"/>
                    </a:lnTo>
                    <a:lnTo>
                      <a:pt x="0" y="12"/>
                    </a:lnTo>
                    <a:lnTo>
                      <a:pt x="2" y="12"/>
                    </a:lnTo>
                    <a:lnTo>
                      <a:pt x="16" y="20"/>
                    </a:lnTo>
                    <a:lnTo>
                      <a:pt x="20" y="20"/>
                    </a:lnTo>
                    <a:lnTo>
                      <a:pt x="24" y="18"/>
                    </a:lnTo>
                    <a:lnTo>
                      <a:pt x="26" y="16"/>
                    </a:lnTo>
                    <a:lnTo>
                      <a:pt x="26" y="12"/>
                    </a:lnTo>
                    <a:lnTo>
                      <a:pt x="3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8" name="Google Shape;4645;p64">
                <a:extLst>
                  <a:ext uri="{FF2B5EF4-FFF2-40B4-BE49-F238E27FC236}">
                    <a16:creationId xmlns:a16="http://schemas.microsoft.com/office/drawing/2014/main" id="{22706742-FC57-B2C9-BE9A-F444913A918D}"/>
                  </a:ext>
                </a:extLst>
              </p:cNvPr>
              <p:cNvSpPr/>
              <p:nvPr/>
            </p:nvSpPr>
            <p:spPr>
              <a:xfrm>
                <a:off x="27912103" y="17133575"/>
                <a:ext cx="81007" cy="76242"/>
              </a:xfrm>
              <a:custGeom>
                <a:avLst/>
                <a:gdLst/>
                <a:ahLst/>
                <a:cxnLst/>
                <a:rect l="l" t="t" r="r" b="b"/>
                <a:pathLst>
                  <a:path w="34" h="32" extrusionOk="0">
                    <a:moveTo>
                      <a:pt x="24" y="12"/>
                    </a:moveTo>
                    <a:lnTo>
                      <a:pt x="18" y="0"/>
                    </a:lnTo>
                    <a:lnTo>
                      <a:pt x="8" y="0"/>
                    </a:lnTo>
                    <a:lnTo>
                      <a:pt x="0" y="4"/>
                    </a:lnTo>
                    <a:lnTo>
                      <a:pt x="2" y="18"/>
                    </a:lnTo>
                    <a:lnTo>
                      <a:pt x="6" y="28"/>
                    </a:lnTo>
                    <a:lnTo>
                      <a:pt x="10" y="26"/>
                    </a:lnTo>
                    <a:lnTo>
                      <a:pt x="14" y="32"/>
                    </a:lnTo>
                    <a:lnTo>
                      <a:pt x="20" y="28"/>
                    </a:lnTo>
                    <a:lnTo>
                      <a:pt x="24" y="22"/>
                    </a:lnTo>
                    <a:lnTo>
                      <a:pt x="32" y="18"/>
                    </a:lnTo>
                    <a:lnTo>
                      <a:pt x="34" y="12"/>
                    </a:lnTo>
                    <a:lnTo>
                      <a:pt x="28" y="14"/>
                    </a:lnTo>
                    <a:lnTo>
                      <a:pt x="24"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79" name="Google Shape;4646;p64">
                <a:extLst>
                  <a:ext uri="{FF2B5EF4-FFF2-40B4-BE49-F238E27FC236}">
                    <a16:creationId xmlns:a16="http://schemas.microsoft.com/office/drawing/2014/main" id="{0FDB04EC-9F1E-95A7-E2D1-43D19C40A0A2}"/>
                  </a:ext>
                </a:extLst>
              </p:cNvPr>
              <p:cNvSpPr/>
              <p:nvPr/>
            </p:nvSpPr>
            <p:spPr>
              <a:xfrm>
                <a:off x="27354581" y="16647531"/>
                <a:ext cx="419331" cy="319263"/>
              </a:xfrm>
              <a:custGeom>
                <a:avLst/>
                <a:gdLst/>
                <a:ahLst/>
                <a:cxnLst/>
                <a:rect l="l" t="t" r="r" b="b"/>
                <a:pathLst>
                  <a:path w="176" h="134" extrusionOk="0">
                    <a:moveTo>
                      <a:pt x="116" y="0"/>
                    </a:moveTo>
                    <a:lnTo>
                      <a:pt x="110" y="0"/>
                    </a:lnTo>
                    <a:lnTo>
                      <a:pt x="94" y="4"/>
                    </a:lnTo>
                    <a:lnTo>
                      <a:pt x="86" y="6"/>
                    </a:lnTo>
                    <a:lnTo>
                      <a:pt x="82" y="6"/>
                    </a:lnTo>
                    <a:lnTo>
                      <a:pt x="78" y="6"/>
                    </a:lnTo>
                    <a:lnTo>
                      <a:pt x="74" y="18"/>
                    </a:lnTo>
                    <a:lnTo>
                      <a:pt x="68" y="22"/>
                    </a:lnTo>
                    <a:lnTo>
                      <a:pt x="64" y="20"/>
                    </a:lnTo>
                    <a:lnTo>
                      <a:pt x="60" y="16"/>
                    </a:lnTo>
                    <a:lnTo>
                      <a:pt x="50" y="24"/>
                    </a:lnTo>
                    <a:lnTo>
                      <a:pt x="48" y="26"/>
                    </a:lnTo>
                    <a:lnTo>
                      <a:pt x="46" y="38"/>
                    </a:lnTo>
                    <a:lnTo>
                      <a:pt x="46" y="40"/>
                    </a:lnTo>
                    <a:lnTo>
                      <a:pt x="42" y="46"/>
                    </a:lnTo>
                    <a:lnTo>
                      <a:pt x="40" y="54"/>
                    </a:lnTo>
                    <a:lnTo>
                      <a:pt x="36" y="56"/>
                    </a:lnTo>
                    <a:lnTo>
                      <a:pt x="30" y="58"/>
                    </a:lnTo>
                    <a:lnTo>
                      <a:pt x="26" y="60"/>
                    </a:lnTo>
                    <a:lnTo>
                      <a:pt x="22" y="60"/>
                    </a:lnTo>
                    <a:lnTo>
                      <a:pt x="18" y="60"/>
                    </a:lnTo>
                    <a:lnTo>
                      <a:pt x="16" y="62"/>
                    </a:lnTo>
                    <a:lnTo>
                      <a:pt x="16" y="64"/>
                    </a:lnTo>
                    <a:lnTo>
                      <a:pt x="18" y="64"/>
                    </a:lnTo>
                    <a:lnTo>
                      <a:pt x="22" y="68"/>
                    </a:lnTo>
                    <a:lnTo>
                      <a:pt x="26" y="70"/>
                    </a:lnTo>
                    <a:lnTo>
                      <a:pt x="26" y="74"/>
                    </a:lnTo>
                    <a:lnTo>
                      <a:pt x="24" y="76"/>
                    </a:lnTo>
                    <a:lnTo>
                      <a:pt x="6" y="82"/>
                    </a:lnTo>
                    <a:lnTo>
                      <a:pt x="2" y="86"/>
                    </a:lnTo>
                    <a:lnTo>
                      <a:pt x="0" y="90"/>
                    </a:lnTo>
                    <a:lnTo>
                      <a:pt x="2" y="94"/>
                    </a:lnTo>
                    <a:lnTo>
                      <a:pt x="16" y="106"/>
                    </a:lnTo>
                    <a:lnTo>
                      <a:pt x="18" y="108"/>
                    </a:lnTo>
                    <a:lnTo>
                      <a:pt x="20" y="116"/>
                    </a:lnTo>
                    <a:lnTo>
                      <a:pt x="30" y="120"/>
                    </a:lnTo>
                    <a:lnTo>
                      <a:pt x="36" y="124"/>
                    </a:lnTo>
                    <a:lnTo>
                      <a:pt x="40" y="126"/>
                    </a:lnTo>
                    <a:lnTo>
                      <a:pt x="48" y="124"/>
                    </a:lnTo>
                    <a:lnTo>
                      <a:pt x="52" y="126"/>
                    </a:lnTo>
                    <a:lnTo>
                      <a:pt x="54" y="126"/>
                    </a:lnTo>
                    <a:lnTo>
                      <a:pt x="56" y="122"/>
                    </a:lnTo>
                    <a:lnTo>
                      <a:pt x="62" y="116"/>
                    </a:lnTo>
                    <a:lnTo>
                      <a:pt x="66" y="114"/>
                    </a:lnTo>
                    <a:lnTo>
                      <a:pt x="64" y="110"/>
                    </a:lnTo>
                    <a:lnTo>
                      <a:pt x="62" y="106"/>
                    </a:lnTo>
                    <a:lnTo>
                      <a:pt x="66" y="100"/>
                    </a:lnTo>
                    <a:lnTo>
                      <a:pt x="72" y="94"/>
                    </a:lnTo>
                    <a:lnTo>
                      <a:pt x="74" y="94"/>
                    </a:lnTo>
                    <a:lnTo>
                      <a:pt x="80" y="98"/>
                    </a:lnTo>
                    <a:lnTo>
                      <a:pt x="84" y="104"/>
                    </a:lnTo>
                    <a:lnTo>
                      <a:pt x="84" y="106"/>
                    </a:lnTo>
                    <a:lnTo>
                      <a:pt x="84" y="110"/>
                    </a:lnTo>
                    <a:lnTo>
                      <a:pt x="88" y="116"/>
                    </a:lnTo>
                    <a:lnTo>
                      <a:pt x="90" y="118"/>
                    </a:lnTo>
                    <a:lnTo>
                      <a:pt x="96" y="120"/>
                    </a:lnTo>
                    <a:lnTo>
                      <a:pt x="98" y="122"/>
                    </a:lnTo>
                    <a:lnTo>
                      <a:pt x="98" y="130"/>
                    </a:lnTo>
                    <a:lnTo>
                      <a:pt x="98" y="134"/>
                    </a:lnTo>
                    <a:lnTo>
                      <a:pt x="104" y="134"/>
                    </a:lnTo>
                    <a:lnTo>
                      <a:pt x="112" y="132"/>
                    </a:lnTo>
                    <a:lnTo>
                      <a:pt x="114" y="134"/>
                    </a:lnTo>
                    <a:lnTo>
                      <a:pt x="116" y="132"/>
                    </a:lnTo>
                    <a:lnTo>
                      <a:pt x="120" y="130"/>
                    </a:lnTo>
                    <a:lnTo>
                      <a:pt x="126" y="130"/>
                    </a:lnTo>
                    <a:lnTo>
                      <a:pt x="132" y="134"/>
                    </a:lnTo>
                    <a:lnTo>
                      <a:pt x="140" y="134"/>
                    </a:lnTo>
                    <a:lnTo>
                      <a:pt x="144" y="130"/>
                    </a:lnTo>
                    <a:lnTo>
                      <a:pt x="148" y="122"/>
                    </a:lnTo>
                    <a:lnTo>
                      <a:pt x="150" y="118"/>
                    </a:lnTo>
                    <a:lnTo>
                      <a:pt x="152" y="114"/>
                    </a:lnTo>
                    <a:lnTo>
                      <a:pt x="160" y="112"/>
                    </a:lnTo>
                    <a:lnTo>
                      <a:pt x="166" y="110"/>
                    </a:lnTo>
                    <a:lnTo>
                      <a:pt x="170" y="98"/>
                    </a:lnTo>
                    <a:lnTo>
                      <a:pt x="164" y="98"/>
                    </a:lnTo>
                    <a:lnTo>
                      <a:pt x="164" y="98"/>
                    </a:lnTo>
                    <a:lnTo>
                      <a:pt x="164" y="86"/>
                    </a:lnTo>
                    <a:lnTo>
                      <a:pt x="162" y="78"/>
                    </a:lnTo>
                    <a:lnTo>
                      <a:pt x="166" y="80"/>
                    </a:lnTo>
                    <a:lnTo>
                      <a:pt x="170" y="82"/>
                    </a:lnTo>
                    <a:lnTo>
                      <a:pt x="172" y="88"/>
                    </a:lnTo>
                    <a:lnTo>
                      <a:pt x="174" y="90"/>
                    </a:lnTo>
                    <a:lnTo>
                      <a:pt x="176" y="84"/>
                    </a:lnTo>
                    <a:lnTo>
                      <a:pt x="174" y="78"/>
                    </a:lnTo>
                    <a:lnTo>
                      <a:pt x="172" y="70"/>
                    </a:lnTo>
                    <a:lnTo>
                      <a:pt x="168" y="66"/>
                    </a:lnTo>
                    <a:lnTo>
                      <a:pt x="158" y="64"/>
                    </a:lnTo>
                    <a:lnTo>
                      <a:pt x="154" y="66"/>
                    </a:lnTo>
                    <a:lnTo>
                      <a:pt x="148" y="68"/>
                    </a:lnTo>
                    <a:lnTo>
                      <a:pt x="148" y="62"/>
                    </a:lnTo>
                    <a:lnTo>
                      <a:pt x="156" y="58"/>
                    </a:lnTo>
                    <a:lnTo>
                      <a:pt x="160" y="54"/>
                    </a:lnTo>
                    <a:lnTo>
                      <a:pt x="160" y="48"/>
                    </a:lnTo>
                    <a:lnTo>
                      <a:pt x="150" y="36"/>
                    </a:lnTo>
                    <a:lnTo>
                      <a:pt x="142" y="24"/>
                    </a:lnTo>
                    <a:lnTo>
                      <a:pt x="138" y="10"/>
                    </a:lnTo>
                    <a:lnTo>
                      <a:pt x="132" y="2"/>
                    </a:lnTo>
                    <a:lnTo>
                      <a:pt x="126" y="2"/>
                    </a:lnTo>
                    <a:lnTo>
                      <a:pt x="11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0" name="Google Shape;4647;p64">
                <a:extLst>
                  <a:ext uri="{FF2B5EF4-FFF2-40B4-BE49-F238E27FC236}">
                    <a16:creationId xmlns:a16="http://schemas.microsoft.com/office/drawing/2014/main" id="{86A1DD33-27F2-A0A9-03CC-E2B25B4BAD7D}"/>
                  </a:ext>
                </a:extLst>
              </p:cNvPr>
              <p:cNvSpPr/>
              <p:nvPr/>
            </p:nvSpPr>
            <p:spPr>
              <a:xfrm>
                <a:off x="27783444" y="16514108"/>
                <a:ext cx="47651" cy="76242"/>
              </a:xfrm>
              <a:custGeom>
                <a:avLst/>
                <a:gdLst/>
                <a:ahLst/>
                <a:cxnLst/>
                <a:rect l="l" t="t" r="r" b="b"/>
                <a:pathLst>
                  <a:path w="20" h="32" extrusionOk="0">
                    <a:moveTo>
                      <a:pt x="20" y="32"/>
                    </a:moveTo>
                    <a:lnTo>
                      <a:pt x="20" y="26"/>
                    </a:lnTo>
                    <a:lnTo>
                      <a:pt x="20" y="18"/>
                    </a:lnTo>
                    <a:lnTo>
                      <a:pt x="16" y="6"/>
                    </a:lnTo>
                    <a:lnTo>
                      <a:pt x="14" y="4"/>
                    </a:lnTo>
                    <a:lnTo>
                      <a:pt x="10" y="0"/>
                    </a:lnTo>
                    <a:lnTo>
                      <a:pt x="6" y="2"/>
                    </a:lnTo>
                    <a:lnTo>
                      <a:pt x="4" y="4"/>
                    </a:lnTo>
                    <a:lnTo>
                      <a:pt x="2" y="6"/>
                    </a:lnTo>
                    <a:lnTo>
                      <a:pt x="0" y="12"/>
                    </a:lnTo>
                    <a:lnTo>
                      <a:pt x="4" y="28"/>
                    </a:lnTo>
                    <a:lnTo>
                      <a:pt x="8" y="30"/>
                    </a:lnTo>
                    <a:lnTo>
                      <a:pt x="12" y="32"/>
                    </a:lnTo>
                    <a:lnTo>
                      <a:pt x="20" y="3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1" name="Google Shape;4648;p64">
                <a:extLst>
                  <a:ext uri="{FF2B5EF4-FFF2-40B4-BE49-F238E27FC236}">
                    <a16:creationId xmlns:a16="http://schemas.microsoft.com/office/drawing/2014/main" id="{AA81EFF1-E395-B345-DA17-B620240414EF}"/>
                  </a:ext>
                </a:extLst>
              </p:cNvPr>
              <p:cNvSpPr/>
              <p:nvPr/>
            </p:nvSpPr>
            <p:spPr>
              <a:xfrm>
                <a:off x="27611900" y="16456927"/>
                <a:ext cx="71477" cy="90537"/>
              </a:xfrm>
              <a:custGeom>
                <a:avLst/>
                <a:gdLst/>
                <a:ahLst/>
                <a:cxnLst/>
                <a:rect l="l" t="t" r="r" b="b"/>
                <a:pathLst>
                  <a:path w="30" h="38" extrusionOk="0">
                    <a:moveTo>
                      <a:pt x="24" y="0"/>
                    </a:moveTo>
                    <a:lnTo>
                      <a:pt x="18" y="2"/>
                    </a:lnTo>
                    <a:lnTo>
                      <a:pt x="12" y="8"/>
                    </a:lnTo>
                    <a:lnTo>
                      <a:pt x="10" y="6"/>
                    </a:lnTo>
                    <a:lnTo>
                      <a:pt x="8" y="6"/>
                    </a:lnTo>
                    <a:lnTo>
                      <a:pt x="6" y="8"/>
                    </a:lnTo>
                    <a:lnTo>
                      <a:pt x="4" y="10"/>
                    </a:lnTo>
                    <a:lnTo>
                      <a:pt x="2" y="14"/>
                    </a:lnTo>
                    <a:lnTo>
                      <a:pt x="2" y="18"/>
                    </a:lnTo>
                    <a:lnTo>
                      <a:pt x="0" y="26"/>
                    </a:lnTo>
                    <a:lnTo>
                      <a:pt x="0" y="26"/>
                    </a:lnTo>
                    <a:lnTo>
                      <a:pt x="2" y="26"/>
                    </a:lnTo>
                    <a:lnTo>
                      <a:pt x="12" y="18"/>
                    </a:lnTo>
                    <a:lnTo>
                      <a:pt x="14" y="18"/>
                    </a:lnTo>
                    <a:lnTo>
                      <a:pt x="14" y="18"/>
                    </a:lnTo>
                    <a:lnTo>
                      <a:pt x="14" y="22"/>
                    </a:lnTo>
                    <a:lnTo>
                      <a:pt x="16" y="30"/>
                    </a:lnTo>
                    <a:lnTo>
                      <a:pt x="12" y="36"/>
                    </a:lnTo>
                    <a:lnTo>
                      <a:pt x="12" y="38"/>
                    </a:lnTo>
                    <a:lnTo>
                      <a:pt x="16" y="38"/>
                    </a:lnTo>
                    <a:lnTo>
                      <a:pt x="28" y="32"/>
                    </a:lnTo>
                    <a:lnTo>
                      <a:pt x="30" y="26"/>
                    </a:lnTo>
                    <a:lnTo>
                      <a:pt x="30" y="24"/>
                    </a:lnTo>
                    <a:lnTo>
                      <a:pt x="26" y="14"/>
                    </a:lnTo>
                    <a:lnTo>
                      <a:pt x="24"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2" name="Google Shape;4649;p64">
                <a:extLst>
                  <a:ext uri="{FF2B5EF4-FFF2-40B4-BE49-F238E27FC236}">
                    <a16:creationId xmlns:a16="http://schemas.microsoft.com/office/drawing/2014/main" id="{B388618E-B973-3A50-7198-FDA78E3BC84B}"/>
                  </a:ext>
                </a:extLst>
              </p:cNvPr>
              <p:cNvSpPr/>
              <p:nvPr/>
            </p:nvSpPr>
            <p:spPr>
              <a:xfrm>
                <a:off x="27678613" y="16404509"/>
                <a:ext cx="52416" cy="85772"/>
              </a:xfrm>
              <a:custGeom>
                <a:avLst/>
                <a:gdLst/>
                <a:ahLst/>
                <a:cxnLst/>
                <a:rect l="l" t="t" r="r" b="b"/>
                <a:pathLst>
                  <a:path w="22" h="36" extrusionOk="0">
                    <a:moveTo>
                      <a:pt x="6" y="34"/>
                    </a:moveTo>
                    <a:lnTo>
                      <a:pt x="18" y="12"/>
                    </a:lnTo>
                    <a:lnTo>
                      <a:pt x="22" y="0"/>
                    </a:lnTo>
                    <a:lnTo>
                      <a:pt x="20" y="0"/>
                    </a:lnTo>
                    <a:lnTo>
                      <a:pt x="18" y="0"/>
                    </a:lnTo>
                    <a:lnTo>
                      <a:pt x="8" y="8"/>
                    </a:lnTo>
                    <a:lnTo>
                      <a:pt x="6" y="12"/>
                    </a:lnTo>
                    <a:lnTo>
                      <a:pt x="6" y="14"/>
                    </a:lnTo>
                    <a:lnTo>
                      <a:pt x="10" y="16"/>
                    </a:lnTo>
                    <a:lnTo>
                      <a:pt x="2" y="22"/>
                    </a:lnTo>
                    <a:lnTo>
                      <a:pt x="0" y="26"/>
                    </a:lnTo>
                    <a:lnTo>
                      <a:pt x="0" y="32"/>
                    </a:lnTo>
                    <a:lnTo>
                      <a:pt x="0" y="34"/>
                    </a:lnTo>
                    <a:lnTo>
                      <a:pt x="2" y="36"/>
                    </a:lnTo>
                    <a:lnTo>
                      <a:pt x="6" y="36"/>
                    </a:lnTo>
                    <a:lnTo>
                      <a:pt x="6" y="3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3" name="Google Shape;4650;p64">
                <a:extLst>
                  <a:ext uri="{FF2B5EF4-FFF2-40B4-BE49-F238E27FC236}">
                    <a16:creationId xmlns:a16="http://schemas.microsoft.com/office/drawing/2014/main" id="{7BCF3120-9BD4-3765-D0CE-39CB8150743B}"/>
                  </a:ext>
                </a:extLst>
              </p:cNvPr>
              <p:cNvSpPr/>
              <p:nvPr/>
            </p:nvSpPr>
            <p:spPr>
              <a:xfrm>
                <a:off x="27640491" y="16252027"/>
                <a:ext cx="85772" cy="104833"/>
              </a:xfrm>
              <a:custGeom>
                <a:avLst/>
                <a:gdLst/>
                <a:ahLst/>
                <a:cxnLst/>
                <a:rect l="l" t="t" r="r" b="b"/>
                <a:pathLst>
                  <a:path w="36" h="44" extrusionOk="0">
                    <a:moveTo>
                      <a:pt x="36" y="36"/>
                    </a:moveTo>
                    <a:lnTo>
                      <a:pt x="36" y="20"/>
                    </a:lnTo>
                    <a:lnTo>
                      <a:pt x="32" y="16"/>
                    </a:lnTo>
                    <a:lnTo>
                      <a:pt x="24" y="14"/>
                    </a:lnTo>
                    <a:lnTo>
                      <a:pt x="18" y="6"/>
                    </a:lnTo>
                    <a:lnTo>
                      <a:pt x="14" y="0"/>
                    </a:lnTo>
                    <a:lnTo>
                      <a:pt x="12" y="0"/>
                    </a:lnTo>
                    <a:lnTo>
                      <a:pt x="8" y="2"/>
                    </a:lnTo>
                    <a:lnTo>
                      <a:pt x="2" y="6"/>
                    </a:lnTo>
                    <a:lnTo>
                      <a:pt x="0" y="6"/>
                    </a:lnTo>
                    <a:lnTo>
                      <a:pt x="0" y="10"/>
                    </a:lnTo>
                    <a:lnTo>
                      <a:pt x="0" y="12"/>
                    </a:lnTo>
                    <a:lnTo>
                      <a:pt x="12" y="20"/>
                    </a:lnTo>
                    <a:lnTo>
                      <a:pt x="8" y="36"/>
                    </a:lnTo>
                    <a:lnTo>
                      <a:pt x="2" y="38"/>
                    </a:lnTo>
                    <a:lnTo>
                      <a:pt x="0" y="40"/>
                    </a:lnTo>
                    <a:lnTo>
                      <a:pt x="0" y="42"/>
                    </a:lnTo>
                    <a:lnTo>
                      <a:pt x="10" y="44"/>
                    </a:lnTo>
                    <a:lnTo>
                      <a:pt x="36" y="3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4" name="Google Shape;4651;p64">
                <a:extLst>
                  <a:ext uri="{FF2B5EF4-FFF2-40B4-BE49-F238E27FC236}">
                    <a16:creationId xmlns:a16="http://schemas.microsoft.com/office/drawing/2014/main" id="{DC5778DF-55B6-441E-EF7A-38D6572392FD}"/>
                  </a:ext>
                </a:extLst>
              </p:cNvPr>
              <p:cNvSpPr/>
              <p:nvPr/>
            </p:nvSpPr>
            <p:spPr>
              <a:xfrm>
                <a:off x="27583309" y="16247261"/>
                <a:ext cx="28591" cy="23826"/>
              </a:xfrm>
              <a:custGeom>
                <a:avLst/>
                <a:gdLst/>
                <a:ahLst/>
                <a:cxnLst/>
                <a:rect l="l" t="t" r="r" b="b"/>
                <a:pathLst>
                  <a:path w="12" h="10" extrusionOk="0">
                    <a:moveTo>
                      <a:pt x="4" y="10"/>
                    </a:moveTo>
                    <a:lnTo>
                      <a:pt x="10" y="6"/>
                    </a:lnTo>
                    <a:lnTo>
                      <a:pt x="12" y="0"/>
                    </a:lnTo>
                    <a:lnTo>
                      <a:pt x="12" y="0"/>
                    </a:lnTo>
                    <a:lnTo>
                      <a:pt x="8" y="2"/>
                    </a:lnTo>
                    <a:lnTo>
                      <a:pt x="0" y="10"/>
                    </a:lnTo>
                    <a:lnTo>
                      <a:pt x="2" y="10"/>
                    </a:lnTo>
                    <a:lnTo>
                      <a:pt x="4"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5" name="Google Shape;4652;p64">
                <a:extLst>
                  <a:ext uri="{FF2B5EF4-FFF2-40B4-BE49-F238E27FC236}">
                    <a16:creationId xmlns:a16="http://schemas.microsoft.com/office/drawing/2014/main" id="{08908BF2-870B-6D2E-585E-0BBAE5029C80}"/>
                  </a:ext>
                </a:extLst>
              </p:cNvPr>
              <p:cNvSpPr/>
              <p:nvPr/>
            </p:nvSpPr>
            <p:spPr>
              <a:xfrm>
                <a:off x="27449884" y="16147194"/>
                <a:ext cx="23826" cy="19061"/>
              </a:xfrm>
              <a:custGeom>
                <a:avLst/>
                <a:gdLst/>
                <a:ahLst/>
                <a:cxnLst/>
                <a:rect l="l" t="t" r="r" b="b"/>
                <a:pathLst>
                  <a:path w="10" h="8" extrusionOk="0">
                    <a:moveTo>
                      <a:pt x="8" y="6"/>
                    </a:moveTo>
                    <a:lnTo>
                      <a:pt x="10" y="4"/>
                    </a:lnTo>
                    <a:lnTo>
                      <a:pt x="8" y="2"/>
                    </a:lnTo>
                    <a:lnTo>
                      <a:pt x="6" y="0"/>
                    </a:lnTo>
                    <a:lnTo>
                      <a:pt x="0" y="2"/>
                    </a:lnTo>
                    <a:lnTo>
                      <a:pt x="0" y="6"/>
                    </a:lnTo>
                    <a:lnTo>
                      <a:pt x="0" y="8"/>
                    </a:lnTo>
                    <a:lnTo>
                      <a:pt x="2" y="8"/>
                    </a:lnTo>
                    <a:lnTo>
                      <a:pt x="8"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6" name="Google Shape;4653;p64">
                <a:extLst>
                  <a:ext uri="{FF2B5EF4-FFF2-40B4-BE49-F238E27FC236}">
                    <a16:creationId xmlns:a16="http://schemas.microsoft.com/office/drawing/2014/main" id="{35CA1D73-7622-345C-77F2-D1CD7C2A759F}"/>
                  </a:ext>
                </a:extLst>
              </p:cNvPr>
              <p:cNvSpPr/>
              <p:nvPr/>
            </p:nvSpPr>
            <p:spPr>
              <a:xfrm>
                <a:off x="27621428" y="16137663"/>
                <a:ext cx="28591" cy="28591"/>
              </a:xfrm>
              <a:custGeom>
                <a:avLst/>
                <a:gdLst/>
                <a:ahLst/>
                <a:cxnLst/>
                <a:rect l="l" t="t" r="r" b="b"/>
                <a:pathLst>
                  <a:path w="12" h="12" extrusionOk="0">
                    <a:moveTo>
                      <a:pt x="10" y="10"/>
                    </a:moveTo>
                    <a:lnTo>
                      <a:pt x="12" y="8"/>
                    </a:lnTo>
                    <a:lnTo>
                      <a:pt x="12" y="6"/>
                    </a:lnTo>
                    <a:lnTo>
                      <a:pt x="10" y="2"/>
                    </a:lnTo>
                    <a:lnTo>
                      <a:pt x="8" y="0"/>
                    </a:lnTo>
                    <a:lnTo>
                      <a:pt x="0" y="4"/>
                    </a:lnTo>
                    <a:lnTo>
                      <a:pt x="4" y="10"/>
                    </a:lnTo>
                    <a:lnTo>
                      <a:pt x="6" y="12"/>
                    </a:lnTo>
                    <a:lnTo>
                      <a:pt x="8" y="12"/>
                    </a:lnTo>
                    <a:lnTo>
                      <a:pt x="10"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7" name="Google Shape;4654;p64">
                <a:extLst>
                  <a:ext uri="{FF2B5EF4-FFF2-40B4-BE49-F238E27FC236}">
                    <a16:creationId xmlns:a16="http://schemas.microsoft.com/office/drawing/2014/main" id="{F0FD21F6-4377-B841-455A-412ECEE2A2E5}"/>
                  </a:ext>
                </a:extLst>
              </p:cNvPr>
              <p:cNvSpPr/>
              <p:nvPr/>
            </p:nvSpPr>
            <p:spPr>
              <a:xfrm>
                <a:off x="27468944" y="16042361"/>
                <a:ext cx="23826" cy="81007"/>
              </a:xfrm>
              <a:custGeom>
                <a:avLst/>
                <a:gdLst/>
                <a:ahLst/>
                <a:cxnLst/>
                <a:rect l="l" t="t" r="r" b="b"/>
                <a:pathLst>
                  <a:path w="10" h="34" extrusionOk="0">
                    <a:moveTo>
                      <a:pt x="10" y="32"/>
                    </a:moveTo>
                    <a:lnTo>
                      <a:pt x="10" y="32"/>
                    </a:lnTo>
                    <a:lnTo>
                      <a:pt x="10" y="2"/>
                    </a:lnTo>
                    <a:lnTo>
                      <a:pt x="8" y="0"/>
                    </a:lnTo>
                    <a:lnTo>
                      <a:pt x="0" y="0"/>
                    </a:lnTo>
                    <a:lnTo>
                      <a:pt x="0" y="10"/>
                    </a:lnTo>
                    <a:lnTo>
                      <a:pt x="0" y="18"/>
                    </a:lnTo>
                    <a:lnTo>
                      <a:pt x="0" y="24"/>
                    </a:lnTo>
                    <a:lnTo>
                      <a:pt x="2" y="30"/>
                    </a:lnTo>
                    <a:lnTo>
                      <a:pt x="4" y="32"/>
                    </a:lnTo>
                    <a:lnTo>
                      <a:pt x="8" y="34"/>
                    </a:lnTo>
                    <a:lnTo>
                      <a:pt x="10" y="3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8" name="Google Shape;4655;p64">
                <a:extLst>
                  <a:ext uri="{FF2B5EF4-FFF2-40B4-BE49-F238E27FC236}">
                    <a16:creationId xmlns:a16="http://schemas.microsoft.com/office/drawing/2014/main" id="{A38FA31C-93B8-0F60-F5A8-3717304D8ED1}"/>
                  </a:ext>
                </a:extLst>
              </p:cNvPr>
              <p:cNvSpPr/>
              <p:nvPr/>
            </p:nvSpPr>
            <p:spPr>
              <a:xfrm>
                <a:off x="27569013" y="15956589"/>
                <a:ext cx="171545" cy="185840"/>
              </a:xfrm>
              <a:custGeom>
                <a:avLst/>
                <a:gdLst/>
                <a:ahLst/>
                <a:cxnLst/>
                <a:rect l="l" t="t" r="r" b="b"/>
                <a:pathLst>
                  <a:path w="72" h="78" extrusionOk="0">
                    <a:moveTo>
                      <a:pt x="42" y="22"/>
                    </a:moveTo>
                    <a:lnTo>
                      <a:pt x="40" y="12"/>
                    </a:lnTo>
                    <a:lnTo>
                      <a:pt x="34" y="4"/>
                    </a:lnTo>
                    <a:lnTo>
                      <a:pt x="30" y="0"/>
                    </a:lnTo>
                    <a:lnTo>
                      <a:pt x="28" y="2"/>
                    </a:lnTo>
                    <a:lnTo>
                      <a:pt x="26" y="10"/>
                    </a:lnTo>
                    <a:lnTo>
                      <a:pt x="10" y="14"/>
                    </a:lnTo>
                    <a:lnTo>
                      <a:pt x="10" y="16"/>
                    </a:lnTo>
                    <a:lnTo>
                      <a:pt x="12" y="20"/>
                    </a:lnTo>
                    <a:lnTo>
                      <a:pt x="12" y="22"/>
                    </a:lnTo>
                    <a:lnTo>
                      <a:pt x="10" y="24"/>
                    </a:lnTo>
                    <a:lnTo>
                      <a:pt x="8" y="24"/>
                    </a:lnTo>
                    <a:lnTo>
                      <a:pt x="4" y="22"/>
                    </a:lnTo>
                    <a:lnTo>
                      <a:pt x="2" y="26"/>
                    </a:lnTo>
                    <a:lnTo>
                      <a:pt x="0" y="28"/>
                    </a:lnTo>
                    <a:lnTo>
                      <a:pt x="2" y="32"/>
                    </a:lnTo>
                    <a:lnTo>
                      <a:pt x="6" y="38"/>
                    </a:lnTo>
                    <a:lnTo>
                      <a:pt x="22" y="42"/>
                    </a:lnTo>
                    <a:lnTo>
                      <a:pt x="26" y="54"/>
                    </a:lnTo>
                    <a:lnTo>
                      <a:pt x="30" y="58"/>
                    </a:lnTo>
                    <a:lnTo>
                      <a:pt x="34" y="60"/>
                    </a:lnTo>
                    <a:lnTo>
                      <a:pt x="40" y="60"/>
                    </a:lnTo>
                    <a:lnTo>
                      <a:pt x="48" y="58"/>
                    </a:lnTo>
                    <a:lnTo>
                      <a:pt x="50" y="76"/>
                    </a:lnTo>
                    <a:lnTo>
                      <a:pt x="52" y="78"/>
                    </a:lnTo>
                    <a:lnTo>
                      <a:pt x="54" y="76"/>
                    </a:lnTo>
                    <a:lnTo>
                      <a:pt x="56" y="74"/>
                    </a:lnTo>
                    <a:lnTo>
                      <a:pt x="64" y="64"/>
                    </a:lnTo>
                    <a:lnTo>
                      <a:pt x="70" y="58"/>
                    </a:lnTo>
                    <a:lnTo>
                      <a:pt x="72" y="56"/>
                    </a:lnTo>
                    <a:lnTo>
                      <a:pt x="72" y="52"/>
                    </a:lnTo>
                    <a:lnTo>
                      <a:pt x="70" y="50"/>
                    </a:lnTo>
                    <a:lnTo>
                      <a:pt x="58" y="50"/>
                    </a:lnTo>
                    <a:lnTo>
                      <a:pt x="46" y="48"/>
                    </a:lnTo>
                    <a:lnTo>
                      <a:pt x="44" y="46"/>
                    </a:lnTo>
                    <a:lnTo>
                      <a:pt x="42" y="44"/>
                    </a:lnTo>
                    <a:lnTo>
                      <a:pt x="42" y="40"/>
                    </a:lnTo>
                    <a:lnTo>
                      <a:pt x="40" y="34"/>
                    </a:lnTo>
                    <a:lnTo>
                      <a:pt x="42" y="26"/>
                    </a:lnTo>
                    <a:lnTo>
                      <a:pt x="42"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89" name="Google Shape;4656;p64">
                <a:extLst>
                  <a:ext uri="{FF2B5EF4-FFF2-40B4-BE49-F238E27FC236}">
                    <a16:creationId xmlns:a16="http://schemas.microsoft.com/office/drawing/2014/main" id="{15CA27E5-6EE2-DB0B-36E9-93092ABFC9D8}"/>
                  </a:ext>
                </a:extLst>
              </p:cNvPr>
              <p:cNvSpPr/>
              <p:nvPr/>
            </p:nvSpPr>
            <p:spPr>
              <a:xfrm>
                <a:off x="27454650" y="15956589"/>
                <a:ext cx="61947" cy="42886"/>
              </a:xfrm>
              <a:custGeom>
                <a:avLst/>
                <a:gdLst/>
                <a:ahLst/>
                <a:cxnLst/>
                <a:rect l="l" t="t" r="r" b="b"/>
                <a:pathLst>
                  <a:path w="26" h="18" extrusionOk="0">
                    <a:moveTo>
                      <a:pt x="20" y="0"/>
                    </a:moveTo>
                    <a:lnTo>
                      <a:pt x="16" y="2"/>
                    </a:lnTo>
                    <a:lnTo>
                      <a:pt x="12" y="2"/>
                    </a:lnTo>
                    <a:lnTo>
                      <a:pt x="8" y="4"/>
                    </a:lnTo>
                    <a:lnTo>
                      <a:pt x="4" y="2"/>
                    </a:lnTo>
                    <a:lnTo>
                      <a:pt x="2" y="4"/>
                    </a:lnTo>
                    <a:lnTo>
                      <a:pt x="0" y="6"/>
                    </a:lnTo>
                    <a:lnTo>
                      <a:pt x="0" y="8"/>
                    </a:lnTo>
                    <a:lnTo>
                      <a:pt x="0" y="10"/>
                    </a:lnTo>
                    <a:lnTo>
                      <a:pt x="12" y="18"/>
                    </a:lnTo>
                    <a:lnTo>
                      <a:pt x="22" y="18"/>
                    </a:lnTo>
                    <a:lnTo>
                      <a:pt x="26" y="6"/>
                    </a:lnTo>
                    <a:lnTo>
                      <a:pt x="2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0" name="Google Shape;4657;p64">
                <a:extLst>
                  <a:ext uri="{FF2B5EF4-FFF2-40B4-BE49-F238E27FC236}">
                    <a16:creationId xmlns:a16="http://schemas.microsoft.com/office/drawing/2014/main" id="{A0204D1C-3EBA-1DE4-149E-2C2BD74D1A7E}"/>
                  </a:ext>
                </a:extLst>
              </p:cNvPr>
              <p:cNvSpPr/>
              <p:nvPr/>
            </p:nvSpPr>
            <p:spPr>
              <a:xfrm>
                <a:off x="27516597" y="15713567"/>
                <a:ext cx="142954" cy="223961"/>
              </a:xfrm>
              <a:custGeom>
                <a:avLst/>
                <a:gdLst/>
                <a:ahLst/>
                <a:cxnLst/>
                <a:rect l="l" t="t" r="r" b="b"/>
                <a:pathLst>
                  <a:path w="60" h="94" extrusionOk="0">
                    <a:moveTo>
                      <a:pt x="60" y="18"/>
                    </a:moveTo>
                    <a:lnTo>
                      <a:pt x="60" y="8"/>
                    </a:lnTo>
                    <a:lnTo>
                      <a:pt x="58" y="2"/>
                    </a:lnTo>
                    <a:lnTo>
                      <a:pt x="58" y="0"/>
                    </a:lnTo>
                    <a:lnTo>
                      <a:pt x="54" y="2"/>
                    </a:lnTo>
                    <a:lnTo>
                      <a:pt x="38" y="14"/>
                    </a:lnTo>
                    <a:lnTo>
                      <a:pt x="24" y="22"/>
                    </a:lnTo>
                    <a:lnTo>
                      <a:pt x="22" y="26"/>
                    </a:lnTo>
                    <a:lnTo>
                      <a:pt x="22" y="28"/>
                    </a:lnTo>
                    <a:lnTo>
                      <a:pt x="26" y="38"/>
                    </a:lnTo>
                    <a:lnTo>
                      <a:pt x="26" y="38"/>
                    </a:lnTo>
                    <a:lnTo>
                      <a:pt x="20" y="38"/>
                    </a:lnTo>
                    <a:lnTo>
                      <a:pt x="14" y="40"/>
                    </a:lnTo>
                    <a:lnTo>
                      <a:pt x="10" y="36"/>
                    </a:lnTo>
                    <a:lnTo>
                      <a:pt x="6" y="34"/>
                    </a:lnTo>
                    <a:lnTo>
                      <a:pt x="6" y="34"/>
                    </a:lnTo>
                    <a:lnTo>
                      <a:pt x="4" y="38"/>
                    </a:lnTo>
                    <a:lnTo>
                      <a:pt x="2" y="40"/>
                    </a:lnTo>
                    <a:lnTo>
                      <a:pt x="0" y="46"/>
                    </a:lnTo>
                    <a:lnTo>
                      <a:pt x="2" y="50"/>
                    </a:lnTo>
                    <a:lnTo>
                      <a:pt x="2" y="52"/>
                    </a:lnTo>
                    <a:lnTo>
                      <a:pt x="4" y="54"/>
                    </a:lnTo>
                    <a:lnTo>
                      <a:pt x="6" y="56"/>
                    </a:lnTo>
                    <a:lnTo>
                      <a:pt x="8" y="56"/>
                    </a:lnTo>
                    <a:lnTo>
                      <a:pt x="4" y="60"/>
                    </a:lnTo>
                    <a:lnTo>
                      <a:pt x="4" y="62"/>
                    </a:lnTo>
                    <a:lnTo>
                      <a:pt x="6" y="66"/>
                    </a:lnTo>
                    <a:lnTo>
                      <a:pt x="16" y="70"/>
                    </a:lnTo>
                    <a:lnTo>
                      <a:pt x="16" y="72"/>
                    </a:lnTo>
                    <a:lnTo>
                      <a:pt x="10" y="76"/>
                    </a:lnTo>
                    <a:lnTo>
                      <a:pt x="10" y="80"/>
                    </a:lnTo>
                    <a:lnTo>
                      <a:pt x="2" y="86"/>
                    </a:lnTo>
                    <a:lnTo>
                      <a:pt x="6" y="92"/>
                    </a:lnTo>
                    <a:lnTo>
                      <a:pt x="8" y="94"/>
                    </a:lnTo>
                    <a:lnTo>
                      <a:pt x="10" y="94"/>
                    </a:lnTo>
                    <a:lnTo>
                      <a:pt x="14" y="90"/>
                    </a:lnTo>
                    <a:lnTo>
                      <a:pt x="16" y="84"/>
                    </a:lnTo>
                    <a:lnTo>
                      <a:pt x="20" y="84"/>
                    </a:lnTo>
                    <a:lnTo>
                      <a:pt x="28" y="74"/>
                    </a:lnTo>
                    <a:lnTo>
                      <a:pt x="34" y="70"/>
                    </a:lnTo>
                    <a:lnTo>
                      <a:pt x="44" y="60"/>
                    </a:lnTo>
                    <a:lnTo>
                      <a:pt x="46" y="58"/>
                    </a:lnTo>
                    <a:lnTo>
                      <a:pt x="46" y="54"/>
                    </a:lnTo>
                    <a:lnTo>
                      <a:pt x="44" y="52"/>
                    </a:lnTo>
                    <a:lnTo>
                      <a:pt x="36" y="52"/>
                    </a:lnTo>
                    <a:lnTo>
                      <a:pt x="46" y="44"/>
                    </a:lnTo>
                    <a:lnTo>
                      <a:pt x="48" y="40"/>
                    </a:lnTo>
                    <a:lnTo>
                      <a:pt x="52" y="38"/>
                    </a:lnTo>
                    <a:lnTo>
                      <a:pt x="60"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1" name="Google Shape;4658;p64">
                <a:extLst>
                  <a:ext uri="{FF2B5EF4-FFF2-40B4-BE49-F238E27FC236}">
                    <a16:creationId xmlns:a16="http://schemas.microsoft.com/office/drawing/2014/main" id="{BD21C3B1-E914-0284-96C4-9F3E949BE121}"/>
                  </a:ext>
                </a:extLst>
              </p:cNvPr>
              <p:cNvSpPr/>
              <p:nvPr/>
            </p:nvSpPr>
            <p:spPr>
              <a:xfrm>
                <a:off x="27669081" y="15670681"/>
                <a:ext cx="1229403" cy="2320617"/>
              </a:xfrm>
              <a:custGeom>
                <a:avLst/>
                <a:gdLst/>
                <a:ahLst/>
                <a:cxnLst/>
                <a:rect l="l" t="t" r="r" b="b"/>
                <a:pathLst>
                  <a:path w="516" h="974" extrusionOk="0">
                    <a:moveTo>
                      <a:pt x="198" y="16"/>
                    </a:moveTo>
                    <a:lnTo>
                      <a:pt x="202" y="6"/>
                    </a:lnTo>
                    <a:lnTo>
                      <a:pt x="202" y="4"/>
                    </a:lnTo>
                    <a:lnTo>
                      <a:pt x="202" y="2"/>
                    </a:lnTo>
                    <a:lnTo>
                      <a:pt x="188" y="0"/>
                    </a:lnTo>
                    <a:lnTo>
                      <a:pt x="176" y="4"/>
                    </a:lnTo>
                    <a:lnTo>
                      <a:pt x="162" y="4"/>
                    </a:lnTo>
                    <a:lnTo>
                      <a:pt x="150" y="8"/>
                    </a:lnTo>
                    <a:lnTo>
                      <a:pt x="128" y="12"/>
                    </a:lnTo>
                    <a:lnTo>
                      <a:pt x="112" y="16"/>
                    </a:lnTo>
                    <a:lnTo>
                      <a:pt x="108" y="10"/>
                    </a:lnTo>
                    <a:lnTo>
                      <a:pt x="104" y="10"/>
                    </a:lnTo>
                    <a:lnTo>
                      <a:pt x="96" y="16"/>
                    </a:lnTo>
                    <a:lnTo>
                      <a:pt x="92" y="16"/>
                    </a:lnTo>
                    <a:lnTo>
                      <a:pt x="90" y="12"/>
                    </a:lnTo>
                    <a:lnTo>
                      <a:pt x="86" y="10"/>
                    </a:lnTo>
                    <a:lnTo>
                      <a:pt x="80" y="8"/>
                    </a:lnTo>
                    <a:lnTo>
                      <a:pt x="76" y="8"/>
                    </a:lnTo>
                    <a:lnTo>
                      <a:pt x="74" y="10"/>
                    </a:lnTo>
                    <a:lnTo>
                      <a:pt x="70" y="16"/>
                    </a:lnTo>
                    <a:lnTo>
                      <a:pt x="70" y="20"/>
                    </a:lnTo>
                    <a:lnTo>
                      <a:pt x="70" y="28"/>
                    </a:lnTo>
                    <a:lnTo>
                      <a:pt x="68" y="32"/>
                    </a:lnTo>
                    <a:lnTo>
                      <a:pt x="70" y="38"/>
                    </a:lnTo>
                    <a:lnTo>
                      <a:pt x="72" y="44"/>
                    </a:lnTo>
                    <a:lnTo>
                      <a:pt x="74" y="48"/>
                    </a:lnTo>
                    <a:lnTo>
                      <a:pt x="70" y="50"/>
                    </a:lnTo>
                    <a:lnTo>
                      <a:pt x="56" y="50"/>
                    </a:lnTo>
                    <a:lnTo>
                      <a:pt x="52" y="50"/>
                    </a:lnTo>
                    <a:lnTo>
                      <a:pt x="50" y="54"/>
                    </a:lnTo>
                    <a:lnTo>
                      <a:pt x="52" y="58"/>
                    </a:lnTo>
                    <a:lnTo>
                      <a:pt x="52" y="62"/>
                    </a:lnTo>
                    <a:lnTo>
                      <a:pt x="48" y="72"/>
                    </a:lnTo>
                    <a:lnTo>
                      <a:pt x="48" y="76"/>
                    </a:lnTo>
                    <a:lnTo>
                      <a:pt x="62" y="92"/>
                    </a:lnTo>
                    <a:lnTo>
                      <a:pt x="64" y="96"/>
                    </a:lnTo>
                    <a:lnTo>
                      <a:pt x="56" y="92"/>
                    </a:lnTo>
                    <a:lnTo>
                      <a:pt x="54" y="92"/>
                    </a:lnTo>
                    <a:lnTo>
                      <a:pt x="52" y="96"/>
                    </a:lnTo>
                    <a:lnTo>
                      <a:pt x="34" y="96"/>
                    </a:lnTo>
                    <a:lnTo>
                      <a:pt x="30" y="102"/>
                    </a:lnTo>
                    <a:lnTo>
                      <a:pt x="28" y="108"/>
                    </a:lnTo>
                    <a:lnTo>
                      <a:pt x="26" y="122"/>
                    </a:lnTo>
                    <a:lnTo>
                      <a:pt x="26" y="124"/>
                    </a:lnTo>
                    <a:lnTo>
                      <a:pt x="28" y="130"/>
                    </a:lnTo>
                    <a:lnTo>
                      <a:pt x="30" y="134"/>
                    </a:lnTo>
                    <a:lnTo>
                      <a:pt x="36" y="136"/>
                    </a:lnTo>
                    <a:lnTo>
                      <a:pt x="28" y="138"/>
                    </a:lnTo>
                    <a:lnTo>
                      <a:pt x="24" y="142"/>
                    </a:lnTo>
                    <a:lnTo>
                      <a:pt x="22" y="146"/>
                    </a:lnTo>
                    <a:lnTo>
                      <a:pt x="20" y="150"/>
                    </a:lnTo>
                    <a:lnTo>
                      <a:pt x="22" y="156"/>
                    </a:lnTo>
                    <a:lnTo>
                      <a:pt x="32" y="162"/>
                    </a:lnTo>
                    <a:lnTo>
                      <a:pt x="32" y="168"/>
                    </a:lnTo>
                    <a:lnTo>
                      <a:pt x="38" y="174"/>
                    </a:lnTo>
                    <a:lnTo>
                      <a:pt x="36" y="190"/>
                    </a:lnTo>
                    <a:lnTo>
                      <a:pt x="26" y="208"/>
                    </a:lnTo>
                    <a:lnTo>
                      <a:pt x="18" y="212"/>
                    </a:lnTo>
                    <a:lnTo>
                      <a:pt x="18" y="214"/>
                    </a:lnTo>
                    <a:lnTo>
                      <a:pt x="26" y="220"/>
                    </a:lnTo>
                    <a:lnTo>
                      <a:pt x="16" y="228"/>
                    </a:lnTo>
                    <a:lnTo>
                      <a:pt x="6" y="230"/>
                    </a:lnTo>
                    <a:lnTo>
                      <a:pt x="0" y="236"/>
                    </a:lnTo>
                    <a:lnTo>
                      <a:pt x="0" y="238"/>
                    </a:lnTo>
                    <a:lnTo>
                      <a:pt x="6" y="240"/>
                    </a:lnTo>
                    <a:lnTo>
                      <a:pt x="10" y="240"/>
                    </a:lnTo>
                    <a:lnTo>
                      <a:pt x="14" y="250"/>
                    </a:lnTo>
                    <a:lnTo>
                      <a:pt x="18" y="256"/>
                    </a:lnTo>
                    <a:lnTo>
                      <a:pt x="24" y="258"/>
                    </a:lnTo>
                    <a:lnTo>
                      <a:pt x="32" y="258"/>
                    </a:lnTo>
                    <a:lnTo>
                      <a:pt x="38" y="254"/>
                    </a:lnTo>
                    <a:lnTo>
                      <a:pt x="60" y="232"/>
                    </a:lnTo>
                    <a:lnTo>
                      <a:pt x="62" y="232"/>
                    </a:lnTo>
                    <a:lnTo>
                      <a:pt x="58" y="240"/>
                    </a:lnTo>
                    <a:lnTo>
                      <a:pt x="54" y="248"/>
                    </a:lnTo>
                    <a:lnTo>
                      <a:pt x="52" y="256"/>
                    </a:lnTo>
                    <a:lnTo>
                      <a:pt x="48" y="260"/>
                    </a:lnTo>
                    <a:lnTo>
                      <a:pt x="46" y="272"/>
                    </a:lnTo>
                    <a:lnTo>
                      <a:pt x="42" y="280"/>
                    </a:lnTo>
                    <a:lnTo>
                      <a:pt x="40" y="292"/>
                    </a:lnTo>
                    <a:lnTo>
                      <a:pt x="38" y="306"/>
                    </a:lnTo>
                    <a:lnTo>
                      <a:pt x="34" y="314"/>
                    </a:lnTo>
                    <a:lnTo>
                      <a:pt x="34" y="344"/>
                    </a:lnTo>
                    <a:lnTo>
                      <a:pt x="34" y="344"/>
                    </a:lnTo>
                    <a:lnTo>
                      <a:pt x="36" y="346"/>
                    </a:lnTo>
                    <a:lnTo>
                      <a:pt x="42" y="344"/>
                    </a:lnTo>
                    <a:lnTo>
                      <a:pt x="42" y="344"/>
                    </a:lnTo>
                    <a:lnTo>
                      <a:pt x="34" y="354"/>
                    </a:lnTo>
                    <a:lnTo>
                      <a:pt x="32" y="360"/>
                    </a:lnTo>
                    <a:lnTo>
                      <a:pt x="30" y="366"/>
                    </a:lnTo>
                    <a:lnTo>
                      <a:pt x="24" y="386"/>
                    </a:lnTo>
                    <a:lnTo>
                      <a:pt x="24" y="392"/>
                    </a:lnTo>
                    <a:lnTo>
                      <a:pt x="24" y="396"/>
                    </a:lnTo>
                    <a:lnTo>
                      <a:pt x="26" y="398"/>
                    </a:lnTo>
                    <a:lnTo>
                      <a:pt x="32" y="400"/>
                    </a:lnTo>
                    <a:lnTo>
                      <a:pt x="34" y="400"/>
                    </a:lnTo>
                    <a:lnTo>
                      <a:pt x="36" y="396"/>
                    </a:lnTo>
                    <a:lnTo>
                      <a:pt x="38" y="392"/>
                    </a:lnTo>
                    <a:lnTo>
                      <a:pt x="50" y="348"/>
                    </a:lnTo>
                    <a:lnTo>
                      <a:pt x="50" y="342"/>
                    </a:lnTo>
                    <a:lnTo>
                      <a:pt x="46" y="326"/>
                    </a:lnTo>
                    <a:lnTo>
                      <a:pt x="46" y="324"/>
                    </a:lnTo>
                    <a:lnTo>
                      <a:pt x="48" y="322"/>
                    </a:lnTo>
                    <a:lnTo>
                      <a:pt x="50" y="318"/>
                    </a:lnTo>
                    <a:lnTo>
                      <a:pt x="56" y="310"/>
                    </a:lnTo>
                    <a:lnTo>
                      <a:pt x="68" y="298"/>
                    </a:lnTo>
                    <a:lnTo>
                      <a:pt x="74" y="294"/>
                    </a:lnTo>
                    <a:lnTo>
                      <a:pt x="62" y="308"/>
                    </a:lnTo>
                    <a:lnTo>
                      <a:pt x="60" y="314"/>
                    </a:lnTo>
                    <a:lnTo>
                      <a:pt x="58" y="322"/>
                    </a:lnTo>
                    <a:lnTo>
                      <a:pt x="58" y="330"/>
                    </a:lnTo>
                    <a:lnTo>
                      <a:pt x="60" y="334"/>
                    </a:lnTo>
                    <a:lnTo>
                      <a:pt x="60" y="334"/>
                    </a:lnTo>
                    <a:lnTo>
                      <a:pt x="62" y="330"/>
                    </a:lnTo>
                    <a:lnTo>
                      <a:pt x="66" y="328"/>
                    </a:lnTo>
                    <a:lnTo>
                      <a:pt x="66" y="328"/>
                    </a:lnTo>
                    <a:lnTo>
                      <a:pt x="68" y="322"/>
                    </a:lnTo>
                    <a:lnTo>
                      <a:pt x="76" y="320"/>
                    </a:lnTo>
                    <a:lnTo>
                      <a:pt x="80" y="318"/>
                    </a:lnTo>
                    <a:lnTo>
                      <a:pt x="84" y="308"/>
                    </a:lnTo>
                    <a:lnTo>
                      <a:pt x="86" y="304"/>
                    </a:lnTo>
                    <a:lnTo>
                      <a:pt x="88" y="302"/>
                    </a:lnTo>
                    <a:lnTo>
                      <a:pt x="84" y="312"/>
                    </a:lnTo>
                    <a:lnTo>
                      <a:pt x="84" y="316"/>
                    </a:lnTo>
                    <a:lnTo>
                      <a:pt x="96" y="326"/>
                    </a:lnTo>
                    <a:lnTo>
                      <a:pt x="102" y="328"/>
                    </a:lnTo>
                    <a:lnTo>
                      <a:pt x="88" y="328"/>
                    </a:lnTo>
                    <a:lnTo>
                      <a:pt x="86" y="330"/>
                    </a:lnTo>
                    <a:lnTo>
                      <a:pt x="82" y="336"/>
                    </a:lnTo>
                    <a:lnTo>
                      <a:pt x="82" y="346"/>
                    </a:lnTo>
                    <a:lnTo>
                      <a:pt x="82" y="356"/>
                    </a:lnTo>
                    <a:lnTo>
                      <a:pt x="92" y="368"/>
                    </a:lnTo>
                    <a:lnTo>
                      <a:pt x="96" y="374"/>
                    </a:lnTo>
                    <a:lnTo>
                      <a:pt x="96" y="380"/>
                    </a:lnTo>
                    <a:lnTo>
                      <a:pt x="92" y="388"/>
                    </a:lnTo>
                    <a:lnTo>
                      <a:pt x="88" y="396"/>
                    </a:lnTo>
                    <a:lnTo>
                      <a:pt x="76" y="420"/>
                    </a:lnTo>
                    <a:lnTo>
                      <a:pt x="70" y="438"/>
                    </a:lnTo>
                    <a:lnTo>
                      <a:pt x="66" y="436"/>
                    </a:lnTo>
                    <a:lnTo>
                      <a:pt x="64" y="438"/>
                    </a:lnTo>
                    <a:lnTo>
                      <a:pt x="64" y="446"/>
                    </a:lnTo>
                    <a:lnTo>
                      <a:pt x="66" y="454"/>
                    </a:lnTo>
                    <a:lnTo>
                      <a:pt x="72" y="464"/>
                    </a:lnTo>
                    <a:lnTo>
                      <a:pt x="80" y="472"/>
                    </a:lnTo>
                    <a:lnTo>
                      <a:pt x="82" y="464"/>
                    </a:lnTo>
                    <a:lnTo>
                      <a:pt x="84" y="456"/>
                    </a:lnTo>
                    <a:lnTo>
                      <a:pt x="86" y="454"/>
                    </a:lnTo>
                    <a:lnTo>
                      <a:pt x="98" y="462"/>
                    </a:lnTo>
                    <a:lnTo>
                      <a:pt x="106" y="464"/>
                    </a:lnTo>
                    <a:lnTo>
                      <a:pt x="114" y="462"/>
                    </a:lnTo>
                    <a:lnTo>
                      <a:pt x="120" y="456"/>
                    </a:lnTo>
                    <a:lnTo>
                      <a:pt x="124" y="454"/>
                    </a:lnTo>
                    <a:lnTo>
                      <a:pt x="126" y="456"/>
                    </a:lnTo>
                    <a:lnTo>
                      <a:pt x="128" y="460"/>
                    </a:lnTo>
                    <a:lnTo>
                      <a:pt x="132" y="462"/>
                    </a:lnTo>
                    <a:lnTo>
                      <a:pt x="136" y="462"/>
                    </a:lnTo>
                    <a:lnTo>
                      <a:pt x="142" y="462"/>
                    </a:lnTo>
                    <a:lnTo>
                      <a:pt x="146" y="460"/>
                    </a:lnTo>
                    <a:lnTo>
                      <a:pt x="150" y="456"/>
                    </a:lnTo>
                    <a:lnTo>
                      <a:pt x="154" y="452"/>
                    </a:lnTo>
                    <a:lnTo>
                      <a:pt x="158" y="452"/>
                    </a:lnTo>
                    <a:lnTo>
                      <a:pt x="162" y="450"/>
                    </a:lnTo>
                    <a:lnTo>
                      <a:pt x="170" y="442"/>
                    </a:lnTo>
                    <a:lnTo>
                      <a:pt x="178" y="442"/>
                    </a:lnTo>
                    <a:lnTo>
                      <a:pt x="200" y="442"/>
                    </a:lnTo>
                    <a:lnTo>
                      <a:pt x="204" y="442"/>
                    </a:lnTo>
                    <a:lnTo>
                      <a:pt x="188" y="448"/>
                    </a:lnTo>
                    <a:lnTo>
                      <a:pt x="174" y="462"/>
                    </a:lnTo>
                    <a:lnTo>
                      <a:pt x="166" y="486"/>
                    </a:lnTo>
                    <a:lnTo>
                      <a:pt x="168" y="498"/>
                    </a:lnTo>
                    <a:lnTo>
                      <a:pt x="178" y="516"/>
                    </a:lnTo>
                    <a:lnTo>
                      <a:pt x="184" y="524"/>
                    </a:lnTo>
                    <a:lnTo>
                      <a:pt x="194" y="536"/>
                    </a:lnTo>
                    <a:lnTo>
                      <a:pt x="198" y="536"/>
                    </a:lnTo>
                    <a:lnTo>
                      <a:pt x="202" y="532"/>
                    </a:lnTo>
                    <a:lnTo>
                      <a:pt x="206" y="530"/>
                    </a:lnTo>
                    <a:lnTo>
                      <a:pt x="214" y="530"/>
                    </a:lnTo>
                    <a:lnTo>
                      <a:pt x="216" y="534"/>
                    </a:lnTo>
                    <a:lnTo>
                      <a:pt x="214" y="546"/>
                    </a:lnTo>
                    <a:lnTo>
                      <a:pt x="212" y="554"/>
                    </a:lnTo>
                    <a:lnTo>
                      <a:pt x="204" y="560"/>
                    </a:lnTo>
                    <a:lnTo>
                      <a:pt x="202" y="568"/>
                    </a:lnTo>
                    <a:lnTo>
                      <a:pt x="204" y="576"/>
                    </a:lnTo>
                    <a:lnTo>
                      <a:pt x="206" y="578"/>
                    </a:lnTo>
                    <a:lnTo>
                      <a:pt x="210" y="580"/>
                    </a:lnTo>
                    <a:lnTo>
                      <a:pt x="206" y="588"/>
                    </a:lnTo>
                    <a:lnTo>
                      <a:pt x="202" y="596"/>
                    </a:lnTo>
                    <a:lnTo>
                      <a:pt x="202" y="604"/>
                    </a:lnTo>
                    <a:lnTo>
                      <a:pt x="208" y="618"/>
                    </a:lnTo>
                    <a:lnTo>
                      <a:pt x="212" y="622"/>
                    </a:lnTo>
                    <a:lnTo>
                      <a:pt x="216" y="624"/>
                    </a:lnTo>
                    <a:lnTo>
                      <a:pt x="220" y="624"/>
                    </a:lnTo>
                    <a:lnTo>
                      <a:pt x="222" y="626"/>
                    </a:lnTo>
                    <a:lnTo>
                      <a:pt x="214" y="628"/>
                    </a:lnTo>
                    <a:lnTo>
                      <a:pt x="210" y="626"/>
                    </a:lnTo>
                    <a:lnTo>
                      <a:pt x="202" y="614"/>
                    </a:lnTo>
                    <a:lnTo>
                      <a:pt x="194" y="618"/>
                    </a:lnTo>
                    <a:lnTo>
                      <a:pt x="198" y="632"/>
                    </a:lnTo>
                    <a:lnTo>
                      <a:pt x="184" y="622"/>
                    </a:lnTo>
                    <a:lnTo>
                      <a:pt x="178" y="622"/>
                    </a:lnTo>
                    <a:lnTo>
                      <a:pt x="170" y="626"/>
                    </a:lnTo>
                    <a:lnTo>
                      <a:pt x="164" y="628"/>
                    </a:lnTo>
                    <a:lnTo>
                      <a:pt x="156" y="626"/>
                    </a:lnTo>
                    <a:lnTo>
                      <a:pt x="152" y="628"/>
                    </a:lnTo>
                    <a:lnTo>
                      <a:pt x="132" y="636"/>
                    </a:lnTo>
                    <a:lnTo>
                      <a:pt x="122" y="644"/>
                    </a:lnTo>
                    <a:lnTo>
                      <a:pt x="118" y="648"/>
                    </a:lnTo>
                    <a:lnTo>
                      <a:pt x="116" y="654"/>
                    </a:lnTo>
                    <a:lnTo>
                      <a:pt x="114" y="658"/>
                    </a:lnTo>
                    <a:lnTo>
                      <a:pt x="106" y="664"/>
                    </a:lnTo>
                    <a:lnTo>
                      <a:pt x="98" y="672"/>
                    </a:lnTo>
                    <a:lnTo>
                      <a:pt x="96" y="678"/>
                    </a:lnTo>
                    <a:lnTo>
                      <a:pt x="96" y="682"/>
                    </a:lnTo>
                    <a:lnTo>
                      <a:pt x="102" y="680"/>
                    </a:lnTo>
                    <a:lnTo>
                      <a:pt x="108" y="676"/>
                    </a:lnTo>
                    <a:lnTo>
                      <a:pt x="116" y="672"/>
                    </a:lnTo>
                    <a:lnTo>
                      <a:pt x="124" y="670"/>
                    </a:lnTo>
                    <a:lnTo>
                      <a:pt x="134" y="670"/>
                    </a:lnTo>
                    <a:lnTo>
                      <a:pt x="132" y="674"/>
                    </a:lnTo>
                    <a:lnTo>
                      <a:pt x="132" y="680"/>
                    </a:lnTo>
                    <a:lnTo>
                      <a:pt x="136" y="686"/>
                    </a:lnTo>
                    <a:lnTo>
                      <a:pt x="138" y="692"/>
                    </a:lnTo>
                    <a:lnTo>
                      <a:pt x="136" y="698"/>
                    </a:lnTo>
                    <a:lnTo>
                      <a:pt x="134" y="702"/>
                    </a:lnTo>
                    <a:lnTo>
                      <a:pt x="136" y="708"/>
                    </a:lnTo>
                    <a:lnTo>
                      <a:pt x="142" y="710"/>
                    </a:lnTo>
                    <a:lnTo>
                      <a:pt x="136" y="718"/>
                    </a:lnTo>
                    <a:lnTo>
                      <a:pt x="134" y="726"/>
                    </a:lnTo>
                    <a:lnTo>
                      <a:pt x="130" y="734"/>
                    </a:lnTo>
                    <a:lnTo>
                      <a:pt x="126" y="738"/>
                    </a:lnTo>
                    <a:lnTo>
                      <a:pt x="114" y="746"/>
                    </a:lnTo>
                    <a:lnTo>
                      <a:pt x="104" y="752"/>
                    </a:lnTo>
                    <a:lnTo>
                      <a:pt x="82" y="764"/>
                    </a:lnTo>
                    <a:lnTo>
                      <a:pt x="68" y="768"/>
                    </a:lnTo>
                    <a:lnTo>
                      <a:pt x="62" y="774"/>
                    </a:lnTo>
                    <a:lnTo>
                      <a:pt x="58" y="780"/>
                    </a:lnTo>
                    <a:lnTo>
                      <a:pt x="62" y="782"/>
                    </a:lnTo>
                    <a:lnTo>
                      <a:pt x="64" y="788"/>
                    </a:lnTo>
                    <a:lnTo>
                      <a:pt x="64" y="796"/>
                    </a:lnTo>
                    <a:lnTo>
                      <a:pt x="66" y="800"/>
                    </a:lnTo>
                    <a:lnTo>
                      <a:pt x="80" y="808"/>
                    </a:lnTo>
                    <a:lnTo>
                      <a:pt x="92" y="802"/>
                    </a:lnTo>
                    <a:lnTo>
                      <a:pt x="100" y="796"/>
                    </a:lnTo>
                    <a:lnTo>
                      <a:pt x="106" y="794"/>
                    </a:lnTo>
                    <a:lnTo>
                      <a:pt x="114" y="796"/>
                    </a:lnTo>
                    <a:lnTo>
                      <a:pt x="118" y="800"/>
                    </a:lnTo>
                    <a:lnTo>
                      <a:pt x="122" y="802"/>
                    </a:lnTo>
                    <a:lnTo>
                      <a:pt x="134" y="804"/>
                    </a:lnTo>
                    <a:lnTo>
                      <a:pt x="128" y="808"/>
                    </a:lnTo>
                    <a:lnTo>
                      <a:pt x="124" y="814"/>
                    </a:lnTo>
                    <a:lnTo>
                      <a:pt x="132" y="814"/>
                    </a:lnTo>
                    <a:lnTo>
                      <a:pt x="140" y="812"/>
                    </a:lnTo>
                    <a:lnTo>
                      <a:pt x="144" y="810"/>
                    </a:lnTo>
                    <a:lnTo>
                      <a:pt x="148" y="812"/>
                    </a:lnTo>
                    <a:lnTo>
                      <a:pt x="156" y="816"/>
                    </a:lnTo>
                    <a:lnTo>
                      <a:pt x="168" y="830"/>
                    </a:lnTo>
                    <a:lnTo>
                      <a:pt x="186" y="832"/>
                    </a:lnTo>
                    <a:lnTo>
                      <a:pt x="188" y="832"/>
                    </a:lnTo>
                    <a:lnTo>
                      <a:pt x="200" y="822"/>
                    </a:lnTo>
                    <a:lnTo>
                      <a:pt x="206" y="816"/>
                    </a:lnTo>
                    <a:lnTo>
                      <a:pt x="222" y="812"/>
                    </a:lnTo>
                    <a:lnTo>
                      <a:pt x="228" y="808"/>
                    </a:lnTo>
                    <a:lnTo>
                      <a:pt x="236" y="800"/>
                    </a:lnTo>
                    <a:lnTo>
                      <a:pt x="242" y="796"/>
                    </a:lnTo>
                    <a:lnTo>
                      <a:pt x="232" y="810"/>
                    </a:lnTo>
                    <a:lnTo>
                      <a:pt x="226" y="816"/>
                    </a:lnTo>
                    <a:lnTo>
                      <a:pt x="220" y="824"/>
                    </a:lnTo>
                    <a:lnTo>
                      <a:pt x="214" y="830"/>
                    </a:lnTo>
                    <a:lnTo>
                      <a:pt x="202" y="848"/>
                    </a:lnTo>
                    <a:lnTo>
                      <a:pt x="196" y="852"/>
                    </a:lnTo>
                    <a:lnTo>
                      <a:pt x="188" y="852"/>
                    </a:lnTo>
                    <a:lnTo>
                      <a:pt x="180" y="852"/>
                    </a:lnTo>
                    <a:lnTo>
                      <a:pt x="166" y="850"/>
                    </a:lnTo>
                    <a:lnTo>
                      <a:pt x="150" y="850"/>
                    </a:lnTo>
                    <a:lnTo>
                      <a:pt x="130" y="852"/>
                    </a:lnTo>
                    <a:lnTo>
                      <a:pt x="128" y="854"/>
                    </a:lnTo>
                    <a:lnTo>
                      <a:pt x="120" y="870"/>
                    </a:lnTo>
                    <a:lnTo>
                      <a:pt x="106" y="876"/>
                    </a:lnTo>
                    <a:lnTo>
                      <a:pt x="104" y="884"/>
                    </a:lnTo>
                    <a:lnTo>
                      <a:pt x="104" y="892"/>
                    </a:lnTo>
                    <a:lnTo>
                      <a:pt x="102" y="896"/>
                    </a:lnTo>
                    <a:lnTo>
                      <a:pt x="84" y="916"/>
                    </a:lnTo>
                    <a:lnTo>
                      <a:pt x="82" y="922"/>
                    </a:lnTo>
                    <a:lnTo>
                      <a:pt x="78" y="922"/>
                    </a:lnTo>
                    <a:lnTo>
                      <a:pt x="74" y="926"/>
                    </a:lnTo>
                    <a:lnTo>
                      <a:pt x="72" y="930"/>
                    </a:lnTo>
                    <a:lnTo>
                      <a:pt x="66" y="938"/>
                    </a:lnTo>
                    <a:lnTo>
                      <a:pt x="52" y="952"/>
                    </a:lnTo>
                    <a:lnTo>
                      <a:pt x="38" y="956"/>
                    </a:lnTo>
                    <a:lnTo>
                      <a:pt x="32" y="962"/>
                    </a:lnTo>
                    <a:lnTo>
                      <a:pt x="32" y="968"/>
                    </a:lnTo>
                    <a:lnTo>
                      <a:pt x="34" y="972"/>
                    </a:lnTo>
                    <a:lnTo>
                      <a:pt x="38" y="968"/>
                    </a:lnTo>
                    <a:lnTo>
                      <a:pt x="46" y="966"/>
                    </a:lnTo>
                    <a:lnTo>
                      <a:pt x="54" y="968"/>
                    </a:lnTo>
                    <a:lnTo>
                      <a:pt x="60" y="974"/>
                    </a:lnTo>
                    <a:lnTo>
                      <a:pt x="66" y="972"/>
                    </a:lnTo>
                    <a:lnTo>
                      <a:pt x="72" y="962"/>
                    </a:lnTo>
                    <a:lnTo>
                      <a:pt x="74" y="960"/>
                    </a:lnTo>
                    <a:lnTo>
                      <a:pt x="86" y="950"/>
                    </a:lnTo>
                    <a:lnTo>
                      <a:pt x="92" y="946"/>
                    </a:lnTo>
                    <a:lnTo>
                      <a:pt x="106" y="942"/>
                    </a:lnTo>
                    <a:lnTo>
                      <a:pt x="114" y="940"/>
                    </a:lnTo>
                    <a:lnTo>
                      <a:pt x="120" y="940"/>
                    </a:lnTo>
                    <a:lnTo>
                      <a:pt x="126" y="938"/>
                    </a:lnTo>
                    <a:lnTo>
                      <a:pt x="126" y="936"/>
                    </a:lnTo>
                    <a:lnTo>
                      <a:pt x="128" y="936"/>
                    </a:lnTo>
                    <a:lnTo>
                      <a:pt x="134" y="940"/>
                    </a:lnTo>
                    <a:lnTo>
                      <a:pt x="146" y="948"/>
                    </a:lnTo>
                    <a:lnTo>
                      <a:pt x="154" y="952"/>
                    </a:lnTo>
                    <a:lnTo>
                      <a:pt x="160" y="952"/>
                    </a:lnTo>
                    <a:lnTo>
                      <a:pt x="166" y="944"/>
                    </a:lnTo>
                    <a:lnTo>
                      <a:pt x="170" y="932"/>
                    </a:lnTo>
                    <a:lnTo>
                      <a:pt x="174" y="920"/>
                    </a:lnTo>
                    <a:lnTo>
                      <a:pt x="178" y="912"/>
                    </a:lnTo>
                    <a:lnTo>
                      <a:pt x="206" y="902"/>
                    </a:lnTo>
                    <a:lnTo>
                      <a:pt x="212" y="902"/>
                    </a:lnTo>
                    <a:lnTo>
                      <a:pt x="220" y="904"/>
                    </a:lnTo>
                    <a:lnTo>
                      <a:pt x="228" y="908"/>
                    </a:lnTo>
                    <a:lnTo>
                      <a:pt x="236" y="912"/>
                    </a:lnTo>
                    <a:lnTo>
                      <a:pt x="242" y="914"/>
                    </a:lnTo>
                    <a:lnTo>
                      <a:pt x="246" y="912"/>
                    </a:lnTo>
                    <a:lnTo>
                      <a:pt x="248" y="910"/>
                    </a:lnTo>
                    <a:lnTo>
                      <a:pt x="268" y="914"/>
                    </a:lnTo>
                    <a:lnTo>
                      <a:pt x="272" y="914"/>
                    </a:lnTo>
                    <a:lnTo>
                      <a:pt x="274" y="912"/>
                    </a:lnTo>
                    <a:lnTo>
                      <a:pt x="270" y="908"/>
                    </a:lnTo>
                    <a:lnTo>
                      <a:pt x="268" y="902"/>
                    </a:lnTo>
                    <a:lnTo>
                      <a:pt x="280" y="902"/>
                    </a:lnTo>
                    <a:lnTo>
                      <a:pt x="292" y="900"/>
                    </a:lnTo>
                    <a:lnTo>
                      <a:pt x="298" y="900"/>
                    </a:lnTo>
                    <a:lnTo>
                      <a:pt x="302" y="900"/>
                    </a:lnTo>
                    <a:lnTo>
                      <a:pt x="314" y="892"/>
                    </a:lnTo>
                    <a:lnTo>
                      <a:pt x="310" y="884"/>
                    </a:lnTo>
                    <a:lnTo>
                      <a:pt x="318" y="888"/>
                    </a:lnTo>
                    <a:lnTo>
                      <a:pt x="328" y="890"/>
                    </a:lnTo>
                    <a:lnTo>
                      <a:pt x="336" y="892"/>
                    </a:lnTo>
                    <a:lnTo>
                      <a:pt x="344" y="896"/>
                    </a:lnTo>
                    <a:lnTo>
                      <a:pt x="350" y="898"/>
                    </a:lnTo>
                    <a:lnTo>
                      <a:pt x="372" y="892"/>
                    </a:lnTo>
                    <a:lnTo>
                      <a:pt x="388" y="892"/>
                    </a:lnTo>
                    <a:lnTo>
                      <a:pt x="416" y="898"/>
                    </a:lnTo>
                    <a:lnTo>
                      <a:pt x="422" y="896"/>
                    </a:lnTo>
                    <a:lnTo>
                      <a:pt x="430" y="892"/>
                    </a:lnTo>
                    <a:lnTo>
                      <a:pt x="436" y="888"/>
                    </a:lnTo>
                    <a:lnTo>
                      <a:pt x="446" y="886"/>
                    </a:lnTo>
                    <a:lnTo>
                      <a:pt x="452" y="880"/>
                    </a:lnTo>
                    <a:lnTo>
                      <a:pt x="466" y="880"/>
                    </a:lnTo>
                    <a:lnTo>
                      <a:pt x="466" y="876"/>
                    </a:lnTo>
                    <a:lnTo>
                      <a:pt x="470" y="868"/>
                    </a:lnTo>
                    <a:lnTo>
                      <a:pt x="492" y="858"/>
                    </a:lnTo>
                    <a:lnTo>
                      <a:pt x="494" y="854"/>
                    </a:lnTo>
                    <a:lnTo>
                      <a:pt x="494" y="840"/>
                    </a:lnTo>
                    <a:lnTo>
                      <a:pt x="494" y="836"/>
                    </a:lnTo>
                    <a:lnTo>
                      <a:pt x="492" y="834"/>
                    </a:lnTo>
                    <a:lnTo>
                      <a:pt x="484" y="834"/>
                    </a:lnTo>
                    <a:lnTo>
                      <a:pt x="468" y="836"/>
                    </a:lnTo>
                    <a:lnTo>
                      <a:pt x="460" y="836"/>
                    </a:lnTo>
                    <a:lnTo>
                      <a:pt x="446" y="832"/>
                    </a:lnTo>
                    <a:lnTo>
                      <a:pt x="444" y="830"/>
                    </a:lnTo>
                    <a:lnTo>
                      <a:pt x="442" y="824"/>
                    </a:lnTo>
                    <a:lnTo>
                      <a:pt x="436" y="822"/>
                    </a:lnTo>
                    <a:lnTo>
                      <a:pt x="430" y="824"/>
                    </a:lnTo>
                    <a:lnTo>
                      <a:pt x="436" y="820"/>
                    </a:lnTo>
                    <a:lnTo>
                      <a:pt x="442" y="818"/>
                    </a:lnTo>
                    <a:lnTo>
                      <a:pt x="448" y="818"/>
                    </a:lnTo>
                    <a:lnTo>
                      <a:pt x="454" y="816"/>
                    </a:lnTo>
                    <a:lnTo>
                      <a:pt x="460" y="814"/>
                    </a:lnTo>
                    <a:lnTo>
                      <a:pt x="462" y="806"/>
                    </a:lnTo>
                    <a:lnTo>
                      <a:pt x="460" y="800"/>
                    </a:lnTo>
                    <a:lnTo>
                      <a:pt x="452" y="796"/>
                    </a:lnTo>
                    <a:lnTo>
                      <a:pt x="464" y="788"/>
                    </a:lnTo>
                    <a:lnTo>
                      <a:pt x="474" y="790"/>
                    </a:lnTo>
                    <a:lnTo>
                      <a:pt x="480" y="788"/>
                    </a:lnTo>
                    <a:lnTo>
                      <a:pt x="486" y="784"/>
                    </a:lnTo>
                    <a:lnTo>
                      <a:pt x="486" y="778"/>
                    </a:lnTo>
                    <a:lnTo>
                      <a:pt x="482" y="774"/>
                    </a:lnTo>
                    <a:lnTo>
                      <a:pt x="482" y="770"/>
                    </a:lnTo>
                    <a:lnTo>
                      <a:pt x="486" y="770"/>
                    </a:lnTo>
                    <a:lnTo>
                      <a:pt x="488" y="772"/>
                    </a:lnTo>
                    <a:lnTo>
                      <a:pt x="494" y="768"/>
                    </a:lnTo>
                    <a:lnTo>
                      <a:pt x="504" y="758"/>
                    </a:lnTo>
                    <a:lnTo>
                      <a:pt x="506" y="754"/>
                    </a:lnTo>
                    <a:lnTo>
                      <a:pt x="508" y="750"/>
                    </a:lnTo>
                    <a:lnTo>
                      <a:pt x="510" y="738"/>
                    </a:lnTo>
                    <a:lnTo>
                      <a:pt x="514" y="728"/>
                    </a:lnTo>
                    <a:lnTo>
                      <a:pt x="516" y="718"/>
                    </a:lnTo>
                    <a:lnTo>
                      <a:pt x="516" y="706"/>
                    </a:lnTo>
                    <a:lnTo>
                      <a:pt x="514" y="696"/>
                    </a:lnTo>
                    <a:lnTo>
                      <a:pt x="510" y="686"/>
                    </a:lnTo>
                    <a:lnTo>
                      <a:pt x="492" y="672"/>
                    </a:lnTo>
                    <a:lnTo>
                      <a:pt x="486" y="668"/>
                    </a:lnTo>
                    <a:lnTo>
                      <a:pt x="472" y="664"/>
                    </a:lnTo>
                    <a:lnTo>
                      <a:pt x="464" y="666"/>
                    </a:lnTo>
                    <a:lnTo>
                      <a:pt x="456" y="664"/>
                    </a:lnTo>
                    <a:lnTo>
                      <a:pt x="448" y="662"/>
                    </a:lnTo>
                    <a:lnTo>
                      <a:pt x="438" y="664"/>
                    </a:lnTo>
                    <a:lnTo>
                      <a:pt x="436" y="666"/>
                    </a:lnTo>
                    <a:lnTo>
                      <a:pt x="430" y="676"/>
                    </a:lnTo>
                    <a:lnTo>
                      <a:pt x="428" y="680"/>
                    </a:lnTo>
                    <a:lnTo>
                      <a:pt x="424" y="680"/>
                    </a:lnTo>
                    <a:lnTo>
                      <a:pt x="420" y="680"/>
                    </a:lnTo>
                    <a:lnTo>
                      <a:pt x="404" y="670"/>
                    </a:lnTo>
                    <a:lnTo>
                      <a:pt x="410" y="664"/>
                    </a:lnTo>
                    <a:lnTo>
                      <a:pt x="416" y="658"/>
                    </a:lnTo>
                    <a:lnTo>
                      <a:pt x="422" y="652"/>
                    </a:lnTo>
                    <a:lnTo>
                      <a:pt x="426" y="642"/>
                    </a:lnTo>
                    <a:lnTo>
                      <a:pt x="420" y="624"/>
                    </a:lnTo>
                    <a:lnTo>
                      <a:pt x="410" y="610"/>
                    </a:lnTo>
                    <a:lnTo>
                      <a:pt x="382" y="584"/>
                    </a:lnTo>
                    <a:lnTo>
                      <a:pt x="370" y="584"/>
                    </a:lnTo>
                    <a:lnTo>
                      <a:pt x="358" y="580"/>
                    </a:lnTo>
                    <a:lnTo>
                      <a:pt x="366" y="580"/>
                    </a:lnTo>
                    <a:lnTo>
                      <a:pt x="372" y="582"/>
                    </a:lnTo>
                    <a:lnTo>
                      <a:pt x="384" y="580"/>
                    </a:lnTo>
                    <a:lnTo>
                      <a:pt x="390" y="586"/>
                    </a:lnTo>
                    <a:lnTo>
                      <a:pt x="398" y="590"/>
                    </a:lnTo>
                    <a:lnTo>
                      <a:pt x="400" y="590"/>
                    </a:lnTo>
                    <a:lnTo>
                      <a:pt x="404" y="590"/>
                    </a:lnTo>
                    <a:lnTo>
                      <a:pt x="408" y="590"/>
                    </a:lnTo>
                    <a:lnTo>
                      <a:pt x="410" y="594"/>
                    </a:lnTo>
                    <a:lnTo>
                      <a:pt x="402" y="578"/>
                    </a:lnTo>
                    <a:lnTo>
                      <a:pt x="394" y="564"/>
                    </a:lnTo>
                    <a:lnTo>
                      <a:pt x="392" y="556"/>
                    </a:lnTo>
                    <a:lnTo>
                      <a:pt x="388" y="548"/>
                    </a:lnTo>
                    <a:lnTo>
                      <a:pt x="392" y="540"/>
                    </a:lnTo>
                    <a:lnTo>
                      <a:pt x="396" y="536"/>
                    </a:lnTo>
                    <a:lnTo>
                      <a:pt x="386" y="528"/>
                    </a:lnTo>
                    <a:lnTo>
                      <a:pt x="378" y="518"/>
                    </a:lnTo>
                    <a:lnTo>
                      <a:pt x="368" y="506"/>
                    </a:lnTo>
                    <a:lnTo>
                      <a:pt x="358" y="494"/>
                    </a:lnTo>
                    <a:lnTo>
                      <a:pt x="352" y="490"/>
                    </a:lnTo>
                    <a:lnTo>
                      <a:pt x="326" y="476"/>
                    </a:lnTo>
                    <a:lnTo>
                      <a:pt x="322" y="470"/>
                    </a:lnTo>
                    <a:lnTo>
                      <a:pt x="318" y="462"/>
                    </a:lnTo>
                    <a:lnTo>
                      <a:pt x="308" y="434"/>
                    </a:lnTo>
                    <a:lnTo>
                      <a:pt x="302" y="408"/>
                    </a:lnTo>
                    <a:lnTo>
                      <a:pt x="296" y="380"/>
                    </a:lnTo>
                    <a:lnTo>
                      <a:pt x="294" y="372"/>
                    </a:lnTo>
                    <a:lnTo>
                      <a:pt x="288" y="366"/>
                    </a:lnTo>
                    <a:lnTo>
                      <a:pt x="282" y="360"/>
                    </a:lnTo>
                    <a:lnTo>
                      <a:pt x="270" y="344"/>
                    </a:lnTo>
                    <a:lnTo>
                      <a:pt x="262" y="332"/>
                    </a:lnTo>
                    <a:lnTo>
                      <a:pt x="232" y="318"/>
                    </a:lnTo>
                    <a:lnTo>
                      <a:pt x="216" y="318"/>
                    </a:lnTo>
                    <a:lnTo>
                      <a:pt x="204" y="326"/>
                    </a:lnTo>
                    <a:lnTo>
                      <a:pt x="202" y="326"/>
                    </a:lnTo>
                    <a:lnTo>
                      <a:pt x="166" y="320"/>
                    </a:lnTo>
                    <a:lnTo>
                      <a:pt x="160" y="316"/>
                    </a:lnTo>
                    <a:lnTo>
                      <a:pt x="154" y="310"/>
                    </a:lnTo>
                    <a:lnTo>
                      <a:pt x="160" y="314"/>
                    </a:lnTo>
                    <a:lnTo>
                      <a:pt x="174" y="318"/>
                    </a:lnTo>
                    <a:lnTo>
                      <a:pt x="182" y="318"/>
                    </a:lnTo>
                    <a:lnTo>
                      <a:pt x="188" y="316"/>
                    </a:lnTo>
                    <a:lnTo>
                      <a:pt x="194" y="312"/>
                    </a:lnTo>
                    <a:lnTo>
                      <a:pt x="206" y="298"/>
                    </a:lnTo>
                    <a:lnTo>
                      <a:pt x="220" y="298"/>
                    </a:lnTo>
                    <a:lnTo>
                      <a:pt x="226" y="292"/>
                    </a:lnTo>
                    <a:lnTo>
                      <a:pt x="228" y="284"/>
                    </a:lnTo>
                    <a:lnTo>
                      <a:pt x="212" y="274"/>
                    </a:lnTo>
                    <a:lnTo>
                      <a:pt x="200" y="276"/>
                    </a:lnTo>
                    <a:lnTo>
                      <a:pt x="192" y="278"/>
                    </a:lnTo>
                    <a:lnTo>
                      <a:pt x="186" y="278"/>
                    </a:lnTo>
                    <a:lnTo>
                      <a:pt x="192" y="276"/>
                    </a:lnTo>
                    <a:lnTo>
                      <a:pt x="198" y="272"/>
                    </a:lnTo>
                    <a:lnTo>
                      <a:pt x="202" y="268"/>
                    </a:lnTo>
                    <a:lnTo>
                      <a:pt x="220" y="264"/>
                    </a:lnTo>
                    <a:lnTo>
                      <a:pt x="226" y="260"/>
                    </a:lnTo>
                    <a:lnTo>
                      <a:pt x="232" y="256"/>
                    </a:lnTo>
                    <a:lnTo>
                      <a:pt x="238" y="246"/>
                    </a:lnTo>
                    <a:lnTo>
                      <a:pt x="244" y="234"/>
                    </a:lnTo>
                    <a:lnTo>
                      <a:pt x="254" y="218"/>
                    </a:lnTo>
                    <a:lnTo>
                      <a:pt x="266" y="190"/>
                    </a:lnTo>
                    <a:lnTo>
                      <a:pt x="268" y="184"/>
                    </a:lnTo>
                    <a:lnTo>
                      <a:pt x="268" y="178"/>
                    </a:lnTo>
                    <a:lnTo>
                      <a:pt x="270" y="172"/>
                    </a:lnTo>
                    <a:lnTo>
                      <a:pt x="276" y="160"/>
                    </a:lnTo>
                    <a:lnTo>
                      <a:pt x="282" y="152"/>
                    </a:lnTo>
                    <a:lnTo>
                      <a:pt x="286" y="146"/>
                    </a:lnTo>
                    <a:lnTo>
                      <a:pt x="286" y="142"/>
                    </a:lnTo>
                    <a:lnTo>
                      <a:pt x="280" y="128"/>
                    </a:lnTo>
                    <a:lnTo>
                      <a:pt x="274" y="120"/>
                    </a:lnTo>
                    <a:lnTo>
                      <a:pt x="266" y="118"/>
                    </a:lnTo>
                    <a:lnTo>
                      <a:pt x="254" y="120"/>
                    </a:lnTo>
                    <a:lnTo>
                      <a:pt x="214" y="118"/>
                    </a:lnTo>
                    <a:lnTo>
                      <a:pt x="208" y="118"/>
                    </a:lnTo>
                    <a:lnTo>
                      <a:pt x="204" y="120"/>
                    </a:lnTo>
                    <a:lnTo>
                      <a:pt x="200" y="120"/>
                    </a:lnTo>
                    <a:lnTo>
                      <a:pt x="186" y="116"/>
                    </a:lnTo>
                    <a:lnTo>
                      <a:pt x="180" y="116"/>
                    </a:lnTo>
                    <a:lnTo>
                      <a:pt x="164" y="122"/>
                    </a:lnTo>
                    <a:lnTo>
                      <a:pt x="148" y="130"/>
                    </a:lnTo>
                    <a:lnTo>
                      <a:pt x="140" y="132"/>
                    </a:lnTo>
                    <a:lnTo>
                      <a:pt x="132" y="132"/>
                    </a:lnTo>
                    <a:lnTo>
                      <a:pt x="134" y="120"/>
                    </a:lnTo>
                    <a:lnTo>
                      <a:pt x="148" y="106"/>
                    </a:lnTo>
                    <a:lnTo>
                      <a:pt x="150" y="102"/>
                    </a:lnTo>
                    <a:lnTo>
                      <a:pt x="146" y="100"/>
                    </a:lnTo>
                    <a:lnTo>
                      <a:pt x="138" y="98"/>
                    </a:lnTo>
                    <a:lnTo>
                      <a:pt x="138" y="92"/>
                    </a:lnTo>
                    <a:lnTo>
                      <a:pt x="140" y="86"/>
                    </a:lnTo>
                    <a:lnTo>
                      <a:pt x="154" y="74"/>
                    </a:lnTo>
                    <a:lnTo>
                      <a:pt x="178" y="50"/>
                    </a:lnTo>
                    <a:lnTo>
                      <a:pt x="192" y="40"/>
                    </a:lnTo>
                    <a:lnTo>
                      <a:pt x="196" y="34"/>
                    </a:lnTo>
                    <a:lnTo>
                      <a:pt x="198" y="30"/>
                    </a:lnTo>
                    <a:lnTo>
                      <a:pt x="198" y="26"/>
                    </a:lnTo>
                    <a:lnTo>
                      <a:pt x="198"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2" name="Google Shape;4659;p64">
                <a:extLst>
                  <a:ext uri="{FF2B5EF4-FFF2-40B4-BE49-F238E27FC236}">
                    <a16:creationId xmlns:a16="http://schemas.microsoft.com/office/drawing/2014/main" id="{37B69AF5-5015-4E93-2D80-4C8BE8CA1D95}"/>
                  </a:ext>
                </a:extLst>
              </p:cNvPr>
              <p:cNvSpPr/>
              <p:nvPr/>
            </p:nvSpPr>
            <p:spPr>
              <a:xfrm>
                <a:off x="28155122" y="15613498"/>
                <a:ext cx="19061" cy="28591"/>
              </a:xfrm>
              <a:custGeom>
                <a:avLst/>
                <a:gdLst/>
                <a:ahLst/>
                <a:cxnLst/>
                <a:rect l="l" t="t" r="r" b="b"/>
                <a:pathLst>
                  <a:path w="8" h="12" extrusionOk="0">
                    <a:moveTo>
                      <a:pt x="6" y="12"/>
                    </a:moveTo>
                    <a:lnTo>
                      <a:pt x="8" y="4"/>
                    </a:lnTo>
                    <a:lnTo>
                      <a:pt x="8" y="2"/>
                    </a:lnTo>
                    <a:lnTo>
                      <a:pt x="6" y="0"/>
                    </a:lnTo>
                    <a:lnTo>
                      <a:pt x="0" y="2"/>
                    </a:lnTo>
                    <a:lnTo>
                      <a:pt x="2" y="10"/>
                    </a:lnTo>
                    <a:lnTo>
                      <a:pt x="6" y="12"/>
                    </a:lnTo>
                    <a:lnTo>
                      <a:pt x="6"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3" name="Google Shape;4660;p64">
                <a:extLst>
                  <a:ext uri="{FF2B5EF4-FFF2-40B4-BE49-F238E27FC236}">
                    <a16:creationId xmlns:a16="http://schemas.microsoft.com/office/drawing/2014/main" id="{9D77BB1C-39F5-DF7A-13C6-747D85253A79}"/>
                  </a:ext>
                </a:extLst>
              </p:cNvPr>
              <p:cNvSpPr/>
              <p:nvPr/>
            </p:nvSpPr>
            <p:spPr>
              <a:xfrm>
                <a:off x="28097941" y="15589673"/>
                <a:ext cx="38121" cy="38121"/>
              </a:xfrm>
              <a:custGeom>
                <a:avLst/>
                <a:gdLst/>
                <a:ahLst/>
                <a:cxnLst/>
                <a:rect l="l" t="t" r="r" b="b"/>
                <a:pathLst>
                  <a:path w="16" h="16" extrusionOk="0">
                    <a:moveTo>
                      <a:pt x="14" y="16"/>
                    </a:moveTo>
                    <a:lnTo>
                      <a:pt x="16" y="14"/>
                    </a:lnTo>
                    <a:lnTo>
                      <a:pt x="12" y="12"/>
                    </a:lnTo>
                    <a:lnTo>
                      <a:pt x="10" y="12"/>
                    </a:lnTo>
                    <a:lnTo>
                      <a:pt x="10" y="8"/>
                    </a:lnTo>
                    <a:lnTo>
                      <a:pt x="8" y="0"/>
                    </a:lnTo>
                    <a:lnTo>
                      <a:pt x="2" y="0"/>
                    </a:lnTo>
                    <a:lnTo>
                      <a:pt x="0" y="0"/>
                    </a:lnTo>
                    <a:lnTo>
                      <a:pt x="0" y="4"/>
                    </a:lnTo>
                    <a:lnTo>
                      <a:pt x="2" y="10"/>
                    </a:lnTo>
                    <a:lnTo>
                      <a:pt x="8" y="16"/>
                    </a:lnTo>
                    <a:lnTo>
                      <a:pt x="10" y="16"/>
                    </a:lnTo>
                    <a:lnTo>
                      <a:pt x="14"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4" name="Google Shape;4661;p64">
                <a:extLst>
                  <a:ext uri="{FF2B5EF4-FFF2-40B4-BE49-F238E27FC236}">
                    <a16:creationId xmlns:a16="http://schemas.microsoft.com/office/drawing/2014/main" id="{CE0941F8-EC4B-96CA-96A9-1E036730EA8D}"/>
                  </a:ext>
                </a:extLst>
              </p:cNvPr>
              <p:cNvSpPr/>
              <p:nvPr/>
            </p:nvSpPr>
            <p:spPr>
              <a:xfrm>
                <a:off x="28102706" y="15518197"/>
                <a:ext cx="95303" cy="81007"/>
              </a:xfrm>
              <a:custGeom>
                <a:avLst/>
                <a:gdLst/>
                <a:ahLst/>
                <a:cxnLst/>
                <a:rect l="l" t="t" r="r" b="b"/>
                <a:pathLst>
                  <a:path w="40" h="34" extrusionOk="0">
                    <a:moveTo>
                      <a:pt x="20" y="16"/>
                    </a:moveTo>
                    <a:lnTo>
                      <a:pt x="22" y="12"/>
                    </a:lnTo>
                    <a:lnTo>
                      <a:pt x="22" y="10"/>
                    </a:lnTo>
                    <a:lnTo>
                      <a:pt x="20" y="6"/>
                    </a:lnTo>
                    <a:lnTo>
                      <a:pt x="14" y="2"/>
                    </a:lnTo>
                    <a:lnTo>
                      <a:pt x="8" y="0"/>
                    </a:lnTo>
                    <a:lnTo>
                      <a:pt x="4" y="2"/>
                    </a:lnTo>
                    <a:lnTo>
                      <a:pt x="0" y="10"/>
                    </a:lnTo>
                    <a:lnTo>
                      <a:pt x="0" y="16"/>
                    </a:lnTo>
                    <a:lnTo>
                      <a:pt x="0" y="20"/>
                    </a:lnTo>
                    <a:lnTo>
                      <a:pt x="2" y="22"/>
                    </a:lnTo>
                    <a:lnTo>
                      <a:pt x="4" y="24"/>
                    </a:lnTo>
                    <a:lnTo>
                      <a:pt x="8" y="20"/>
                    </a:lnTo>
                    <a:lnTo>
                      <a:pt x="8" y="20"/>
                    </a:lnTo>
                    <a:lnTo>
                      <a:pt x="8" y="24"/>
                    </a:lnTo>
                    <a:lnTo>
                      <a:pt x="8" y="26"/>
                    </a:lnTo>
                    <a:lnTo>
                      <a:pt x="10" y="28"/>
                    </a:lnTo>
                    <a:lnTo>
                      <a:pt x="12" y="30"/>
                    </a:lnTo>
                    <a:lnTo>
                      <a:pt x="24" y="26"/>
                    </a:lnTo>
                    <a:lnTo>
                      <a:pt x="32" y="34"/>
                    </a:lnTo>
                    <a:lnTo>
                      <a:pt x="34" y="32"/>
                    </a:lnTo>
                    <a:lnTo>
                      <a:pt x="38" y="30"/>
                    </a:lnTo>
                    <a:lnTo>
                      <a:pt x="40" y="24"/>
                    </a:lnTo>
                    <a:lnTo>
                      <a:pt x="36" y="22"/>
                    </a:lnTo>
                    <a:lnTo>
                      <a:pt x="30" y="20"/>
                    </a:lnTo>
                    <a:lnTo>
                      <a:pt x="24" y="18"/>
                    </a:lnTo>
                    <a:lnTo>
                      <a:pt x="18" y="18"/>
                    </a:lnTo>
                    <a:lnTo>
                      <a:pt x="20"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5" name="Google Shape;4662;p64">
                <a:extLst>
                  <a:ext uri="{FF2B5EF4-FFF2-40B4-BE49-F238E27FC236}">
                    <a16:creationId xmlns:a16="http://schemas.microsoft.com/office/drawing/2014/main" id="{F984C945-881C-F40B-6EBC-EDF1E8EE569F}"/>
                  </a:ext>
                </a:extLst>
              </p:cNvPr>
              <p:cNvSpPr/>
              <p:nvPr/>
            </p:nvSpPr>
            <p:spPr>
              <a:xfrm>
                <a:off x="28212306" y="15470545"/>
                <a:ext cx="38121" cy="23826"/>
              </a:xfrm>
              <a:custGeom>
                <a:avLst/>
                <a:gdLst/>
                <a:ahLst/>
                <a:cxnLst/>
                <a:rect l="l" t="t" r="r" b="b"/>
                <a:pathLst>
                  <a:path w="16" h="10" extrusionOk="0">
                    <a:moveTo>
                      <a:pt x="8" y="10"/>
                    </a:moveTo>
                    <a:lnTo>
                      <a:pt x="14" y="4"/>
                    </a:lnTo>
                    <a:lnTo>
                      <a:pt x="16" y="0"/>
                    </a:lnTo>
                    <a:lnTo>
                      <a:pt x="8" y="0"/>
                    </a:lnTo>
                    <a:lnTo>
                      <a:pt x="4" y="2"/>
                    </a:lnTo>
                    <a:lnTo>
                      <a:pt x="0" y="10"/>
                    </a:lnTo>
                    <a:lnTo>
                      <a:pt x="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6" name="Google Shape;4663;p64">
                <a:extLst>
                  <a:ext uri="{FF2B5EF4-FFF2-40B4-BE49-F238E27FC236}">
                    <a16:creationId xmlns:a16="http://schemas.microsoft.com/office/drawing/2014/main" id="{880366B9-4AA6-6044-50B8-D34137765C1E}"/>
                  </a:ext>
                </a:extLst>
              </p:cNvPr>
              <p:cNvSpPr/>
              <p:nvPr/>
            </p:nvSpPr>
            <p:spPr>
              <a:xfrm>
                <a:off x="28150359" y="15456250"/>
                <a:ext cx="52416" cy="57182"/>
              </a:xfrm>
              <a:custGeom>
                <a:avLst/>
                <a:gdLst/>
                <a:ahLst/>
                <a:cxnLst/>
                <a:rect l="l" t="t" r="r" b="b"/>
                <a:pathLst>
                  <a:path w="22" h="24" extrusionOk="0">
                    <a:moveTo>
                      <a:pt x="22" y="22"/>
                    </a:moveTo>
                    <a:lnTo>
                      <a:pt x="22" y="18"/>
                    </a:lnTo>
                    <a:lnTo>
                      <a:pt x="22" y="16"/>
                    </a:lnTo>
                    <a:lnTo>
                      <a:pt x="16" y="14"/>
                    </a:lnTo>
                    <a:lnTo>
                      <a:pt x="12" y="8"/>
                    </a:lnTo>
                    <a:lnTo>
                      <a:pt x="4" y="0"/>
                    </a:lnTo>
                    <a:lnTo>
                      <a:pt x="0" y="2"/>
                    </a:lnTo>
                    <a:lnTo>
                      <a:pt x="0" y="4"/>
                    </a:lnTo>
                    <a:lnTo>
                      <a:pt x="2" y="8"/>
                    </a:lnTo>
                    <a:lnTo>
                      <a:pt x="6" y="10"/>
                    </a:lnTo>
                    <a:lnTo>
                      <a:pt x="12" y="14"/>
                    </a:lnTo>
                    <a:lnTo>
                      <a:pt x="14" y="22"/>
                    </a:lnTo>
                    <a:lnTo>
                      <a:pt x="16" y="24"/>
                    </a:lnTo>
                    <a:lnTo>
                      <a:pt x="22"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7" name="Google Shape;4664;p64">
                <a:extLst>
                  <a:ext uri="{FF2B5EF4-FFF2-40B4-BE49-F238E27FC236}">
                    <a16:creationId xmlns:a16="http://schemas.microsoft.com/office/drawing/2014/main" id="{835F9DD9-7772-C89B-B94E-9B3714FBCC53}"/>
                  </a:ext>
                </a:extLst>
              </p:cNvPr>
              <p:cNvSpPr/>
              <p:nvPr/>
            </p:nvSpPr>
            <p:spPr>
              <a:xfrm>
                <a:off x="28369553" y="15065509"/>
                <a:ext cx="95303" cy="228726"/>
              </a:xfrm>
              <a:custGeom>
                <a:avLst/>
                <a:gdLst/>
                <a:ahLst/>
                <a:cxnLst/>
                <a:rect l="l" t="t" r="r" b="b"/>
                <a:pathLst>
                  <a:path w="40" h="96" extrusionOk="0">
                    <a:moveTo>
                      <a:pt x="22" y="8"/>
                    </a:moveTo>
                    <a:lnTo>
                      <a:pt x="22" y="0"/>
                    </a:lnTo>
                    <a:lnTo>
                      <a:pt x="18" y="0"/>
                    </a:lnTo>
                    <a:lnTo>
                      <a:pt x="16" y="0"/>
                    </a:lnTo>
                    <a:lnTo>
                      <a:pt x="10" y="10"/>
                    </a:lnTo>
                    <a:lnTo>
                      <a:pt x="6" y="12"/>
                    </a:lnTo>
                    <a:lnTo>
                      <a:pt x="4" y="14"/>
                    </a:lnTo>
                    <a:lnTo>
                      <a:pt x="6" y="16"/>
                    </a:lnTo>
                    <a:lnTo>
                      <a:pt x="12" y="18"/>
                    </a:lnTo>
                    <a:lnTo>
                      <a:pt x="18" y="36"/>
                    </a:lnTo>
                    <a:lnTo>
                      <a:pt x="10" y="42"/>
                    </a:lnTo>
                    <a:lnTo>
                      <a:pt x="4" y="40"/>
                    </a:lnTo>
                    <a:lnTo>
                      <a:pt x="0" y="42"/>
                    </a:lnTo>
                    <a:lnTo>
                      <a:pt x="0" y="46"/>
                    </a:lnTo>
                    <a:lnTo>
                      <a:pt x="0" y="48"/>
                    </a:lnTo>
                    <a:lnTo>
                      <a:pt x="2" y="50"/>
                    </a:lnTo>
                    <a:lnTo>
                      <a:pt x="8" y="50"/>
                    </a:lnTo>
                    <a:lnTo>
                      <a:pt x="10" y="50"/>
                    </a:lnTo>
                    <a:lnTo>
                      <a:pt x="10" y="54"/>
                    </a:lnTo>
                    <a:lnTo>
                      <a:pt x="10" y="56"/>
                    </a:lnTo>
                    <a:lnTo>
                      <a:pt x="16" y="54"/>
                    </a:lnTo>
                    <a:lnTo>
                      <a:pt x="22" y="56"/>
                    </a:lnTo>
                    <a:lnTo>
                      <a:pt x="24" y="60"/>
                    </a:lnTo>
                    <a:lnTo>
                      <a:pt x="24" y="64"/>
                    </a:lnTo>
                    <a:lnTo>
                      <a:pt x="22" y="74"/>
                    </a:lnTo>
                    <a:lnTo>
                      <a:pt x="20" y="92"/>
                    </a:lnTo>
                    <a:lnTo>
                      <a:pt x="24" y="96"/>
                    </a:lnTo>
                    <a:lnTo>
                      <a:pt x="24" y="94"/>
                    </a:lnTo>
                    <a:lnTo>
                      <a:pt x="26" y="84"/>
                    </a:lnTo>
                    <a:lnTo>
                      <a:pt x="30" y="78"/>
                    </a:lnTo>
                    <a:lnTo>
                      <a:pt x="30" y="66"/>
                    </a:lnTo>
                    <a:lnTo>
                      <a:pt x="32" y="64"/>
                    </a:lnTo>
                    <a:lnTo>
                      <a:pt x="32" y="56"/>
                    </a:lnTo>
                    <a:lnTo>
                      <a:pt x="34" y="52"/>
                    </a:lnTo>
                    <a:lnTo>
                      <a:pt x="38" y="30"/>
                    </a:lnTo>
                    <a:lnTo>
                      <a:pt x="40" y="22"/>
                    </a:lnTo>
                    <a:lnTo>
                      <a:pt x="34" y="24"/>
                    </a:lnTo>
                    <a:lnTo>
                      <a:pt x="32" y="24"/>
                    </a:lnTo>
                    <a:lnTo>
                      <a:pt x="28" y="16"/>
                    </a:lnTo>
                    <a:lnTo>
                      <a:pt x="24" y="18"/>
                    </a:lnTo>
                    <a:lnTo>
                      <a:pt x="2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8" name="Google Shape;4665;p64">
                <a:extLst>
                  <a:ext uri="{FF2B5EF4-FFF2-40B4-BE49-F238E27FC236}">
                    <a16:creationId xmlns:a16="http://schemas.microsoft.com/office/drawing/2014/main" id="{D1D3EF37-CD9B-124C-7400-EA452EC255A0}"/>
                  </a:ext>
                </a:extLst>
              </p:cNvPr>
              <p:cNvSpPr/>
              <p:nvPr/>
            </p:nvSpPr>
            <p:spPr>
              <a:xfrm>
                <a:off x="28445797" y="15027389"/>
                <a:ext cx="28591" cy="71477"/>
              </a:xfrm>
              <a:custGeom>
                <a:avLst/>
                <a:gdLst/>
                <a:ahLst/>
                <a:cxnLst/>
                <a:rect l="l" t="t" r="r" b="b"/>
                <a:pathLst>
                  <a:path w="12" h="30" extrusionOk="0">
                    <a:moveTo>
                      <a:pt x="8" y="28"/>
                    </a:moveTo>
                    <a:lnTo>
                      <a:pt x="8" y="26"/>
                    </a:lnTo>
                    <a:lnTo>
                      <a:pt x="8" y="18"/>
                    </a:lnTo>
                    <a:lnTo>
                      <a:pt x="8" y="10"/>
                    </a:lnTo>
                    <a:lnTo>
                      <a:pt x="8" y="10"/>
                    </a:lnTo>
                    <a:lnTo>
                      <a:pt x="10" y="8"/>
                    </a:lnTo>
                    <a:lnTo>
                      <a:pt x="12" y="4"/>
                    </a:lnTo>
                    <a:lnTo>
                      <a:pt x="10" y="0"/>
                    </a:lnTo>
                    <a:lnTo>
                      <a:pt x="4" y="0"/>
                    </a:lnTo>
                    <a:lnTo>
                      <a:pt x="0" y="16"/>
                    </a:lnTo>
                    <a:lnTo>
                      <a:pt x="6" y="30"/>
                    </a:lnTo>
                    <a:lnTo>
                      <a:pt x="8" y="2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199" name="Google Shape;4666;p64">
                <a:extLst>
                  <a:ext uri="{FF2B5EF4-FFF2-40B4-BE49-F238E27FC236}">
                    <a16:creationId xmlns:a16="http://schemas.microsoft.com/office/drawing/2014/main" id="{DE3204F3-0179-44B2-F227-B76B1EA06CEC}"/>
                  </a:ext>
                </a:extLst>
              </p:cNvPr>
              <p:cNvSpPr/>
              <p:nvPr/>
            </p:nvSpPr>
            <p:spPr>
              <a:xfrm>
                <a:off x="28479153" y="14994033"/>
                <a:ext cx="28591" cy="47651"/>
              </a:xfrm>
              <a:custGeom>
                <a:avLst/>
                <a:gdLst/>
                <a:ahLst/>
                <a:cxnLst/>
                <a:rect l="l" t="t" r="r" b="b"/>
                <a:pathLst>
                  <a:path w="12" h="20" extrusionOk="0">
                    <a:moveTo>
                      <a:pt x="12" y="2"/>
                    </a:moveTo>
                    <a:lnTo>
                      <a:pt x="10" y="0"/>
                    </a:lnTo>
                    <a:lnTo>
                      <a:pt x="8" y="0"/>
                    </a:lnTo>
                    <a:lnTo>
                      <a:pt x="6" y="2"/>
                    </a:lnTo>
                    <a:lnTo>
                      <a:pt x="4" y="2"/>
                    </a:lnTo>
                    <a:lnTo>
                      <a:pt x="2" y="2"/>
                    </a:lnTo>
                    <a:lnTo>
                      <a:pt x="2" y="4"/>
                    </a:lnTo>
                    <a:lnTo>
                      <a:pt x="0" y="10"/>
                    </a:lnTo>
                    <a:lnTo>
                      <a:pt x="2" y="18"/>
                    </a:lnTo>
                    <a:lnTo>
                      <a:pt x="2" y="18"/>
                    </a:lnTo>
                    <a:lnTo>
                      <a:pt x="8" y="20"/>
                    </a:lnTo>
                    <a:lnTo>
                      <a:pt x="8" y="16"/>
                    </a:lnTo>
                    <a:lnTo>
                      <a:pt x="12" y="4"/>
                    </a:lnTo>
                    <a:lnTo>
                      <a:pt x="12"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00" name="Google Shape;4667;p64">
                <a:extLst>
                  <a:ext uri="{FF2B5EF4-FFF2-40B4-BE49-F238E27FC236}">
                    <a16:creationId xmlns:a16="http://schemas.microsoft.com/office/drawing/2014/main" id="{6A4D9E62-691C-3EB0-C902-464ACC81B47D}"/>
                  </a:ext>
                </a:extLst>
              </p:cNvPr>
              <p:cNvCxnSpPr/>
              <p:nvPr/>
            </p:nvCxnSpPr>
            <p:spPr>
              <a:xfrm>
                <a:off x="28507744" y="14998798"/>
                <a:ext cx="0" cy="0"/>
              </a:xfrm>
              <a:prstGeom prst="straightConnector1">
                <a:avLst/>
              </a:prstGeom>
              <a:grpFill/>
              <a:ln w="9525" cap="flat" cmpd="sng">
                <a:solidFill>
                  <a:schemeClr val="bg2"/>
                </a:solidFill>
                <a:prstDash val="solid"/>
                <a:round/>
                <a:headEnd type="none" w="med" len="med"/>
                <a:tailEnd type="none" w="med" len="med"/>
              </a:ln>
            </p:spPr>
          </p:cxnSp>
          <p:cxnSp>
            <p:nvCxnSpPr>
              <p:cNvPr id="201" name="Google Shape;4668;p64">
                <a:extLst>
                  <a:ext uri="{FF2B5EF4-FFF2-40B4-BE49-F238E27FC236}">
                    <a16:creationId xmlns:a16="http://schemas.microsoft.com/office/drawing/2014/main" id="{019BB060-E11A-B5DE-0CB9-3DE42FD56DBE}"/>
                  </a:ext>
                </a:extLst>
              </p:cNvPr>
              <p:cNvCxnSpPr/>
              <p:nvPr/>
            </p:nvCxnSpPr>
            <p:spPr>
              <a:xfrm>
                <a:off x="28507744" y="14998798"/>
                <a:ext cx="0" cy="0"/>
              </a:xfrm>
              <a:prstGeom prst="straightConnector1">
                <a:avLst/>
              </a:prstGeom>
              <a:grpFill/>
              <a:ln w="9525" cap="flat" cmpd="sng">
                <a:solidFill>
                  <a:schemeClr val="bg2"/>
                </a:solidFill>
                <a:prstDash val="solid"/>
                <a:round/>
                <a:headEnd type="none" w="med" len="med"/>
                <a:tailEnd type="none" w="med" len="med"/>
              </a:ln>
            </p:spPr>
          </p:cxnSp>
          <p:cxnSp>
            <p:nvCxnSpPr>
              <p:cNvPr id="202" name="Google Shape;4669;p64">
                <a:extLst>
                  <a:ext uri="{FF2B5EF4-FFF2-40B4-BE49-F238E27FC236}">
                    <a16:creationId xmlns:a16="http://schemas.microsoft.com/office/drawing/2014/main" id="{489299F1-D996-3285-A347-242EF23547C7}"/>
                  </a:ext>
                </a:extLst>
              </p:cNvPr>
              <p:cNvCxnSpPr/>
              <p:nvPr/>
            </p:nvCxnSpPr>
            <p:spPr>
              <a:xfrm>
                <a:off x="28236131" y="18119956"/>
                <a:ext cx="0" cy="0"/>
              </a:xfrm>
              <a:prstGeom prst="straightConnector1">
                <a:avLst/>
              </a:prstGeom>
              <a:grpFill/>
              <a:ln w="9525" cap="flat" cmpd="sng">
                <a:solidFill>
                  <a:schemeClr val="bg2"/>
                </a:solidFill>
                <a:prstDash val="solid"/>
                <a:round/>
                <a:headEnd type="none" w="med" len="med"/>
                <a:tailEnd type="none" w="med" len="med"/>
              </a:ln>
            </p:spPr>
          </p:cxnSp>
          <p:cxnSp>
            <p:nvCxnSpPr>
              <p:cNvPr id="203" name="Google Shape;4670;p64">
                <a:extLst>
                  <a:ext uri="{FF2B5EF4-FFF2-40B4-BE49-F238E27FC236}">
                    <a16:creationId xmlns:a16="http://schemas.microsoft.com/office/drawing/2014/main" id="{5458EC99-0DCC-4A0A-CF64-DB262E874FF1}"/>
                  </a:ext>
                </a:extLst>
              </p:cNvPr>
              <p:cNvCxnSpPr/>
              <p:nvPr/>
            </p:nvCxnSpPr>
            <p:spPr>
              <a:xfrm>
                <a:off x="28236131" y="18119956"/>
                <a:ext cx="0" cy="0"/>
              </a:xfrm>
              <a:prstGeom prst="straightConnector1">
                <a:avLst/>
              </a:prstGeom>
              <a:grpFill/>
              <a:ln w="9525" cap="flat" cmpd="sng">
                <a:solidFill>
                  <a:schemeClr val="bg2"/>
                </a:solidFill>
                <a:prstDash val="solid"/>
                <a:round/>
                <a:headEnd type="none" w="med" len="med"/>
                <a:tailEnd type="none" w="med" len="med"/>
              </a:ln>
            </p:spPr>
          </p:cxnSp>
          <p:cxnSp>
            <p:nvCxnSpPr>
              <p:cNvPr id="204" name="Google Shape;4671;p64">
                <a:extLst>
                  <a:ext uri="{FF2B5EF4-FFF2-40B4-BE49-F238E27FC236}">
                    <a16:creationId xmlns:a16="http://schemas.microsoft.com/office/drawing/2014/main" id="{59B6F234-CAD0-D195-A2C4-5DF52556E4B8}"/>
                  </a:ext>
                </a:extLst>
              </p:cNvPr>
              <p:cNvCxnSpPr/>
              <p:nvPr/>
            </p:nvCxnSpPr>
            <p:spPr>
              <a:xfrm>
                <a:off x="27468944" y="16709480"/>
                <a:ext cx="0" cy="0"/>
              </a:xfrm>
              <a:prstGeom prst="straightConnector1">
                <a:avLst/>
              </a:prstGeom>
              <a:grpFill/>
              <a:ln w="9525" cap="flat" cmpd="sng">
                <a:solidFill>
                  <a:schemeClr val="bg2"/>
                </a:solidFill>
                <a:prstDash val="solid"/>
                <a:round/>
                <a:headEnd type="none" w="med" len="med"/>
                <a:tailEnd type="none" w="med" len="med"/>
              </a:ln>
            </p:spPr>
          </p:cxnSp>
          <p:cxnSp>
            <p:nvCxnSpPr>
              <p:cNvPr id="205" name="Google Shape;4672;p64">
                <a:extLst>
                  <a:ext uri="{FF2B5EF4-FFF2-40B4-BE49-F238E27FC236}">
                    <a16:creationId xmlns:a16="http://schemas.microsoft.com/office/drawing/2014/main" id="{3035E580-269D-24EE-CE8E-37F3AB303B30}"/>
                  </a:ext>
                </a:extLst>
              </p:cNvPr>
              <p:cNvCxnSpPr/>
              <p:nvPr/>
            </p:nvCxnSpPr>
            <p:spPr>
              <a:xfrm>
                <a:off x="27468944" y="16709480"/>
                <a:ext cx="0" cy="0"/>
              </a:xfrm>
              <a:prstGeom prst="straightConnector1">
                <a:avLst/>
              </a:prstGeom>
              <a:grpFill/>
              <a:ln w="9525" cap="flat" cmpd="sng">
                <a:solidFill>
                  <a:schemeClr val="bg2"/>
                </a:solidFill>
                <a:prstDash val="solid"/>
                <a:round/>
                <a:headEnd type="none" w="med" len="med"/>
                <a:tailEnd type="none" w="med" len="med"/>
              </a:ln>
            </p:spPr>
          </p:cxnSp>
          <p:cxnSp>
            <p:nvCxnSpPr>
              <p:cNvPr id="206" name="Google Shape;4673;p64">
                <a:extLst>
                  <a:ext uri="{FF2B5EF4-FFF2-40B4-BE49-F238E27FC236}">
                    <a16:creationId xmlns:a16="http://schemas.microsoft.com/office/drawing/2014/main" id="{378B6F16-5C44-0F82-96C2-0BFF79DB3F38}"/>
                  </a:ext>
                </a:extLst>
              </p:cNvPr>
              <p:cNvCxnSpPr/>
              <p:nvPr/>
            </p:nvCxnSpPr>
            <p:spPr>
              <a:xfrm>
                <a:off x="28312372" y="18181903"/>
                <a:ext cx="0" cy="0"/>
              </a:xfrm>
              <a:prstGeom prst="straightConnector1">
                <a:avLst/>
              </a:prstGeom>
              <a:grpFill/>
              <a:ln w="9525" cap="flat" cmpd="sng">
                <a:solidFill>
                  <a:schemeClr val="bg2"/>
                </a:solidFill>
                <a:prstDash val="solid"/>
                <a:round/>
                <a:headEnd type="none" w="med" len="med"/>
                <a:tailEnd type="none" w="med" len="med"/>
              </a:ln>
            </p:spPr>
          </p:cxnSp>
          <p:cxnSp>
            <p:nvCxnSpPr>
              <p:cNvPr id="207" name="Google Shape;4674;p64">
                <a:extLst>
                  <a:ext uri="{FF2B5EF4-FFF2-40B4-BE49-F238E27FC236}">
                    <a16:creationId xmlns:a16="http://schemas.microsoft.com/office/drawing/2014/main" id="{BA31AB4B-812E-323B-EE16-2DC2D2766D0B}"/>
                  </a:ext>
                </a:extLst>
              </p:cNvPr>
              <p:cNvCxnSpPr/>
              <p:nvPr/>
            </p:nvCxnSpPr>
            <p:spPr>
              <a:xfrm>
                <a:off x="28312372" y="18181903"/>
                <a:ext cx="0" cy="0"/>
              </a:xfrm>
              <a:prstGeom prst="straightConnector1">
                <a:avLst/>
              </a:prstGeom>
              <a:grpFill/>
              <a:ln w="9525" cap="flat" cmpd="sng">
                <a:solidFill>
                  <a:schemeClr val="bg2"/>
                </a:solidFill>
                <a:prstDash val="solid"/>
                <a:round/>
                <a:headEnd type="none" w="med" len="med"/>
                <a:tailEnd type="none" w="med" len="med"/>
              </a:ln>
            </p:spPr>
          </p:cxnSp>
        </p:grpSp>
        <p:sp>
          <p:nvSpPr>
            <p:cNvPr id="208" name="Google Shape;4675;p64">
              <a:extLst>
                <a:ext uri="{FF2B5EF4-FFF2-40B4-BE49-F238E27FC236}">
                  <a16:creationId xmlns:a16="http://schemas.microsoft.com/office/drawing/2014/main" id="{7FBA37E5-5815-792E-582C-DFB438933D1A}"/>
                </a:ext>
              </a:extLst>
            </p:cNvPr>
            <p:cNvSpPr/>
            <p:nvPr/>
          </p:nvSpPr>
          <p:spPr>
            <a:xfrm>
              <a:off x="5277103" y="4227469"/>
              <a:ext cx="93196" cy="105010"/>
            </a:xfrm>
            <a:custGeom>
              <a:avLst/>
              <a:gdLst/>
              <a:ahLst/>
              <a:cxnLst/>
              <a:rect l="l" t="t" r="r" b="b"/>
              <a:pathLst>
                <a:path w="284" h="320" extrusionOk="0">
                  <a:moveTo>
                    <a:pt x="274" y="96"/>
                  </a:moveTo>
                  <a:lnTo>
                    <a:pt x="284" y="88"/>
                  </a:lnTo>
                  <a:lnTo>
                    <a:pt x="280" y="78"/>
                  </a:lnTo>
                  <a:lnTo>
                    <a:pt x="274" y="80"/>
                  </a:lnTo>
                  <a:lnTo>
                    <a:pt x="268" y="82"/>
                  </a:lnTo>
                  <a:lnTo>
                    <a:pt x="264" y="70"/>
                  </a:lnTo>
                  <a:lnTo>
                    <a:pt x="268" y="68"/>
                  </a:lnTo>
                  <a:lnTo>
                    <a:pt x="264" y="52"/>
                  </a:lnTo>
                  <a:lnTo>
                    <a:pt x="260" y="34"/>
                  </a:lnTo>
                  <a:lnTo>
                    <a:pt x="254" y="16"/>
                  </a:lnTo>
                  <a:lnTo>
                    <a:pt x="250" y="0"/>
                  </a:lnTo>
                  <a:lnTo>
                    <a:pt x="234" y="10"/>
                  </a:lnTo>
                  <a:lnTo>
                    <a:pt x="216" y="20"/>
                  </a:lnTo>
                  <a:lnTo>
                    <a:pt x="202" y="28"/>
                  </a:lnTo>
                  <a:lnTo>
                    <a:pt x="184" y="42"/>
                  </a:lnTo>
                  <a:lnTo>
                    <a:pt x="172" y="50"/>
                  </a:lnTo>
                  <a:lnTo>
                    <a:pt x="154" y="60"/>
                  </a:lnTo>
                  <a:lnTo>
                    <a:pt x="140" y="70"/>
                  </a:lnTo>
                  <a:lnTo>
                    <a:pt x="122" y="82"/>
                  </a:lnTo>
                  <a:lnTo>
                    <a:pt x="100" y="78"/>
                  </a:lnTo>
                  <a:lnTo>
                    <a:pt x="92" y="76"/>
                  </a:lnTo>
                  <a:lnTo>
                    <a:pt x="86" y="70"/>
                  </a:lnTo>
                  <a:lnTo>
                    <a:pt x="82" y="68"/>
                  </a:lnTo>
                  <a:lnTo>
                    <a:pt x="72" y="64"/>
                  </a:lnTo>
                  <a:lnTo>
                    <a:pt x="66" y="54"/>
                  </a:lnTo>
                  <a:lnTo>
                    <a:pt x="62" y="50"/>
                  </a:lnTo>
                  <a:lnTo>
                    <a:pt x="54" y="50"/>
                  </a:lnTo>
                  <a:lnTo>
                    <a:pt x="50" y="50"/>
                  </a:lnTo>
                  <a:lnTo>
                    <a:pt x="42" y="54"/>
                  </a:lnTo>
                  <a:lnTo>
                    <a:pt x="42" y="54"/>
                  </a:lnTo>
                  <a:lnTo>
                    <a:pt x="40" y="56"/>
                  </a:lnTo>
                  <a:lnTo>
                    <a:pt x="40" y="58"/>
                  </a:lnTo>
                  <a:lnTo>
                    <a:pt x="38" y="76"/>
                  </a:lnTo>
                  <a:lnTo>
                    <a:pt x="40" y="88"/>
                  </a:lnTo>
                  <a:lnTo>
                    <a:pt x="38" y="98"/>
                  </a:lnTo>
                  <a:lnTo>
                    <a:pt x="38" y="108"/>
                  </a:lnTo>
                  <a:lnTo>
                    <a:pt x="40" y="124"/>
                  </a:lnTo>
                  <a:lnTo>
                    <a:pt x="36" y="132"/>
                  </a:lnTo>
                  <a:lnTo>
                    <a:pt x="34" y="140"/>
                  </a:lnTo>
                  <a:lnTo>
                    <a:pt x="32" y="146"/>
                  </a:lnTo>
                  <a:lnTo>
                    <a:pt x="30" y="158"/>
                  </a:lnTo>
                  <a:lnTo>
                    <a:pt x="28" y="166"/>
                  </a:lnTo>
                  <a:lnTo>
                    <a:pt x="30" y="166"/>
                  </a:lnTo>
                  <a:lnTo>
                    <a:pt x="32" y="174"/>
                  </a:lnTo>
                  <a:lnTo>
                    <a:pt x="28" y="184"/>
                  </a:lnTo>
                  <a:lnTo>
                    <a:pt x="24" y="194"/>
                  </a:lnTo>
                  <a:lnTo>
                    <a:pt x="22" y="198"/>
                  </a:lnTo>
                  <a:lnTo>
                    <a:pt x="18" y="208"/>
                  </a:lnTo>
                  <a:lnTo>
                    <a:pt x="14" y="220"/>
                  </a:lnTo>
                  <a:lnTo>
                    <a:pt x="12" y="228"/>
                  </a:lnTo>
                  <a:lnTo>
                    <a:pt x="12" y="230"/>
                  </a:lnTo>
                  <a:lnTo>
                    <a:pt x="12" y="244"/>
                  </a:lnTo>
                  <a:lnTo>
                    <a:pt x="12" y="248"/>
                  </a:lnTo>
                  <a:lnTo>
                    <a:pt x="8" y="262"/>
                  </a:lnTo>
                  <a:lnTo>
                    <a:pt x="6" y="266"/>
                  </a:lnTo>
                  <a:lnTo>
                    <a:pt x="4" y="276"/>
                  </a:lnTo>
                  <a:lnTo>
                    <a:pt x="0" y="292"/>
                  </a:lnTo>
                  <a:lnTo>
                    <a:pt x="2" y="298"/>
                  </a:lnTo>
                  <a:lnTo>
                    <a:pt x="0" y="308"/>
                  </a:lnTo>
                  <a:lnTo>
                    <a:pt x="14" y="310"/>
                  </a:lnTo>
                  <a:lnTo>
                    <a:pt x="24" y="312"/>
                  </a:lnTo>
                  <a:lnTo>
                    <a:pt x="42" y="316"/>
                  </a:lnTo>
                  <a:lnTo>
                    <a:pt x="58" y="318"/>
                  </a:lnTo>
                  <a:lnTo>
                    <a:pt x="70" y="320"/>
                  </a:lnTo>
                  <a:lnTo>
                    <a:pt x="72" y="320"/>
                  </a:lnTo>
                  <a:lnTo>
                    <a:pt x="86" y="308"/>
                  </a:lnTo>
                  <a:lnTo>
                    <a:pt x="100" y="298"/>
                  </a:lnTo>
                  <a:lnTo>
                    <a:pt x="106" y="284"/>
                  </a:lnTo>
                  <a:lnTo>
                    <a:pt x="114" y="272"/>
                  </a:lnTo>
                  <a:lnTo>
                    <a:pt x="118" y="270"/>
                  </a:lnTo>
                  <a:lnTo>
                    <a:pt x="128" y="266"/>
                  </a:lnTo>
                  <a:lnTo>
                    <a:pt x="146" y="264"/>
                  </a:lnTo>
                  <a:lnTo>
                    <a:pt x="164" y="260"/>
                  </a:lnTo>
                  <a:lnTo>
                    <a:pt x="166" y="258"/>
                  </a:lnTo>
                  <a:lnTo>
                    <a:pt x="170" y="248"/>
                  </a:lnTo>
                  <a:lnTo>
                    <a:pt x="176" y="236"/>
                  </a:lnTo>
                  <a:lnTo>
                    <a:pt x="176" y="234"/>
                  </a:lnTo>
                  <a:lnTo>
                    <a:pt x="178" y="232"/>
                  </a:lnTo>
                  <a:lnTo>
                    <a:pt x="190" y="226"/>
                  </a:lnTo>
                  <a:lnTo>
                    <a:pt x="198" y="222"/>
                  </a:lnTo>
                  <a:lnTo>
                    <a:pt x="188" y="208"/>
                  </a:lnTo>
                  <a:lnTo>
                    <a:pt x="176" y="196"/>
                  </a:lnTo>
                  <a:lnTo>
                    <a:pt x="166" y="182"/>
                  </a:lnTo>
                  <a:lnTo>
                    <a:pt x="156" y="172"/>
                  </a:lnTo>
                  <a:lnTo>
                    <a:pt x="140" y="156"/>
                  </a:lnTo>
                  <a:lnTo>
                    <a:pt x="130" y="146"/>
                  </a:lnTo>
                  <a:lnTo>
                    <a:pt x="148" y="140"/>
                  </a:lnTo>
                  <a:lnTo>
                    <a:pt x="166" y="136"/>
                  </a:lnTo>
                  <a:lnTo>
                    <a:pt x="184" y="130"/>
                  </a:lnTo>
                  <a:lnTo>
                    <a:pt x="206" y="124"/>
                  </a:lnTo>
                  <a:lnTo>
                    <a:pt x="224" y="118"/>
                  </a:lnTo>
                  <a:lnTo>
                    <a:pt x="250" y="110"/>
                  </a:lnTo>
                  <a:lnTo>
                    <a:pt x="262" y="106"/>
                  </a:lnTo>
                  <a:lnTo>
                    <a:pt x="264" y="106"/>
                  </a:lnTo>
                  <a:lnTo>
                    <a:pt x="274" y="9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09" name="Google Shape;4676;p64">
              <a:extLst>
                <a:ext uri="{FF2B5EF4-FFF2-40B4-BE49-F238E27FC236}">
                  <a16:creationId xmlns:a16="http://schemas.microsoft.com/office/drawing/2014/main" id="{DDCAB653-9A14-4EBA-392C-63D3C50443AF}"/>
                </a:ext>
              </a:extLst>
            </p:cNvPr>
            <p:cNvSpPr/>
            <p:nvPr/>
          </p:nvSpPr>
          <p:spPr>
            <a:xfrm>
              <a:off x="7581753" y="4392860"/>
              <a:ext cx="1969" cy="2625"/>
            </a:xfrm>
            <a:custGeom>
              <a:avLst/>
              <a:gdLst/>
              <a:ahLst/>
              <a:cxnLst/>
              <a:rect l="l" t="t" r="r" b="b"/>
              <a:pathLst>
                <a:path w="6" h="8" extrusionOk="0">
                  <a:moveTo>
                    <a:pt x="6" y="8"/>
                  </a:moveTo>
                  <a:lnTo>
                    <a:pt x="6" y="4"/>
                  </a:lnTo>
                  <a:lnTo>
                    <a:pt x="4" y="0"/>
                  </a:lnTo>
                  <a:lnTo>
                    <a:pt x="2" y="0"/>
                  </a:lnTo>
                  <a:lnTo>
                    <a:pt x="0" y="0"/>
                  </a:lnTo>
                  <a:lnTo>
                    <a:pt x="4"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10" name="Google Shape;4677;p64">
              <a:extLst>
                <a:ext uri="{FF2B5EF4-FFF2-40B4-BE49-F238E27FC236}">
                  <a16:creationId xmlns:a16="http://schemas.microsoft.com/office/drawing/2014/main" id="{58FC3ABD-3E25-CE04-8C01-A799E77E9F5B}"/>
                </a:ext>
              </a:extLst>
            </p:cNvPr>
            <p:cNvSpPr/>
            <p:nvPr/>
          </p:nvSpPr>
          <p:spPr>
            <a:xfrm>
              <a:off x="7374357" y="4206467"/>
              <a:ext cx="2625" cy="2625"/>
            </a:xfrm>
            <a:custGeom>
              <a:avLst/>
              <a:gdLst/>
              <a:ahLst/>
              <a:cxnLst/>
              <a:rect l="l" t="t" r="r" b="b"/>
              <a:pathLst>
                <a:path w="8" h="8" extrusionOk="0">
                  <a:moveTo>
                    <a:pt x="8" y="4"/>
                  </a:moveTo>
                  <a:lnTo>
                    <a:pt x="6" y="4"/>
                  </a:lnTo>
                  <a:lnTo>
                    <a:pt x="6" y="0"/>
                  </a:lnTo>
                  <a:lnTo>
                    <a:pt x="4" y="0"/>
                  </a:lnTo>
                  <a:lnTo>
                    <a:pt x="2" y="4"/>
                  </a:lnTo>
                  <a:lnTo>
                    <a:pt x="0" y="8"/>
                  </a:lnTo>
                  <a:lnTo>
                    <a:pt x="6" y="8"/>
                  </a:lnTo>
                  <a:lnTo>
                    <a:pt x="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11" name="Google Shape;4678;p64">
              <a:extLst>
                <a:ext uri="{FF2B5EF4-FFF2-40B4-BE49-F238E27FC236}">
                  <a16:creationId xmlns:a16="http://schemas.microsoft.com/office/drawing/2014/main" id="{C52ECA9D-0E06-6394-0B99-CCFE7FB3C683}"/>
                </a:ext>
              </a:extLst>
            </p:cNvPr>
            <p:cNvSpPr/>
            <p:nvPr/>
          </p:nvSpPr>
          <p:spPr>
            <a:xfrm>
              <a:off x="6176254" y="4167744"/>
              <a:ext cx="22315" cy="14439"/>
            </a:xfrm>
            <a:custGeom>
              <a:avLst/>
              <a:gdLst/>
              <a:ahLst/>
              <a:cxnLst/>
              <a:rect l="l" t="t" r="r" b="b"/>
              <a:pathLst>
                <a:path w="68" h="44" extrusionOk="0">
                  <a:moveTo>
                    <a:pt x="68" y="12"/>
                  </a:moveTo>
                  <a:lnTo>
                    <a:pt x="64" y="14"/>
                  </a:lnTo>
                  <a:lnTo>
                    <a:pt x="54" y="14"/>
                  </a:lnTo>
                  <a:lnTo>
                    <a:pt x="50" y="14"/>
                  </a:lnTo>
                  <a:lnTo>
                    <a:pt x="46" y="14"/>
                  </a:lnTo>
                  <a:lnTo>
                    <a:pt x="36" y="12"/>
                  </a:lnTo>
                  <a:lnTo>
                    <a:pt x="22" y="8"/>
                  </a:lnTo>
                  <a:lnTo>
                    <a:pt x="8" y="4"/>
                  </a:lnTo>
                  <a:lnTo>
                    <a:pt x="0" y="0"/>
                  </a:lnTo>
                  <a:lnTo>
                    <a:pt x="4" y="6"/>
                  </a:lnTo>
                  <a:lnTo>
                    <a:pt x="8" y="18"/>
                  </a:lnTo>
                  <a:lnTo>
                    <a:pt x="12" y="24"/>
                  </a:lnTo>
                  <a:lnTo>
                    <a:pt x="14" y="32"/>
                  </a:lnTo>
                  <a:lnTo>
                    <a:pt x="16" y="36"/>
                  </a:lnTo>
                  <a:lnTo>
                    <a:pt x="20" y="44"/>
                  </a:lnTo>
                  <a:lnTo>
                    <a:pt x="36" y="34"/>
                  </a:lnTo>
                  <a:lnTo>
                    <a:pt x="44" y="28"/>
                  </a:lnTo>
                  <a:lnTo>
                    <a:pt x="54" y="22"/>
                  </a:lnTo>
                  <a:lnTo>
                    <a:pt x="62" y="16"/>
                  </a:lnTo>
                  <a:lnTo>
                    <a:pt x="68"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12" name="Google Shape;4679;p64">
              <a:extLst>
                <a:ext uri="{FF2B5EF4-FFF2-40B4-BE49-F238E27FC236}">
                  <a16:creationId xmlns:a16="http://schemas.microsoft.com/office/drawing/2014/main" id="{05397FBA-8E1F-00B5-531C-DD48CE24D2AB}"/>
                </a:ext>
              </a:extLst>
            </p:cNvPr>
            <p:cNvCxnSpPr/>
            <p:nvPr/>
          </p:nvCxnSpPr>
          <p:spPr>
            <a:xfrm>
              <a:off x="6198569" y="4171682"/>
              <a:ext cx="0" cy="0"/>
            </a:xfrm>
            <a:prstGeom prst="straightConnector1">
              <a:avLst/>
            </a:prstGeom>
            <a:grpFill/>
            <a:ln w="9525" cap="flat" cmpd="sng">
              <a:solidFill>
                <a:schemeClr val="bg2"/>
              </a:solidFill>
              <a:prstDash val="solid"/>
              <a:round/>
              <a:headEnd type="none" w="med" len="med"/>
              <a:tailEnd type="none" w="med" len="med"/>
            </a:ln>
          </p:spPr>
        </p:cxnSp>
        <p:cxnSp>
          <p:nvCxnSpPr>
            <p:cNvPr id="213" name="Google Shape;4680;p64">
              <a:extLst>
                <a:ext uri="{FF2B5EF4-FFF2-40B4-BE49-F238E27FC236}">
                  <a16:creationId xmlns:a16="http://schemas.microsoft.com/office/drawing/2014/main" id="{27CB7852-1A6E-D969-ECE5-CC9FAF18388D}"/>
                </a:ext>
              </a:extLst>
            </p:cNvPr>
            <p:cNvCxnSpPr/>
            <p:nvPr/>
          </p:nvCxnSpPr>
          <p:spPr>
            <a:xfrm>
              <a:off x="6198569" y="4171682"/>
              <a:ext cx="0" cy="0"/>
            </a:xfrm>
            <a:prstGeom prst="straightConnector1">
              <a:avLst/>
            </a:prstGeom>
            <a:grpFill/>
            <a:ln w="9525" cap="flat" cmpd="sng">
              <a:solidFill>
                <a:schemeClr val="bg2"/>
              </a:solidFill>
              <a:prstDash val="solid"/>
              <a:round/>
              <a:headEnd type="none" w="med" len="med"/>
              <a:tailEnd type="none" w="med" len="med"/>
            </a:ln>
          </p:spPr>
        </p:cxnSp>
        <p:sp>
          <p:nvSpPr>
            <p:cNvPr id="214" name="Google Shape;4681;p64">
              <a:extLst>
                <a:ext uri="{FF2B5EF4-FFF2-40B4-BE49-F238E27FC236}">
                  <a16:creationId xmlns:a16="http://schemas.microsoft.com/office/drawing/2014/main" id="{4080EF07-8CC4-E47A-7501-03FC3E14E2C9}"/>
                </a:ext>
              </a:extLst>
            </p:cNvPr>
            <p:cNvSpPr/>
            <p:nvPr/>
          </p:nvSpPr>
          <p:spPr>
            <a:xfrm>
              <a:off x="5527816" y="3552122"/>
              <a:ext cx="875524" cy="479766"/>
            </a:xfrm>
            <a:custGeom>
              <a:avLst/>
              <a:gdLst/>
              <a:ahLst/>
              <a:cxnLst/>
              <a:rect l="l" t="t" r="r" b="b"/>
              <a:pathLst>
                <a:path w="6356680" h="3483307" extrusionOk="0">
                  <a:moveTo>
                    <a:pt x="581348" y="2530283"/>
                  </a:moveTo>
                  <a:lnTo>
                    <a:pt x="581348" y="2549343"/>
                  </a:lnTo>
                  <a:lnTo>
                    <a:pt x="576584" y="2554109"/>
                  </a:lnTo>
                  <a:lnTo>
                    <a:pt x="571816" y="2558875"/>
                  </a:lnTo>
                  <a:lnTo>
                    <a:pt x="567052" y="2544579"/>
                  </a:lnTo>
                  <a:lnTo>
                    <a:pt x="576584" y="2535049"/>
                  </a:lnTo>
                  <a:close/>
                  <a:moveTo>
                    <a:pt x="547992" y="2530283"/>
                  </a:moveTo>
                  <a:lnTo>
                    <a:pt x="547992" y="2535049"/>
                  </a:lnTo>
                  <a:lnTo>
                    <a:pt x="538460" y="2544579"/>
                  </a:lnTo>
                  <a:lnTo>
                    <a:pt x="533696" y="2558875"/>
                  </a:lnTo>
                  <a:lnTo>
                    <a:pt x="543228" y="2573169"/>
                  </a:lnTo>
                  <a:lnTo>
                    <a:pt x="557520" y="2582699"/>
                  </a:lnTo>
                  <a:lnTo>
                    <a:pt x="552756" y="2587465"/>
                  </a:lnTo>
                  <a:lnTo>
                    <a:pt x="543228" y="2587465"/>
                  </a:lnTo>
                  <a:lnTo>
                    <a:pt x="528932" y="2563639"/>
                  </a:lnTo>
                  <a:lnTo>
                    <a:pt x="533696" y="2539813"/>
                  </a:lnTo>
                  <a:lnTo>
                    <a:pt x="538460" y="2535049"/>
                  </a:lnTo>
                  <a:close/>
                  <a:moveTo>
                    <a:pt x="933968" y="2430215"/>
                  </a:moveTo>
                  <a:lnTo>
                    <a:pt x="943496" y="2434981"/>
                  </a:lnTo>
                  <a:lnTo>
                    <a:pt x="948264" y="2449275"/>
                  </a:lnTo>
                  <a:lnTo>
                    <a:pt x="948264" y="2458807"/>
                  </a:lnTo>
                  <a:lnTo>
                    <a:pt x="943496" y="2458807"/>
                  </a:lnTo>
                  <a:lnTo>
                    <a:pt x="933968" y="2454041"/>
                  </a:lnTo>
                  <a:lnTo>
                    <a:pt x="929200" y="2444511"/>
                  </a:lnTo>
                  <a:close/>
                  <a:moveTo>
                    <a:pt x="1953704" y="2368267"/>
                  </a:moveTo>
                  <a:lnTo>
                    <a:pt x="1958468" y="2373033"/>
                  </a:lnTo>
                  <a:lnTo>
                    <a:pt x="1968000" y="2392093"/>
                  </a:lnTo>
                  <a:lnTo>
                    <a:pt x="1972764" y="2401623"/>
                  </a:lnTo>
                  <a:lnTo>
                    <a:pt x="1982296" y="2401623"/>
                  </a:lnTo>
                  <a:lnTo>
                    <a:pt x="1987060" y="2411155"/>
                  </a:lnTo>
                  <a:lnTo>
                    <a:pt x="1987060" y="2420685"/>
                  </a:lnTo>
                  <a:lnTo>
                    <a:pt x="1991824" y="2420685"/>
                  </a:lnTo>
                  <a:lnTo>
                    <a:pt x="1996588" y="2430215"/>
                  </a:lnTo>
                  <a:lnTo>
                    <a:pt x="1996588" y="2444511"/>
                  </a:lnTo>
                  <a:lnTo>
                    <a:pt x="1996588" y="2463571"/>
                  </a:lnTo>
                  <a:lnTo>
                    <a:pt x="2001356" y="2482631"/>
                  </a:lnTo>
                  <a:lnTo>
                    <a:pt x="2006120" y="2496927"/>
                  </a:lnTo>
                  <a:lnTo>
                    <a:pt x="2006120" y="2511221"/>
                  </a:lnTo>
                  <a:lnTo>
                    <a:pt x="2001356" y="2515987"/>
                  </a:lnTo>
                  <a:lnTo>
                    <a:pt x="1991824" y="2511221"/>
                  </a:lnTo>
                  <a:lnTo>
                    <a:pt x="1968000" y="2496927"/>
                  </a:lnTo>
                  <a:lnTo>
                    <a:pt x="1948940" y="2482631"/>
                  </a:lnTo>
                  <a:lnTo>
                    <a:pt x="1925112" y="2463571"/>
                  </a:lnTo>
                  <a:lnTo>
                    <a:pt x="1906052" y="2449275"/>
                  </a:lnTo>
                  <a:lnTo>
                    <a:pt x="1896520" y="2444511"/>
                  </a:lnTo>
                  <a:lnTo>
                    <a:pt x="1896520" y="2439745"/>
                  </a:lnTo>
                  <a:lnTo>
                    <a:pt x="1906052" y="2425449"/>
                  </a:lnTo>
                  <a:lnTo>
                    <a:pt x="1920348" y="2415919"/>
                  </a:lnTo>
                  <a:lnTo>
                    <a:pt x="1929876" y="2401623"/>
                  </a:lnTo>
                  <a:lnTo>
                    <a:pt x="1929876" y="2382563"/>
                  </a:lnTo>
                  <a:lnTo>
                    <a:pt x="1934644" y="2377799"/>
                  </a:lnTo>
                  <a:lnTo>
                    <a:pt x="1939408" y="2377799"/>
                  </a:lnTo>
                  <a:lnTo>
                    <a:pt x="1939408" y="2387329"/>
                  </a:lnTo>
                  <a:lnTo>
                    <a:pt x="1939408" y="2392093"/>
                  </a:lnTo>
                  <a:lnTo>
                    <a:pt x="1944172" y="2396859"/>
                  </a:lnTo>
                  <a:lnTo>
                    <a:pt x="1944172" y="2387329"/>
                  </a:lnTo>
                  <a:lnTo>
                    <a:pt x="1948940" y="2373033"/>
                  </a:lnTo>
                  <a:close/>
                  <a:moveTo>
                    <a:pt x="3492840" y="0"/>
                  </a:moveTo>
                  <a:lnTo>
                    <a:pt x="3535728" y="4765"/>
                  </a:lnTo>
                  <a:lnTo>
                    <a:pt x="3573848" y="9530"/>
                  </a:lnTo>
                  <a:lnTo>
                    <a:pt x="3611968" y="23826"/>
                  </a:lnTo>
                  <a:lnTo>
                    <a:pt x="3631028" y="38121"/>
                  </a:lnTo>
                  <a:lnTo>
                    <a:pt x="3650088" y="52416"/>
                  </a:lnTo>
                  <a:lnTo>
                    <a:pt x="3664384" y="57182"/>
                  </a:lnTo>
                  <a:lnTo>
                    <a:pt x="3678680" y="61947"/>
                  </a:lnTo>
                  <a:lnTo>
                    <a:pt x="3697740" y="57182"/>
                  </a:lnTo>
                  <a:lnTo>
                    <a:pt x="3712036" y="47651"/>
                  </a:lnTo>
                  <a:lnTo>
                    <a:pt x="3716800" y="38121"/>
                  </a:lnTo>
                  <a:lnTo>
                    <a:pt x="3731096" y="28591"/>
                  </a:lnTo>
                  <a:lnTo>
                    <a:pt x="3769216" y="23826"/>
                  </a:lnTo>
                  <a:lnTo>
                    <a:pt x="3773984" y="38121"/>
                  </a:lnTo>
                  <a:lnTo>
                    <a:pt x="3793044" y="71477"/>
                  </a:lnTo>
                  <a:lnTo>
                    <a:pt x="3807340" y="119128"/>
                  </a:lnTo>
                  <a:lnTo>
                    <a:pt x="3826400" y="185839"/>
                  </a:lnTo>
                  <a:lnTo>
                    <a:pt x="3835928" y="214431"/>
                  </a:lnTo>
                  <a:lnTo>
                    <a:pt x="3835928" y="233491"/>
                  </a:lnTo>
                  <a:lnTo>
                    <a:pt x="3835928" y="252551"/>
                  </a:lnTo>
                  <a:lnTo>
                    <a:pt x="3831164" y="281143"/>
                  </a:lnTo>
                  <a:lnTo>
                    <a:pt x="3816868" y="304969"/>
                  </a:lnTo>
                  <a:lnTo>
                    <a:pt x="3821636" y="319263"/>
                  </a:lnTo>
                  <a:lnTo>
                    <a:pt x="3859756" y="333559"/>
                  </a:lnTo>
                  <a:lnTo>
                    <a:pt x="3912172" y="328793"/>
                  </a:lnTo>
                  <a:lnTo>
                    <a:pt x="3945528" y="319263"/>
                  </a:lnTo>
                  <a:lnTo>
                    <a:pt x="3964588" y="324029"/>
                  </a:lnTo>
                  <a:lnTo>
                    <a:pt x="3974120" y="314499"/>
                  </a:lnTo>
                  <a:lnTo>
                    <a:pt x="3983648" y="295437"/>
                  </a:lnTo>
                  <a:lnTo>
                    <a:pt x="3993180" y="290673"/>
                  </a:lnTo>
                  <a:lnTo>
                    <a:pt x="4007476" y="304969"/>
                  </a:lnTo>
                  <a:lnTo>
                    <a:pt x="4017004" y="328793"/>
                  </a:lnTo>
                  <a:lnTo>
                    <a:pt x="4026536" y="343089"/>
                  </a:lnTo>
                  <a:lnTo>
                    <a:pt x="4026536" y="362149"/>
                  </a:lnTo>
                  <a:lnTo>
                    <a:pt x="4026536" y="385975"/>
                  </a:lnTo>
                  <a:lnTo>
                    <a:pt x="4036064" y="390741"/>
                  </a:lnTo>
                  <a:lnTo>
                    <a:pt x="4045596" y="381211"/>
                  </a:lnTo>
                  <a:lnTo>
                    <a:pt x="4055124" y="376445"/>
                  </a:lnTo>
                  <a:lnTo>
                    <a:pt x="4059892" y="371679"/>
                  </a:lnTo>
                  <a:lnTo>
                    <a:pt x="4055124" y="362149"/>
                  </a:lnTo>
                  <a:lnTo>
                    <a:pt x="4055124" y="352619"/>
                  </a:lnTo>
                  <a:lnTo>
                    <a:pt x="4055124" y="343089"/>
                  </a:lnTo>
                  <a:lnTo>
                    <a:pt x="4064656" y="343089"/>
                  </a:lnTo>
                  <a:lnTo>
                    <a:pt x="4078952" y="343089"/>
                  </a:lnTo>
                  <a:lnTo>
                    <a:pt x="4107540" y="347855"/>
                  </a:lnTo>
                  <a:lnTo>
                    <a:pt x="4140896" y="381211"/>
                  </a:lnTo>
                  <a:lnTo>
                    <a:pt x="4155192" y="385975"/>
                  </a:lnTo>
                  <a:lnTo>
                    <a:pt x="4164724" y="385975"/>
                  </a:lnTo>
                  <a:lnTo>
                    <a:pt x="4179020" y="385975"/>
                  </a:lnTo>
                  <a:lnTo>
                    <a:pt x="4198080" y="376445"/>
                  </a:lnTo>
                  <a:lnTo>
                    <a:pt x="4212376" y="362149"/>
                  </a:lnTo>
                  <a:lnTo>
                    <a:pt x="4217140" y="357385"/>
                  </a:lnTo>
                  <a:lnTo>
                    <a:pt x="4226672" y="362149"/>
                  </a:lnTo>
                  <a:lnTo>
                    <a:pt x="4231436" y="366915"/>
                  </a:lnTo>
                  <a:lnTo>
                    <a:pt x="4231436" y="376445"/>
                  </a:lnTo>
                  <a:lnTo>
                    <a:pt x="4226672" y="395505"/>
                  </a:lnTo>
                  <a:lnTo>
                    <a:pt x="4207608" y="409801"/>
                  </a:lnTo>
                  <a:lnTo>
                    <a:pt x="4183784" y="424097"/>
                  </a:lnTo>
                  <a:lnTo>
                    <a:pt x="4169488" y="452687"/>
                  </a:lnTo>
                  <a:lnTo>
                    <a:pt x="4164724" y="481277"/>
                  </a:lnTo>
                  <a:lnTo>
                    <a:pt x="4174252" y="495573"/>
                  </a:lnTo>
                  <a:lnTo>
                    <a:pt x="4179020" y="505103"/>
                  </a:lnTo>
                  <a:lnTo>
                    <a:pt x="4179020" y="519399"/>
                  </a:lnTo>
                  <a:lnTo>
                    <a:pt x="4183784" y="524163"/>
                  </a:lnTo>
                  <a:lnTo>
                    <a:pt x="4193316" y="514633"/>
                  </a:lnTo>
                  <a:lnTo>
                    <a:pt x="4221904" y="486043"/>
                  </a:lnTo>
                  <a:lnTo>
                    <a:pt x="4236200" y="481277"/>
                  </a:lnTo>
                  <a:lnTo>
                    <a:pt x="4255260" y="476513"/>
                  </a:lnTo>
                  <a:lnTo>
                    <a:pt x="4288616" y="481277"/>
                  </a:lnTo>
                  <a:lnTo>
                    <a:pt x="4312444" y="486043"/>
                  </a:lnTo>
                  <a:lnTo>
                    <a:pt x="4321972" y="500339"/>
                  </a:lnTo>
                  <a:lnTo>
                    <a:pt x="4331504" y="509869"/>
                  </a:lnTo>
                  <a:lnTo>
                    <a:pt x="4341032" y="505103"/>
                  </a:lnTo>
                  <a:lnTo>
                    <a:pt x="4345800" y="495573"/>
                  </a:lnTo>
                  <a:lnTo>
                    <a:pt x="4345800" y="481277"/>
                  </a:lnTo>
                  <a:lnTo>
                    <a:pt x="4345800" y="471747"/>
                  </a:lnTo>
                  <a:lnTo>
                    <a:pt x="4383920" y="443157"/>
                  </a:lnTo>
                  <a:lnTo>
                    <a:pt x="4407744" y="424097"/>
                  </a:lnTo>
                  <a:lnTo>
                    <a:pt x="4417276" y="419331"/>
                  </a:lnTo>
                  <a:lnTo>
                    <a:pt x="4431572" y="424097"/>
                  </a:lnTo>
                  <a:lnTo>
                    <a:pt x="4441100" y="424097"/>
                  </a:lnTo>
                  <a:lnTo>
                    <a:pt x="4469692" y="405035"/>
                  </a:lnTo>
                  <a:lnTo>
                    <a:pt x="4493516" y="385975"/>
                  </a:lnTo>
                  <a:lnTo>
                    <a:pt x="4493516" y="371679"/>
                  </a:lnTo>
                  <a:lnTo>
                    <a:pt x="4493516" y="357385"/>
                  </a:lnTo>
                  <a:lnTo>
                    <a:pt x="4503048" y="352619"/>
                  </a:lnTo>
                  <a:lnTo>
                    <a:pt x="4536404" y="347855"/>
                  </a:lnTo>
                  <a:lnTo>
                    <a:pt x="4541168" y="347855"/>
                  </a:lnTo>
                  <a:lnTo>
                    <a:pt x="4569760" y="333559"/>
                  </a:lnTo>
                  <a:lnTo>
                    <a:pt x="4612644" y="309733"/>
                  </a:lnTo>
                  <a:lnTo>
                    <a:pt x="4631704" y="290673"/>
                  </a:lnTo>
                  <a:lnTo>
                    <a:pt x="4669828" y="285907"/>
                  </a:lnTo>
                  <a:lnTo>
                    <a:pt x="4674592" y="281143"/>
                  </a:lnTo>
                  <a:lnTo>
                    <a:pt x="4684124" y="271613"/>
                  </a:lnTo>
                  <a:lnTo>
                    <a:pt x="4707948" y="257317"/>
                  </a:lnTo>
                  <a:lnTo>
                    <a:pt x="4722244" y="257317"/>
                  </a:lnTo>
                  <a:lnTo>
                    <a:pt x="4712712" y="290673"/>
                  </a:lnTo>
                  <a:lnTo>
                    <a:pt x="4698416" y="328793"/>
                  </a:lnTo>
                  <a:lnTo>
                    <a:pt x="4693652" y="338325"/>
                  </a:lnTo>
                  <a:lnTo>
                    <a:pt x="4655532" y="333559"/>
                  </a:lnTo>
                  <a:lnTo>
                    <a:pt x="4655532" y="347855"/>
                  </a:lnTo>
                  <a:lnTo>
                    <a:pt x="4660296" y="362149"/>
                  </a:lnTo>
                  <a:lnTo>
                    <a:pt x="4665064" y="371679"/>
                  </a:lnTo>
                  <a:lnTo>
                    <a:pt x="4669828" y="376445"/>
                  </a:lnTo>
                  <a:lnTo>
                    <a:pt x="4679356" y="390741"/>
                  </a:lnTo>
                  <a:lnTo>
                    <a:pt x="4717480" y="424097"/>
                  </a:lnTo>
                  <a:lnTo>
                    <a:pt x="4765128" y="462217"/>
                  </a:lnTo>
                  <a:lnTo>
                    <a:pt x="4817544" y="509869"/>
                  </a:lnTo>
                  <a:lnTo>
                    <a:pt x="4855668" y="538459"/>
                  </a:lnTo>
                  <a:lnTo>
                    <a:pt x="4869960" y="557519"/>
                  </a:lnTo>
                  <a:lnTo>
                    <a:pt x="4879492" y="567051"/>
                  </a:lnTo>
                  <a:lnTo>
                    <a:pt x="4908084" y="614701"/>
                  </a:lnTo>
                  <a:lnTo>
                    <a:pt x="4931908" y="657587"/>
                  </a:lnTo>
                  <a:lnTo>
                    <a:pt x="4974796" y="733829"/>
                  </a:lnTo>
                  <a:lnTo>
                    <a:pt x="5012916" y="805307"/>
                  </a:lnTo>
                  <a:lnTo>
                    <a:pt x="5055800" y="881549"/>
                  </a:lnTo>
                  <a:lnTo>
                    <a:pt x="5079628" y="929199"/>
                  </a:lnTo>
                  <a:lnTo>
                    <a:pt x="5132044" y="1024503"/>
                  </a:lnTo>
                  <a:lnTo>
                    <a:pt x="5146340" y="1053093"/>
                  </a:lnTo>
                  <a:lnTo>
                    <a:pt x="5170164" y="1105509"/>
                  </a:lnTo>
                  <a:lnTo>
                    <a:pt x="5193992" y="1157925"/>
                  </a:lnTo>
                  <a:lnTo>
                    <a:pt x="5213052" y="1200811"/>
                  </a:lnTo>
                  <a:lnTo>
                    <a:pt x="5222580" y="1205577"/>
                  </a:lnTo>
                  <a:lnTo>
                    <a:pt x="5227348" y="1196047"/>
                  </a:lnTo>
                  <a:lnTo>
                    <a:pt x="5227348" y="1186517"/>
                  </a:lnTo>
                  <a:lnTo>
                    <a:pt x="5236876" y="1181751"/>
                  </a:lnTo>
                  <a:lnTo>
                    <a:pt x="5251172" y="1167457"/>
                  </a:lnTo>
                  <a:lnTo>
                    <a:pt x="5255936" y="1167457"/>
                  </a:lnTo>
                  <a:lnTo>
                    <a:pt x="5270232" y="1167457"/>
                  </a:lnTo>
                  <a:lnTo>
                    <a:pt x="5279764" y="1157925"/>
                  </a:lnTo>
                  <a:lnTo>
                    <a:pt x="5284528" y="1148395"/>
                  </a:lnTo>
                  <a:lnTo>
                    <a:pt x="5284528" y="1124571"/>
                  </a:lnTo>
                  <a:lnTo>
                    <a:pt x="5279764" y="1110275"/>
                  </a:lnTo>
                  <a:lnTo>
                    <a:pt x="5284528" y="1100745"/>
                  </a:lnTo>
                  <a:lnTo>
                    <a:pt x="5289292" y="1095979"/>
                  </a:lnTo>
                  <a:lnTo>
                    <a:pt x="5298824" y="1091215"/>
                  </a:lnTo>
                  <a:lnTo>
                    <a:pt x="5308352" y="1091215"/>
                  </a:lnTo>
                  <a:lnTo>
                    <a:pt x="5317884" y="1076919"/>
                  </a:lnTo>
                  <a:lnTo>
                    <a:pt x="5327416" y="1072153"/>
                  </a:lnTo>
                  <a:lnTo>
                    <a:pt x="5341712" y="1076919"/>
                  </a:lnTo>
                  <a:lnTo>
                    <a:pt x="5351240" y="1076919"/>
                  </a:lnTo>
                  <a:lnTo>
                    <a:pt x="5360772" y="1086449"/>
                  </a:lnTo>
                  <a:lnTo>
                    <a:pt x="5365536" y="1100745"/>
                  </a:lnTo>
                  <a:lnTo>
                    <a:pt x="5375064" y="1100745"/>
                  </a:lnTo>
                  <a:lnTo>
                    <a:pt x="5389360" y="1100745"/>
                  </a:lnTo>
                  <a:lnTo>
                    <a:pt x="5394128" y="1110275"/>
                  </a:lnTo>
                  <a:lnTo>
                    <a:pt x="5389360" y="1129335"/>
                  </a:lnTo>
                  <a:lnTo>
                    <a:pt x="5384596" y="1143631"/>
                  </a:lnTo>
                  <a:lnTo>
                    <a:pt x="5379832" y="1153161"/>
                  </a:lnTo>
                  <a:lnTo>
                    <a:pt x="5389360" y="1157925"/>
                  </a:lnTo>
                  <a:lnTo>
                    <a:pt x="5422716" y="1153161"/>
                  </a:lnTo>
                  <a:lnTo>
                    <a:pt x="5432248" y="1157925"/>
                  </a:lnTo>
                  <a:lnTo>
                    <a:pt x="5437012" y="1167457"/>
                  </a:lnTo>
                  <a:lnTo>
                    <a:pt x="5437012" y="1176987"/>
                  </a:lnTo>
                  <a:lnTo>
                    <a:pt x="5441776" y="1191281"/>
                  </a:lnTo>
                  <a:lnTo>
                    <a:pt x="5437012" y="1205577"/>
                  </a:lnTo>
                  <a:lnTo>
                    <a:pt x="5441776" y="1210343"/>
                  </a:lnTo>
                  <a:lnTo>
                    <a:pt x="5470368" y="1210343"/>
                  </a:lnTo>
                  <a:lnTo>
                    <a:pt x="5489428" y="1205577"/>
                  </a:lnTo>
                  <a:lnTo>
                    <a:pt x="5518020" y="1205577"/>
                  </a:lnTo>
                  <a:lnTo>
                    <a:pt x="5541844" y="1219873"/>
                  </a:lnTo>
                  <a:lnTo>
                    <a:pt x="5560904" y="1215107"/>
                  </a:lnTo>
                  <a:lnTo>
                    <a:pt x="5579968" y="1210343"/>
                  </a:lnTo>
                  <a:lnTo>
                    <a:pt x="5603792" y="1215107"/>
                  </a:lnTo>
                  <a:lnTo>
                    <a:pt x="5622852" y="1205577"/>
                  </a:lnTo>
                  <a:lnTo>
                    <a:pt x="5637148" y="1191281"/>
                  </a:lnTo>
                  <a:lnTo>
                    <a:pt x="5637148" y="1176987"/>
                  </a:lnTo>
                  <a:lnTo>
                    <a:pt x="5646680" y="1172221"/>
                  </a:lnTo>
                  <a:lnTo>
                    <a:pt x="5670504" y="1172221"/>
                  </a:lnTo>
                  <a:lnTo>
                    <a:pt x="5684800" y="1172221"/>
                  </a:lnTo>
                  <a:lnTo>
                    <a:pt x="5699096" y="1157925"/>
                  </a:lnTo>
                  <a:lnTo>
                    <a:pt x="5708624" y="1148395"/>
                  </a:lnTo>
                  <a:lnTo>
                    <a:pt x="5727684" y="1148395"/>
                  </a:lnTo>
                  <a:lnTo>
                    <a:pt x="5737216" y="1148395"/>
                  </a:lnTo>
                  <a:lnTo>
                    <a:pt x="5775336" y="1162691"/>
                  </a:lnTo>
                  <a:lnTo>
                    <a:pt x="5794396" y="1172221"/>
                  </a:lnTo>
                  <a:lnTo>
                    <a:pt x="5818224" y="1191281"/>
                  </a:lnTo>
                  <a:lnTo>
                    <a:pt x="5832520" y="1200811"/>
                  </a:lnTo>
                  <a:lnTo>
                    <a:pt x="5842048" y="1224637"/>
                  </a:lnTo>
                  <a:lnTo>
                    <a:pt x="5856344" y="1243699"/>
                  </a:lnTo>
                  <a:lnTo>
                    <a:pt x="5865872" y="1262759"/>
                  </a:lnTo>
                  <a:lnTo>
                    <a:pt x="5870640" y="1286585"/>
                  </a:lnTo>
                  <a:lnTo>
                    <a:pt x="5880168" y="1319941"/>
                  </a:lnTo>
                  <a:lnTo>
                    <a:pt x="5889700" y="1334235"/>
                  </a:lnTo>
                  <a:lnTo>
                    <a:pt x="5903996" y="1334235"/>
                  </a:lnTo>
                  <a:lnTo>
                    <a:pt x="5918292" y="1339001"/>
                  </a:lnTo>
                  <a:lnTo>
                    <a:pt x="5932584" y="1343765"/>
                  </a:lnTo>
                  <a:lnTo>
                    <a:pt x="5970708" y="1367591"/>
                  </a:lnTo>
                  <a:lnTo>
                    <a:pt x="5985000" y="1372357"/>
                  </a:lnTo>
                  <a:lnTo>
                    <a:pt x="5994532" y="1377121"/>
                  </a:lnTo>
                  <a:lnTo>
                    <a:pt x="5994532" y="1391417"/>
                  </a:lnTo>
                  <a:lnTo>
                    <a:pt x="5989768" y="1405713"/>
                  </a:lnTo>
                  <a:lnTo>
                    <a:pt x="5994532" y="1420007"/>
                  </a:lnTo>
                  <a:lnTo>
                    <a:pt x="6008828" y="1434303"/>
                  </a:lnTo>
                  <a:lnTo>
                    <a:pt x="6018360" y="1453363"/>
                  </a:lnTo>
                  <a:lnTo>
                    <a:pt x="6027888" y="1472425"/>
                  </a:lnTo>
                  <a:lnTo>
                    <a:pt x="6032652" y="1486719"/>
                  </a:lnTo>
                  <a:lnTo>
                    <a:pt x="6042184" y="1486719"/>
                  </a:lnTo>
                  <a:lnTo>
                    <a:pt x="6051712" y="1481955"/>
                  </a:lnTo>
                  <a:lnTo>
                    <a:pt x="6075540" y="1486719"/>
                  </a:lnTo>
                  <a:lnTo>
                    <a:pt x="6132720" y="1501015"/>
                  </a:lnTo>
                  <a:lnTo>
                    <a:pt x="6142252" y="1501015"/>
                  </a:lnTo>
                  <a:lnTo>
                    <a:pt x="6147016" y="1510545"/>
                  </a:lnTo>
                  <a:lnTo>
                    <a:pt x="6156548" y="1510545"/>
                  </a:lnTo>
                  <a:lnTo>
                    <a:pt x="6166076" y="1510545"/>
                  </a:lnTo>
                  <a:lnTo>
                    <a:pt x="6180372" y="1510545"/>
                  </a:lnTo>
                  <a:lnTo>
                    <a:pt x="6189904" y="1501015"/>
                  </a:lnTo>
                  <a:lnTo>
                    <a:pt x="6199432" y="1491485"/>
                  </a:lnTo>
                  <a:lnTo>
                    <a:pt x="6218492" y="1481955"/>
                  </a:lnTo>
                  <a:lnTo>
                    <a:pt x="6232788" y="1462895"/>
                  </a:lnTo>
                  <a:lnTo>
                    <a:pt x="6247084" y="1448599"/>
                  </a:lnTo>
                  <a:lnTo>
                    <a:pt x="6256616" y="1443833"/>
                  </a:lnTo>
                  <a:lnTo>
                    <a:pt x="6266144" y="1453363"/>
                  </a:lnTo>
                  <a:lnTo>
                    <a:pt x="6266144" y="1467659"/>
                  </a:lnTo>
                  <a:lnTo>
                    <a:pt x="6256616" y="1472425"/>
                  </a:lnTo>
                  <a:lnTo>
                    <a:pt x="6247084" y="1486719"/>
                  </a:lnTo>
                  <a:lnTo>
                    <a:pt x="6251848" y="1496251"/>
                  </a:lnTo>
                  <a:lnTo>
                    <a:pt x="6261380" y="1501015"/>
                  </a:lnTo>
                  <a:lnTo>
                    <a:pt x="6280440" y="1515311"/>
                  </a:lnTo>
                  <a:lnTo>
                    <a:pt x="6299500" y="1558197"/>
                  </a:lnTo>
                  <a:lnTo>
                    <a:pt x="6309032" y="1562961"/>
                  </a:lnTo>
                  <a:lnTo>
                    <a:pt x="6318560" y="1572491"/>
                  </a:lnTo>
                  <a:lnTo>
                    <a:pt x="6332856" y="1577257"/>
                  </a:lnTo>
                  <a:lnTo>
                    <a:pt x="6342388" y="1582023"/>
                  </a:lnTo>
                  <a:lnTo>
                    <a:pt x="6356680" y="1596317"/>
                  </a:lnTo>
                  <a:lnTo>
                    <a:pt x="6356680" y="1610613"/>
                  </a:lnTo>
                  <a:lnTo>
                    <a:pt x="6342388" y="1605847"/>
                  </a:lnTo>
                  <a:lnTo>
                    <a:pt x="6313796" y="1605847"/>
                  </a:lnTo>
                  <a:lnTo>
                    <a:pt x="6299500" y="1610613"/>
                  </a:lnTo>
                  <a:lnTo>
                    <a:pt x="6289968" y="1610613"/>
                  </a:lnTo>
                  <a:lnTo>
                    <a:pt x="6275676" y="1620143"/>
                  </a:lnTo>
                  <a:lnTo>
                    <a:pt x="6270908" y="1629673"/>
                  </a:lnTo>
                  <a:lnTo>
                    <a:pt x="6266144" y="1648735"/>
                  </a:lnTo>
                  <a:lnTo>
                    <a:pt x="6270908" y="1667795"/>
                  </a:lnTo>
                  <a:lnTo>
                    <a:pt x="6261380" y="1705915"/>
                  </a:lnTo>
                  <a:lnTo>
                    <a:pt x="6256616" y="1720211"/>
                  </a:lnTo>
                  <a:lnTo>
                    <a:pt x="6237552" y="1744037"/>
                  </a:lnTo>
                  <a:lnTo>
                    <a:pt x="6228024" y="1748801"/>
                  </a:lnTo>
                  <a:lnTo>
                    <a:pt x="6208964" y="1753567"/>
                  </a:lnTo>
                  <a:lnTo>
                    <a:pt x="6194668" y="1763097"/>
                  </a:lnTo>
                  <a:lnTo>
                    <a:pt x="6161312" y="1767863"/>
                  </a:lnTo>
                  <a:lnTo>
                    <a:pt x="6123192" y="1772627"/>
                  </a:lnTo>
                  <a:lnTo>
                    <a:pt x="6113660" y="1777393"/>
                  </a:lnTo>
                  <a:lnTo>
                    <a:pt x="6104128" y="1796453"/>
                  </a:lnTo>
                  <a:lnTo>
                    <a:pt x="6099364" y="1810749"/>
                  </a:lnTo>
                  <a:lnTo>
                    <a:pt x="6094600" y="1820279"/>
                  </a:lnTo>
                  <a:lnTo>
                    <a:pt x="6085068" y="1858399"/>
                  </a:lnTo>
                  <a:lnTo>
                    <a:pt x="6075540" y="1886991"/>
                  </a:lnTo>
                  <a:lnTo>
                    <a:pt x="6085068" y="1929877"/>
                  </a:lnTo>
                  <a:lnTo>
                    <a:pt x="6085068" y="1972763"/>
                  </a:lnTo>
                  <a:lnTo>
                    <a:pt x="6085068" y="1987059"/>
                  </a:lnTo>
                  <a:lnTo>
                    <a:pt x="6094600" y="2006119"/>
                  </a:lnTo>
                  <a:lnTo>
                    <a:pt x="6099364" y="2020415"/>
                  </a:lnTo>
                  <a:lnTo>
                    <a:pt x="6099364" y="2039475"/>
                  </a:lnTo>
                  <a:lnTo>
                    <a:pt x="6085068" y="2053769"/>
                  </a:lnTo>
                  <a:lnTo>
                    <a:pt x="6080304" y="2077595"/>
                  </a:lnTo>
                  <a:lnTo>
                    <a:pt x="6070776" y="2087125"/>
                  </a:lnTo>
                  <a:lnTo>
                    <a:pt x="6051712" y="2087125"/>
                  </a:lnTo>
                  <a:lnTo>
                    <a:pt x="6032652" y="2091891"/>
                  </a:lnTo>
                  <a:lnTo>
                    <a:pt x="6013592" y="2106187"/>
                  </a:lnTo>
                  <a:lnTo>
                    <a:pt x="5999296" y="2120481"/>
                  </a:lnTo>
                  <a:lnTo>
                    <a:pt x="5975472" y="2134777"/>
                  </a:lnTo>
                  <a:lnTo>
                    <a:pt x="5961176" y="2139543"/>
                  </a:lnTo>
                  <a:lnTo>
                    <a:pt x="5956412" y="2130011"/>
                  </a:lnTo>
                  <a:lnTo>
                    <a:pt x="5951648" y="2110951"/>
                  </a:lnTo>
                  <a:lnTo>
                    <a:pt x="5942116" y="2106187"/>
                  </a:lnTo>
                  <a:lnTo>
                    <a:pt x="5932584" y="2106187"/>
                  </a:lnTo>
                  <a:lnTo>
                    <a:pt x="5923056" y="2106187"/>
                  </a:lnTo>
                  <a:lnTo>
                    <a:pt x="5889700" y="2101421"/>
                  </a:lnTo>
                  <a:lnTo>
                    <a:pt x="5870640" y="2101421"/>
                  </a:lnTo>
                  <a:lnTo>
                    <a:pt x="5856344" y="2106187"/>
                  </a:lnTo>
                  <a:lnTo>
                    <a:pt x="5842048" y="2106187"/>
                  </a:lnTo>
                  <a:lnTo>
                    <a:pt x="5813456" y="2101421"/>
                  </a:lnTo>
                  <a:lnTo>
                    <a:pt x="5794396" y="2096655"/>
                  </a:lnTo>
                  <a:lnTo>
                    <a:pt x="5780100" y="2091891"/>
                  </a:lnTo>
                  <a:lnTo>
                    <a:pt x="5751512" y="2072831"/>
                  </a:lnTo>
                  <a:lnTo>
                    <a:pt x="5713392" y="2058535"/>
                  </a:lnTo>
                  <a:lnTo>
                    <a:pt x="5699096" y="2053769"/>
                  </a:lnTo>
                  <a:lnTo>
                    <a:pt x="5689564" y="2058535"/>
                  </a:lnTo>
                  <a:lnTo>
                    <a:pt x="5684800" y="2068065"/>
                  </a:lnTo>
                  <a:lnTo>
                    <a:pt x="5684800" y="2091891"/>
                  </a:lnTo>
                  <a:lnTo>
                    <a:pt x="5680032" y="2106187"/>
                  </a:lnTo>
                  <a:lnTo>
                    <a:pt x="5651444" y="2187193"/>
                  </a:lnTo>
                  <a:lnTo>
                    <a:pt x="5637148" y="2239609"/>
                  </a:lnTo>
                  <a:lnTo>
                    <a:pt x="5613320" y="2292027"/>
                  </a:lnTo>
                  <a:lnTo>
                    <a:pt x="5608556" y="2325383"/>
                  </a:lnTo>
                  <a:lnTo>
                    <a:pt x="5594260" y="2368269"/>
                  </a:lnTo>
                  <a:lnTo>
                    <a:pt x="5579968" y="2401623"/>
                  </a:lnTo>
                  <a:lnTo>
                    <a:pt x="5575200" y="2415919"/>
                  </a:lnTo>
                  <a:lnTo>
                    <a:pt x="5575200" y="2425449"/>
                  </a:lnTo>
                  <a:lnTo>
                    <a:pt x="5579968" y="2434979"/>
                  </a:lnTo>
                  <a:lnTo>
                    <a:pt x="5599028" y="2444511"/>
                  </a:lnTo>
                  <a:lnTo>
                    <a:pt x="5618088" y="2449275"/>
                  </a:lnTo>
                  <a:lnTo>
                    <a:pt x="5622852" y="2454041"/>
                  </a:lnTo>
                  <a:lnTo>
                    <a:pt x="5622852" y="2468335"/>
                  </a:lnTo>
                  <a:lnTo>
                    <a:pt x="5622852" y="2482631"/>
                  </a:lnTo>
                  <a:lnTo>
                    <a:pt x="5618088" y="2501691"/>
                  </a:lnTo>
                  <a:lnTo>
                    <a:pt x="5613320" y="2515987"/>
                  </a:lnTo>
                  <a:lnTo>
                    <a:pt x="5608556" y="2520753"/>
                  </a:lnTo>
                  <a:lnTo>
                    <a:pt x="5603792" y="2520753"/>
                  </a:lnTo>
                  <a:lnTo>
                    <a:pt x="5589496" y="2511223"/>
                  </a:lnTo>
                  <a:lnTo>
                    <a:pt x="5575200" y="2501691"/>
                  </a:lnTo>
                  <a:lnTo>
                    <a:pt x="5570436" y="2501691"/>
                  </a:lnTo>
                  <a:lnTo>
                    <a:pt x="5546612" y="2506457"/>
                  </a:lnTo>
                  <a:lnTo>
                    <a:pt x="5527552" y="2515987"/>
                  </a:lnTo>
                  <a:lnTo>
                    <a:pt x="5518020" y="2515987"/>
                  </a:lnTo>
                  <a:lnTo>
                    <a:pt x="5508488" y="2506457"/>
                  </a:lnTo>
                  <a:lnTo>
                    <a:pt x="5494192" y="2496927"/>
                  </a:lnTo>
                  <a:lnTo>
                    <a:pt x="5489428" y="2482631"/>
                  </a:lnTo>
                  <a:lnTo>
                    <a:pt x="5479900" y="2473101"/>
                  </a:lnTo>
                  <a:lnTo>
                    <a:pt x="5465604" y="2482631"/>
                  </a:lnTo>
                  <a:lnTo>
                    <a:pt x="5422716" y="2496927"/>
                  </a:lnTo>
                  <a:lnTo>
                    <a:pt x="5375064" y="2511223"/>
                  </a:lnTo>
                  <a:lnTo>
                    <a:pt x="5346476" y="2520753"/>
                  </a:lnTo>
                  <a:lnTo>
                    <a:pt x="5336944" y="2520753"/>
                  </a:lnTo>
                  <a:lnTo>
                    <a:pt x="5313120" y="2520753"/>
                  </a:lnTo>
                  <a:lnTo>
                    <a:pt x="5294060" y="2525517"/>
                  </a:lnTo>
                  <a:lnTo>
                    <a:pt x="5279764" y="2535047"/>
                  </a:lnTo>
                  <a:lnTo>
                    <a:pt x="5251172" y="2539813"/>
                  </a:lnTo>
                  <a:lnTo>
                    <a:pt x="5222580" y="2549343"/>
                  </a:lnTo>
                  <a:lnTo>
                    <a:pt x="5208288" y="2563639"/>
                  </a:lnTo>
                  <a:lnTo>
                    <a:pt x="5193992" y="2573169"/>
                  </a:lnTo>
                  <a:lnTo>
                    <a:pt x="5193992" y="2577933"/>
                  </a:lnTo>
                  <a:lnTo>
                    <a:pt x="5203520" y="2587463"/>
                  </a:lnTo>
                  <a:lnTo>
                    <a:pt x="5213052" y="2592229"/>
                  </a:lnTo>
                  <a:lnTo>
                    <a:pt x="5236876" y="2592229"/>
                  </a:lnTo>
                  <a:lnTo>
                    <a:pt x="5255936" y="2592229"/>
                  </a:lnTo>
                  <a:lnTo>
                    <a:pt x="5270232" y="2601759"/>
                  </a:lnTo>
                  <a:lnTo>
                    <a:pt x="5284528" y="2606525"/>
                  </a:lnTo>
                  <a:lnTo>
                    <a:pt x="5289292" y="2611289"/>
                  </a:lnTo>
                  <a:lnTo>
                    <a:pt x="5284528" y="2620819"/>
                  </a:lnTo>
                  <a:lnTo>
                    <a:pt x="5275000" y="2620819"/>
                  </a:lnTo>
                  <a:lnTo>
                    <a:pt x="5275000" y="2625585"/>
                  </a:lnTo>
                  <a:lnTo>
                    <a:pt x="5275000" y="2630351"/>
                  </a:lnTo>
                  <a:lnTo>
                    <a:pt x="5270232" y="2649411"/>
                  </a:lnTo>
                  <a:lnTo>
                    <a:pt x="5265468" y="2673237"/>
                  </a:lnTo>
                  <a:lnTo>
                    <a:pt x="5270232" y="2697063"/>
                  </a:lnTo>
                  <a:lnTo>
                    <a:pt x="5270232" y="2720887"/>
                  </a:lnTo>
                  <a:lnTo>
                    <a:pt x="5270232" y="2730419"/>
                  </a:lnTo>
                  <a:lnTo>
                    <a:pt x="5270232" y="2744713"/>
                  </a:lnTo>
                  <a:lnTo>
                    <a:pt x="5275000" y="2759009"/>
                  </a:lnTo>
                  <a:lnTo>
                    <a:pt x="5279764" y="2778069"/>
                  </a:lnTo>
                  <a:lnTo>
                    <a:pt x="5294060" y="2792365"/>
                  </a:lnTo>
                  <a:lnTo>
                    <a:pt x="5308352" y="2835251"/>
                  </a:lnTo>
                  <a:lnTo>
                    <a:pt x="5317884" y="2863841"/>
                  </a:lnTo>
                  <a:lnTo>
                    <a:pt x="5322648" y="2892433"/>
                  </a:lnTo>
                  <a:lnTo>
                    <a:pt x="5317884" y="2906727"/>
                  </a:lnTo>
                  <a:lnTo>
                    <a:pt x="5317884" y="2916257"/>
                  </a:lnTo>
                  <a:lnTo>
                    <a:pt x="5327416" y="2925787"/>
                  </a:lnTo>
                  <a:lnTo>
                    <a:pt x="5332180" y="2940083"/>
                  </a:lnTo>
                  <a:lnTo>
                    <a:pt x="5336944" y="2949613"/>
                  </a:lnTo>
                  <a:lnTo>
                    <a:pt x="5336944" y="2959143"/>
                  </a:lnTo>
                  <a:lnTo>
                    <a:pt x="5332180" y="2963909"/>
                  </a:lnTo>
                  <a:lnTo>
                    <a:pt x="5313120" y="2954379"/>
                  </a:lnTo>
                  <a:lnTo>
                    <a:pt x="5294060" y="2963909"/>
                  </a:lnTo>
                  <a:lnTo>
                    <a:pt x="5275000" y="2973439"/>
                  </a:lnTo>
                  <a:lnTo>
                    <a:pt x="5275000" y="2978205"/>
                  </a:lnTo>
                  <a:lnTo>
                    <a:pt x="5275000" y="2982969"/>
                  </a:lnTo>
                  <a:lnTo>
                    <a:pt x="5275000" y="2987735"/>
                  </a:lnTo>
                  <a:lnTo>
                    <a:pt x="5284528" y="2997265"/>
                  </a:lnTo>
                  <a:lnTo>
                    <a:pt x="5298824" y="3002031"/>
                  </a:lnTo>
                  <a:lnTo>
                    <a:pt x="5298824" y="3011561"/>
                  </a:lnTo>
                  <a:lnTo>
                    <a:pt x="5279764" y="3016325"/>
                  </a:lnTo>
                  <a:lnTo>
                    <a:pt x="5255936" y="3025855"/>
                  </a:lnTo>
                  <a:lnTo>
                    <a:pt x="5246408" y="3040151"/>
                  </a:lnTo>
                  <a:lnTo>
                    <a:pt x="5241640" y="3054447"/>
                  </a:lnTo>
                  <a:lnTo>
                    <a:pt x="5241640" y="3063977"/>
                  </a:lnTo>
                  <a:lnTo>
                    <a:pt x="5241640" y="3087803"/>
                  </a:lnTo>
                  <a:lnTo>
                    <a:pt x="5246408" y="3111627"/>
                  </a:lnTo>
                  <a:lnTo>
                    <a:pt x="5255936" y="3135453"/>
                  </a:lnTo>
                  <a:lnTo>
                    <a:pt x="5255936" y="3144983"/>
                  </a:lnTo>
                  <a:lnTo>
                    <a:pt x="5251172" y="3149749"/>
                  </a:lnTo>
                  <a:lnTo>
                    <a:pt x="5246408" y="3154515"/>
                  </a:lnTo>
                  <a:lnTo>
                    <a:pt x="5227348" y="3130689"/>
                  </a:lnTo>
                  <a:lnTo>
                    <a:pt x="5203520" y="3106863"/>
                  </a:lnTo>
                  <a:lnTo>
                    <a:pt x="5184460" y="3102097"/>
                  </a:lnTo>
                  <a:lnTo>
                    <a:pt x="5151104" y="3097333"/>
                  </a:lnTo>
                  <a:lnTo>
                    <a:pt x="5136808" y="3097333"/>
                  </a:lnTo>
                  <a:lnTo>
                    <a:pt x="5127280" y="3092567"/>
                  </a:lnTo>
                  <a:lnTo>
                    <a:pt x="5117748" y="3078273"/>
                  </a:lnTo>
                  <a:lnTo>
                    <a:pt x="5103452" y="3068743"/>
                  </a:lnTo>
                  <a:lnTo>
                    <a:pt x="5089160" y="3054447"/>
                  </a:lnTo>
                  <a:lnTo>
                    <a:pt x="5084392" y="3035387"/>
                  </a:lnTo>
                  <a:lnTo>
                    <a:pt x="5079628" y="3030621"/>
                  </a:lnTo>
                  <a:lnTo>
                    <a:pt x="5065332" y="3035387"/>
                  </a:lnTo>
                  <a:lnTo>
                    <a:pt x="5051036" y="3035387"/>
                  </a:lnTo>
                  <a:lnTo>
                    <a:pt x="5041508" y="3030621"/>
                  </a:lnTo>
                  <a:lnTo>
                    <a:pt x="5027212" y="3025855"/>
                  </a:lnTo>
                  <a:lnTo>
                    <a:pt x="5003384" y="3021091"/>
                  </a:lnTo>
                  <a:lnTo>
                    <a:pt x="4984324" y="3011561"/>
                  </a:lnTo>
                  <a:lnTo>
                    <a:pt x="4960500" y="3011561"/>
                  </a:lnTo>
                  <a:lnTo>
                    <a:pt x="4946204" y="3011561"/>
                  </a:lnTo>
                  <a:lnTo>
                    <a:pt x="4908084" y="3011561"/>
                  </a:lnTo>
                  <a:lnTo>
                    <a:pt x="4869960" y="3006795"/>
                  </a:lnTo>
                  <a:lnTo>
                    <a:pt x="4841372" y="3006795"/>
                  </a:lnTo>
                  <a:lnTo>
                    <a:pt x="4827076" y="3006795"/>
                  </a:lnTo>
                  <a:lnTo>
                    <a:pt x="4817544" y="3002031"/>
                  </a:lnTo>
                  <a:lnTo>
                    <a:pt x="4803252" y="3002031"/>
                  </a:lnTo>
                  <a:lnTo>
                    <a:pt x="4784192" y="3002031"/>
                  </a:lnTo>
                  <a:lnTo>
                    <a:pt x="4755600" y="2987735"/>
                  </a:lnTo>
                  <a:lnTo>
                    <a:pt x="4746068" y="2987735"/>
                  </a:lnTo>
                  <a:lnTo>
                    <a:pt x="4736540" y="2987735"/>
                  </a:lnTo>
                  <a:lnTo>
                    <a:pt x="4688888" y="2997265"/>
                  </a:lnTo>
                  <a:lnTo>
                    <a:pt x="4669828" y="3002031"/>
                  </a:lnTo>
                  <a:lnTo>
                    <a:pt x="4622176" y="3002031"/>
                  </a:lnTo>
                  <a:lnTo>
                    <a:pt x="4579288" y="2997265"/>
                  </a:lnTo>
                  <a:lnTo>
                    <a:pt x="4564992" y="2997265"/>
                  </a:lnTo>
                  <a:lnTo>
                    <a:pt x="4555464" y="2997265"/>
                  </a:lnTo>
                  <a:lnTo>
                    <a:pt x="4541168" y="3021091"/>
                  </a:lnTo>
                  <a:lnTo>
                    <a:pt x="4531640" y="3021091"/>
                  </a:lnTo>
                  <a:lnTo>
                    <a:pt x="4488752" y="3016325"/>
                  </a:lnTo>
                  <a:lnTo>
                    <a:pt x="4441100" y="3002031"/>
                  </a:lnTo>
                  <a:lnTo>
                    <a:pt x="4402980" y="2987735"/>
                  </a:lnTo>
                  <a:lnTo>
                    <a:pt x="4374388" y="2973439"/>
                  </a:lnTo>
                  <a:lnTo>
                    <a:pt x="4336268" y="2944849"/>
                  </a:lnTo>
                  <a:lnTo>
                    <a:pt x="4312444" y="2930553"/>
                  </a:lnTo>
                  <a:lnTo>
                    <a:pt x="4307676" y="2940083"/>
                  </a:lnTo>
                  <a:lnTo>
                    <a:pt x="4298148" y="2940083"/>
                  </a:lnTo>
                  <a:lnTo>
                    <a:pt x="4293384" y="2944849"/>
                  </a:lnTo>
                  <a:lnTo>
                    <a:pt x="4269556" y="2940083"/>
                  </a:lnTo>
                  <a:lnTo>
                    <a:pt x="4260024" y="2954379"/>
                  </a:lnTo>
                  <a:lnTo>
                    <a:pt x="4231436" y="2963909"/>
                  </a:lnTo>
                  <a:lnTo>
                    <a:pt x="4217140" y="2973439"/>
                  </a:lnTo>
                  <a:lnTo>
                    <a:pt x="4207608" y="2982969"/>
                  </a:lnTo>
                  <a:lnTo>
                    <a:pt x="4193316" y="3044917"/>
                  </a:lnTo>
                  <a:lnTo>
                    <a:pt x="4188548" y="3068743"/>
                  </a:lnTo>
                  <a:lnTo>
                    <a:pt x="4198080" y="3106863"/>
                  </a:lnTo>
                  <a:lnTo>
                    <a:pt x="4183784" y="3106863"/>
                  </a:lnTo>
                  <a:lnTo>
                    <a:pt x="4169488" y="3097333"/>
                  </a:lnTo>
                  <a:lnTo>
                    <a:pt x="4164724" y="3087803"/>
                  </a:lnTo>
                  <a:lnTo>
                    <a:pt x="4150428" y="3083037"/>
                  </a:lnTo>
                  <a:lnTo>
                    <a:pt x="4098012" y="3078273"/>
                  </a:lnTo>
                  <a:lnTo>
                    <a:pt x="4088480" y="3068743"/>
                  </a:lnTo>
                  <a:lnTo>
                    <a:pt x="4083716" y="3059211"/>
                  </a:lnTo>
                  <a:lnTo>
                    <a:pt x="4069420" y="3054447"/>
                  </a:lnTo>
                  <a:lnTo>
                    <a:pt x="4050360" y="3054447"/>
                  </a:lnTo>
                  <a:lnTo>
                    <a:pt x="4007476" y="3035387"/>
                  </a:lnTo>
                  <a:lnTo>
                    <a:pt x="3988412" y="3035387"/>
                  </a:lnTo>
                  <a:lnTo>
                    <a:pt x="3935996" y="3021091"/>
                  </a:lnTo>
                  <a:lnTo>
                    <a:pt x="3926468" y="3021091"/>
                  </a:lnTo>
                  <a:lnTo>
                    <a:pt x="3921704" y="3021091"/>
                  </a:lnTo>
                  <a:lnTo>
                    <a:pt x="3902640" y="3030621"/>
                  </a:lnTo>
                  <a:lnTo>
                    <a:pt x="3888344" y="3035387"/>
                  </a:lnTo>
                  <a:lnTo>
                    <a:pt x="3874052" y="3030621"/>
                  </a:lnTo>
                  <a:lnTo>
                    <a:pt x="3850224" y="3040151"/>
                  </a:lnTo>
                  <a:lnTo>
                    <a:pt x="3835928" y="3054447"/>
                  </a:lnTo>
                  <a:lnTo>
                    <a:pt x="3821636" y="3073507"/>
                  </a:lnTo>
                  <a:lnTo>
                    <a:pt x="3812104" y="3083037"/>
                  </a:lnTo>
                  <a:lnTo>
                    <a:pt x="3807340" y="3097333"/>
                  </a:lnTo>
                  <a:lnTo>
                    <a:pt x="3802572" y="3106863"/>
                  </a:lnTo>
                  <a:lnTo>
                    <a:pt x="3793044" y="3125923"/>
                  </a:lnTo>
                  <a:lnTo>
                    <a:pt x="3793044" y="3135453"/>
                  </a:lnTo>
                  <a:lnTo>
                    <a:pt x="3802572" y="3144983"/>
                  </a:lnTo>
                  <a:lnTo>
                    <a:pt x="3788280" y="3149749"/>
                  </a:lnTo>
                  <a:lnTo>
                    <a:pt x="3773984" y="3154515"/>
                  </a:lnTo>
                  <a:lnTo>
                    <a:pt x="3764452" y="3159279"/>
                  </a:lnTo>
                  <a:lnTo>
                    <a:pt x="3754924" y="3173575"/>
                  </a:lnTo>
                  <a:lnTo>
                    <a:pt x="3750156" y="3183105"/>
                  </a:lnTo>
                  <a:lnTo>
                    <a:pt x="3745392" y="3187871"/>
                  </a:lnTo>
                  <a:lnTo>
                    <a:pt x="3735864" y="3187871"/>
                  </a:lnTo>
                  <a:lnTo>
                    <a:pt x="3731096" y="3178339"/>
                  </a:lnTo>
                  <a:lnTo>
                    <a:pt x="3716800" y="3178339"/>
                  </a:lnTo>
                  <a:lnTo>
                    <a:pt x="3702504" y="3187871"/>
                  </a:lnTo>
                  <a:lnTo>
                    <a:pt x="3688212" y="3206931"/>
                  </a:lnTo>
                  <a:lnTo>
                    <a:pt x="3669152" y="3230757"/>
                  </a:lnTo>
                  <a:lnTo>
                    <a:pt x="3645324" y="3245051"/>
                  </a:lnTo>
                  <a:lnTo>
                    <a:pt x="3621500" y="3259347"/>
                  </a:lnTo>
                  <a:lnTo>
                    <a:pt x="3597672" y="3264113"/>
                  </a:lnTo>
                  <a:lnTo>
                    <a:pt x="3583376" y="3273643"/>
                  </a:lnTo>
                  <a:lnTo>
                    <a:pt x="3559552" y="3292703"/>
                  </a:lnTo>
                  <a:lnTo>
                    <a:pt x="3554788" y="3302233"/>
                  </a:lnTo>
                  <a:lnTo>
                    <a:pt x="3535728" y="3306999"/>
                  </a:lnTo>
                  <a:lnTo>
                    <a:pt x="3521432" y="3316529"/>
                  </a:lnTo>
                  <a:lnTo>
                    <a:pt x="3507136" y="3326059"/>
                  </a:lnTo>
                  <a:lnTo>
                    <a:pt x="3502372" y="3349885"/>
                  </a:lnTo>
                  <a:lnTo>
                    <a:pt x="3492840" y="3359415"/>
                  </a:lnTo>
                  <a:lnTo>
                    <a:pt x="3473780" y="3378475"/>
                  </a:lnTo>
                  <a:lnTo>
                    <a:pt x="3454720" y="3397535"/>
                  </a:lnTo>
                  <a:lnTo>
                    <a:pt x="3445188" y="3411831"/>
                  </a:lnTo>
                  <a:lnTo>
                    <a:pt x="3430892" y="3430891"/>
                  </a:lnTo>
                  <a:lnTo>
                    <a:pt x="3426128" y="3440421"/>
                  </a:lnTo>
                  <a:lnTo>
                    <a:pt x="3426128" y="3454717"/>
                  </a:lnTo>
                  <a:lnTo>
                    <a:pt x="3430892" y="3464247"/>
                  </a:lnTo>
                  <a:lnTo>
                    <a:pt x="3435660" y="3473777"/>
                  </a:lnTo>
                  <a:lnTo>
                    <a:pt x="3430892" y="3483307"/>
                  </a:lnTo>
                  <a:lnTo>
                    <a:pt x="3416600" y="3483307"/>
                  </a:lnTo>
                  <a:lnTo>
                    <a:pt x="3407068" y="3483307"/>
                  </a:lnTo>
                  <a:lnTo>
                    <a:pt x="3388008" y="3473777"/>
                  </a:lnTo>
                  <a:lnTo>
                    <a:pt x="3364184" y="3459483"/>
                  </a:lnTo>
                  <a:lnTo>
                    <a:pt x="3359416" y="3454717"/>
                  </a:lnTo>
                  <a:lnTo>
                    <a:pt x="3349888" y="3445187"/>
                  </a:lnTo>
                  <a:lnTo>
                    <a:pt x="3349888" y="3430891"/>
                  </a:lnTo>
                  <a:lnTo>
                    <a:pt x="3354652" y="3411831"/>
                  </a:lnTo>
                  <a:lnTo>
                    <a:pt x="3359416" y="3397535"/>
                  </a:lnTo>
                  <a:lnTo>
                    <a:pt x="3349888" y="3392771"/>
                  </a:lnTo>
                  <a:lnTo>
                    <a:pt x="3345120" y="3383241"/>
                  </a:lnTo>
                  <a:lnTo>
                    <a:pt x="3340356" y="3378475"/>
                  </a:lnTo>
                  <a:lnTo>
                    <a:pt x="3330824" y="3364179"/>
                  </a:lnTo>
                  <a:lnTo>
                    <a:pt x="3321296" y="3364179"/>
                  </a:lnTo>
                  <a:lnTo>
                    <a:pt x="3311764" y="3368945"/>
                  </a:lnTo>
                  <a:lnTo>
                    <a:pt x="3297472" y="3364179"/>
                  </a:lnTo>
                  <a:lnTo>
                    <a:pt x="3264116" y="3368945"/>
                  </a:lnTo>
                  <a:lnTo>
                    <a:pt x="3240288" y="3368945"/>
                  </a:lnTo>
                  <a:lnTo>
                    <a:pt x="3221228" y="3368945"/>
                  </a:lnTo>
                  <a:lnTo>
                    <a:pt x="3187872" y="3373711"/>
                  </a:lnTo>
                  <a:lnTo>
                    <a:pt x="3154516" y="3373711"/>
                  </a:lnTo>
                  <a:lnTo>
                    <a:pt x="3144984" y="3368945"/>
                  </a:lnTo>
                  <a:lnTo>
                    <a:pt x="3140220" y="3368945"/>
                  </a:lnTo>
                  <a:lnTo>
                    <a:pt x="3130692" y="3349885"/>
                  </a:lnTo>
                  <a:lnTo>
                    <a:pt x="3130692" y="3330823"/>
                  </a:lnTo>
                  <a:lnTo>
                    <a:pt x="3121160" y="3302233"/>
                  </a:lnTo>
                  <a:lnTo>
                    <a:pt x="3116396" y="3278407"/>
                  </a:lnTo>
                  <a:lnTo>
                    <a:pt x="3111632" y="3249817"/>
                  </a:lnTo>
                  <a:lnTo>
                    <a:pt x="3106864" y="3221227"/>
                  </a:lnTo>
                  <a:lnTo>
                    <a:pt x="3106864" y="3197401"/>
                  </a:lnTo>
                  <a:lnTo>
                    <a:pt x="3078276" y="3197401"/>
                  </a:lnTo>
                  <a:lnTo>
                    <a:pt x="3059212" y="3197401"/>
                  </a:lnTo>
                  <a:lnTo>
                    <a:pt x="3030624" y="3192635"/>
                  </a:lnTo>
                  <a:lnTo>
                    <a:pt x="3030624" y="3178339"/>
                  </a:lnTo>
                  <a:lnTo>
                    <a:pt x="3030624" y="3130689"/>
                  </a:lnTo>
                  <a:lnTo>
                    <a:pt x="3035388" y="3097333"/>
                  </a:lnTo>
                  <a:lnTo>
                    <a:pt x="3040152" y="3068743"/>
                  </a:lnTo>
                  <a:lnTo>
                    <a:pt x="3040152" y="3035387"/>
                  </a:lnTo>
                  <a:lnTo>
                    <a:pt x="3040152" y="3011561"/>
                  </a:lnTo>
                  <a:lnTo>
                    <a:pt x="3044920" y="2987735"/>
                  </a:lnTo>
                  <a:lnTo>
                    <a:pt x="3030624" y="2992499"/>
                  </a:lnTo>
                  <a:lnTo>
                    <a:pt x="3011564" y="3002031"/>
                  </a:lnTo>
                  <a:lnTo>
                    <a:pt x="2997268" y="3011561"/>
                  </a:lnTo>
                  <a:lnTo>
                    <a:pt x="2987736" y="2987735"/>
                  </a:lnTo>
                  <a:lnTo>
                    <a:pt x="2978208" y="2968675"/>
                  </a:lnTo>
                  <a:lnTo>
                    <a:pt x="2959148" y="2940083"/>
                  </a:lnTo>
                  <a:lnTo>
                    <a:pt x="2949616" y="2916257"/>
                  </a:lnTo>
                  <a:lnTo>
                    <a:pt x="2930556" y="2901963"/>
                  </a:lnTo>
                  <a:lnTo>
                    <a:pt x="2916260" y="2892433"/>
                  </a:lnTo>
                  <a:lnTo>
                    <a:pt x="2897200" y="2878137"/>
                  </a:lnTo>
                  <a:lnTo>
                    <a:pt x="2882904" y="2859077"/>
                  </a:lnTo>
                  <a:lnTo>
                    <a:pt x="2873372" y="2844781"/>
                  </a:lnTo>
                  <a:lnTo>
                    <a:pt x="2859080" y="2830485"/>
                  </a:lnTo>
                  <a:lnTo>
                    <a:pt x="2844784" y="2835251"/>
                  </a:lnTo>
                  <a:lnTo>
                    <a:pt x="2825724" y="2844781"/>
                  </a:lnTo>
                  <a:lnTo>
                    <a:pt x="2811428" y="2854311"/>
                  </a:lnTo>
                  <a:lnTo>
                    <a:pt x="2792368" y="2859077"/>
                  </a:lnTo>
                  <a:lnTo>
                    <a:pt x="2782836" y="2863841"/>
                  </a:lnTo>
                  <a:lnTo>
                    <a:pt x="2763776" y="2863841"/>
                  </a:lnTo>
                  <a:lnTo>
                    <a:pt x="2749480" y="2863841"/>
                  </a:lnTo>
                  <a:lnTo>
                    <a:pt x="2716124" y="2859077"/>
                  </a:lnTo>
                  <a:lnTo>
                    <a:pt x="2663708" y="2854311"/>
                  </a:lnTo>
                  <a:lnTo>
                    <a:pt x="2630352" y="2854311"/>
                  </a:lnTo>
                  <a:lnTo>
                    <a:pt x="2592232" y="2849547"/>
                  </a:lnTo>
                  <a:lnTo>
                    <a:pt x="2568404" y="2854311"/>
                  </a:lnTo>
                  <a:lnTo>
                    <a:pt x="2535048" y="2859077"/>
                  </a:lnTo>
                  <a:lnTo>
                    <a:pt x="2501696" y="2863841"/>
                  </a:lnTo>
                  <a:lnTo>
                    <a:pt x="2473104" y="2868607"/>
                  </a:lnTo>
                  <a:lnTo>
                    <a:pt x="2439748" y="2873371"/>
                  </a:lnTo>
                  <a:lnTo>
                    <a:pt x="2415920" y="2878137"/>
                  </a:lnTo>
                  <a:lnTo>
                    <a:pt x="2401628" y="2878137"/>
                  </a:lnTo>
                  <a:lnTo>
                    <a:pt x="2387332" y="2859077"/>
                  </a:lnTo>
                  <a:lnTo>
                    <a:pt x="2358740" y="2830485"/>
                  </a:lnTo>
                  <a:lnTo>
                    <a:pt x="2330148" y="2797129"/>
                  </a:lnTo>
                  <a:lnTo>
                    <a:pt x="2306324" y="2768539"/>
                  </a:lnTo>
                  <a:lnTo>
                    <a:pt x="2272968" y="2730419"/>
                  </a:lnTo>
                  <a:lnTo>
                    <a:pt x="2263436" y="2716123"/>
                  </a:lnTo>
                  <a:lnTo>
                    <a:pt x="2258672" y="2692297"/>
                  </a:lnTo>
                  <a:lnTo>
                    <a:pt x="2249144" y="2682767"/>
                  </a:lnTo>
                  <a:lnTo>
                    <a:pt x="2230080" y="2668471"/>
                  </a:lnTo>
                  <a:lnTo>
                    <a:pt x="2206256" y="2654175"/>
                  </a:lnTo>
                  <a:lnTo>
                    <a:pt x="2187196" y="2639881"/>
                  </a:lnTo>
                  <a:lnTo>
                    <a:pt x="2163368" y="2625585"/>
                  </a:lnTo>
                  <a:lnTo>
                    <a:pt x="2144308" y="2611289"/>
                  </a:lnTo>
                  <a:lnTo>
                    <a:pt x="2120484" y="2596995"/>
                  </a:lnTo>
                  <a:lnTo>
                    <a:pt x="2101424" y="2582699"/>
                  </a:lnTo>
                  <a:lnTo>
                    <a:pt x="2101424" y="2506457"/>
                  </a:lnTo>
                  <a:lnTo>
                    <a:pt x="2101424" y="2482631"/>
                  </a:lnTo>
                  <a:lnTo>
                    <a:pt x="2101424" y="2458805"/>
                  </a:lnTo>
                  <a:lnTo>
                    <a:pt x="2096660" y="2434979"/>
                  </a:lnTo>
                  <a:lnTo>
                    <a:pt x="2091892" y="2420685"/>
                  </a:lnTo>
                  <a:lnTo>
                    <a:pt x="2087128" y="2420685"/>
                  </a:lnTo>
                  <a:lnTo>
                    <a:pt x="2053772" y="2420685"/>
                  </a:lnTo>
                  <a:lnTo>
                    <a:pt x="2049008" y="2415919"/>
                  </a:lnTo>
                  <a:lnTo>
                    <a:pt x="2049008" y="2411155"/>
                  </a:lnTo>
                  <a:lnTo>
                    <a:pt x="2049008" y="2401623"/>
                  </a:lnTo>
                  <a:lnTo>
                    <a:pt x="2049008" y="2392093"/>
                  </a:lnTo>
                  <a:lnTo>
                    <a:pt x="2053772" y="2387329"/>
                  </a:lnTo>
                  <a:lnTo>
                    <a:pt x="2058536" y="2377799"/>
                  </a:lnTo>
                  <a:lnTo>
                    <a:pt x="2058536" y="2373033"/>
                  </a:lnTo>
                  <a:lnTo>
                    <a:pt x="2063304" y="2373033"/>
                  </a:lnTo>
                  <a:lnTo>
                    <a:pt x="2063304" y="2363503"/>
                  </a:lnTo>
                  <a:lnTo>
                    <a:pt x="2068068" y="2358739"/>
                  </a:lnTo>
                  <a:lnTo>
                    <a:pt x="2068068" y="2353973"/>
                  </a:lnTo>
                  <a:lnTo>
                    <a:pt x="2063304" y="2353973"/>
                  </a:lnTo>
                  <a:lnTo>
                    <a:pt x="2063304" y="2349207"/>
                  </a:lnTo>
                  <a:lnTo>
                    <a:pt x="2068068" y="2344443"/>
                  </a:lnTo>
                  <a:lnTo>
                    <a:pt x="2072832" y="2344443"/>
                  </a:lnTo>
                  <a:lnTo>
                    <a:pt x="2082364" y="2344443"/>
                  </a:lnTo>
                  <a:lnTo>
                    <a:pt x="2139544" y="2358739"/>
                  </a:lnTo>
                  <a:lnTo>
                    <a:pt x="2153840" y="2358739"/>
                  </a:lnTo>
                  <a:lnTo>
                    <a:pt x="2163368" y="2353973"/>
                  </a:lnTo>
                  <a:lnTo>
                    <a:pt x="2168136" y="2344443"/>
                  </a:lnTo>
                  <a:lnTo>
                    <a:pt x="2182432" y="2330147"/>
                  </a:lnTo>
                  <a:lnTo>
                    <a:pt x="2191960" y="2325383"/>
                  </a:lnTo>
                  <a:lnTo>
                    <a:pt x="2206256" y="2315851"/>
                  </a:lnTo>
                  <a:lnTo>
                    <a:pt x="2211020" y="2301557"/>
                  </a:lnTo>
                  <a:lnTo>
                    <a:pt x="2220552" y="2296791"/>
                  </a:lnTo>
                  <a:lnTo>
                    <a:pt x="2230080" y="2296791"/>
                  </a:lnTo>
                  <a:lnTo>
                    <a:pt x="2268204" y="2272965"/>
                  </a:lnTo>
                  <a:lnTo>
                    <a:pt x="2272968" y="2272965"/>
                  </a:lnTo>
                  <a:lnTo>
                    <a:pt x="2282496" y="2263435"/>
                  </a:lnTo>
                  <a:lnTo>
                    <a:pt x="2287264" y="2249139"/>
                  </a:lnTo>
                  <a:lnTo>
                    <a:pt x="2292028" y="2234845"/>
                  </a:lnTo>
                  <a:lnTo>
                    <a:pt x="2287264" y="2225315"/>
                  </a:lnTo>
                  <a:lnTo>
                    <a:pt x="2282496" y="2220549"/>
                  </a:lnTo>
                  <a:lnTo>
                    <a:pt x="2272968" y="2225315"/>
                  </a:lnTo>
                  <a:lnTo>
                    <a:pt x="2258672" y="2220549"/>
                  </a:lnTo>
                  <a:lnTo>
                    <a:pt x="2239612" y="2215785"/>
                  </a:lnTo>
                  <a:lnTo>
                    <a:pt x="2225316" y="2206255"/>
                  </a:lnTo>
                  <a:lnTo>
                    <a:pt x="2215788" y="2196723"/>
                  </a:lnTo>
                  <a:lnTo>
                    <a:pt x="2211020" y="2182429"/>
                  </a:lnTo>
                  <a:lnTo>
                    <a:pt x="2215788" y="2163367"/>
                  </a:lnTo>
                  <a:lnTo>
                    <a:pt x="2206256" y="2153837"/>
                  </a:lnTo>
                  <a:lnTo>
                    <a:pt x="2187196" y="2149073"/>
                  </a:lnTo>
                  <a:lnTo>
                    <a:pt x="2182432" y="2149073"/>
                  </a:lnTo>
                  <a:lnTo>
                    <a:pt x="2182432" y="2153837"/>
                  </a:lnTo>
                  <a:lnTo>
                    <a:pt x="2191960" y="2163367"/>
                  </a:lnTo>
                  <a:lnTo>
                    <a:pt x="2206256" y="2172899"/>
                  </a:lnTo>
                  <a:lnTo>
                    <a:pt x="2206256" y="2187193"/>
                  </a:lnTo>
                  <a:lnTo>
                    <a:pt x="2191960" y="2191959"/>
                  </a:lnTo>
                  <a:lnTo>
                    <a:pt x="2187196" y="2196723"/>
                  </a:lnTo>
                  <a:lnTo>
                    <a:pt x="2177664" y="2191959"/>
                  </a:lnTo>
                  <a:lnTo>
                    <a:pt x="2168136" y="2187193"/>
                  </a:lnTo>
                  <a:lnTo>
                    <a:pt x="2163368" y="2191959"/>
                  </a:lnTo>
                  <a:lnTo>
                    <a:pt x="2158604" y="2206255"/>
                  </a:lnTo>
                  <a:lnTo>
                    <a:pt x="2153840" y="2201489"/>
                  </a:lnTo>
                  <a:lnTo>
                    <a:pt x="2149076" y="2182429"/>
                  </a:lnTo>
                  <a:lnTo>
                    <a:pt x="2139544" y="2172899"/>
                  </a:lnTo>
                  <a:lnTo>
                    <a:pt x="2134780" y="2168133"/>
                  </a:lnTo>
                  <a:lnTo>
                    <a:pt x="2120484" y="2172899"/>
                  </a:lnTo>
                  <a:lnTo>
                    <a:pt x="2101424" y="2187193"/>
                  </a:lnTo>
                  <a:lnTo>
                    <a:pt x="2091892" y="2201489"/>
                  </a:lnTo>
                  <a:lnTo>
                    <a:pt x="2091892" y="2211019"/>
                  </a:lnTo>
                  <a:lnTo>
                    <a:pt x="2091892" y="2225315"/>
                  </a:lnTo>
                  <a:lnTo>
                    <a:pt x="2101424" y="2234845"/>
                  </a:lnTo>
                  <a:lnTo>
                    <a:pt x="2115720" y="2239609"/>
                  </a:lnTo>
                  <a:lnTo>
                    <a:pt x="2139544" y="2234845"/>
                  </a:lnTo>
                  <a:lnTo>
                    <a:pt x="2153840" y="2234845"/>
                  </a:lnTo>
                  <a:lnTo>
                    <a:pt x="2163368" y="2244375"/>
                  </a:lnTo>
                  <a:lnTo>
                    <a:pt x="2177664" y="2253905"/>
                  </a:lnTo>
                  <a:lnTo>
                    <a:pt x="2182432" y="2253905"/>
                  </a:lnTo>
                  <a:lnTo>
                    <a:pt x="2187196" y="2249139"/>
                  </a:lnTo>
                  <a:lnTo>
                    <a:pt x="2196724" y="2239609"/>
                  </a:lnTo>
                  <a:lnTo>
                    <a:pt x="2201492" y="2234845"/>
                  </a:lnTo>
                  <a:lnTo>
                    <a:pt x="2206256" y="2234845"/>
                  </a:lnTo>
                  <a:lnTo>
                    <a:pt x="2206256" y="2244375"/>
                  </a:lnTo>
                  <a:lnTo>
                    <a:pt x="2220552" y="2272965"/>
                  </a:lnTo>
                  <a:lnTo>
                    <a:pt x="2220552" y="2277731"/>
                  </a:lnTo>
                  <a:lnTo>
                    <a:pt x="2215788" y="2287261"/>
                  </a:lnTo>
                  <a:lnTo>
                    <a:pt x="2206256" y="2301557"/>
                  </a:lnTo>
                  <a:lnTo>
                    <a:pt x="2196724" y="2306321"/>
                  </a:lnTo>
                  <a:lnTo>
                    <a:pt x="2191960" y="2311087"/>
                  </a:lnTo>
                  <a:lnTo>
                    <a:pt x="2139544" y="2301557"/>
                  </a:lnTo>
                  <a:lnTo>
                    <a:pt x="2130016" y="2306321"/>
                  </a:lnTo>
                  <a:lnTo>
                    <a:pt x="2115720" y="2301557"/>
                  </a:lnTo>
                  <a:lnTo>
                    <a:pt x="2106188" y="2296791"/>
                  </a:lnTo>
                  <a:lnTo>
                    <a:pt x="2096660" y="2296791"/>
                  </a:lnTo>
                  <a:lnTo>
                    <a:pt x="2068068" y="2311087"/>
                  </a:lnTo>
                  <a:lnTo>
                    <a:pt x="2058536" y="2311087"/>
                  </a:lnTo>
                  <a:lnTo>
                    <a:pt x="2058536" y="2306321"/>
                  </a:lnTo>
                  <a:lnTo>
                    <a:pt x="2063304" y="2296791"/>
                  </a:lnTo>
                  <a:lnTo>
                    <a:pt x="2063304" y="2287261"/>
                  </a:lnTo>
                  <a:lnTo>
                    <a:pt x="2058536" y="2268201"/>
                  </a:lnTo>
                  <a:lnTo>
                    <a:pt x="2053772" y="2258671"/>
                  </a:lnTo>
                  <a:lnTo>
                    <a:pt x="2053772" y="2253905"/>
                  </a:lnTo>
                  <a:lnTo>
                    <a:pt x="2044240" y="2249139"/>
                  </a:lnTo>
                  <a:lnTo>
                    <a:pt x="2025180" y="2249139"/>
                  </a:lnTo>
                  <a:lnTo>
                    <a:pt x="2020416" y="2249139"/>
                  </a:lnTo>
                  <a:lnTo>
                    <a:pt x="2015652" y="2249139"/>
                  </a:lnTo>
                  <a:lnTo>
                    <a:pt x="2015652" y="2253905"/>
                  </a:lnTo>
                  <a:lnTo>
                    <a:pt x="2025180" y="2268201"/>
                  </a:lnTo>
                  <a:lnTo>
                    <a:pt x="2039476" y="2296791"/>
                  </a:lnTo>
                  <a:lnTo>
                    <a:pt x="2044240" y="2320617"/>
                  </a:lnTo>
                  <a:lnTo>
                    <a:pt x="2034712" y="2344443"/>
                  </a:lnTo>
                  <a:lnTo>
                    <a:pt x="2034712" y="2363503"/>
                  </a:lnTo>
                  <a:lnTo>
                    <a:pt x="2029948" y="2373033"/>
                  </a:lnTo>
                  <a:lnTo>
                    <a:pt x="2029948" y="2377799"/>
                  </a:lnTo>
                  <a:lnTo>
                    <a:pt x="2020416" y="2377799"/>
                  </a:lnTo>
                  <a:lnTo>
                    <a:pt x="2010884" y="2382563"/>
                  </a:lnTo>
                  <a:lnTo>
                    <a:pt x="2006120" y="2392093"/>
                  </a:lnTo>
                  <a:lnTo>
                    <a:pt x="2001356" y="2392093"/>
                  </a:lnTo>
                  <a:lnTo>
                    <a:pt x="2001356" y="2387329"/>
                  </a:lnTo>
                  <a:lnTo>
                    <a:pt x="1996592" y="2382563"/>
                  </a:lnTo>
                  <a:lnTo>
                    <a:pt x="1991824" y="2382563"/>
                  </a:lnTo>
                  <a:lnTo>
                    <a:pt x="1991824" y="2387329"/>
                  </a:lnTo>
                  <a:lnTo>
                    <a:pt x="1991824" y="2392093"/>
                  </a:lnTo>
                  <a:lnTo>
                    <a:pt x="1982296" y="2396859"/>
                  </a:lnTo>
                  <a:lnTo>
                    <a:pt x="1972764" y="2387329"/>
                  </a:lnTo>
                  <a:lnTo>
                    <a:pt x="1972764" y="2377799"/>
                  </a:lnTo>
                  <a:lnTo>
                    <a:pt x="1972764" y="2363503"/>
                  </a:lnTo>
                  <a:lnTo>
                    <a:pt x="1977528" y="2353973"/>
                  </a:lnTo>
                  <a:lnTo>
                    <a:pt x="1987060" y="2339677"/>
                  </a:lnTo>
                  <a:lnTo>
                    <a:pt x="1987060" y="2330147"/>
                  </a:lnTo>
                  <a:lnTo>
                    <a:pt x="1982296" y="2325383"/>
                  </a:lnTo>
                  <a:lnTo>
                    <a:pt x="1972764" y="2325383"/>
                  </a:lnTo>
                  <a:lnTo>
                    <a:pt x="1968000" y="2330147"/>
                  </a:lnTo>
                  <a:lnTo>
                    <a:pt x="1958468" y="2334913"/>
                  </a:lnTo>
                  <a:lnTo>
                    <a:pt x="1948940" y="2334913"/>
                  </a:lnTo>
                  <a:lnTo>
                    <a:pt x="1929880" y="2330147"/>
                  </a:lnTo>
                  <a:lnTo>
                    <a:pt x="1929880" y="2334913"/>
                  </a:lnTo>
                  <a:lnTo>
                    <a:pt x="1925112" y="2339677"/>
                  </a:lnTo>
                  <a:lnTo>
                    <a:pt x="1915584" y="2339677"/>
                  </a:lnTo>
                  <a:lnTo>
                    <a:pt x="1910820" y="2344443"/>
                  </a:lnTo>
                  <a:lnTo>
                    <a:pt x="1896524" y="2349207"/>
                  </a:lnTo>
                  <a:lnTo>
                    <a:pt x="1891756" y="2358739"/>
                  </a:lnTo>
                  <a:lnTo>
                    <a:pt x="1886992" y="2373033"/>
                  </a:lnTo>
                  <a:lnTo>
                    <a:pt x="1882228" y="2392093"/>
                  </a:lnTo>
                  <a:lnTo>
                    <a:pt x="1877464" y="2415919"/>
                  </a:lnTo>
                  <a:lnTo>
                    <a:pt x="1872696" y="2420685"/>
                  </a:lnTo>
                  <a:lnTo>
                    <a:pt x="1872696" y="2430215"/>
                  </a:lnTo>
                  <a:lnTo>
                    <a:pt x="1863168" y="2425449"/>
                  </a:lnTo>
                  <a:lnTo>
                    <a:pt x="1848872" y="2430215"/>
                  </a:lnTo>
                  <a:lnTo>
                    <a:pt x="1825044" y="2434979"/>
                  </a:lnTo>
                  <a:lnTo>
                    <a:pt x="1796456" y="2444511"/>
                  </a:lnTo>
                  <a:lnTo>
                    <a:pt x="1772628" y="2454041"/>
                  </a:lnTo>
                  <a:lnTo>
                    <a:pt x="1724980" y="2463571"/>
                  </a:lnTo>
                  <a:lnTo>
                    <a:pt x="1696388" y="2473101"/>
                  </a:lnTo>
                  <a:lnTo>
                    <a:pt x="1672560" y="2482631"/>
                  </a:lnTo>
                  <a:lnTo>
                    <a:pt x="1648736" y="2492161"/>
                  </a:lnTo>
                  <a:lnTo>
                    <a:pt x="1615380" y="2501691"/>
                  </a:lnTo>
                  <a:lnTo>
                    <a:pt x="1591556" y="2511223"/>
                  </a:lnTo>
                  <a:lnTo>
                    <a:pt x="1558200" y="2520753"/>
                  </a:lnTo>
                  <a:lnTo>
                    <a:pt x="1529608" y="2530283"/>
                  </a:lnTo>
                  <a:lnTo>
                    <a:pt x="1505784" y="2535047"/>
                  </a:lnTo>
                  <a:lnTo>
                    <a:pt x="1481956" y="2544579"/>
                  </a:lnTo>
                  <a:lnTo>
                    <a:pt x="1462896" y="2549343"/>
                  </a:lnTo>
                  <a:lnTo>
                    <a:pt x="1462896" y="3335589"/>
                  </a:lnTo>
                  <a:lnTo>
                    <a:pt x="1458132" y="3335589"/>
                  </a:lnTo>
                  <a:lnTo>
                    <a:pt x="1439072" y="3340355"/>
                  </a:lnTo>
                  <a:lnTo>
                    <a:pt x="1415244" y="3345119"/>
                  </a:lnTo>
                  <a:lnTo>
                    <a:pt x="1396184" y="3349885"/>
                  </a:lnTo>
                  <a:lnTo>
                    <a:pt x="1386656" y="3345119"/>
                  </a:lnTo>
                  <a:lnTo>
                    <a:pt x="1377124" y="3340355"/>
                  </a:lnTo>
                  <a:lnTo>
                    <a:pt x="1372360" y="3330823"/>
                  </a:lnTo>
                  <a:lnTo>
                    <a:pt x="1358064" y="3321293"/>
                  </a:lnTo>
                  <a:lnTo>
                    <a:pt x="1348532" y="3306999"/>
                  </a:lnTo>
                  <a:lnTo>
                    <a:pt x="1334236" y="3287937"/>
                  </a:lnTo>
                  <a:lnTo>
                    <a:pt x="1324708" y="3268877"/>
                  </a:lnTo>
                  <a:lnTo>
                    <a:pt x="1300880" y="3235521"/>
                  </a:lnTo>
                  <a:lnTo>
                    <a:pt x="1300880" y="3225991"/>
                  </a:lnTo>
                  <a:lnTo>
                    <a:pt x="1296116" y="3211695"/>
                  </a:lnTo>
                  <a:lnTo>
                    <a:pt x="1286588" y="3202165"/>
                  </a:lnTo>
                  <a:lnTo>
                    <a:pt x="1257996" y="3178339"/>
                  </a:lnTo>
                  <a:lnTo>
                    <a:pt x="1229404" y="3159279"/>
                  </a:lnTo>
                  <a:lnTo>
                    <a:pt x="1196048" y="3135453"/>
                  </a:lnTo>
                  <a:lnTo>
                    <a:pt x="1186520" y="3130689"/>
                  </a:lnTo>
                  <a:lnTo>
                    <a:pt x="1172224" y="3125923"/>
                  </a:lnTo>
                  <a:lnTo>
                    <a:pt x="1153164" y="3125923"/>
                  </a:lnTo>
                  <a:lnTo>
                    <a:pt x="1143632" y="3125923"/>
                  </a:lnTo>
                  <a:lnTo>
                    <a:pt x="1105512" y="3130689"/>
                  </a:lnTo>
                  <a:lnTo>
                    <a:pt x="1076920" y="3140219"/>
                  </a:lnTo>
                  <a:lnTo>
                    <a:pt x="1034036" y="3149749"/>
                  </a:lnTo>
                  <a:lnTo>
                    <a:pt x="1005444" y="3164045"/>
                  </a:lnTo>
                  <a:lnTo>
                    <a:pt x="1000680" y="3168809"/>
                  </a:lnTo>
                  <a:lnTo>
                    <a:pt x="976852" y="3183105"/>
                  </a:lnTo>
                  <a:lnTo>
                    <a:pt x="948264" y="3206931"/>
                  </a:lnTo>
                  <a:lnTo>
                    <a:pt x="919672" y="3240287"/>
                  </a:lnTo>
                  <a:lnTo>
                    <a:pt x="914908" y="3221227"/>
                  </a:lnTo>
                  <a:lnTo>
                    <a:pt x="914908" y="3183105"/>
                  </a:lnTo>
                  <a:lnTo>
                    <a:pt x="914908" y="3173575"/>
                  </a:lnTo>
                  <a:lnTo>
                    <a:pt x="919672" y="3144983"/>
                  </a:lnTo>
                  <a:lnTo>
                    <a:pt x="929200" y="3125923"/>
                  </a:lnTo>
                  <a:lnTo>
                    <a:pt x="938732" y="3106863"/>
                  </a:lnTo>
                  <a:lnTo>
                    <a:pt x="938732" y="3078273"/>
                  </a:lnTo>
                  <a:lnTo>
                    <a:pt x="933968" y="3035387"/>
                  </a:lnTo>
                  <a:lnTo>
                    <a:pt x="924436" y="3025855"/>
                  </a:lnTo>
                  <a:lnTo>
                    <a:pt x="919672" y="3021091"/>
                  </a:lnTo>
                  <a:lnTo>
                    <a:pt x="910140" y="3021091"/>
                  </a:lnTo>
                  <a:lnTo>
                    <a:pt x="891080" y="3021091"/>
                  </a:lnTo>
                  <a:lnTo>
                    <a:pt x="881552" y="3025855"/>
                  </a:lnTo>
                  <a:lnTo>
                    <a:pt x="872020" y="3011561"/>
                  </a:lnTo>
                  <a:lnTo>
                    <a:pt x="852960" y="3011561"/>
                  </a:lnTo>
                  <a:lnTo>
                    <a:pt x="843428" y="3011561"/>
                  </a:lnTo>
                  <a:lnTo>
                    <a:pt x="833900" y="3016325"/>
                  </a:lnTo>
                  <a:lnTo>
                    <a:pt x="824368" y="3011561"/>
                  </a:lnTo>
                  <a:lnTo>
                    <a:pt x="814840" y="3002031"/>
                  </a:lnTo>
                  <a:lnTo>
                    <a:pt x="810072" y="2992499"/>
                  </a:lnTo>
                  <a:lnTo>
                    <a:pt x="805308" y="2982969"/>
                  </a:lnTo>
                  <a:lnTo>
                    <a:pt x="795780" y="2963909"/>
                  </a:lnTo>
                  <a:lnTo>
                    <a:pt x="781484" y="2949613"/>
                  </a:lnTo>
                  <a:lnTo>
                    <a:pt x="767188" y="2949613"/>
                  </a:lnTo>
                  <a:lnTo>
                    <a:pt x="738596" y="2949613"/>
                  </a:lnTo>
                  <a:lnTo>
                    <a:pt x="729068" y="2944849"/>
                  </a:lnTo>
                  <a:lnTo>
                    <a:pt x="729068" y="2935319"/>
                  </a:lnTo>
                  <a:lnTo>
                    <a:pt x="733832" y="2906727"/>
                  </a:lnTo>
                  <a:lnTo>
                    <a:pt x="733832" y="2892433"/>
                  </a:lnTo>
                  <a:lnTo>
                    <a:pt x="733832" y="2878137"/>
                  </a:lnTo>
                  <a:lnTo>
                    <a:pt x="729068" y="2868607"/>
                  </a:lnTo>
                  <a:lnTo>
                    <a:pt x="724300" y="2859077"/>
                  </a:lnTo>
                  <a:lnTo>
                    <a:pt x="705240" y="2844781"/>
                  </a:lnTo>
                  <a:lnTo>
                    <a:pt x="695712" y="2820955"/>
                  </a:lnTo>
                  <a:lnTo>
                    <a:pt x="676652" y="2778069"/>
                  </a:lnTo>
                  <a:lnTo>
                    <a:pt x="657588" y="2725653"/>
                  </a:lnTo>
                  <a:lnTo>
                    <a:pt x="652824" y="2720887"/>
                  </a:lnTo>
                  <a:lnTo>
                    <a:pt x="633764" y="2711357"/>
                  </a:lnTo>
                  <a:lnTo>
                    <a:pt x="600408" y="2701827"/>
                  </a:lnTo>
                  <a:lnTo>
                    <a:pt x="581348" y="2697063"/>
                  </a:lnTo>
                  <a:lnTo>
                    <a:pt x="571816" y="2692297"/>
                  </a:lnTo>
                  <a:lnTo>
                    <a:pt x="567052" y="2678001"/>
                  </a:lnTo>
                  <a:lnTo>
                    <a:pt x="567052" y="2668471"/>
                  </a:lnTo>
                  <a:lnTo>
                    <a:pt x="571816" y="2654175"/>
                  </a:lnTo>
                  <a:lnTo>
                    <a:pt x="576584" y="2639881"/>
                  </a:lnTo>
                  <a:lnTo>
                    <a:pt x="590876" y="2630351"/>
                  </a:lnTo>
                  <a:lnTo>
                    <a:pt x="629000" y="2630351"/>
                  </a:lnTo>
                  <a:lnTo>
                    <a:pt x="662356" y="2630351"/>
                  </a:lnTo>
                  <a:lnTo>
                    <a:pt x="690944" y="2654175"/>
                  </a:lnTo>
                  <a:lnTo>
                    <a:pt x="700476" y="2658941"/>
                  </a:lnTo>
                  <a:lnTo>
                    <a:pt x="714772" y="2658941"/>
                  </a:lnTo>
                  <a:lnTo>
                    <a:pt x="733832" y="2654175"/>
                  </a:lnTo>
                  <a:lnTo>
                    <a:pt x="743360" y="2649411"/>
                  </a:lnTo>
                  <a:lnTo>
                    <a:pt x="767188" y="2654175"/>
                  </a:lnTo>
                  <a:lnTo>
                    <a:pt x="762424" y="2639881"/>
                  </a:lnTo>
                  <a:lnTo>
                    <a:pt x="752892" y="2635115"/>
                  </a:lnTo>
                  <a:lnTo>
                    <a:pt x="743360" y="2635115"/>
                  </a:lnTo>
                  <a:lnTo>
                    <a:pt x="733832" y="2635115"/>
                  </a:lnTo>
                  <a:lnTo>
                    <a:pt x="719536" y="2611289"/>
                  </a:lnTo>
                  <a:lnTo>
                    <a:pt x="695712" y="2592229"/>
                  </a:lnTo>
                  <a:lnTo>
                    <a:pt x="686180" y="2582699"/>
                  </a:lnTo>
                  <a:lnTo>
                    <a:pt x="686180" y="2568403"/>
                  </a:lnTo>
                  <a:lnTo>
                    <a:pt x="690944" y="2554109"/>
                  </a:lnTo>
                  <a:lnTo>
                    <a:pt x="710008" y="2539813"/>
                  </a:lnTo>
                  <a:lnTo>
                    <a:pt x="724300" y="2520753"/>
                  </a:lnTo>
                  <a:lnTo>
                    <a:pt x="729068" y="2496927"/>
                  </a:lnTo>
                  <a:lnTo>
                    <a:pt x="738596" y="2487397"/>
                  </a:lnTo>
                  <a:lnTo>
                    <a:pt x="748128" y="2468335"/>
                  </a:lnTo>
                  <a:lnTo>
                    <a:pt x="767188" y="2473101"/>
                  </a:lnTo>
                  <a:lnTo>
                    <a:pt x="800544" y="2458805"/>
                  </a:lnTo>
                  <a:lnTo>
                    <a:pt x="848196" y="2463571"/>
                  </a:lnTo>
                  <a:lnTo>
                    <a:pt x="910140" y="2458805"/>
                  </a:lnTo>
                  <a:lnTo>
                    <a:pt x="924436" y="2458805"/>
                  </a:lnTo>
                  <a:lnTo>
                    <a:pt x="962556" y="2473101"/>
                  </a:lnTo>
                  <a:lnTo>
                    <a:pt x="981620" y="2477867"/>
                  </a:lnTo>
                  <a:lnTo>
                    <a:pt x="1010208" y="2482631"/>
                  </a:lnTo>
                  <a:lnTo>
                    <a:pt x="1029268" y="2477867"/>
                  </a:lnTo>
                  <a:lnTo>
                    <a:pt x="1010208" y="2458805"/>
                  </a:lnTo>
                  <a:lnTo>
                    <a:pt x="972088" y="2439745"/>
                  </a:lnTo>
                  <a:lnTo>
                    <a:pt x="962556" y="2420685"/>
                  </a:lnTo>
                  <a:lnTo>
                    <a:pt x="981620" y="2377799"/>
                  </a:lnTo>
                  <a:lnTo>
                    <a:pt x="1005444" y="2334913"/>
                  </a:lnTo>
                  <a:lnTo>
                    <a:pt x="1019740" y="2282495"/>
                  </a:lnTo>
                  <a:lnTo>
                    <a:pt x="1014976" y="2234845"/>
                  </a:lnTo>
                  <a:lnTo>
                    <a:pt x="1005444" y="2220549"/>
                  </a:lnTo>
                  <a:lnTo>
                    <a:pt x="1010208" y="2201489"/>
                  </a:lnTo>
                  <a:lnTo>
                    <a:pt x="1019740" y="2187193"/>
                  </a:lnTo>
                  <a:lnTo>
                    <a:pt x="1024504" y="2172899"/>
                  </a:lnTo>
                  <a:lnTo>
                    <a:pt x="1019740" y="2158603"/>
                  </a:lnTo>
                  <a:lnTo>
                    <a:pt x="1010208" y="2130011"/>
                  </a:lnTo>
                  <a:lnTo>
                    <a:pt x="1000680" y="2125247"/>
                  </a:lnTo>
                  <a:lnTo>
                    <a:pt x="986384" y="2110951"/>
                  </a:lnTo>
                  <a:lnTo>
                    <a:pt x="948264" y="2110951"/>
                  </a:lnTo>
                  <a:lnTo>
                    <a:pt x="914908" y="2101421"/>
                  </a:lnTo>
                  <a:lnTo>
                    <a:pt x="905376" y="2106187"/>
                  </a:lnTo>
                  <a:lnTo>
                    <a:pt x="900612" y="2115717"/>
                  </a:lnTo>
                  <a:lnTo>
                    <a:pt x="895844" y="2125247"/>
                  </a:lnTo>
                  <a:lnTo>
                    <a:pt x="872020" y="2134777"/>
                  </a:lnTo>
                  <a:lnTo>
                    <a:pt x="862492" y="2139543"/>
                  </a:lnTo>
                  <a:lnTo>
                    <a:pt x="852960" y="2134777"/>
                  </a:lnTo>
                  <a:lnTo>
                    <a:pt x="843428" y="2120481"/>
                  </a:lnTo>
                  <a:lnTo>
                    <a:pt x="833900" y="2125247"/>
                  </a:lnTo>
                  <a:lnTo>
                    <a:pt x="800544" y="2115717"/>
                  </a:lnTo>
                  <a:lnTo>
                    <a:pt x="786248" y="2096655"/>
                  </a:lnTo>
                  <a:lnTo>
                    <a:pt x="781484" y="2091891"/>
                  </a:lnTo>
                  <a:lnTo>
                    <a:pt x="729068" y="2077595"/>
                  </a:lnTo>
                  <a:lnTo>
                    <a:pt x="714772" y="2072831"/>
                  </a:lnTo>
                  <a:lnTo>
                    <a:pt x="671884" y="2091891"/>
                  </a:lnTo>
                  <a:lnTo>
                    <a:pt x="643296" y="2110951"/>
                  </a:lnTo>
                  <a:lnTo>
                    <a:pt x="633764" y="2115717"/>
                  </a:lnTo>
                  <a:lnTo>
                    <a:pt x="619468" y="2125247"/>
                  </a:lnTo>
                  <a:lnTo>
                    <a:pt x="609940" y="2130011"/>
                  </a:lnTo>
                  <a:lnTo>
                    <a:pt x="600408" y="2125247"/>
                  </a:lnTo>
                  <a:lnTo>
                    <a:pt x="595644" y="2125247"/>
                  </a:lnTo>
                  <a:lnTo>
                    <a:pt x="576584" y="2144307"/>
                  </a:lnTo>
                  <a:lnTo>
                    <a:pt x="543228" y="2168133"/>
                  </a:lnTo>
                  <a:lnTo>
                    <a:pt x="528932" y="2182429"/>
                  </a:lnTo>
                  <a:lnTo>
                    <a:pt x="509872" y="2191959"/>
                  </a:lnTo>
                  <a:lnTo>
                    <a:pt x="490812" y="2196723"/>
                  </a:lnTo>
                  <a:lnTo>
                    <a:pt x="471748" y="2196723"/>
                  </a:lnTo>
                  <a:lnTo>
                    <a:pt x="462220" y="2201489"/>
                  </a:lnTo>
                  <a:lnTo>
                    <a:pt x="443160" y="2206255"/>
                  </a:lnTo>
                  <a:lnTo>
                    <a:pt x="428864" y="2211019"/>
                  </a:lnTo>
                  <a:lnTo>
                    <a:pt x="424100" y="2215785"/>
                  </a:lnTo>
                  <a:lnTo>
                    <a:pt x="428864" y="2234845"/>
                  </a:lnTo>
                  <a:lnTo>
                    <a:pt x="414568" y="2230079"/>
                  </a:lnTo>
                  <a:lnTo>
                    <a:pt x="405036" y="2239609"/>
                  </a:lnTo>
                  <a:lnTo>
                    <a:pt x="409804" y="2249139"/>
                  </a:lnTo>
                  <a:lnTo>
                    <a:pt x="400272" y="2249139"/>
                  </a:lnTo>
                  <a:lnTo>
                    <a:pt x="366916" y="2225315"/>
                  </a:lnTo>
                  <a:lnTo>
                    <a:pt x="338328" y="2211019"/>
                  </a:lnTo>
                  <a:lnTo>
                    <a:pt x="309736" y="2196723"/>
                  </a:lnTo>
                  <a:lnTo>
                    <a:pt x="300204" y="2187193"/>
                  </a:lnTo>
                  <a:lnTo>
                    <a:pt x="295440" y="2177663"/>
                  </a:lnTo>
                  <a:lnTo>
                    <a:pt x="295440" y="2168133"/>
                  </a:lnTo>
                  <a:lnTo>
                    <a:pt x="295440" y="2158603"/>
                  </a:lnTo>
                  <a:lnTo>
                    <a:pt x="304972" y="2153837"/>
                  </a:lnTo>
                  <a:lnTo>
                    <a:pt x="309736" y="2153837"/>
                  </a:lnTo>
                  <a:lnTo>
                    <a:pt x="319264" y="2153837"/>
                  </a:lnTo>
                  <a:lnTo>
                    <a:pt x="324032" y="2158603"/>
                  </a:lnTo>
                  <a:lnTo>
                    <a:pt x="338328" y="2163367"/>
                  </a:lnTo>
                  <a:lnTo>
                    <a:pt x="352620" y="2168133"/>
                  </a:lnTo>
                  <a:lnTo>
                    <a:pt x="366916" y="2163367"/>
                  </a:lnTo>
                  <a:lnTo>
                    <a:pt x="366916" y="2149073"/>
                  </a:lnTo>
                  <a:lnTo>
                    <a:pt x="347856" y="2110951"/>
                  </a:lnTo>
                  <a:lnTo>
                    <a:pt x="328796" y="2077595"/>
                  </a:lnTo>
                  <a:lnTo>
                    <a:pt x="309736" y="2039475"/>
                  </a:lnTo>
                  <a:lnTo>
                    <a:pt x="304972" y="2025179"/>
                  </a:lnTo>
                  <a:lnTo>
                    <a:pt x="281144" y="1996589"/>
                  </a:lnTo>
                  <a:lnTo>
                    <a:pt x="257320" y="1963233"/>
                  </a:lnTo>
                  <a:lnTo>
                    <a:pt x="243024" y="1934641"/>
                  </a:lnTo>
                  <a:lnTo>
                    <a:pt x="233492" y="1929877"/>
                  </a:lnTo>
                  <a:lnTo>
                    <a:pt x="204904" y="1925111"/>
                  </a:lnTo>
                  <a:lnTo>
                    <a:pt x="152488" y="1915581"/>
                  </a:lnTo>
                  <a:lnTo>
                    <a:pt x="133424" y="1915581"/>
                  </a:lnTo>
                  <a:lnTo>
                    <a:pt x="119132" y="1920347"/>
                  </a:lnTo>
                  <a:lnTo>
                    <a:pt x="104836" y="1929877"/>
                  </a:lnTo>
                  <a:lnTo>
                    <a:pt x="90540" y="1915581"/>
                  </a:lnTo>
                  <a:lnTo>
                    <a:pt x="81008" y="1896521"/>
                  </a:lnTo>
                  <a:lnTo>
                    <a:pt x="76244" y="1882225"/>
                  </a:lnTo>
                  <a:lnTo>
                    <a:pt x="76244" y="1863165"/>
                  </a:lnTo>
                  <a:lnTo>
                    <a:pt x="81008" y="1839339"/>
                  </a:lnTo>
                  <a:lnTo>
                    <a:pt x="71480" y="1815513"/>
                  </a:lnTo>
                  <a:lnTo>
                    <a:pt x="61948" y="1801219"/>
                  </a:lnTo>
                  <a:lnTo>
                    <a:pt x="38124" y="1791687"/>
                  </a:lnTo>
                  <a:lnTo>
                    <a:pt x="4768" y="1772627"/>
                  </a:lnTo>
                  <a:lnTo>
                    <a:pt x="0" y="1734507"/>
                  </a:lnTo>
                  <a:lnTo>
                    <a:pt x="14296" y="1677325"/>
                  </a:lnTo>
                  <a:lnTo>
                    <a:pt x="38124" y="1639203"/>
                  </a:lnTo>
                  <a:lnTo>
                    <a:pt x="52420" y="1624909"/>
                  </a:lnTo>
                  <a:lnTo>
                    <a:pt x="61948" y="1610613"/>
                  </a:lnTo>
                  <a:lnTo>
                    <a:pt x="66712" y="1596317"/>
                  </a:lnTo>
                  <a:lnTo>
                    <a:pt x="61948" y="1586787"/>
                  </a:lnTo>
                  <a:lnTo>
                    <a:pt x="52420" y="1572491"/>
                  </a:lnTo>
                  <a:lnTo>
                    <a:pt x="38124" y="1558197"/>
                  </a:lnTo>
                  <a:lnTo>
                    <a:pt x="28592" y="1543901"/>
                  </a:lnTo>
                  <a:lnTo>
                    <a:pt x="33356" y="1510545"/>
                  </a:lnTo>
                  <a:lnTo>
                    <a:pt x="42888" y="1467659"/>
                  </a:lnTo>
                  <a:lnTo>
                    <a:pt x="57184" y="1429539"/>
                  </a:lnTo>
                  <a:lnTo>
                    <a:pt x="81008" y="1405713"/>
                  </a:lnTo>
                  <a:lnTo>
                    <a:pt x="100068" y="1391417"/>
                  </a:lnTo>
                  <a:lnTo>
                    <a:pt x="104836" y="1377121"/>
                  </a:lnTo>
                  <a:lnTo>
                    <a:pt x="104836" y="1358061"/>
                  </a:lnTo>
                  <a:lnTo>
                    <a:pt x="104836" y="1339001"/>
                  </a:lnTo>
                  <a:lnTo>
                    <a:pt x="109600" y="1324705"/>
                  </a:lnTo>
                  <a:lnTo>
                    <a:pt x="119132" y="1315175"/>
                  </a:lnTo>
                  <a:lnTo>
                    <a:pt x="128660" y="1305645"/>
                  </a:lnTo>
                  <a:lnTo>
                    <a:pt x="138192" y="1291349"/>
                  </a:lnTo>
                  <a:lnTo>
                    <a:pt x="152488" y="1291349"/>
                  </a:lnTo>
                  <a:lnTo>
                    <a:pt x="171548" y="1300879"/>
                  </a:lnTo>
                  <a:lnTo>
                    <a:pt x="190608" y="1324705"/>
                  </a:lnTo>
                  <a:lnTo>
                    <a:pt x="223964" y="1367591"/>
                  </a:lnTo>
                  <a:lnTo>
                    <a:pt x="243024" y="1400947"/>
                  </a:lnTo>
                  <a:lnTo>
                    <a:pt x="252552" y="1410477"/>
                  </a:lnTo>
                  <a:lnTo>
                    <a:pt x="266848" y="1424773"/>
                  </a:lnTo>
                  <a:lnTo>
                    <a:pt x="285908" y="1434303"/>
                  </a:lnTo>
                  <a:lnTo>
                    <a:pt x="309736" y="1424773"/>
                  </a:lnTo>
                  <a:lnTo>
                    <a:pt x="333560" y="1410477"/>
                  </a:lnTo>
                  <a:lnTo>
                    <a:pt x="343092" y="1400947"/>
                  </a:lnTo>
                  <a:lnTo>
                    <a:pt x="347856" y="1386651"/>
                  </a:lnTo>
                  <a:lnTo>
                    <a:pt x="343092" y="1367591"/>
                  </a:lnTo>
                  <a:lnTo>
                    <a:pt x="338328" y="1353297"/>
                  </a:lnTo>
                  <a:lnTo>
                    <a:pt x="333560" y="1339001"/>
                  </a:lnTo>
                  <a:lnTo>
                    <a:pt x="324032" y="1305645"/>
                  </a:lnTo>
                  <a:lnTo>
                    <a:pt x="319264" y="1257993"/>
                  </a:lnTo>
                  <a:lnTo>
                    <a:pt x="314500" y="1243699"/>
                  </a:lnTo>
                  <a:lnTo>
                    <a:pt x="319264" y="1238933"/>
                  </a:lnTo>
                  <a:lnTo>
                    <a:pt x="328796" y="1243699"/>
                  </a:lnTo>
                  <a:lnTo>
                    <a:pt x="343092" y="1243699"/>
                  </a:lnTo>
                  <a:lnTo>
                    <a:pt x="357388" y="1234167"/>
                  </a:lnTo>
                  <a:lnTo>
                    <a:pt x="381212" y="1215107"/>
                  </a:lnTo>
                  <a:lnTo>
                    <a:pt x="424100" y="1181751"/>
                  </a:lnTo>
                  <a:lnTo>
                    <a:pt x="433628" y="1162691"/>
                  </a:lnTo>
                  <a:lnTo>
                    <a:pt x="438392" y="1138865"/>
                  </a:lnTo>
                  <a:lnTo>
                    <a:pt x="447924" y="1124571"/>
                  </a:lnTo>
                  <a:lnTo>
                    <a:pt x="476516" y="1119805"/>
                  </a:lnTo>
                  <a:lnTo>
                    <a:pt x="500340" y="1115039"/>
                  </a:lnTo>
                  <a:lnTo>
                    <a:pt x="519400" y="1095979"/>
                  </a:lnTo>
                  <a:lnTo>
                    <a:pt x="543228" y="1081683"/>
                  </a:lnTo>
                  <a:lnTo>
                    <a:pt x="567052" y="1072153"/>
                  </a:lnTo>
                  <a:lnTo>
                    <a:pt x="576584" y="1067389"/>
                  </a:lnTo>
                  <a:lnTo>
                    <a:pt x="586112" y="1053093"/>
                  </a:lnTo>
                  <a:lnTo>
                    <a:pt x="609940" y="1019737"/>
                  </a:lnTo>
                  <a:lnTo>
                    <a:pt x="629000" y="1000677"/>
                  </a:lnTo>
                  <a:lnTo>
                    <a:pt x="648060" y="976851"/>
                  </a:lnTo>
                  <a:lnTo>
                    <a:pt x="652824" y="962555"/>
                  </a:lnTo>
                  <a:lnTo>
                    <a:pt x="667120" y="967321"/>
                  </a:lnTo>
                  <a:lnTo>
                    <a:pt x="686180" y="976851"/>
                  </a:lnTo>
                  <a:lnTo>
                    <a:pt x="710008" y="986381"/>
                  </a:lnTo>
                  <a:lnTo>
                    <a:pt x="729068" y="995911"/>
                  </a:lnTo>
                  <a:lnTo>
                    <a:pt x="729068" y="1010207"/>
                  </a:lnTo>
                  <a:lnTo>
                    <a:pt x="733832" y="1019737"/>
                  </a:lnTo>
                  <a:lnTo>
                    <a:pt x="738596" y="1029267"/>
                  </a:lnTo>
                  <a:lnTo>
                    <a:pt x="748128" y="1029267"/>
                  </a:lnTo>
                  <a:lnTo>
                    <a:pt x="757656" y="1024503"/>
                  </a:lnTo>
                  <a:lnTo>
                    <a:pt x="781484" y="1024503"/>
                  </a:lnTo>
                  <a:lnTo>
                    <a:pt x="805308" y="1010207"/>
                  </a:lnTo>
                  <a:lnTo>
                    <a:pt x="843428" y="976851"/>
                  </a:lnTo>
                  <a:lnTo>
                    <a:pt x="876784" y="967321"/>
                  </a:lnTo>
                  <a:lnTo>
                    <a:pt x="891080" y="976851"/>
                  </a:lnTo>
                  <a:lnTo>
                    <a:pt x="905376" y="995911"/>
                  </a:lnTo>
                  <a:lnTo>
                    <a:pt x="919672" y="1019737"/>
                  </a:lnTo>
                  <a:lnTo>
                    <a:pt x="929200" y="1024503"/>
                  </a:lnTo>
                  <a:lnTo>
                    <a:pt x="938732" y="1024503"/>
                  </a:lnTo>
                  <a:lnTo>
                    <a:pt x="938732" y="1029267"/>
                  </a:lnTo>
                  <a:lnTo>
                    <a:pt x="953028" y="1019737"/>
                  </a:lnTo>
                  <a:lnTo>
                    <a:pt x="957792" y="1019737"/>
                  </a:lnTo>
                  <a:lnTo>
                    <a:pt x="967324" y="1024503"/>
                  </a:lnTo>
                  <a:lnTo>
                    <a:pt x="981620" y="1029267"/>
                  </a:lnTo>
                  <a:lnTo>
                    <a:pt x="1005444" y="1029267"/>
                  </a:lnTo>
                  <a:lnTo>
                    <a:pt x="1034036" y="1024503"/>
                  </a:lnTo>
                  <a:lnTo>
                    <a:pt x="1048332" y="1024503"/>
                  </a:lnTo>
                  <a:lnTo>
                    <a:pt x="1067392" y="1034033"/>
                  </a:lnTo>
                  <a:lnTo>
                    <a:pt x="1081684" y="1048327"/>
                  </a:lnTo>
                  <a:lnTo>
                    <a:pt x="1105512" y="1081683"/>
                  </a:lnTo>
                  <a:lnTo>
                    <a:pt x="1119808" y="1091215"/>
                  </a:lnTo>
                  <a:lnTo>
                    <a:pt x="1148396" y="1105509"/>
                  </a:lnTo>
                  <a:lnTo>
                    <a:pt x="1157928" y="1119805"/>
                  </a:lnTo>
                  <a:lnTo>
                    <a:pt x="1176988" y="1134101"/>
                  </a:lnTo>
                  <a:lnTo>
                    <a:pt x="1181752" y="1148395"/>
                  </a:lnTo>
                  <a:lnTo>
                    <a:pt x="1200816" y="1167457"/>
                  </a:lnTo>
                  <a:lnTo>
                    <a:pt x="1219876" y="1200811"/>
                  </a:lnTo>
                  <a:lnTo>
                    <a:pt x="1224640" y="1229403"/>
                  </a:lnTo>
                  <a:lnTo>
                    <a:pt x="1229404" y="1248463"/>
                  </a:lnTo>
                  <a:lnTo>
                    <a:pt x="1234168" y="1257993"/>
                  </a:lnTo>
                  <a:lnTo>
                    <a:pt x="1238936" y="1262759"/>
                  </a:lnTo>
                  <a:lnTo>
                    <a:pt x="1248464" y="1257993"/>
                  </a:lnTo>
                  <a:lnTo>
                    <a:pt x="1253232" y="1248463"/>
                  </a:lnTo>
                  <a:lnTo>
                    <a:pt x="1253232" y="1229403"/>
                  </a:lnTo>
                  <a:lnTo>
                    <a:pt x="1253232" y="1200811"/>
                  </a:lnTo>
                  <a:lnTo>
                    <a:pt x="1248464" y="1176987"/>
                  </a:lnTo>
                  <a:lnTo>
                    <a:pt x="1243700" y="1167457"/>
                  </a:lnTo>
                  <a:lnTo>
                    <a:pt x="1238936" y="1157925"/>
                  </a:lnTo>
                  <a:lnTo>
                    <a:pt x="1243700" y="1148395"/>
                  </a:lnTo>
                  <a:lnTo>
                    <a:pt x="1253232" y="1143631"/>
                  </a:lnTo>
                  <a:lnTo>
                    <a:pt x="1267524" y="1148395"/>
                  </a:lnTo>
                  <a:lnTo>
                    <a:pt x="1291352" y="1162691"/>
                  </a:lnTo>
                  <a:lnTo>
                    <a:pt x="1310412" y="1176987"/>
                  </a:lnTo>
                  <a:lnTo>
                    <a:pt x="1339004" y="1210343"/>
                  </a:lnTo>
                  <a:lnTo>
                    <a:pt x="1367592" y="1229403"/>
                  </a:lnTo>
                  <a:lnTo>
                    <a:pt x="1396184" y="1243699"/>
                  </a:lnTo>
                  <a:lnTo>
                    <a:pt x="1415244" y="1248463"/>
                  </a:lnTo>
                  <a:lnTo>
                    <a:pt x="1434304" y="1243699"/>
                  </a:lnTo>
                  <a:lnTo>
                    <a:pt x="1453364" y="1234167"/>
                  </a:lnTo>
                  <a:lnTo>
                    <a:pt x="1472428" y="1215107"/>
                  </a:lnTo>
                  <a:lnTo>
                    <a:pt x="1481956" y="1200811"/>
                  </a:lnTo>
                  <a:lnTo>
                    <a:pt x="1486720" y="1186517"/>
                  </a:lnTo>
                  <a:lnTo>
                    <a:pt x="1515312" y="1162691"/>
                  </a:lnTo>
                  <a:lnTo>
                    <a:pt x="1543904" y="1143631"/>
                  </a:lnTo>
                  <a:lnTo>
                    <a:pt x="1553432" y="1143631"/>
                  </a:lnTo>
                  <a:lnTo>
                    <a:pt x="1562964" y="1153161"/>
                  </a:lnTo>
                  <a:lnTo>
                    <a:pt x="1586788" y="1138865"/>
                  </a:lnTo>
                  <a:lnTo>
                    <a:pt x="1601084" y="1134101"/>
                  </a:lnTo>
                  <a:lnTo>
                    <a:pt x="1624912" y="1129335"/>
                  </a:lnTo>
                  <a:lnTo>
                    <a:pt x="1648736" y="1138865"/>
                  </a:lnTo>
                  <a:lnTo>
                    <a:pt x="1672560" y="1157925"/>
                  </a:lnTo>
                  <a:lnTo>
                    <a:pt x="1691624" y="1172221"/>
                  </a:lnTo>
                  <a:lnTo>
                    <a:pt x="1710684" y="1172221"/>
                  </a:lnTo>
                  <a:lnTo>
                    <a:pt x="1724980" y="1167457"/>
                  </a:lnTo>
                  <a:lnTo>
                    <a:pt x="1734508" y="1153161"/>
                  </a:lnTo>
                  <a:lnTo>
                    <a:pt x="1739272" y="1134101"/>
                  </a:lnTo>
                  <a:lnTo>
                    <a:pt x="1753568" y="1124571"/>
                  </a:lnTo>
                  <a:lnTo>
                    <a:pt x="1786924" y="1129335"/>
                  </a:lnTo>
                  <a:lnTo>
                    <a:pt x="1805984" y="1129335"/>
                  </a:lnTo>
                  <a:lnTo>
                    <a:pt x="1805984" y="1124571"/>
                  </a:lnTo>
                  <a:lnTo>
                    <a:pt x="1834576" y="1129335"/>
                  </a:lnTo>
                  <a:lnTo>
                    <a:pt x="1863168" y="1153161"/>
                  </a:lnTo>
                  <a:lnTo>
                    <a:pt x="1882228" y="1181751"/>
                  </a:lnTo>
                  <a:lnTo>
                    <a:pt x="1906052" y="1210343"/>
                  </a:lnTo>
                  <a:lnTo>
                    <a:pt x="1915584" y="1224637"/>
                  </a:lnTo>
                  <a:lnTo>
                    <a:pt x="1929880" y="1224637"/>
                  </a:lnTo>
                  <a:lnTo>
                    <a:pt x="1944176" y="1229403"/>
                  </a:lnTo>
                  <a:lnTo>
                    <a:pt x="1963236" y="1234167"/>
                  </a:lnTo>
                  <a:lnTo>
                    <a:pt x="2006120" y="1238933"/>
                  </a:lnTo>
                  <a:lnTo>
                    <a:pt x="2010884" y="1243699"/>
                  </a:lnTo>
                  <a:lnTo>
                    <a:pt x="2015652" y="1248463"/>
                  </a:lnTo>
                  <a:lnTo>
                    <a:pt x="2010884" y="1267523"/>
                  </a:lnTo>
                  <a:lnTo>
                    <a:pt x="2015652" y="1272289"/>
                  </a:lnTo>
                  <a:lnTo>
                    <a:pt x="2053772" y="1257993"/>
                  </a:lnTo>
                  <a:lnTo>
                    <a:pt x="2063304" y="1248463"/>
                  </a:lnTo>
                  <a:lnTo>
                    <a:pt x="2072832" y="1224637"/>
                  </a:lnTo>
                  <a:lnTo>
                    <a:pt x="2082364" y="1196047"/>
                  </a:lnTo>
                  <a:lnTo>
                    <a:pt x="2091892" y="1186517"/>
                  </a:lnTo>
                  <a:lnTo>
                    <a:pt x="2101424" y="1181751"/>
                  </a:lnTo>
                  <a:lnTo>
                    <a:pt x="2106188" y="1186517"/>
                  </a:lnTo>
                  <a:lnTo>
                    <a:pt x="2120484" y="1205577"/>
                  </a:lnTo>
                  <a:lnTo>
                    <a:pt x="2134780" y="1219873"/>
                  </a:lnTo>
                  <a:lnTo>
                    <a:pt x="2158604" y="1224637"/>
                  </a:lnTo>
                  <a:lnTo>
                    <a:pt x="2168136" y="1229403"/>
                  </a:lnTo>
                  <a:lnTo>
                    <a:pt x="2191960" y="1229403"/>
                  </a:lnTo>
                  <a:lnTo>
                    <a:pt x="2239612" y="1219873"/>
                  </a:lnTo>
                  <a:lnTo>
                    <a:pt x="2282496" y="1200811"/>
                  </a:lnTo>
                  <a:lnTo>
                    <a:pt x="2306324" y="1181751"/>
                  </a:lnTo>
                  <a:lnTo>
                    <a:pt x="2320620" y="1148395"/>
                  </a:lnTo>
                  <a:lnTo>
                    <a:pt x="2325384" y="1110275"/>
                  </a:lnTo>
                  <a:lnTo>
                    <a:pt x="2339680" y="1091215"/>
                  </a:lnTo>
                  <a:lnTo>
                    <a:pt x="2334916" y="1067389"/>
                  </a:lnTo>
                  <a:lnTo>
                    <a:pt x="2311088" y="1043563"/>
                  </a:lnTo>
                  <a:lnTo>
                    <a:pt x="2301560" y="1034033"/>
                  </a:lnTo>
                  <a:lnTo>
                    <a:pt x="2249144" y="1024503"/>
                  </a:lnTo>
                  <a:lnTo>
                    <a:pt x="2244376" y="1014973"/>
                  </a:lnTo>
                  <a:lnTo>
                    <a:pt x="2244376" y="1010207"/>
                  </a:lnTo>
                  <a:lnTo>
                    <a:pt x="2187196" y="991147"/>
                  </a:lnTo>
                  <a:lnTo>
                    <a:pt x="2163368" y="986381"/>
                  </a:lnTo>
                  <a:lnTo>
                    <a:pt x="2153840" y="972085"/>
                  </a:lnTo>
                  <a:lnTo>
                    <a:pt x="2149076" y="953025"/>
                  </a:lnTo>
                  <a:lnTo>
                    <a:pt x="2134780" y="938731"/>
                  </a:lnTo>
                  <a:lnTo>
                    <a:pt x="2101424" y="924435"/>
                  </a:lnTo>
                  <a:lnTo>
                    <a:pt x="2096660" y="914905"/>
                  </a:lnTo>
                  <a:lnTo>
                    <a:pt x="2101424" y="900609"/>
                  </a:lnTo>
                  <a:lnTo>
                    <a:pt x="2125248" y="891079"/>
                  </a:lnTo>
                  <a:lnTo>
                    <a:pt x="2158604" y="862487"/>
                  </a:lnTo>
                  <a:lnTo>
                    <a:pt x="2168136" y="857723"/>
                  </a:lnTo>
                  <a:lnTo>
                    <a:pt x="2196724" y="857723"/>
                  </a:lnTo>
                  <a:lnTo>
                    <a:pt x="2220552" y="833897"/>
                  </a:lnTo>
                  <a:lnTo>
                    <a:pt x="2239612" y="824367"/>
                  </a:lnTo>
                  <a:lnTo>
                    <a:pt x="2244376" y="810071"/>
                  </a:lnTo>
                  <a:lnTo>
                    <a:pt x="2244376" y="795777"/>
                  </a:lnTo>
                  <a:lnTo>
                    <a:pt x="2220552" y="748125"/>
                  </a:lnTo>
                  <a:lnTo>
                    <a:pt x="2211020" y="724299"/>
                  </a:lnTo>
                  <a:lnTo>
                    <a:pt x="2215788" y="705239"/>
                  </a:lnTo>
                  <a:lnTo>
                    <a:pt x="2230080" y="686179"/>
                  </a:lnTo>
                  <a:lnTo>
                    <a:pt x="2239612" y="676649"/>
                  </a:lnTo>
                  <a:lnTo>
                    <a:pt x="2249144" y="657587"/>
                  </a:lnTo>
                  <a:lnTo>
                    <a:pt x="2253908" y="648057"/>
                  </a:lnTo>
                  <a:lnTo>
                    <a:pt x="2277732" y="643293"/>
                  </a:lnTo>
                  <a:lnTo>
                    <a:pt x="2311088" y="638527"/>
                  </a:lnTo>
                  <a:lnTo>
                    <a:pt x="2330148" y="643293"/>
                  </a:lnTo>
                  <a:lnTo>
                    <a:pt x="2358740" y="648057"/>
                  </a:lnTo>
                  <a:lnTo>
                    <a:pt x="2387332" y="648057"/>
                  </a:lnTo>
                  <a:lnTo>
                    <a:pt x="2396860" y="652823"/>
                  </a:lnTo>
                  <a:lnTo>
                    <a:pt x="2406392" y="648057"/>
                  </a:lnTo>
                  <a:lnTo>
                    <a:pt x="2415920" y="638527"/>
                  </a:lnTo>
                  <a:lnTo>
                    <a:pt x="2415920" y="624231"/>
                  </a:lnTo>
                  <a:lnTo>
                    <a:pt x="2406392" y="609937"/>
                  </a:lnTo>
                  <a:lnTo>
                    <a:pt x="2368272" y="595641"/>
                  </a:lnTo>
                  <a:lnTo>
                    <a:pt x="2349208" y="581345"/>
                  </a:lnTo>
                  <a:lnTo>
                    <a:pt x="2334916" y="581345"/>
                  </a:lnTo>
                  <a:lnTo>
                    <a:pt x="2315856" y="576581"/>
                  </a:lnTo>
                  <a:lnTo>
                    <a:pt x="2296792" y="567051"/>
                  </a:lnTo>
                  <a:lnTo>
                    <a:pt x="2277732" y="562285"/>
                  </a:lnTo>
                  <a:lnTo>
                    <a:pt x="2272968" y="552755"/>
                  </a:lnTo>
                  <a:lnTo>
                    <a:pt x="2277732" y="533695"/>
                  </a:lnTo>
                  <a:lnTo>
                    <a:pt x="2282496" y="524163"/>
                  </a:lnTo>
                  <a:lnTo>
                    <a:pt x="2296792" y="519399"/>
                  </a:lnTo>
                  <a:lnTo>
                    <a:pt x="2311088" y="519399"/>
                  </a:lnTo>
                  <a:lnTo>
                    <a:pt x="2325384" y="509869"/>
                  </a:lnTo>
                  <a:lnTo>
                    <a:pt x="2330148" y="509869"/>
                  </a:lnTo>
                  <a:lnTo>
                    <a:pt x="2330148" y="500339"/>
                  </a:lnTo>
                  <a:lnTo>
                    <a:pt x="2330148" y="495573"/>
                  </a:lnTo>
                  <a:lnTo>
                    <a:pt x="2320620" y="486043"/>
                  </a:lnTo>
                  <a:lnTo>
                    <a:pt x="2311088" y="486043"/>
                  </a:lnTo>
                  <a:lnTo>
                    <a:pt x="2301560" y="490809"/>
                  </a:lnTo>
                  <a:lnTo>
                    <a:pt x="2287264" y="495573"/>
                  </a:lnTo>
                  <a:lnTo>
                    <a:pt x="2263436" y="486043"/>
                  </a:lnTo>
                  <a:lnTo>
                    <a:pt x="2244376" y="476513"/>
                  </a:lnTo>
                  <a:lnTo>
                    <a:pt x="2244376" y="466983"/>
                  </a:lnTo>
                  <a:lnTo>
                    <a:pt x="2258672" y="452687"/>
                  </a:lnTo>
                  <a:lnTo>
                    <a:pt x="2263436" y="443157"/>
                  </a:lnTo>
                  <a:lnTo>
                    <a:pt x="2263436" y="409801"/>
                  </a:lnTo>
                  <a:lnTo>
                    <a:pt x="2268204" y="385975"/>
                  </a:lnTo>
                  <a:lnTo>
                    <a:pt x="2282496" y="371679"/>
                  </a:lnTo>
                  <a:lnTo>
                    <a:pt x="2301560" y="362149"/>
                  </a:lnTo>
                  <a:lnTo>
                    <a:pt x="2339680" y="376445"/>
                  </a:lnTo>
                  <a:lnTo>
                    <a:pt x="2392096" y="390741"/>
                  </a:lnTo>
                  <a:lnTo>
                    <a:pt x="2401628" y="390741"/>
                  </a:lnTo>
                  <a:lnTo>
                    <a:pt x="2401628" y="381211"/>
                  </a:lnTo>
                  <a:lnTo>
                    <a:pt x="2411156" y="376445"/>
                  </a:lnTo>
                  <a:lnTo>
                    <a:pt x="2482632" y="371679"/>
                  </a:lnTo>
                  <a:lnTo>
                    <a:pt x="2496928" y="366915"/>
                  </a:lnTo>
                  <a:lnTo>
                    <a:pt x="2501696" y="357385"/>
                  </a:lnTo>
                  <a:lnTo>
                    <a:pt x="2573172" y="347855"/>
                  </a:lnTo>
                  <a:lnTo>
                    <a:pt x="2577936" y="338325"/>
                  </a:lnTo>
                  <a:lnTo>
                    <a:pt x="2587468" y="328793"/>
                  </a:lnTo>
                  <a:lnTo>
                    <a:pt x="2606528" y="328793"/>
                  </a:lnTo>
                  <a:lnTo>
                    <a:pt x="2625588" y="328793"/>
                  </a:lnTo>
                  <a:lnTo>
                    <a:pt x="2649412" y="319263"/>
                  </a:lnTo>
                  <a:lnTo>
                    <a:pt x="2668472" y="309733"/>
                  </a:lnTo>
                  <a:lnTo>
                    <a:pt x="2673240" y="309733"/>
                  </a:lnTo>
                  <a:lnTo>
                    <a:pt x="2692300" y="314499"/>
                  </a:lnTo>
                  <a:lnTo>
                    <a:pt x="2716124" y="304969"/>
                  </a:lnTo>
                  <a:lnTo>
                    <a:pt x="2720888" y="300203"/>
                  </a:lnTo>
                  <a:lnTo>
                    <a:pt x="2725656" y="295437"/>
                  </a:lnTo>
                  <a:lnTo>
                    <a:pt x="2744716" y="285907"/>
                  </a:lnTo>
                  <a:lnTo>
                    <a:pt x="2787600" y="271613"/>
                  </a:lnTo>
                  <a:lnTo>
                    <a:pt x="2797132" y="281143"/>
                  </a:lnTo>
                  <a:lnTo>
                    <a:pt x="2816192" y="281143"/>
                  </a:lnTo>
                  <a:lnTo>
                    <a:pt x="2840016" y="276377"/>
                  </a:lnTo>
                  <a:lnTo>
                    <a:pt x="2859080" y="271613"/>
                  </a:lnTo>
                  <a:lnTo>
                    <a:pt x="2873372" y="276377"/>
                  </a:lnTo>
                  <a:lnTo>
                    <a:pt x="2887668" y="285907"/>
                  </a:lnTo>
                  <a:lnTo>
                    <a:pt x="2897200" y="281143"/>
                  </a:lnTo>
                  <a:lnTo>
                    <a:pt x="2901964" y="257317"/>
                  </a:lnTo>
                  <a:lnTo>
                    <a:pt x="2906728" y="238257"/>
                  </a:lnTo>
                  <a:lnTo>
                    <a:pt x="2921024" y="228727"/>
                  </a:lnTo>
                  <a:lnTo>
                    <a:pt x="2930556" y="223961"/>
                  </a:lnTo>
                  <a:lnTo>
                    <a:pt x="2940084" y="219195"/>
                  </a:lnTo>
                  <a:lnTo>
                    <a:pt x="2944852" y="209665"/>
                  </a:lnTo>
                  <a:lnTo>
                    <a:pt x="2982972" y="209665"/>
                  </a:lnTo>
                  <a:lnTo>
                    <a:pt x="3016328" y="190605"/>
                  </a:lnTo>
                  <a:lnTo>
                    <a:pt x="3021092" y="200135"/>
                  </a:lnTo>
                  <a:lnTo>
                    <a:pt x="3063980" y="195371"/>
                  </a:lnTo>
                  <a:lnTo>
                    <a:pt x="3116396" y="185839"/>
                  </a:lnTo>
                  <a:lnTo>
                    <a:pt x="3144984" y="176309"/>
                  </a:lnTo>
                  <a:lnTo>
                    <a:pt x="3197404" y="166779"/>
                  </a:lnTo>
                  <a:lnTo>
                    <a:pt x="3225992" y="152484"/>
                  </a:lnTo>
                  <a:lnTo>
                    <a:pt x="3259348" y="147719"/>
                  </a:lnTo>
                  <a:lnTo>
                    <a:pt x="3292704" y="142954"/>
                  </a:lnTo>
                  <a:lnTo>
                    <a:pt x="3311764" y="123893"/>
                  </a:lnTo>
                  <a:lnTo>
                    <a:pt x="3330824" y="119128"/>
                  </a:lnTo>
                  <a:lnTo>
                    <a:pt x="3349888" y="119128"/>
                  </a:lnTo>
                  <a:lnTo>
                    <a:pt x="3364184" y="114363"/>
                  </a:lnTo>
                  <a:lnTo>
                    <a:pt x="3373712" y="104833"/>
                  </a:lnTo>
                  <a:lnTo>
                    <a:pt x="3378476" y="95303"/>
                  </a:lnTo>
                  <a:lnTo>
                    <a:pt x="3373712" y="76242"/>
                  </a:lnTo>
                  <a:lnTo>
                    <a:pt x="3373712" y="61947"/>
                  </a:lnTo>
                  <a:lnTo>
                    <a:pt x="3388008" y="57182"/>
                  </a:lnTo>
                  <a:lnTo>
                    <a:pt x="3407068" y="52416"/>
                  </a:lnTo>
                  <a:lnTo>
                    <a:pt x="3421364" y="52416"/>
                  </a:lnTo>
                  <a:lnTo>
                    <a:pt x="3449956" y="23826"/>
                  </a:lnTo>
                  <a:lnTo>
                    <a:pt x="347378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15" name="Google Shape;4682;p64">
              <a:extLst>
                <a:ext uri="{FF2B5EF4-FFF2-40B4-BE49-F238E27FC236}">
                  <a16:creationId xmlns:a16="http://schemas.microsoft.com/office/drawing/2014/main" id="{6CA204A1-D1C1-817E-C517-FAF60358C84D}"/>
                </a:ext>
              </a:extLst>
            </p:cNvPr>
            <p:cNvCxnSpPr/>
            <p:nvPr/>
          </p:nvCxnSpPr>
          <p:spPr>
            <a:xfrm>
              <a:off x="6032521" y="3559997"/>
              <a:ext cx="0" cy="0"/>
            </a:xfrm>
            <a:prstGeom prst="straightConnector1">
              <a:avLst/>
            </a:prstGeom>
            <a:grpFill/>
            <a:ln w="9525" cap="flat" cmpd="sng">
              <a:solidFill>
                <a:schemeClr val="bg2"/>
              </a:solidFill>
              <a:prstDash val="solid"/>
              <a:round/>
              <a:headEnd type="none" w="med" len="med"/>
              <a:tailEnd type="none" w="med" len="med"/>
            </a:ln>
          </p:spPr>
        </p:cxnSp>
        <p:cxnSp>
          <p:nvCxnSpPr>
            <p:cNvPr id="216" name="Google Shape;4683;p64">
              <a:extLst>
                <a:ext uri="{FF2B5EF4-FFF2-40B4-BE49-F238E27FC236}">
                  <a16:creationId xmlns:a16="http://schemas.microsoft.com/office/drawing/2014/main" id="{1D8080C9-17A4-645A-2FC5-9782DC120BCC}"/>
                </a:ext>
              </a:extLst>
            </p:cNvPr>
            <p:cNvCxnSpPr/>
            <p:nvPr/>
          </p:nvCxnSpPr>
          <p:spPr>
            <a:xfrm>
              <a:off x="6032521" y="3559997"/>
              <a:ext cx="0" cy="0"/>
            </a:xfrm>
            <a:prstGeom prst="straightConnector1">
              <a:avLst/>
            </a:prstGeom>
            <a:grpFill/>
            <a:ln w="9525" cap="flat" cmpd="sng">
              <a:solidFill>
                <a:schemeClr val="bg2"/>
              </a:solidFill>
              <a:prstDash val="solid"/>
              <a:round/>
              <a:headEnd type="none" w="med" len="med"/>
              <a:tailEnd type="none" w="med" len="med"/>
            </a:ln>
          </p:spPr>
        </p:cxnSp>
        <p:sp>
          <p:nvSpPr>
            <p:cNvPr id="217" name="Google Shape;4684;p64">
              <a:extLst>
                <a:ext uri="{FF2B5EF4-FFF2-40B4-BE49-F238E27FC236}">
                  <a16:creationId xmlns:a16="http://schemas.microsoft.com/office/drawing/2014/main" id="{E0F1FA88-D9FD-8550-F127-4DA2B3F72029}"/>
                </a:ext>
              </a:extLst>
            </p:cNvPr>
            <p:cNvSpPr/>
            <p:nvPr/>
          </p:nvSpPr>
          <p:spPr>
            <a:xfrm>
              <a:off x="6014145" y="3955754"/>
              <a:ext cx="236930" cy="115511"/>
            </a:xfrm>
            <a:custGeom>
              <a:avLst/>
              <a:gdLst/>
              <a:ahLst/>
              <a:cxnLst/>
              <a:rect l="l" t="t" r="r" b="b"/>
              <a:pathLst>
                <a:path w="722" h="352" extrusionOk="0">
                  <a:moveTo>
                    <a:pt x="720" y="94"/>
                  </a:moveTo>
                  <a:lnTo>
                    <a:pt x="712" y="84"/>
                  </a:lnTo>
                  <a:lnTo>
                    <a:pt x="702" y="74"/>
                  </a:lnTo>
                  <a:lnTo>
                    <a:pt x="694" y="72"/>
                  </a:lnTo>
                  <a:lnTo>
                    <a:pt x="680" y="70"/>
                  </a:lnTo>
                  <a:lnTo>
                    <a:pt x="674" y="70"/>
                  </a:lnTo>
                  <a:lnTo>
                    <a:pt x="670" y="68"/>
                  </a:lnTo>
                  <a:lnTo>
                    <a:pt x="666" y="62"/>
                  </a:lnTo>
                  <a:lnTo>
                    <a:pt x="660" y="58"/>
                  </a:lnTo>
                  <a:lnTo>
                    <a:pt x="654" y="52"/>
                  </a:lnTo>
                  <a:lnTo>
                    <a:pt x="652" y="44"/>
                  </a:lnTo>
                  <a:lnTo>
                    <a:pt x="650" y="42"/>
                  </a:lnTo>
                  <a:lnTo>
                    <a:pt x="644" y="44"/>
                  </a:lnTo>
                  <a:lnTo>
                    <a:pt x="638" y="44"/>
                  </a:lnTo>
                  <a:lnTo>
                    <a:pt x="634" y="42"/>
                  </a:lnTo>
                  <a:lnTo>
                    <a:pt x="628" y="40"/>
                  </a:lnTo>
                  <a:lnTo>
                    <a:pt x="618" y="38"/>
                  </a:lnTo>
                  <a:lnTo>
                    <a:pt x="610" y="34"/>
                  </a:lnTo>
                  <a:lnTo>
                    <a:pt x="600" y="34"/>
                  </a:lnTo>
                  <a:lnTo>
                    <a:pt x="594" y="34"/>
                  </a:lnTo>
                  <a:lnTo>
                    <a:pt x="578" y="34"/>
                  </a:lnTo>
                  <a:lnTo>
                    <a:pt x="562" y="32"/>
                  </a:lnTo>
                  <a:lnTo>
                    <a:pt x="550" y="32"/>
                  </a:lnTo>
                  <a:lnTo>
                    <a:pt x="544" y="32"/>
                  </a:lnTo>
                  <a:lnTo>
                    <a:pt x="540" y="30"/>
                  </a:lnTo>
                  <a:lnTo>
                    <a:pt x="534" y="30"/>
                  </a:lnTo>
                  <a:lnTo>
                    <a:pt x="526" y="30"/>
                  </a:lnTo>
                  <a:lnTo>
                    <a:pt x="514" y="24"/>
                  </a:lnTo>
                  <a:lnTo>
                    <a:pt x="510" y="24"/>
                  </a:lnTo>
                  <a:lnTo>
                    <a:pt x="506" y="24"/>
                  </a:lnTo>
                  <a:lnTo>
                    <a:pt x="486" y="28"/>
                  </a:lnTo>
                  <a:lnTo>
                    <a:pt x="478" y="30"/>
                  </a:lnTo>
                  <a:lnTo>
                    <a:pt x="458" y="30"/>
                  </a:lnTo>
                  <a:lnTo>
                    <a:pt x="440" y="28"/>
                  </a:lnTo>
                  <a:lnTo>
                    <a:pt x="434" y="28"/>
                  </a:lnTo>
                  <a:lnTo>
                    <a:pt x="430" y="28"/>
                  </a:lnTo>
                  <a:lnTo>
                    <a:pt x="424" y="38"/>
                  </a:lnTo>
                  <a:lnTo>
                    <a:pt x="420" y="38"/>
                  </a:lnTo>
                  <a:lnTo>
                    <a:pt x="402" y="36"/>
                  </a:lnTo>
                  <a:lnTo>
                    <a:pt x="382" y="30"/>
                  </a:lnTo>
                  <a:lnTo>
                    <a:pt x="366" y="24"/>
                  </a:lnTo>
                  <a:lnTo>
                    <a:pt x="354" y="18"/>
                  </a:lnTo>
                  <a:lnTo>
                    <a:pt x="338" y="6"/>
                  </a:lnTo>
                  <a:lnTo>
                    <a:pt x="328" y="0"/>
                  </a:lnTo>
                  <a:lnTo>
                    <a:pt x="326" y="4"/>
                  </a:lnTo>
                  <a:lnTo>
                    <a:pt x="322" y="4"/>
                  </a:lnTo>
                  <a:lnTo>
                    <a:pt x="320" y="6"/>
                  </a:lnTo>
                  <a:lnTo>
                    <a:pt x="310" y="4"/>
                  </a:lnTo>
                  <a:lnTo>
                    <a:pt x="306" y="10"/>
                  </a:lnTo>
                  <a:lnTo>
                    <a:pt x="294" y="14"/>
                  </a:lnTo>
                  <a:lnTo>
                    <a:pt x="288" y="18"/>
                  </a:lnTo>
                  <a:lnTo>
                    <a:pt x="284" y="22"/>
                  </a:lnTo>
                  <a:lnTo>
                    <a:pt x="278" y="48"/>
                  </a:lnTo>
                  <a:lnTo>
                    <a:pt x="276" y="58"/>
                  </a:lnTo>
                  <a:lnTo>
                    <a:pt x="280" y="74"/>
                  </a:lnTo>
                  <a:lnTo>
                    <a:pt x="274" y="74"/>
                  </a:lnTo>
                  <a:lnTo>
                    <a:pt x="268" y="70"/>
                  </a:lnTo>
                  <a:lnTo>
                    <a:pt x="266" y="66"/>
                  </a:lnTo>
                  <a:lnTo>
                    <a:pt x="260" y="64"/>
                  </a:lnTo>
                  <a:lnTo>
                    <a:pt x="238" y="62"/>
                  </a:lnTo>
                  <a:lnTo>
                    <a:pt x="234" y="58"/>
                  </a:lnTo>
                  <a:lnTo>
                    <a:pt x="232" y="54"/>
                  </a:lnTo>
                  <a:lnTo>
                    <a:pt x="226" y="52"/>
                  </a:lnTo>
                  <a:lnTo>
                    <a:pt x="218" y="52"/>
                  </a:lnTo>
                  <a:lnTo>
                    <a:pt x="200" y="44"/>
                  </a:lnTo>
                  <a:lnTo>
                    <a:pt x="192" y="44"/>
                  </a:lnTo>
                  <a:lnTo>
                    <a:pt x="170" y="38"/>
                  </a:lnTo>
                  <a:lnTo>
                    <a:pt x="166" y="38"/>
                  </a:lnTo>
                  <a:lnTo>
                    <a:pt x="164" y="38"/>
                  </a:lnTo>
                  <a:lnTo>
                    <a:pt x="156" y="42"/>
                  </a:lnTo>
                  <a:lnTo>
                    <a:pt x="150" y="44"/>
                  </a:lnTo>
                  <a:lnTo>
                    <a:pt x="144" y="42"/>
                  </a:lnTo>
                  <a:lnTo>
                    <a:pt x="134" y="46"/>
                  </a:lnTo>
                  <a:lnTo>
                    <a:pt x="128" y="52"/>
                  </a:lnTo>
                  <a:lnTo>
                    <a:pt x="122" y="60"/>
                  </a:lnTo>
                  <a:lnTo>
                    <a:pt x="118" y="64"/>
                  </a:lnTo>
                  <a:lnTo>
                    <a:pt x="116" y="70"/>
                  </a:lnTo>
                  <a:lnTo>
                    <a:pt x="114" y="74"/>
                  </a:lnTo>
                  <a:lnTo>
                    <a:pt x="110" y="82"/>
                  </a:lnTo>
                  <a:lnTo>
                    <a:pt x="110" y="86"/>
                  </a:lnTo>
                  <a:lnTo>
                    <a:pt x="114" y="90"/>
                  </a:lnTo>
                  <a:lnTo>
                    <a:pt x="116" y="88"/>
                  </a:lnTo>
                  <a:lnTo>
                    <a:pt x="118" y="86"/>
                  </a:lnTo>
                  <a:lnTo>
                    <a:pt x="126" y="90"/>
                  </a:lnTo>
                  <a:lnTo>
                    <a:pt x="130" y="92"/>
                  </a:lnTo>
                  <a:lnTo>
                    <a:pt x="132" y="94"/>
                  </a:lnTo>
                  <a:lnTo>
                    <a:pt x="132" y="96"/>
                  </a:lnTo>
                  <a:lnTo>
                    <a:pt x="118" y="104"/>
                  </a:lnTo>
                  <a:lnTo>
                    <a:pt x="110" y="108"/>
                  </a:lnTo>
                  <a:lnTo>
                    <a:pt x="108" y="108"/>
                  </a:lnTo>
                  <a:lnTo>
                    <a:pt x="106" y="110"/>
                  </a:lnTo>
                  <a:lnTo>
                    <a:pt x="104" y="118"/>
                  </a:lnTo>
                  <a:lnTo>
                    <a:pt x="98" y="120"/>
                  </a:lnTo>
                  <a:lnTo>
                    <a:pt x="92" y="122"/>
                  </a:lnTo>
                  <a:lnTo>
                    <a:pt x="88" y="126"/>
                  </a:lnTo>
                  <a:lnTo>
                    <a:pt x="80" y="136"/>
                  </a:lnTo>
                  <a:lnTo>
                    <a:pt x="62" y="148"/>
                  </a:lnTo>
                  <a:lnTo>
                    <a:pt x="62" y="152"/>
                  </a:lnTo>
                  <a:lnTo>
                    <a:pt x="64" y="154"/>
                  </a:lnTo>
                  <a:lnTo>
                    <a:pt x="70" y="156"/>
                  </a:lnTo>
                  <a:lnTo>
                    <a:pt x="78" y="160"/>
                  </a:lnTo>
                  <a:lnTo>
                    <a:pt x="82" y="162"/>
                  </a:lnTo>
                  <a:lnTo>
                    <a:pt x="94" y="158"/>
                  </a:lnTo>
                  <a:lnTo>
                    <a:pt x="96" y="160"/>
                  </a:lnTo>
                  <a:lnTo>
                    <a:pt x="100" y="164"/>
                  </a:lnTo>
                  <a:lnTo>
                    <a:pt x="102" y="176"/>
                  </a:lnTo>
                  <a:lnTo>
                    <a:pt x="108" y="180"/>
                  </a:lnTo>
                  <a:lnTo>
                    <a:pt x="114" y="182"/>
                  </a:lnTo>
                  <a:lnTo>
                    <a:pt x="118" y="182"/>
                  </a:lnTo>
                  <a:lnTo>
                    <a:pt x="124" y="186"/>
                  </a:lnTo>
                  <a:lnTo>
                    <a:pt x="132" y="186"/>
                  </a:lnTo>
                  <a:lnTo>
                    <a:pt x="136" y="186"/>
                  </a:lnTo>
                  <a:lnTo>
                    <a:pt x="142" y="188"/>
                  </a:lnTo>
                  <a:lnTo>
                    <a:pt x="144" y="186"/>
                  </a:lnTo>
                  <a:lnTo>
                    <a:pt x="144" y="168"/>
                  </a:lnTo>
                  <a:lnTo>
                    <a:pt x="150" y="172"/>
                  </a:lnTo>
                  <a:lnTo>
                    <a:pt x="152" y="172"/>
                  </a:lnTo>
                  <a:lnTo>
                    <a:pt x="156" y="170"/>
                  </a:lnTo>
                  <a:lnTo>
                    <a:pt x="156" y="166"/>
                  </a:lnTo>
                  <a:lnTo>
                    <a:pt x="158" y="160"/>
                  </a:lnTo>
                  <a:lnTo>
                    <a:pt x="156" y="154"/>
                  </a:lnTo>
                  <a:lnTo>
                    <a:pt x="158" y="152"/>
                  </a:lnTo>
                  <a:lnTo>
                    <a:pt x="160" y="152"/>
                  </a:lnTo>
                  <a:lnTo>
                    <a:pt x="162" y="152"/>
                  </a:lnTo>
                  <a:lnTo>
                    <a:pt x="162" y="154"/>
                  </a:lnTo>
                  <a:lnTo>
                    <a:pt x="162" y="160"/>
                  </a:lnTo>
                  <a:lnTo>
                    <a:pt x="166" y="162"/>
                  </a:lnTo>
                  <a:lnTo>
                    <a:pt x="168" y="162"/>
                  </a:lnTo>
                  <a:lnTo>
                    <a:pt x="172" y="172"/>
                  </a:lnTo>
                  <a:lnTo>
                    <a:pt x="174" y="182"/>
                  </a:lnTo>
                  <a:lnTo>
                    <a:pt x="180" y="182"/>
                  </a:lnTo>
                  <a:lnTo>
                    <a:pt x="186" y="184"/>
                  </a:lnTo>
                  <a:lnTo>
                    <a:pt x="190" y="182"/>
                  </a:lnTo>
                  <a:lnTo>
                    <a:pt x="192" y="184"/>
                  </a:lnTo>
                  <a:lnTo>
                    <a:pt x="194" y="188"/>
                  </a:lnTo>
                  <a:lnTo>
                    <a:pt x="194" y="192"/>
                  </a:lnTo>
                  <a:lnTo>
                    <a:pt x="194" y="196"/>
                  </a:lnTo>
                  <a:lnTo>
                    <a:pt x="196" y="198"/>
                  </a:lnTo>
                  <a:lnTo>
                    <a:pt x="202" y="196"/>
                  </a:lnTo>
                  <a:lnTo>
                    <a:pt x="206" y="196"/>
                  </a:lnTo>
                  <a:lnTo>
                    <a:pt x="210" y="198"/>
                  </a:lnTo>
                  <a:lnTo>
                    <a:pt x="216" y="200"/>
                  </a:lnTo>
                  <a:lnTo>
                    <a:pt x="222" y="208"/>
                  </a:lnTo>
                  <a:lnTo>
                    <a:pt x="226" y="210"/>
                  </a:lnTo>
                  <a:lnTo>
                    <a:pt x="236" y="210"/>
                  </a:lnTo>
                  <a:lnTo>
                    <a:pt x="240" y="212"/>
                  </a:lnTo>
                  <a:lnTo>
                    <a:pt x="242" y="212"/>
                  </a:lnTo>
                  <a:lnTo>
                    <a:pt x="248" y="210"/>
                  </a:lnTo>
                  <a:lnTo>
                    <a:pt x="256" y="214"/>
                  </a:lnTo>
                  <a:lnTo>
                    <a:pt x="256" y="216"/>
                  </a:lnTo>
                  <a:lnTo>
                    <a:pt x="256" y="218"/>
                  </a:lnTo>
                  <a:lnTo>
                    <a:pt x="232" y="230"/>
                  </a:lnTo>
                  <a:lnTo>
                    <a:pt x="232" y="232"/>
                  </a:lnTo>
                  <a:lnTo>
                    <a:pt x="226" y="238"/>
                  </a:lnTo>
                  <a:lnTo>
                    <a:pt x="222" y="240"/>
                  </a:lnTo>
                  <a:lnTo>
                    <a:pt x="220" y="240"/>
                  </a:lnTo>
                  <a:lnTo>
                    <a:pt x="208" y="236"/>
                  </a:lnTo>
                  <a:lnTo>
                    <a:pt x="208" y="236"/>
                  </a:lnTo>
                  <a:lnTo>
                    <a:pt x="206" y="238"/>
                  </a:lnTo>
                  <a:lnTo>
                    <a:pt x="206" y="240"/>
                  </a:lnTo>
                  <a:lnTo>
                    <a:pt x="208" y="246"/>
                  </a:lnTo>
                  <a:lnTo>
                    <a:pt x="208" y="248"/>
                  </a:lnTo>
                  <a:lnTo>
                    <a:pt x="206" y="250"/>
                  </a:lnTo>
                  <a:lnTo>
                    <a:pt x="198" y="248"/>
                  </a:lnTo>
                  <a:lnTo>
                    <a:pt x="198" y="248"/>
                  </a:lnTo>
                  <a:lnTo>
                    <a:pt x="198" y="246"/>
                  </a:lnTo>
                  <a:lnTo>
                    <a:pt x="194" y="246"/>
                  </a:lnTo>
                  <a:lnTo>
                    <a:pt x="190" y="248"/>
                  </a:lnTo>
                  <a:lnTo>
                    <a:pt x="184" y="256"/>
                  </a:lnTo>
                  <a:lnTo>
                    <a:pt x="180" y="260"/>
                  </a:lnTo>
                  <a:lnTo>
                    <a:pt x="180" y="262"/>
                  </a:lnTo>
                  <a:lnTo>
                    <a:pt x="176" y="264"/>
                  </a:lnTo>
                  <a:lnTo>
                    <a:pt x="172" y="264"/>
                  </a:lnTo>
                  <a:lnTo>
                    <a:pt x="168" y="268"/>
                  </a:lnTo>
                  <a:lnTo>
                    <a:pt x="162" y="272"/>
                  </a:lnTo>
                  <a:lnTo>
                    <a:pt x="160" y="270"/>
                  </a:lnTo>
                  <a:lnTo>
                    <a:pt x="160" y="266"/>
                  </a:lnTo>
                  <a:lnTo>
                    <a:pt x="158" y="266"/>
                  </a:lnTo>
                  <a:lnTo>
                    <a:pt x="154" y="266"/>
                  </a:lnTo>
                  <a:lnTo>
                    <a:pt x="150" y="266"/>
                  </a:lnTo>
                  <a:lnTo>
                    <a:pt x="146" y="264"/>
                  </a:lnTo>
                  <a:lnTo>
                    <a:pt x="142" y="262"/>
                  </a:lnTo>
                  <a:lnTo>
                    <a:pt x="136" y="260"/>
                  </a:lnTo>
                  <a:lnTo>
                    <a:pt x="122" y="262"/>
                  </a:lnTo>
                  <a:lnTo>
                    <a:pt x="116" y="264"/>
                  </a:lnTo>
                  <a:lnTo>
                    <a:pt x="114" y="264"/>
                  </a:lnTo>
                  <a:lnTo>
                    <a:pt x="114" y="266"/>
                  </a:lnTo>
                  <a:lnTo>
                    <a:pt x="114" y="268"/>
                  </a:lnTo>
                  <a:lnTo>
                    <a:pt x="100" y="274"/>
                  </a:lnTo>
                  <a:lnTo>
                    <a:pt x="94" y="278"/>
                  </a:lnTo>
                  <a:lnTo>
                    <a:pt x="92" y="286"/>
                  </a:lnTo>
                  <a:lnTo>
                    <a:pt x="90" y="288"/>
                  </a:lnTo>
                  <a:lnTo>
                    <a:pt x="88" y="288"/>
                  </a:lnTo>
                  <a:lnTo>
                    <a:pt x="84" y="290"/>
                  </a:lnTo>
                  <a:lnTo>
                    <a:pt x="80" y="280"/>
                  </a:lnTo>
                  <a:lnTo>
                    <a:pt x="76" y="278"/>
                  </a:lnTo>
                  <a:lnTo>
                    <a:pt x="70" y="276"/>
                  </a:lnTo>
                  <a:lnTo>
                    <a:pt x="56" y="270"/>
                  </a:lnTo>
                  <a:lnTo>
                    <a:pt x="50" y="268"/>
                  </a:lnTo>
                  <a:lnTo>
                    <a:pt x="36" y="272"/>
                  </a:lnTo>
                  <a:lnTo>
                    <a:pt x="20" y="276"/>
                  </a:lnTo>
                  <a:lnTo>
                    <a:pt x="18" y="280"/>
                  </a:lnTo>
                  <a:lnTo>
                    <a:pt x="16" y="284"/>
                  </a:lnTo>
                  <a:lnTo>
                    <a:pt x="16" y="286"/>
                  </a:lnTo>
                  <a:lnTo>
                    <a:pt x="18" y="290"/>
                  </a:lnTo>
                  <a:lnTo>
                    <a:pt x="16" y="292"/>
                  </a:lnTo>
                  <a:lnTo>
                    <a:pt x="14" y="292"/>
                  </a:lnTo>
                  <a:lnTo>
                    <a:pt x="10" y="290"/>
                  </a:lnTo>
                  <a:lnTo>
                    <a:pt x="6" y="288"/>
                  </a:lnTo>
                  <a:lnTo>
                    <a:pt x="4" y="292"/>
                  </a:lnTo>
                  <a:lnTo>
                    <a:pt x="2" y="300"/>
                  </a:lnTo>
                  <a:lnTo>
                    <a:pt x="0" y="306"/>
                  </a:lnTo>
                  <a:lnTo>
                    <a:pt x="4" y="314"/>
                  </a:lnTo>
                  <a:lnTo>
                    <a:pt x="4" y="326"/>
                  </a:lnTo>
                  <a:lnTo>
                    <a:pt x="12" y="324"/>
                  </a:lnTo>
                  <a:lnTo>
                    <a:pt x="16" y="324"/>
                  </a:lnTo>
                  <a:lnTo>
                    <a:pt x="24" y="322"/>
                  </a:lnTo>
                  <a:lnTo>
                    <a:pt x="30" y="322"/>
                  </a:lnTo>
                  <a:lnTo>
                    <a:pt x="36" y="322"/>
                  </a:lnTo>
                  <a:lnTo>
                    <a:pt x="48" y="322"/>
                  </a:lnTo>
                  <a:lnTo>
                    <a:pt x="58" y="322"/>
                  </a:lnTo>
                  <a:lnTo>
                    <a:pt x="60" y="322"/>
                  </a:lnTo>
                  <a:lnTo>
                    <a:pt x="62" y="320"/>
                  </a:lnTo>
                  <a:lnTo>
                    <a:pt x="64" y="322"/>
                  </a:lnTo>
                  <a:lnTo>
                    <a:pt x="68" y="324"/>
                  </a:lnTo>
                  <a:lnTo>
                    <a:pt x="76" y="320"/>
                  </a:lnTo>
                  <a:lnTo>
                    <a:pt x="84" y="320"/>
                  </a:lnTo>
                  <a:lnTo>
                    <a:pt x="88" y="322"/>
                  </a:lnTo>
                  <a:lnTo>
                    <a:pt x="92" y="322"/>
                  </a:lnTo>
                  <a:lnTo>
                    <a:pt x="96" y="330"/>
                  </a:lnTo>
                  <a:lnTo>
                    <a:pt x="100" y="334"/>
                  </a:lnTo>
                  <a:lnTo>
                    <a:pt x="104" y="336"/>
                  </a:lnTo>
                  <a:lnTo>
                    <a:pt x="116" y="336"/>
                  </a:lnTo>
                  <a:lnTo>
                    <a:pt x="120" y="328"/>
                  </a:lnTo>
                  <a:lnTo>
                    <a:pt x="124" y="326"/>
                  </a:lnTo>
                  <a:lnTo>
                    <a:pt x="130" y="326"/>
                  </a:lnTo>
                  <a:lnTo>
                    <a:pt x="134" y="324"/>
                  </a:lnTo>
                  <a:lnTo>
                    <a:pt x="138" y="322"/>
                  </a:lnTo>
                  <a:lnTo>
                    <a:pt x="144" y="320"/>
                  </a:lnTo>
                  <a:lnTo>
                    <a:pt x="148" y="318"/>
                  </a:lnTo>
                  <a:lnTo>
                    <a:pt x="150" y="320"/>
                  </a:lnTo>
                  <a:lnTo>
                    <a:pt x="150" y="322"/>
                  </a:lnTo>
                  <a:lnTo>
                    <a:pt x="150" y="326"/>
                  </a:lnTo>
                  <a:lnTo>
                    <a:pt x="150" y="330"/>
                  </a:lnTo>
                  <a:lnTo>
                    <a:pt x="152" y="332"/>
                  </a:lnTo>
                  <a:lnTo>
                    <a:pt x="160" y="332"/>
                  </a:lnTo>
                  <a:lnTo>
                    <a:pt x="164" y="334"/>
                  </a:lnTo>
                  <a:lnTo>
                    <a:pt x="164" y="338"/>
                  </a:lnTo>
                  <a:lnTo>
                    <a:pt x="164" y="344"/>
                  </a:lnTo>
                  <a:lnTo>
                    <a:pt x="168" y="346"/>
                  </a:lnTo>
                  <a:lnTo>
                    <a:pt x="170" y="346"/>
                  </a:lnTo>
                  <a:lnTo>
                    <a:pt x="182" y="340"/>
                  </a:lnTo>
                  <a:lnTo>
                    <a:pt x="184" y="340"/>
                  </a:lnTo>
                  <a:lnTo>
                    <a:pt x="188" y="344"/>
                  </a:lnTo>
                  <a:lnTo>
                    <a:pt x="192" y="348"/>
                  </a:lnTo>
                  <a:lnTo>
                    <a:pt x="198" y="352"/>
                  </a:lnTo>
                  <a:lnTo>
                    <a:pt x="198" y="352"/>
                  </a:lnTo>
                  <a:lnTo>
                    <a:pt x="200" y="346"/>
                  </a:lnTo>
                  <a:lnTo>
                    <a:pt x="206" y="342"/>
                  </a:lnTo>
                  <a:lnTo>
                    <a:pt x="214" y="340"/>
                  </a:lnTo>
                  <a:lnTo>
                    <a:pt x="220" y="338"/>
                  </a:lnTo>
                  <a:lnTo>
                    <a:pt x="224" y="338"/>
                  </a:lnTo>
                  <a:lnTo>
                    <a:pt x="240" y="340"/>
                  </a:lnTo>
                  <a:lnTo>
                    <a:pt x="244" y="340"/>
                  </a:lnTo>
                  <a:lnTo>
                    <a:pt x="256" y="340"/>
                  </a:lnTo>
                  <a:lnTo>
                    <a:pt x="264" y="338"/>
                  </a:lnTo>
                  <a:lnTo>
                    <a:pt x="270" y="336"/>
                  </a:lnTo>
                  <a:lnTo>
                    <a:pt x="274" y="332"/>
                  </a:lnTo>
                  <a:lnTo>
                    <a:pt x="278" y="330"/>
                  </a:lnTo>
                  <a:lnTo>
                    <a:pt x="286" y="332"/>
                  </a:lnTo>
                  <a:lnTo>
                    <a:pt x="290" y="332"/>
                  </a:lnTo>
                  <a:lnTo>
                    <a:pt x="294" y="330"/>
                  </a:lnTo>
                  <a:lnTo>
                    <a:pt x="302" y="328"/>
                  </a:lnTo>
                  <a:lnTo>
                    <a:pt x="306" y="324"/>
                  </a:lnTo>
                  <a:lnTo>
                    <a:pt x="308" y="320"/>
                  </a:lnTo>
                  <a:lnTo>
                    <a:pt x="308" y="318"/>
                  </a:lnTo>
                  <a:lnTo>
                    <a:pt x="306" y="310"/>
                  </a:lnTo>
                  <a:lnTo>
                    <a:pt x="302" y="306"/>
                  </a:lnTo>
                  <a:lnTo>
                    <a:pt x="302" y="302"/>
                  </a:lnTo>
                  <a:lnTo>
                    <a:pt x="304" y="300"/>
                  </a:lnTo>
                  <a:lnTo>
                    <a:pt x="306" y="296"/>
                  </a:lnTo>
                  <a:lnTo>
                    <a:pt x="310" y="286"/>
                  </a:lnTo>
                  <a:lnTo>
                    <a:pt x="312" y="282"/>
                  </a:lnTo>
                  <a:lnTo>
                    <a:pt x="314" y="280"/>
                  </a:lnTo>
                  <a:lnTo>
                    <a:pt x="320" y="278"/>
                  </a:lnTo>
                  <a:lnTo>
                    <a:pt x="330" y="278"/>
                  </a:lnTo>
                  <a:lnTo>
                    <a:pt x="340" y="274"/>
                  </a:lnTo>
                  <a:lnTo>
                    <a:pt x="354" y="262"/>
                  </a:lnTo>
                  <a:lnTo>
                    <a:pt x="358" y="258"/>
                  </a:lnTo>
                  <a:lnTo>
                    <a:pt x="364" y="256"/>
                  </a:lnTo>
                  <a:lnTo>
                    <a:pt x="368" y="256"/>
                  </a:lnTo>
                  <a:lnTo>
                    <a:pt x="368" y="256"/>
                  </a:lnTo>
                  <a:lnTo>
                    <a:pt x="366" y="248"/>
                  </a:lnTo>
                  <a:lnTo>
                    <a:pt x="366" y="246"/>
                  </a:lnTo>
                  <a:lnTo>
                    <a:pt x="368" y="244"/>
                  </a:lnTo>
                  <a:lnTo>
                    <a:pt x="370" y="242"/>
                  </a:lnTo>
                  <a:lnTo>
                    <a:pt x="380" y="246"/>
                  </a:lnTo>
                  <a:lnTo>
                    <a:pt x="386" y="246"/>
                  </a:lnTo>
                  <a:lnTo>
                    <a:pt x="394" y="244"/>
                  </a:lnTo>
                  <a:lnTo>
                    <a:pt x="414" y="230"/>
                  </a:lnTo>
                  <a:lnTo>
                    <a:pt x="416" y="232"/>
                  </a:lnTo>
                  <a:lnTo>
                    <a:pt x="416" y="232"/>
                  </a:lnTo>
                  <a:lnTo>
                    <a:pt x="420" y="240"/>
                  </a:lnTo>
                  <a:lnTo>
                    <a:pt x="422" y="256"/>
                  </a:lnTo>
                  <a:lnTo>
                    <a:pt x="424" y="258"/>
                  </a:lnTo>
                  <a:lnTo>
                    <a:pt x="436" y="260"/>
                  </a:lnTo>
                  <a:lnTo>
                    <a:pt x="444" y="254"/>
                  </a:lnTo>
                  <a:lnTo>
                    <a:pt x="448" y="252"/>
                  </a:lnTo>
                  <a:lnTo>
                    <a:pt x="454" y="252"/>
                  </a:lnTo>
                  <a:lnTo>
                    <a:pt x="458" y="250"/>
                  </a:lnTo>
                  <a:lnTo>
                    <a:pt x="462" y="248"/>
                  </a:lnTo>
                  <a:lnTo>
                    <a:pt x="466" y="254"/>
                  </a:lnTo>
                  <a:lnTo>
                    <a:pt x="470" y="252"/>
                  </a:lnTo>
                  <a:lnTo>
                    <a:pt x="476" y="246"/>
                  </a:lnTo>
                  <a:lnTo>
                    <a:pt x="478" y="240"/>
                  </a:lnTo>
                  <a:lnTo>
                    <a:pt x="482" y="236"/>
                  </a:lnTo>
                  <a:lnTo>
                    <a:pt x="486" y="228"/>
                  </a:lnTo>
                  <a:lnTo>
                    <a:pt x="486" y="222"/>
                  </a:lnTo>
                  <a:lnTo>
                    <a:pt x="488" y="218"/>
                  </a:lnTo>
                  <a:lnTo>
                    <a:pt x="492" y="214"/>
                  </a:lnTo>
                  <a:lnTo>
                    <a:pt x="498" y="200"/>
                  </a:lnTo>
                  <a:lnTo>
                    <a:pt x="504" y="196"/>
                  </a:lnTo>
                  <a:lnTo>
                    <a:pt x="510" y="196"/>
                  </a:lnTo>
                  <a:lnTo>
                    <a:pt x="522" y="198"/>
                  </a:lnTo>
                  <a:lnTo>
                    <a:pt x="528" y="198"/>
                  </a:lnTo>
                  <a:lnTo>
                    <a:pt x="548" y="200"/>
                  </a:lnTo>
                  <a:lnTo>
                    <a:pt x="558" y="196"/>
                  </a:lnTo>
                  <a:lnTo>
                    <a:pt x="564" y="194"/>
                  </a:lnTo>
                  <a:lnTo>
                    <a:pt x="572" y="194"/>
                  </a:lnTo>
                  <a:lnTo>
                    <a:pt x="584" y="192"/>
                  </a:lnTo>
                  <a:lnTo>
                    <a:pt x="598" y="174"/>
                  </a:lnTo>
                  <a:lnTo>
                    <a:pt x="598" y="170"/>
                  </a:lnTo>
                  <a:lnTo>
                    <a:pt x="600" y="166"/>
                  </a:lnTo>
                  <a:lnTo>
                    <a:pt x="604" y="162"/>
                  </a:lnTo>
                  <a:lnTo>
                    <a:pt x="612" y="158"/>
                  </a:lnTo>
                  <a:lnTo>
                    <a:pt x="624" y="150"/>
                  </a:lnTo>
                  <a:lnTo>
                    <a:pt x="650" y="136"/>
                  </a:lnTo>
                  <a:lnTo>
                    <a:pt x="660" y="130"/>
                  </a:lnTo>
                  <a:lnTo>
                    <a:pt x="664" y="130"/>
                  </a:lnTo>
                  <a:lnTo>
                    <a:pt x="674" y="126"/>
                  </a:lnTo>
                  <a:lnTo>
                    <a:pt x="692" y="120"/>
                  </a:lnTo>
                  <a:lnTo>
                    <a:pt x="696" y="112"/>
                  </a:lnTo>
                  <a:lnTo>
                    <a:pt x="700" y="110"/>
                  </a:lnTo>
                  <a:lnTo>
                    <a:pt x="720" y="108"/>
                  </a:lnTo>
                  <a:lnTo>
                    <a:pt x="722" y="108"/>
                  </a:lnTo>
                  <a:lnTo>
                    <a:pt x="722" y="106"/>
                  </a:lnTo>
                  <a:lnTo>
                    <a:pt x="722" y="100"/>
                  </a:lnTo>
                  <a:lnTo>
                    <a:pt x="720" y="9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18" name="Google Shape;4685;p64">
              <a:extLst>
                <a:ext uri="{FF2B5EF4-FFF2-40B4-BE49-F238E27FC236}">
                  <a16:creationId xmlns:a16="http://schemas.microsoft.com/office/drawing/2014/main" id="{6AF07628-F30F-7635-DE3F-4E0A6F6C2640}"/>
                </a:ext>
              </a:extLst>
            </p:cNvPr>
            <p:cNvSpPr/>
            <p:nvPr/>
          </p:nvSpPr>
          <p:spPr>
            <a:xfrm>
              <a:off x="6051554" y="4045013"/>
              <a:ext cx="5907" cy="7220"/>
            </a:xfrm>
            <a:custGeom>
              <a:avLst/>
              <a:gdLst/>
              <a:ahLst/>
              <a:cxnLst/>
              <a:rect l="l" t="t" r="r" b="b"/>
              <a:pathLst>
                <a:path w="18" h="22" extrusionOk="0">
                  <a:moveTo>
                    <a:pt x="16" y="22"/>
                  </a:moveTo>
                  <a:lnTo>
                    <a:pt x="12" y="22"/>
                  </a:lnTo>
                  <a:lnTo>
                    <a:pt x="6" y="22"/>
                  </a:lnTo>
                  <a:lnTo>
                    <a:pt x="4" y="22"/>
                  </a:lnTo>
                  <a:lnTo>
                    <a:pt x="6" y="14"/>
                  </a:lnTo>
                  <a:lnTo>
                    <a:pt x="6" y="14"/>
                  </a:lnTo>
                  <a:lnTo>
                    <a:pt x="6" y="14"/>
                  </a:lnTo>
                  <a:lnTo>
                    <a:pt x="4" y="12"/>
                  </a:lnTo>
                  <a:lnTo>
                    <a:pt x="2" y="10"/>
                  </a:lnTo>
                  <a:lnTo>
                    <a:pt x="0" y="6"/>
                  </a:lnTo>
                  <a:lnTo>
                    <a:pt x="2" y="2"/>
                  </a:lnTo>
                  <a:lnTo>
                    <a:pt x="4" y="0"/>
                  </a:lnTo>
                  <a:lnTo>
                    <a:pt x="4" y="0"/>
                  </a:lnTo>
                  <a:lnTo>
                    <a:pt x="8" y="6"/>
                  </a:lnTo>
                  <a:lnTo>
                    <a:pt x="12" y="8"/>
                  </a:lnTo>
                  <a:lnTo>
                    <a:pt x="18" y="8"/>
                  </a:lnTo>
                  <a:lnTo>
                    <a:pt x="14" y="14"/>
                  </a:lnTo>
                  <a:lnTo>
                    <a:pt x="16" y="22"/>
                  </a:lnTo>
                  <a:lnTo>
                    <a:pt x="16"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19" name="Google Shape;4686;p64">
              <a:extLst>
                <a:ext uri="{FF2B5EF4-FFF2-40B4-BE49-F238E27FC236}">
                  <a16:creationId xmlns:a16="http://schemas.microsoft.com/office/drawing/2014/main" id="{2BDA0292-9951-0CF2-369C-F3BF05EDC691}"/>
                </a:ext>
              </a:extLst>
            </p:cNvPr>
            <p:cNvSpPr/>
            <p:nvPr/>
          </p:nvSpPr>
          <p:spPr>
            <a:xfrm>
              <a:off x="6066650" y="4049607"/>
              <a:ext cx="2625" cy="1969"/>
            </a:xfrm>
            <a:custGeom>
              <a:avLst/>
              <a:gdLst/>
              <a:ahLst/>
              <a:cxnLst/>
              <a:rect l="l" t="t" r="r" b="b"/>
              <a:pathLst>
                <a:path w="8" h="6" extrusionOk="0">
                  <a:moveTo>
                    <a:pt x="8" y="4"/>
                  </a:moveTo>
                  <a:lnTo>
                    <a:pt x="6" y="6"/>
                  </a:lnTo>
                  <a:lnTo>
                    <a:pt x="2" y="6"/>
                  </a:lnTo>
                  <a:lnTo>
                    <a:pt x="0" y="4"/>
                  </a:lnTo>
                  <a:lnTo>
                    <a:pt x="2" y="2"/>
                  </a:lnTo>
                  <a:lnTo>
                    <a:pt x="6" y="0"/>
                  </a:lnTo>
                  <a:lnTo>
                    <a:pt x="6" y="0"/>
                  </a:lnTo>
                  <a:lnTo>
                    <a:pt x="8" y="0"/>
                  </a:lnTo>
                  <a:lnTo>
                    <a:pt x="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0" name="Google Shape;4687;p64">
              <a:extLst>
                <a:ext uri="{FF2B5EF4-FFF2-40B4-BE49-F238E27FC236}">
                  <a16:creationId xmlns:a16="http://schemas.microsoft.com/office/drawing/2014/main" id="{A5163D44-CE18-6DDF-FBAC-FDCA628BADA2}"/>
                </a:ext>
              </a:extLst>
            </p:cNvPr>
            <p:cNvSpPr/>
            <p:nvPr/>
          </p:nvSpPr>
          <p:spPr>
            <a:xfrm>
              <a:off x="6041053" y="4052233"/>
              <a:ext cx="4594" cy="3281"/>
            </a:xfrm>
            <a:custGeom>
              <a:avLst/>
              <a:gdLst/>
              <a:ahLst/>
              <a:cxnLst/>
              <a:rect l="l" t="t" r="r" b="b"/>
              <a:pathLst>
                <a:path w="14" h="10" extrusionOk="0">
                  <a:moveTo>
                    <a:pt x="14" y="6"/>
                  </a:moveTo>
                  <a:lnTo>
                    <a:pt x="10" y="10"/>
                  </a:lnTo>
                  <a:lnTo>
                    <a:pt x="6" y="8"/>
                  </a:lnTo>
                  <a:lnTo>
                    <a:pt x="4" y="6"/>
                  </a:lnTo>
                  <a:lnTo>
                    <a:pt x="2" y="2"/>
                  </a:lnTo>
                  <a:lnTo>
                    <a:pt x="0" y="0"/>
                  </a:lnTo>
                  <a:lnTo>
                    <a:pt x="2" y="2"/>
                  </a:lnTo>
                  <a:lnTo>
                    <a:pt x="6" y="2"/>
                  </a:lnTo>
                  <a:lnTo>
                    <a:pt x="12" y="4"/>
                  </a:lnTo>
                  <a:lnTo>
                    <a:pt x="14" y="4"/>
                  </a:lnTo>
                  <a:lnTo>
                    <a:pt x="1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21" name="Google Shape;4688;p64">
              <a:extLst>
                <a:ext uri="{FF2B5EF4-FFF2-40B4-BE49-F238E27FC236}">
                  <a16:creationId xmlns:a16="http://schemas.microsoft.com/office/drawing/2014/main" id="{562E324B-F25D-E2D3-1B82-8175F334B5F1}"/>
                </a:ext>
              </a:extLst>
            </p:cNvPr>
            <p:cNvCxnSpPr/>
            <p:nvPr/>
          </p:nvCxnSpPr>
          <p:spPr>
            <a:xfrm>
              <a:off x="6045648" y="4054202"/>
              <a:ext cx="0" cy="0"/>
            </a:xfrm>
            <a:prstGeom prst="straightConnector1">
              <a:avLst/>
            </a:prstGeom>
            <a:grpFill/>
            <a:ln w="9525" cap="flat" cmpd="sng">
              <a:solidFill>
                <a:schemeClr val="bg2"/>
              </a:solidFill>
              <a:prstDash val="solid"/>
              <a:round/>
              <a:headEnd type="none" w="med" len="med"/>
              <a:tailEnd type="none" w="med" len="med"/>
            </a:ln>
          </p:spPr>
        </p:cxnSp>
        <p:sp>
          <p:nvSpPr>
            <p:cNvPr id="222" name="Google Shape;4689;p64">
              <a:extLst>
                <a:ext uri="{FF2B5EF4-FFF2-40B4-BE49-F238E27FC236}">
                  <a16:creationId xmlns:a16="http://schemas.microsoft.com/office/drawing/2014/main" id="{9F676136-8025-A8B5-4F28-3FDA10710F5F}"/>
                </a:ext>
              </a:extLst>
            </p:cNvPr>
            <p:cNvSpPr/>
            <p:nvPr/>
          </p:nvSpPr>
          <p:spPr>
            <a:xfrm>
              <a:off x="6051554" y="4045013"/>
              <a:ext cx="5907" cy="7220"/>
            </a:xfrm>
            <a:custGeom>
              <a:avLst/>
              <a:gdLst/>
              <a:ahLst/>
              <a:cxnLst/>
              <a:rect l="l" t="t" r="r" b="b"/>
              <a:pathLst>
                <a:path w="18" h="22" extrusionOk="0">
                  <a:moveTo>
                    <a:pt x="16" y="22"/>
                  </a:moveTo>
                  <a:lnTo>
                    <a:pt x="12" y="22"/>
                  </a:lnTo>
                  <a:lnTo>
                    <a:pt x="6" y="22"/>
                  </a:lnTo>
                  <a:lnTo>
                    <a:pt x="4" y="22"/>
                  </a:lnTo>
                  <a:lnTo>
                    <a:pt x="6" y="14"/>
                  </a:lnTo>
                  <a:lnTo>
                    <a:pt x="6" y="14"/>
                  </a:lnTo>
                  <a:lnTo>
                    <a:pt x="6" y="14"/>
                  </a:lnTo>
                  <a:lnTo>
                    <a:pt x="4" y="12"/>
                  </a:lnTo>
                  <a:lnTo>
                    <a:pt x="2" y="10"/>
                  </a:lnTo>
                  <a:lnTo>
                    <a:pt x="0" y="6"/>
                  </a:lnTo>
                  <a:lnTo>
                    <a:pt x="2" y="2"/>
                  </a:lnTo>
                  <a:lnTo>
                    <a:pt x="4" y="0"/>
                  </a:lnTo>
                  <a:lnTo>
                    <a:pt x="4" y="0"/>
                  </a:lnTo>
                  <a:lnTo>
                    <a:pt x="8" y="6"/>
                  </a:lnTo>
                  <a:lnTo>
                    <a:pt x="12" y="8"/>
                  </a:lnTo>
                  <a:lnTo>
                    <a:pt x="18" y="8"/>
                  </a:lnTo>
                  <a:lnTo>
                    <a:pt x="14" y="14"/>
                  </a:lnTo>
                  <a:lnTo>
                    <a:pt x="16" y="22"/>
                  </a:lnTo>
                  <a:lnTo>
                    <a:pt x="16"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3" name="Google Shape;4690;p64">
              <a:extLst>
                <a:ext uri="{FF2B5EF4-FFF2-40B4-BE49-F238E27FC236}">
                  <a16:creationId xmlns:a16="http://schemas.microsoft.com/office/drawing/2014/main" id="{E036A892-161C-025E-9B7B-38D4B404E063}"/>
                </a:ext>
              </a:extLst>
            </p:cNvPr>
            <p:cNvSpPr/>
            <p:nvPr/>
          </p:nvSpPr>
          <p:spPr>
            <a:xfrm>
              <a:off x="6066650" y="4049607"/>
              <a:ext cx="2625" cy="1969"/>
            </a:xfrm>
            <a:custGeom>
              <a:avLst/>
              <a:gdLst/>
              <a:ahLst/>
              <a:cxnLst/>
              <a:rect l="l" t="t" r="r" b="b"/>
              <a:pathLst>
                <a:path w="8" h="6" extrusionOk="0">
                  <a:moveTo>
                    <a:pt x="8" y="4"/>
                  </a:moveTo>
                  <a:lnTo>
                    <a:pt x="6" y="6"/>
                  </a:lnTo>
                  <a:lnTo>
                    <a:pt x="2" y="6"/>
                  </a:lnTo>
                  <a:lnTo>
                    <a:pt x="0" y="4"/>
                  </a:lnTo>
                  <a:lnTo>
                    <a:pt x="2" y="2"/>
                  </a:lnTo>
                  <a:lnTo>
                    <a:pt x="6" y="0"/>
                  </a:lnTo>
                  <a:lnTo>
                    <a:pt x="6" y="0"/>
                  </a:lnTo>
                  <a:lnTo>
                    <a:pt x="8" y="0"/>
                  </a:lnTo>
                  <a:lnTo>
                    <a:pt x="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4" name="Google Shape;4691;p64">
              <a:extLst>
                <a:ext uri="{FF2B5EF4-FFF2-40B4-BE49-F238E27FC236}">
                  <a16:creationId xmlns:a16="http://schemas.microsoft.com/office/drawing/2014/main" id="{1B5D7942-E655-AB8C-E1FB-89D93664BF9D}"/>
                </a:ext>
              </a:extLst>
            </p:cNvPr>
            <p:cNvSpPr/>
            <p:nvPr/>
          </p:nvSpPr>
          <p:spPr>
            <a:xfrm>
              <a:off x="6041053" y="4052233"/>
              <a:ext cx="4594" cy="3281"/>
            </a:xfrm>
            <a:custGeom>
              <a:avLst/>
              <a:gdLst/>
              <a:ahLst/>
              <a:cxnLst/>
              <a:rect l="l" t="t" r="r" b="b"/>
              <a:pathLst>
                <a:path w="14" h="10" extrusionOk="0">
                  <a:moveTo>
                    <a:pt x="14" y="6"/>
                  </a:moveTo>
                  <a:lnTo>
                    <a:pt x="10" y="10"/>
                  </a:lnTo>
                  <a:lnTo>
                    <a:pt x="6" y="8"/>
                  </a:lnTo>
                  <a:lnTo>
                    <a:pt x="4" y="6"/>
                  </a:lnTo>
                  <a:lnTo>
                    <a:pt x="2" y="2"/>
                  </a:lnTo>
                  <a:lnTo>
                    <a:pt x="0" y="0"/>
                  </a:lnTo>
                  <a:lnTo>
                    <a:pt x="2" y="2"/>
                  </a:lnTo>
                  <a:lnTo>
                    <a:pt x="6" y="2"/>
                  </a:lnTo>
                  <a:lnTo>
                    <a:pt x="12" y="4"/>
                  </a:lnTo>
                  <a:lnTo>
                    <a:pt x="14" y="4"/>
                  </a:lnTo>
                  <a:lnTo>
                    <a:pt x="1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25" name="Google Shape;4692;p64">
              <a:extLst>
                <a:ext uri="{FF2B5EF4-FFF2-40B4-BE49-F238E27FC236}">
                  <a16:creationId xmlns:a16="http://schemas.microsoft.com/office/drawing/2014/main" id="{ADBD9176-19BC-0C1D-DB77-F7BA7B5FB3BC}"/>
                </a:ext>
              </a:extLst>
            </p:cNvPr>
            <p:cNvCxnSpPr/>
            <p:nvPr/>
          </p:nvCxnSpPr>
          <p:spPr>
            <a:xfrm>
              <a:off x="6045648" y="4054202"/>
              <a:ext cx="0" cy="0"/>
            </a:xfrm>
            <a:prstGeom prst="straightConnector1">
              <a:avLst/>
            </a:prstGeom>
            <a:grpFill/>
            <a:ln w="9525" cap="flat" cmpd="sng">
              <a:solidFill>
                <a:schemeClr val="bg2"/>
              </a:solidFill>
              <a:prstDash val="solid"/>
              <a:round/>
              <a:headEnd type="none" w="med" len="med"/>
              <a:tailEnd type="none" w="med" len="med"/>
            </a:ln>
          </p:spPr>
        </p:cxnSp>
        <p:sp>
          <p:nvSpPr>
            <p:cNvPr id="226" name="Google Shape;4693;p64">
              <a:extLst>
                <a:ext uri="{FF2B5EF4-FFF2-40B4-BE49-F238E27FC236}">
                  <a16:creationId xmlns:a16="http://schemas.microsoft.com/office/drawing/2014/main" id="{A5E48322-2756-31F4-27C1-81ACFEBF9FF6}"/>
                </a:ext>
              </a:extLst>
            </p:cNvPr>
            <p:cNvSpPr/>
            <p:nvPr/>
          </p:nvSpPr>
          <p:spPr>
            <a:xfrm>
              <a:off x="6725918" y="4669824"/>
              <a:ext cx="113542" cy="94509"/>
            </a:xfrm>
            <a:custGeom>
              <a:avLst/>
              <a:gdLst/>
              <a:ahLst/>
              <a:cxnLst/>
              <a:rect l="l" t="t" r="r" b="b"/>
              <a:pathLst>
                <a:path w="824364" h="686178" extrusionOk="0">
                  <a:moveTo>
                    <a:pt x="142952" y="628996"/>
                  </a:moveTo>
                  <a:lnTo>
                    <a:pt x="157248" y="638528"/>
                  </a:lnTo>
                  <a:lnTo>
                    <a:pt x="152480" y="643292"/>
                  </a:lnTo>
                  <a:close/>
                  <a:moveTo>
                    <a:pt x="109596" y="528930"/>
                  </a:moveTo>
                  <a:lnTo>
                    <a:pt x="114360" y="547992"/>
                  </a:lnTo>
                  <a:lnTo>
                    <a:pt x="109596" y="547992"/>
                  </a:lnTo>
                  <a:lnTo>
                    <a:pt x="104832" y="547992"/>
                  </a:lnTo>
                  <a:lnTo>
                    <a:pt x="104832" y="538460"/>
                  </a:lnTo>
                  <a:lnTo>
                    <a:pt x="109596" y="533696"/>
                  </a:lnTo>
                  <a:close/>
                  <a:moveTo>
                    <a:pt x="810068" y="0"/>
                  </a:moveTo>
                  <a:lnTo>
                    <a:pt x="814836" y="9530"/>
                  </a:lnTo>
                  <a:lnTo>
                    <a:pt x="805304" y="23826"/>
                  </a:lnTo>
                  <a:lnTo>
                    <a:pt x="800540" y="38120"/>
                  </a:lnTo>
                  <a:lnTo>
                    <a:pt x="786244" y="52416"/>
                  </a:lnTo>
                  <a:lnTo>
                    <a:pt x="786244" y="61946"/>
                  </a:lnTo>
                  <a:lnTo>
                    <a:pt x="781480" y="90538"/>
                  </a:lnTo>
                  <a:lnTo>
                    <a:pt x="786244" y="100068"/>
                  </a:lnTo>
                  <a:lnTo>
                    <a:pt x="786244" y="109598"/>
                  </a:lnTo>
                  <a:lnTo>
                    <a:pt x="791008" y="114364"/>
                  </a:lnTo>
                  <a:lnTo>
                    <a:pt x="805304" y="142954"/>
                  </a:lnTo>
                  <a:lnTo>
                    <a:pt x="814836" y="166780"/>
                  </a:lnTo>
                  <a:lnTo>
                    <a:pt x="824364" y="190604"/>
                  </a:lnTo>
                  <a:lnTo>
                    <a:pt x="824364" y="204900"/>
                  </a:lnTo>
                  <a:lnTo>
                    <a:pt x="814836" y="238256"/>
                  </a:lnTo>
                  <a:lnTo>
                    <a:pt x="805304" y="266848"/>
                  </a:lnTo>
                  <a:lnTo>
                    <a:pt x="805304" y="285908"/>
                  </a:lnTo>
                  <a:lnTo>
                    <a:pt x="810068" y="300202"/>
                  </a:lnTo>
                  <a:lnTo>
                    <a:pt x="814836" y="319264"/>
                  </a:lnTo>
                  <a:lnTo>
                    <a:pt x="819600" y="347854"/>
                  </a:lnTo>
                  <a:lnTo>
                    <a:pt x="814836" y="362150"/>
                  </a:lnTo>
                  <a:lnTo>
                    <a:pt x="810068" y="376444"/>
                  </a:lnTo>
                  <a:lnTo>
                    <a:pt x="800540" y="385976"/>
                  </a:lnTo>
                  <a:lnTo>
                    <a:pt x="791008" y="390740"/>
                  </a:lnTo>
                  <a:lnTo>
                    <a:pt x="781480" y="381210"/>
                  </a:lnTo>
                  <a:lnTo>
                    <a:pt x="776712" y="381210"/>
                  </a:lnTo>
                  <a:lnTo>
                    <a:pt x="762420" y="385976"/>
                  </a:lnTo>
                  <a:lnTo>
                    <a:pt x="752888" y="390740"/>
                  </a:lnTo>
                  <a:lnTo>
                    <a:pt x="738592" y="405036"/>
                  </a:lnTo>
                  <a:lnTo>
                    <a:pt x="719532" y="419332"/>
                  </a:lnTo>
                  <a:lnTo>
                    <a:pt x="695708" y="424096"/>
                  </a:lnTo>
                  <a:lnTo>
                    <a:pt x="686176" y="438392"/>
                  </a:lnTo>
                  <a:lnTo>
                    <a:pt x="671880" y="438392"/>
                  </a:lnTo>
                  <a:lnTo>
                    <a:pt x="652820" y="438392"/>
                  </a:lnTo>
                  <a:lnTo>
                    <a:pt x="638524" y="443156"/>
                  </a:lnTo>
                  <a:lnTo>
                    <a:pt x="638524" y="447922"/>
                  </a:lnTo>
                  <a:lnTo>
                    <a:pt x="638524" y="476512"/>
                  </a:lnTo>
                  <a:lnTo>
                    <a:pt x="638524" y="481278"/>
                  </a:lnTo>
                  <a:lnTo>
                    <a:pt x="638524" y="486042"/>
                  </a:lnTo>
                  <a:lnTo>
                    <a:pt x="628996" y="486042"/>
                  </a:lnTo>
                  <a:lnTo>
                    <a:pt x="609936" y="481278"/>
                  </a:lnTo>
                  <a:lnTo>
                    <a:pt x="590872" y="471748"/>
                  </a:lnTo>
                  <a:lnTo>
                    <a:pt x="576580" y="471748"/>
                  </a:lnTo>
                  <a:lnTo>
                    <a:pt x="567048" y="486042"/>
                  </a:lnTo>
                  <a:lnTo>
                    <a:pt x="562284" y="490808"/>
                  </a:lnTo>
                  <a:lnTo>
                    <a:pt x="557516" y="490808"/>
                  </a:lnTo>
                  <a:lnTo>
                    <a:pt x="552752" y="490808"/>
                  </a:lnTo>
                  <a:lnTo>
                    <a:pt x="547988" y="495572"/>
                  </a:lnTo>
                  <a:lnTo>
                    <a:pt x="547988" y="505104"/>
                  </a:lnTo>
                  <a:lnTo>
                    <a:pt x="552752" y="514634"/>
                  </a:lnTo>
                  <a:lnTo>
                    <a:pt x="552752" y="533694"/>
                  </a:lnTo>
                  <a:lnTo>
                    <a:pt x="552752" y="547990"/>
                  </a:lnTo>
                  <a:lnTo>
                    <a:pt x="557516" y="552754"/>
                  </a:lnTo>
                  <a:lnTo>
                    <a:pt x="590872" y="581346"/>
                  </a:lnTo>
                  <a:lnTo>
                    <a:pt x="600404" y="586110"/>
                  </a:lnTo>
                  <a:lnTo>
                    <a:pt x="600404" y="590876"/>
                  </a:lnTo>
                  <a:lnTo>
                    <a:pt x="595640" y="605170"/>
                  </a:lnTo>
                  <a:lnTo>
                    <a:pt x="600404" y="624232"/>
                  </a:lnTo>
                  <a:lnTo>
                    <a:pt x="590872" y="624232"/>
                  </a:lnTo>
                  <a:lnTo>
                    <a:pt x="571812" y="614702"/>
                  </a:lnTo>
                  <a:lnTo>
                    <a:pt x="567048" y="609936"/>
                  </a:lnTo>
                  <a:lnTo>
                    <a:pt x="552752" y="614702"/>
                  </a:lnTo>
                  <a:lnTo>
                    <a:pt x="543224" y="605170"/>
                  </a:lnTo>
                  <a:lnTo>
                    <a:pt x="533692" y="595640"/>
                  </a:lnTo>
                  <a:lnTo>
                    <a:pt x="528928" y="595640"/>
                  </a:lnTo>
                  <a:lnTo>
                    <a:pt x="509868" y="595640"/>
                  </a:lnTo>
                  <a:lnTo>
                    <a:pt x="490808" y="600406"/>
                  </a:lnTo>
                  <a:lnTo>
                    <a:pt x="481276" y="600406"/>
                  </a:lnTo>
                  <a:lnTo>
                    <a:pt x="476512" y="600406"/>
                  </a:lnTo>
                  <a:lnTo>
                    <a:pt x="466980" y="619466"/>
                  </a:lnTo>
                  <a:lnTo>
                    <a:pt x="462216" y="614702"/>
                  </a:lnTo>
                  <a:lnTo>
                    <a:pt x="443156" y="609936"/>
                  </a:lnTo>
                  <a:lnTo>
                    <a:pt x="424096" y="605170"/>
                  </a:lnTo>
                  <a:lnTo>
                    <a:pt x="424096" y="609936"/>
                  </a:lnTo>
                  <a:lnTo>
                    <a:pt x="424096" y="624232"/>
                  </a:lnTo>
                  <a:lnTo>
                    <a:pt x="428860" y="633762"/>
                  </a:lnTo>
                  <a:lnTo>
                    <a:pt x="424096" y="638526"/>
                  </a:lnTo>
                  <a:lnTo>
                    <a:pt x="414564" y="648056"/>
                  </a:lnTo>
                  <a:lnTo>
                    <a:pt x="400268" y="657588"/>
                  </a:lnTo>
                  <a:lnTo>
                    <a:pt x="395504" y="667118"/>
                  </a:lnTo>
                  <a:lnTo>
                    <a:pt x="390740" y="667118"/>
                  </a:lnTo>
                  <a:lnTo>
                    <a:pt x="371676" y="667118"/>
                  </a:lnTo>
                  <a:lnTo>
                    <a:pt x="352616" y="671882"/>
                  </a:lnTo>
                  <a:lnTo>
                    <a:pt x="343088" y="676648"/>
                  </a:lnTo>
                  <a:lnTo>
                    <a:pt x="333556" y="686178"/>
                  </a:lnTo>
                  <a:lnTo>
                    <a:pt x="328792" y="686178"/>
                  </a:lnTo>
                  <a:lnTo>
                    <a:pt x="304968" y="667118"/>
                  </a:lnTo>
                  <a:lnTo>
                    <a:pt x="252548" y="657588"/>
                  </a:lnTo>
                  <a:lnTo>
                    <a:pt x="247784" y="648056"/>
                  </a:lnTo>
                  <a:lnTo>
                    <a:pt x="243020" y="648056"/>
                  </a:lnTo>
                  <a:lnTo>
                    <a:pt x="238256" y="662352"/>
                  </a:lnTo>
                  <a:lnTo>
                    <a:pt x="209664" y="671882"/>
                  </a:lnTo>
                  <a:lnTo>
                    <a:pt x="195368" y="662352"/>
                  </a:lnTo>
                  <a:lnTo>
                    <a:pt x="190604" y="657588"/>
                  </a:lnTo>
                  <a:lnTo>
                    <a:pt x="190604" y="648056"/>
                  </a:lnTo>
                  <a:lnTo>
                    <a:pt x="200132" y="638526"/>
                  </a:lnTo>
                  <a:lnTo>
                    <a:pt x="214428" y="628996"/>
                  </a:lnTo>
                  <a:lnTo>
                    <a:pt x="219192" y="609936"/>
                  </a:lnTo>
                  <a:lnTo>
                    <a:pt x="209664" y="586110"/>
                  </a:lnTo>
                  <a:lnTo>
                    <a:pt x="200132" y="576580"/>
                  </a:lnTo>
                  <a:lnTo>
                    <a:pt x="190604" y="571816"/>
                  </a:lnTo>
                  <a:lnTo>
                    <a:pt x="181072" y="581346"/>
                  </a:lnTo>
                  <a:lnTo>
                    <a:pt x="171544" y="595640"/>
                  </a:lnTo>
                  <a:lnTo>
                    <a:pt x="162012" y="605170"/>
                  </a:lnTo>
                  <a:lnTo>
                    <a:pt x="147716" y="605170"/>
                  </a:lnTo>
                  <a:lnTo>
                    <a:pt x="128656" y="605170"/>
                  </a:lnTo>
                  <a:lnTo>
                    <a:pt x="123892" y="581346"/>
                  </a:lnTo>
                  <a:lnTo>
                    <a:pt x="119128" y="557520"/>
                  </a:lnTo>
                  <a:lnTo>
                    <a:pt x="123892" y="533694"/>
                  </a:lnTo>
                  <a:lnTo>
                    <a:pt x="123892" y="519398"/>
                  </a:lnTo>
                  <a:lnTo>
                    <a:pt x="109596" y="500338"/>
                  </a:lnTo>
                  <a:lnTo>
                    <a:pt x="104832" y="481278"/>
                  </a:lnTo>
                  <a:lnTo>
                    <a:pt x="100064" y="471748"/>
                  </a:lnTo>
                  <a:lnTo>
                    <a:pt x="95300" y="476512"/>
                  </a:lnTo>
                  <a:lnTo>
                    <a:pt x="66708" y="419332"/>
                  </a:lnTo>
                  <a:lnTo>
                    <a:pt x="61944" y="390740"/>
                  </a:lnTo>
                  <a:lnTo>
                    <a:pt x="66708" y="371680"/>
                  </a:lnTo>
                  <a:lnTo>
                    <a:pt x="66708" y="366914"/>
                  </a:lnTo>
                  <a:lnTo>
                    <a:pt x="61944" y="352620"/>
                  </a:lnTo>
                  <a:lnTo>
                    <a:pt x="47648" y="343088"/>
                  </a:lnTo>
                  <a:lnTo>
                    <a:pt x="28588" y="328794"/>
                  </a:lnTo>
                  <a:lnTo>
                    <a:pt x="28588" y="300202"/>
                  </a:lnTo>
                  <a:lnTo>
                    <a:pt x="23824" y="271612"/>
                  </a:lnTo>
                  <a:lnTo>
                    <a:pt x="14292" y="262082"/>
                  </a:lnTo>
                  <a:lnTo>
                    <a:pt x="4764" y="243022"/>
                  </a:lnTo>
                  <a:lnTo>
                    <a:pt x="0" y="228726"/>
                  </a:lnTo>
                  <a:lnTo>
                    <a:pt x="0" y="185840"/>
                  </a:lnTo>
                  <a:lnTo>
                    <a:pt x="19060" y="181074"/>
                  </a:lnTo>
                  <a:lnTo>
                    <a:pt x="33352" y="181074"/>
                  </a:lnTo>
                  <a:lnTo>
                    <a:pt x="38120" y="171544"/>
                  </a:lnTo>
                  <a:lnTo>
                    <a:pt x="33352" y="166780"/>
                  </a:lnTo>
                  <a:lnTo>
                    <a:pt x="47648" y="157250"/>
                  </a:lnTo>
                  <a:lnTo>
                    <a:pt x="61944" y="138188"/>
                  </a:lnTo>
                  <a:lnTo>
                    <a:pt x="76240" y="119128"/>
                  </a:lnTo>
                  <a:lnTo>
                    <a:pt x="85772" y="104832"/>
                  </a:lnTo>
                  <a:lnTo>
                    <a:pt x="90536" y="90538"/>
                  </a:lnTo>
                  <a:lnTo>
                    <a:pt x="109596" y="71476"/>
                  </a:lnTo>
                  <a:lnTo>
                    <a:pt x="138188" y="57182"/>
                  </a:lnTo>
                  <a:lnTo>
                    <a:pt x="157248" y="57182"/>
                  </a:lnTo>
                  <a:lnTo>
                    <a:pt x="171544" y="52416"/>
                  </a:lnTo>
                  <a:lnTo>
                    <a:pt x="190604" y="47652"/>
                  </a:lnTo>
                  <a:lnTo>
                    <a:pt x="200132" y="42886"/>
                  </a:lnTo>
                  <a:lnTo>
                    <a:pt x="223960" y="52416"/>
                  </a:lnTo>
                  <a:lnTo>
                    <a:pt x="233488" y="57182"/>
                  </a:lnTo>
                  <a:lnTo>
                    <a:pt x="247784" y="52416"/>
                  </a:lnTo>
                  <a:lnTo>
                    <a:pt x="257316" y="57182"/>
                  </a:lnTo>
                  <a:lnTo>
                    <a:pt x="271612" y="57182"/>
                  </a:lnTo>
                  <a:lnTo>
                    <a:pt x="295436" y="47652"/>
                  </a:lnTo>
                  <a:lnTo>
                    <a:pt x="328792" y="52416"/>
                  </a:lnTo>
                  <a:lnTo>
                    <a:pt x="352616" y="47652"/>
                  </a:lnTo>
                  <a:lnTo>
                    <a:pt x="385972" y="42886"/>
                  </a:lnTo>
                  <a:lnTo>
                    <a:pt x="400268" y="47652"/>
                  </a:lnTo>
                  <a:lnTo>
                    <a:pt x="414564" y="52416"/>
                  </a:lnTo>
                  <a:lnTo>
                    <a:pt x="414564" y="66712"/>
                  </a:lnTo>
                  <a:lnTo>
                    <a:pt x="419328" y="71476"/>
                  </a:lnTo>
                  <a:lnTo>
                    <a:pt x="424096" y="76242"/>
                  </a:lnTo>
                  <a:lnTo>
                    <a:pt x="428860" y="76242"/>
                  </a:lnTo>
                  <a:lnTo>
                    <a:pt x="438388" y="66712"/>
                  </a:lnTo>
                  <a:lnTo>
                    <a:pt x="443156" y="57182"/>
                  </a:lnTo>
                  <a:lnTo>
                    <a:pt x="447920" y="57182"/>
                  </a:lnTo>
                  <a:lnTo>
                    <a:pt x="447920" y="61946"/>
                  </a:lnTo>
                  <a:lnTo>
                    <a:pt x="452684" y="71476"/>
                  </a:lnTo>
                  <a:lnTo>
                    <a:pt x="457452" y="81008"/>
                  </a:lnTo>
                  <a:lnTo>
                    <a:pt x="462216" y="85772"/>
                  </a:lnTo>
                  <a:lnTo>
                    <a:pt x="471744" y="95302"/>
                  </a:lnTo>
                  <a:lnTo>
                    <a:pt x="481276" y="95302"/>
                  </a:lnTo>
                  <a:lnTo>
                    <a:pt x="500336" y="85772"/>
                  </a:lnTo>
                  <a:lnTo>
                    <a:pt x="533692" y="100068"/>
                  </a:lnTo>
                  <a:lnTo>
                    <a:pt x="538456" y="104832"/>
                  </a:lnTo>
                  <a:lnTo>
                    <a:pt x="547988" y="119128"/>
                  </a:lnTo>
                  <a:lnTo>
                    <a:pt x="557516" y="123894"/>
                  </a:lnTo>
                  <a:lnTo>
                    <a:pt x="586108" y="123894"/>
                  </a:lnTo>
                  <a:lnTo>
                    <a:pt x="595640" y="104832"/>
                  </a:lnTo>
                  <a:lnTo>
                    <a:pt x="590872" y="90538"/>
                  </a:lnTo>
                  <a:lnTo>
                    <a:pt x="576580" y="71476"/>
                  </a:lnTo>
                  <a:lnTo>
                    <a:pt x="571812" y="57182"/>
                  </a:lnTo>
                  <a:lnTo>
                    <a:pt x="576580" y="57182"/>
                  </a:lnTo>
                  <a:lnTo>
                    <a:pt x="600404" y="52416"/>
                  </a:lnTo>
                  <a:lnTo>
                    <a:pt x="605168" y="52416"/>
                  </a:lnTo>
                  <a:lnTo>
                    <a:pt x="609936" y="38120"/>
                  </a:lnTo>
                  <a:lnTo>
                    <a:pt x="614700" y="38120"/>
                  </a:lnTo>
                  <a:lnTo>
                    <a:pt x="628996" y="38120"/>
                  </a:lnTo>
                  <a:lnTo>
                    <a:pt x="643292" y="28590"/>
                  </a:lnTo>
                  <a:lnTo>
                    <a:pt x="652820" y="19060"/>
                  </a:lnTo>
                  <a:lnTo>
                    <a:pt x="657584" y="23826"/>
                  </a:lnTo>
                  <a:lnTo>
                    <a:pt x="662352" y="33356"/>
                  </a:lnTo>
                  <a:lnTo>
                    <a:pt x="667116" y="38120"/>
                  </a:lnTo>
                  <a:lnTo>
                    <a:pt x="676648" y="42886"/>
                  </a:lnTo>
                  <a:lnTo>
                    <a:pt x="690940" y="52416"/>
                  </a:lnTo>
                  <a:lnTo>
                    <a:pt x="695708" y="57182"/>
                  </a:lnTo>
                  <a:lnTo>
                    <a:pt x="700472" y="61946"/>
                  </a:lnTo>
                  <a:lnTo>
                    <a:pt x="719532" y="61946"/>
                  </a:lnTo>
                  <a:lnTo>
                    <a:pt x="729064" y="47652"/>
                  </a:lnTo>
                  <a:lnTo>
                    <a:pt x="733828" y="42886"/>
                  </a:lnTo>
                  <a:lnTo>
                    <a:pt x="738592" y="47652"/>
                  </a:lnTo>
                  <a:lnTo>
                    <a:pt x="748124" y="47652"/>
                  </a:lnTo>
                  <a:lnTo>
                    <a:pt x="762420" y="33356"/>
                  </a:lnTo>
                  <a:lnTo>
                    <a:pt x="771948" y="19060"/>
                  </a:lnTo>
                  <a:lnTo>
                    <a:pt x="776712" y="19060"/>
                  </a:lnTo>
                  <a:lnTo>
                    <a:pt x="791008" y="23826"/>
                  </a:lnTo>
                  <a:lnTo>
                    <a:pt x="795776" y="23826"/>
                  </a:lnTo>
                  <a:lnTo>
                    <a:pt x="805304"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7" name="Google Shape;4694;p64">
              <a:extLst>
                <a:ext uri="{FF2B5EF4-FFF2-40B4-BE49-F238E27FC236}">
                  <a16:creationId xmlns:a16="http://schemas.microsoft.com/office/drawing/2014/main" id="{3CF3520D-3094-E245-18D2-A4D6706450AE}"/>
                </a:ext>
              </a:extLst>
            </p:cNvPr>
            <p:cNvSpPr/>
            <p:nvPr/>
          </p:nvSpPr>
          <p:spPr>
            <a:xfrm>
              <a:off x="3177552" y="4614038"/>
              <a:ext cx="1969" cy="1969"/>
            </a:xfrm>
            <a:custGeom>
              <a:avLst/>
              <a:gdLst/>
              <a:ahLst/>
              <a:cxnLst/>
              <a:rect l="l" t="t" r="r" b="b"/>
              <a:pathLst>
                <a:path w="6" h="6" extrusionOk="0">
                  <a:moveTo>
                    <a:pt x="6" y="6"/>
                  </a:moveTo>
                  <a:lnTo>
                    <a:pt x="6" y="2"/>
                  </a:lnTo>
                  <a:lnTo>
                    <a:pt x="4" y="0"/>
                  </a:lnTo>
                  <a:lnTo>
                    <a:pt x="2" y="0"/>
                  </a:lnTo>
                  <a:lnTo>
                    <a:pt x="0" y="4"/>
                  </a:lnTo>
                  <a:lnTo>
                    <a:pt x="4" y="6"/>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28" name="Google Shape;4695;p64">
              <a:extLst>
                <a:ext uri="{FF2B5EF4-FFF2-40B4-BE49-F238E27FC236}">
                  <a16:creationId xmlns:a16="http://schemas.microsoft.com/office/drawing/2014/main" id="{163355F9-2A69-161C-7D6D-B18E4ED33C10}"/>
                </a:ext>
              </a:extLst>
            </p:cNvPr>
            <p:cNvSpPr/>
            <p:nvPr/>
          </p:nvSpPr>
          <p:spPr>
            <a:xfrm>
              <a:off x="3172959" y="4609444"/>
              <a:ext cx="4594" cy="3938"/>
            </a:xfrm>
            <a:custGeom>
              <a:avLst/>
              <a:gdLst/>
              <a:ahLst/>
              <a:cxnLst/>
              <a:rect l="l" t="t" r="r" b="b"/>
              <a:pathLst>
                <a:path w="14" h="12" extrusionOk="0">
                  <a:moveTo>
                    <a:pt x="14" y="10"/>
                  </a:moveTo>
                  <a:lnTo>
                    <a:pt x="14" y="10"/>
                  </a:lnTo>
                  <a:lnTo>
                    <a:pt x="12" y="8"/>
                  </a:lnTo>
                  <a:lnTo>
                    <a:pt x="8" y="4"/>
                  </a:lnTo>
                  <a:lnTo>
                    <a:pt x="4" y="0"/>
                  </a:lnTo>
                  <a:lnTo>
                    <a:pt x="2" y="0"/>
                  </a:lnTo>
                  <a:lnTo>
                    <a:pt x="0" y="2"/>
                  </a:lnTo>
                  <a:lnTo>
                    <a:pt x="0" y="4"/>
                  </a:lnTo>
                  <a:lnTo>
                    <a:pt x="0" y="4"/>
                  </a:lnTo>
                  <a:lnTo>
                    <a:pt x="4" y="6"/>
                  </a:lnTo>
                  <a:lnTo>
                    <a:pt x="10" y="8"/>
                  </a:lnTo>
                  <a:lnTo>
                    <a:pt x="12" y="12"/>
                  </a:lnTo>
                  <a:lnTo>
                    <a:pt x="14"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29" name="Google Shape;4696;p64">
              <a:extLst>
                <a:ext uri="{FF2B5EF4-FFF2-40B4-BE49-F238E27FC236}">
                  <a16:creationId xmlns:a16="http://schemas.microsoft.com/office/drawing/2014/main" id="{057F8BB2-58C0-EB78-E922-02116A80BDE7}"/>
                </a:ext>
              </a:extLst>
            </p:cNvPr>
            <p:cNvCxnSpPr/>
            <p:nvPr/>
          </p:nvCxnSpPr>
          <p:spPr>
            <a:xfrm>
              <a:off x="3177552" y="4612725"/>
              <a:ext cx="0" cy="0"/>
            </a:xfrm>
            <a:prstGeom prst="straightConnector1">
              <a:avLst/>
            </a:prstGeom>
            <a:grpFill/>
            <a:ln w="9525" cap="flat" cmpd="sng">
              <a:solidFill>
                <a:schemeClr val="bg2"/>
              </a:solidFill>
              <a:prstDash val="solid"/>
              <a:round/>
              <a:headEnd type="none" w="med" len="med"/>
              <a:tailEnd type="none" w="med" len="med"/>
            </a:ln>
          </p:spPr>
        </p:cxnSp>
        <p:cxnSp>
          <p:nvCxnSpPr>
            <p:cNvPr id="230" name="Google Shape;4697;p64">
              <a:extLst>
                <a:ext uri="{FF2B5EF4-FFF2-40B4-BE49-F238E27FC236}">
                  <a16:creationId xmlns:a16="http://schemas.microsoft.com/office/drawing/2014/main" id="{B1461344-F61C-0925-6660-3A08190BB378}"/>
                </a:ext>
              </a:extLst>
            </p:cNvPr>
            <p:cNvCxnSpPr/>
            <p:nvPr/>
          </p:nvCxnSpPr>
          <p:spPr>
            <a:xfrm>
              <a:off x="3177552" y="4612725"/>
              <a:ext cx="0" cy="0"/>
            </a:xfrm>
            <a:prstGeom prst="straightConnector1">
              <a:avLst/>
            </a:prstGeom>
            <a:grpFill/>
            <a:ln w="9525" cap="flat" cmpd="sng">
              <a:solidFill>
                <a:schemeClr val="bg2"/>
              </a:solidFill>
              <a:prstDash val="solid"/>
              <a:round/>
              <a:headEnd type="none" w="med" len="med"/>
              <a:tailEnd type="none" w="med" len="med"/>
            </a:ln>
          </p:spPr>
        </p:cxnSp>
        <p:sp>
          <p:nvSpPr>
            <p:cNvPr id="231" name="Google Shape;4698;p64">
              <a:extLst>
                <a:ext uri="{FF2B5EF4-FFF2-40B4-BE49-F238E27FC236}">
                  <a16:creationId xmlns:a16="http://schemas.microsoft.com/office/drawing/2014/main" id="{65F79203-C967-6D95-C1FE-B0322422AC6A}"/>
                </a:ext>
              </a:extLst>
            </p:cNvPr>
            <p:cNvSpPr/>
            <p:nvPr/>
          </p:nvSpPr>
          <p:spPr>
            <a:xfrm>
              <a:off x="7239156" y="4222875"/>
              <a:ext cx="16408" cy="8532"/>
            </a:xfrm>
            <a:custGeom>
              <a:avLst/>
              <a:gdLst/>
              <a:ahLst/>
              <a:cxnLst/>
              <a:rect l="l" t="t" r="r" b="b"/>
              <a:pathLst>
                <a:path w="50" h="26" extrusionOk="0">
                  <a:moveTo>
                    <a:pt x="10" y="26"/>
                  </a:moveTo>
                  <a:lnTo>
                    <a:pt x="26" y="24"/>
                  </a:lnTo>
                  <a:lnTo>
                    <a:pt x="34" y="22"/>
                  </a:lnTo>
                  <a:lnTo>
                    <a:pt x="46" y="16"/>
                  </a:lnTo>
                  <a:lnTo>
                    <a:pt x="48" y="12"/>
                  </a:lnTo>
                  <a:lnTo>
                    <a:pt x="50" y="8"/>
                  </a:lnTo>
                  <a:lnTo>
                    <a:pt x="48" y="2"/>
                  </a:lnTo>
                  <a:lnTo>
                    <a:pt x="38" y="0"/>
                  </a:lnTo>
                  <a:lnTo>
                    <a:pt x="34" y="0"/>
                  </a:lnTo>
                  <a:lnTo>
                    <a:pt x="10" y="6"/>
                  </a:lnTo>
                  <a:lnTo>
                    <a:pt x="2" y="14"/>
                  </a:lnTo>
                  <a:lnTo>
                    <a:pt x="0" y="18"/>
                  </a:lnTo>
                  <a:lnTo>
                    <a:pt x="0" y="20"/>
                  </a:lnTo>
                  <a:lnTo>
                    <a:pt x="4" y="24"/>
                  </a:lnTo>
                  <a:lnTo>
                    <a:pt x="4" y="26"/>
                  </a:lnTo>
                  <a:lnTo>
                    <a:pt x="6" y="26"/>
                  </a:lnTo>
                  <a:lnTo>
                    <a:pt x="10"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2" name="Google Shape;4699;p64">
              <a:extLst>
                <a:ext uri="{FF2B5EF4-FFF2-40B4-BE49-F238E27FC236}">
                  <a16:creationId xmlns:a16="http://schemas.microsoft.com/office/drawing/2014/main" id="{798B8594-A70E-124B-D41A-02FA2ECFDB2D}"/>
                </a:ext>
              </a:extLst>
            </p:cNvPr>
            <p:cNvSpPr/>
            <p:nvPr/>
          </p:nvSpPr>
          <p:spPr>
            <a:xfrm>
              <a:off x="7235218" y="4087674"/>
              <a:ext cx="106323" cy="115512"/>
            </a:xfrm>
            <a:custGeom>
              <a:avLst/>
              <a:gdLst/>
              <a:ahLst/>
              <a:cxnLst/>
              <a:rect l="l" t="t" r="r" b="b"/>
              <a:pathLst>
                <a:path w="771952" h="838664" extrusionOk="0">
                  <a:moveTo>
                    <a:pt x="109596" y="819604"/>
                  </a:moveTo>
                  <a:lnTo>
                    <a:pt x="119128" y="829134"/>
                  </a:lnTo>
                  <a:lnTo>
                    <a:pt x="119128" y="838664"/>
                  </a:lnTo>
                  <a:lnTo>
                    <a:pt x="109596" y="838664"/>
                  </a:lnTo>
                  <a:lnTo>
                    <a:pt x="100068" y="829134"/>
                  </a:lnTo>
                  <a:lnTo>
                    <a:pt x="100068" y="824368"/>
                  </a:lnTo>
                  <a:close/>
                  <a:moveTo>
                    <a:pt x="38120" y="791012"/>
                  </a:moveTo>
                  <a:lnTo>
                    <a:pt x="52416" y="791012"/>
                  </a:lnTo>
                  <a:lnTo>
                    <a:pt x="61944" y="800542"/>
                  </a:lnTo>
                  <a:lnTo>
                    <a:pt x="52416" y="814838"/>
                  </a:lnTo>
                  <a:lnTo>
                    <a:pt x="38120" y="824368"/>
                  </a:lnTo>
                  <a:lnTo>
                    <a:pt x="28592" y="829132"/>
                  </a:lnTo>
                  <a:lnTo>
                    <a:pt x="23824" y="824368"/>
                  </a:lnTo>
                  <a:lnTo>
                    <a:pt x="19060" y="819602"/>
                  </a:lnTo>
                  <a:lnTo>
                    <a:pt x="19060" y="810072"/>
                  </a:lnTo>
                  <a:lnTo>
                    <a:pt x="38120" y="795778"/>
                  </a:lnTo>
                  <a:close/>
                  <a:moveTo>
                    <a:pt x="281144" y="767186"/>
                  </a:moveTo>
                  <a:lnTo>
                    <a:pt x="281144" y="781482"/>
                  </a:lnTo>
                  <a:lnTo>
                    <a:pt x="281144" y="786248"/>
                  </a:lnTo>
                  <a:lnTo>
                    <a:pt x="271612" y="776716"/>
                  </a:lnTo>
                  <a:close/>
                  <a:moveTo>
                    <a:pt x="14296" y="724300"/>
                  </a:moveTo>
                  <a:lnTo>
                    <a:pt x="28592" y="738596"/>
                  </a:lnTo>
                  <a:lnTo>
                    <a:pt x="28592" y="757656"/>
                  </a:lnTo>
                  <a:lnTo>
                    <a:pt x="23824" y="762420"/>
                  </a:lnTo>
                  <a:lnTo>
                    <a:pt x="19060" y="762420"/>
                  </a:lnTo>
                  <a:lnTo>
                    <a:pt x="14296" y="748126"/>
                  </a:lnTo>
                  <a:lnTo>
                    <a:pt x="9528" y="738596"/>
                  </a:lnTo>
                  <a:lnTo>
                    <a:pt x="0" y="729066"/>
                  </a:lnTo>
                  <a:close/>
                  <a:moveTo>
                    <a:pt x="300204" y="719536"/>
                  </a:moveTo>
                  <a:lnTo>
                    <a:pt x="309732" y="724300"/>
                  </a:lnTo>
                  <a:lnTo>
                    <a:pt x="319264" y="729066"/>
                  </a:lnTo>
                  <a:lnTo>
                    <a:pt x="324028" y="743360"/>
                  </a:lnTo>
                  <a:lnTo>
                    <a:pt x="324028" y="762420"/>
                  </a:lnTo>
                  <a:lnTo>
                    <a:pt x="309732" y="762420"/>
                  </a:lnTo>
                  <a:lnTo>
                    <a:pt x="304968" y="748126"/>
                  </a:lnTo>
                  <a:lnTo>
                    <a:pt x="295436" y="757656"/>
                  </a:lnTo>
                  <a:lnTo>
                    <a:pt x="285908" y="743360"/>
                  </a:lnTo>
                  <a:lnTo>
                    <a:pt x="285908" y="729066"/>
                  </a:lnTo>
                  <a:close/>
                  <a:moveTo>
                    <a:pt x="419332" y="705240"/>
                  </a:moveTo>
                  <a:lnTo>
                    <a:pt x="424096" y="705240"/>
                  </a:lnTo>
                  <a:lnTo>
                    <a:pt x="428860" y="743360"/>
                  </a:lnTo>
                  <a:lnTo>
                    <a:pt x="414564" y="757656"/>
                  </a:lnTo>
                  <a:lnTo>
                    <a:pt x="395504" y="738596"/>
                  </a:lnTo>
                  <a:lnTo>
                    <a:pt x="390740" y="733830"/>
                  </a:lnTo>
                  <a:lnTo>
                    <a:pt x="405036" y="719536"/>
                  </a:lnTo>
                  <a:close/>
                  <a:moveTo>
                    <a:pt x="52416" y="395506"/>
                  </a:moveTo>
                  <a:lnTo>
                    <a:pt x="61944" y="405036"/>
                  </a:lnTo>
                  <a:lnTo>
                    <a:pt x="66712" y="419332"/>
                  </a:lnTo>
                  <a:lnTo>
                    <a:pt x="61944" y="433628"/>
                  </a:lnTo>
                  <a:lnTo>
                    <a:pt x="52416" y="424096"/>
                  </a:lnTo>
                  <a:close/>
                  <a:moveTo>
                    <a:pt x="767184" y="209668"/>
                  </a:moveTo>
                  <a:lnTo>
                    <a:pt x="771952" y="214432"/>
                  </a:lnTo>
                  <a:lnTo>
                    <a:pt x="767184" y="228728"/>
                  </a:lnTo>
                  <a:lnTo>
                    <a:pt x="762420" y="233492"/>
                  </a:lnTo>
                  <a:lnTo>
                    <a:pt x="752888" y="228728"/>
                  </a:lnTo>
                  <a:lnTo>
                    <a:pt x="752888" y="219198"/>
                  </a:lnTo>
                  <a:lnTo>
                    <a:pt x="757656" y="214432"/>
                  </a:lnTo>
                  <a:close/>
                  <a:moveTo>
                    <a:pt x="66712" y="157250"/>
                  </a:moveTo>
                  <a:lnTo>
                    <a:pt x="76240" y="166780"/>
                  </a:lnTo>
                  <a:lnTo>
                    <a:pt x="81008" y="176310"/>
                  </a:lnTo>
                  <a:lnTo>
                    <a:pt x="81008" y="200136"/>
                  </a:lnTo>
                  <a:lnTo>
                    <a:pt x="71476" y="200136"/>
                  </a:lnTo>
                  <a:lnTo>
                    <a:pt x="66712" y="195370"/>
                  </a:lnTo>
                  <a:lnTo>
                    <a:pt x="61948" y="190606"/>
                  </a:lnTo>
                  <a:lnTo>
                    <a:pt x="57180" y="166780"/>
                  </a:lnTo>
                  <a:close/>
                  <a:moveTo>
                    <a:pt x="366912" y="0"/>
                  </a:moveTo>
                  <a:lnTo>
                    <a:pt x="371680" y="0"/>
                  </a:lnTo>
                  <a:lnTo>
                    <a:pt x="409800" y="85774"/>
                  </a:lnTo>
                  <a:lnTo>
                    <a:pt x="447920" y="142954"/>
                  </a:lnTo>
                  <a:lnTo>
                    <a:pt x="476512" y="185840"/>
                  </a:lnTo>
                  <a:lnTo>
                    <a:pt x="524164" y="266848"/>
                  </a:lnTo>
                  <a:lnTo>
                    <a:pt x="533692" y="309734"/>
                  </a:lnTo>
                  <a:lnTo>
                    <a:pt x="533692" y="333560"/>
                  </a:lnTo>
                  <a:lnTo>
                    <a:pt x="543224" y="371680"/>
                  </a:lnTo>
                  <a:lnTo>
                    <a:pt x="538460" y="390742"/>
                  </a:lnTo>
                  <a:lnTo>
                    <a:pt x="538460" y="424098"/>
                  </a:lnTo>
                  <a:lnTo>
                    <a:pt x="533692" y="438392"/>
                  </a:lnTo>
                  <a:lnTo>
                    <a:pt x="528928" y="452688"/>
                  </a:lnTo>
                  <a:lnTo>
                    <a:pt x="528928" y="476514"/>
                  </a:lnTo>
                  <a:lnTo>
                    <a:pt x="533692" y="486044"/>
                  </a:lnTo>
                  <a:lnTo>
                    <a:pt x="533692" y="505104"/>
                  </a:lnTo>
                  <a:lnTo>
                    <a:pt x="533692" y="509870"/>
                  </a:lnTo>
                  <a:lnTo>
                    <a:pt x="538460" y="514634"/>
                  </a:lnTo>
                  <a:lnTo>
                    <a:pt x="547988" y="505104"/>
                  </a:lnTo>
                  <a:lnTo>
                    <a:pt x="557520" y="505104"/>
                  </a:lnTo>
                  <a:lnTo>
                    <a:pt x="557520" y="524164"/>
                  </a:lnTo>
                  <a:lnTo>
                    <a:pt x="543224" y="576582"/>
                  </a:lnTo>
                  <a:lnTo>
                    <a:pt x="533692" y="609936"/>
                  </a:lnTo>
                  <a:lnTo>
                    <a:pt x="519400" y="643292"/>
                  </a:lnTo>
                  <a:lnTo>
                    <a:pt x="505104" y="671884"/>
                  </a:lnTo>
                  <a:lnTo>
                    <a:pt x="481276" y="681414"/>
                  </a:lnTo>
                  <a:lnTo>
                    <a:pt x="466980" y="686180"/>
                  </a:lnTo>
                  <a:lnTo>
                    <a:pt x="438392" y="686180"/>
                  </a:lnTo>
                  <a:lnTo>
                    <a:pt x="414564" y="681414"/>
                  </a:lnTo>
                  <a:lnTo>
                    <a:pt x="390740" y="686180"/>
                  </a:lnTo>
                  <a:lnTo>
                    <a:pt x="385976" y="690944"/>
                  </a:lnTo>
                  <a:lnTo>
                    <a:pt x="376444" y="705240"/>
                  </a:lnTo>
                  <a:lnTo>
                    <a:pt x="381208" y="719534"/>
                  </a:lnTo>
                  <a:lnTo>
                    <a:pt x="381208" y="729066"/>
                  </a:lnTo>
                  <a:lnTo>
                    <a:pt x="371680" y="729066"/>
                  </a:lnTo>
                  <a:lnTo>
                    <a:pt x="357384" y="724300"/>
                  </a:lnTo>
                  <a:lnTo>
                    <a:pt x="338324" y="724300"/>
                  </a:lnTo>
                  <a:lnTo>
                    <a:pt x="328792" y="719534"/>
                  </a:lnTo>
                  <a:lnTo>
                    <a:pt x="319264" y="700474"/>
                  </a:lnTo>
                  <a:lnTo>
                    <a:pt x="309732" y="700474"/>
                  </a:lnTo>
                  <a:lnTo>
                    <a:pt x="295436" y="710004"/>
                  </a:lnTo>
                  <a:lnTo>
                    <a:pt x="266848" y="714770"/>
                  </a:lnTo>
                  <a:lnTo>
                    <a:pt x="257316" y="719534"/>
                  </a:lnTo>
                  <a:lnTo>
                    <a:pt x="257316" y="729066"/>
                  </a:lnTo>
                  <a:lnTo>
                    <a:pt x="262080" y="738596"/>
                  </a:lnTo>
                  <a:lnTo>
                    <a:pt x="271612" y="748126"/>
                  </a:lnTo>
                  <a:lnTo>
                    <a:pt x="266848" y="757656"/>
                  </a:lnTo>
                  <a:lnTo>
                    <a:pt x="257316" y="767186"/>
                  </a:lnTo>
                  <a:lnTo>
                    <a:pt x="247784" y="752890"/>
                  </a:lnTo>
                  <a:lnTo>
                    <a:pt x="238256" y="738596"/>
                  </a:lnTo>
                  <a:lnTo>
                    <a:pt x="233492" y="733830"/>
                  </a:lnTo>
                  <a:lnTo>
                    <a:pt x="219196" y="738596"/>
                  </a:lnTo>
                  <a:lnTo>
                    <a:pt x="219196" y="752890"/>
                  </a:lnTo>
                  <a:lnTo>
                    <a:pt x="223960" y="767186"/>
                  </a:lnTo>
                  <a:lnTo>
                    <a:pt x="233492" y="776716"/>
                  </a:lnTo>
                  <a:lnTo>
                    <a:pt x="219196" y="791012"/>
                  </a:lnTo>
                  <a:lnTo>
                    <a:pt x="214432" y="800542"/>
                  </a:lnTo>
                  <a:lnTo>
                    <a:pt x="209664" y="810072"/>
                  </a:lnTo>
                  <a:lnTo>
                    <a:pt x="185840" y="791012"/>
                  </a:lnTo>
                  <a:lnTo>
                    <a:pt x="185840" y="781482"/>
                  </a:lnTo>
                  <a:lnTo>
                    <a:pt x="195368" y="771952"/>
                  </a:lnTo>
                  <a:lnTo>
                    <a:pt x="200136" y="757656"/>
                  </a:lnTo>
                  <a:lnTo>
                    <a:pt x="195368" y="752890"/>
                  </a:lnTo>
                  <a:lnTo>
                    <a:pt x="162012" y="781482"/>
                  </a:lnTo>
                  <a:lnTo>
                    <a:pt x="142952" y="814838"/>
                  </a:lnTo>
                  <a:lnTo>
                    <a:pt x="128656" y="810072"/>
                  </a:lnTo>
                  <a:lnTo>
                    <a:pt x="123892" y="800542"/>
                  </a:lnTo>
                  <a:lnTo>
                    <a:pt x="119128" y="800542"/>
                  </a:lnTo>
                  <a:lnTo>
                    <a:pt x="95300" y="819602"/>
                  </a:lnTo>
                  <a:lnTo>
                    <a:pt x="90536" y="833898"/>
                  </a:lnTo>
                  <a:lnTo>
                    <a:pt x="85772" y="838664"/>
                  </a:lnTo>
                  <a:lnTo>
                    <a:pt x="81008" y="829132"/>
                  </a:lnTo>
                  <a:lnTo>
                    <a:pt x="81008" y="814838"/>
                  </a:lnTo>
                  <a:lnTo>
                    <a:pt x="76240" y="800542"/>
                  </a:lnTo>
                  <a:lnTo>
                    <a:pt x="52416" y="786246"/>
                  </a:lnTo>
                  <a:lnTo>
                    <a:pt x="42884" y="767186"/>
                  </a:lnTo>
                  <a:lnTo>
                    <a:pt x="47652" y="757656"/>
                  </a:lnTo>
                  <a:lnTo>
                    <a:pt x="66712" y="762420"/>
                  </a:lnTo>
                  <a:lnTo>
                    <a:pt x="81008" y="762420"/>
                  </a:lnTo>
                  <a:lnTo>
                    <a:pt x="81008" y="757656"/>
                  </a:lnTo>
                  <a:lnTo>
                    <a:pt x="76240" y="752890"/>
                  </a:lnTo>
                  <a:lnTo>
                    <a:pt x="85772" y="748126"/>
                  </a:lnTo>
                  <a:lnTo>
                    <a:pt x="95300" y="738596"/>
                  </a:lnTo>
                  <a:lnTo>
                    <a:pt x="85772" y="738596"/>
                  </a:lnTo>
                  <a:lnTo>
                    <a:pt x="76240" y="743360"/>
                  </a:lnTo>
                  <a:lnTo>
                    <a:pt x="66712" y="738596"/>
                  </a:lnTo>
                  <a:lnTo>
                    <a:pt x="61944" y="719534"/>
                  </a:lnTo>
                  <a:lnTo>
                    <a:pt x="52416" y="695710"/>
                  </a:lnTo>
                  <a:lnTo>
                    <a:pt x="47652" y="676648"/>
                  </a:lnTo>
                  <a:lnTo>
                    <a:pt x="57180" y="667118"/>
                  </a:lnTo>
                  <a:lnTo>
                    <a:pt x="61944" y="648058"/>
                  </a:lnTo>
                  <a:lnTo>
                    <a:pt x="71476" y="619468"/>
                  </a:lnTo>
                  <a:lnTo>
                    <a:pt x="76240" y="609936"/>
                  </a:lnTo>
                  <a:lnTo>
                    <a:pt x="90536" y="605172"/>
                  </a:lnTo>
                  <a:lnTo>
                    <a:pt x="95300" y="595642"/>
                  </a:lnTo>
                  <a:lnTo>
                    <a:pt x="90536" y="590876"/>
                  </a:lnTo>
                  <a:lnTo>
                    <a:pt x="76240" y="590876"/>
                  </a:lnTo>
                  <a:lnTo>
                    <a:pt x="76240" y="581346"/>
                  </a:lnTo>
                  <a:lnTo>
                    <a:pt x="85772" y="576582"/>
                  </a:lnTo>
                  <a:lnTo>
                    <a:pt x="95300" y="567050"/>
                  </a:lnTo>
                  <a:lnTo>
                    <a:pt x="114364" y="557520"/>
                  </a:lnTo>
                  <a:lnTo>
                    <a:pt x="119128" y="538460"/>
                  </a:lnTo>
                  <a:lnTo>
                    <a:pt x="114364" y="533696"/>
                  </a:lnTo>
                  <a:lnTo>
                    <a:pt x="100068" y="528930"/>
                  </a:lnTo>
                  <a:lnTo>
                    <a:pt x="104832" y="519400"/>
                  </a:lnTo>
                  <a:lnTo>
                    <a:pt x="109596" y="509870"/>
                  </a:lnTo>
                  <a:lnTo>
                    <a:pt x="104832" y="505104"/>
                  </a:lnTo>
                  <a:lnTo>
                    <a:pt x="95300" y="495574"/>
                  </a:lnTo>
                  <a:lnTo>
                    <a:pt x="85772" y="481278"/>
                  </a:lnTo>
                  <a:lnTo>
                    <a:pt x="85772" y="466984"/>
                  </a:lnTo>
                  <a:lnTo>
                    <a:pt x="85772" y="447922"/>
                  </a:lnTo>
                  <a:lnTo>
                    <a:pt x="85772" y="428862"/>
                  </a:lnTo>
                  <a:lnTo>
                    <a:pt x="85772" y="424098"/>
                  </a:lnTo>
                  <a:lnTo>
                    <a:pt x="81008" y="400272"/>
                  </a:lnTo>
                  <a:lnTo>
                    <a:pt x="76240" y="381212"/>
                  </a:lnTo>
                  <a:lnTo>
                    <a:pt x="66712" y="381212"/>
                  </a:lnTo>
                  <a:lnTo>
                    <a:pt x="61944" y="385976"/>
                  </a:lnTo>
                  <a:lnTo>
                    <a:pt x="38120" y="381212"/>
                  </a:lnTo>
                  <a:lnTo>
                    <a:pt x="28592" y="381212"/>
                  </a:lnTo>
                  <a:lnTo>
                    <a:pt x="23824" y="362150"/>
                  </a:lnTo>
                  <a:lnTo>
                    <a:pt x="33356" y="347856"/>
                  </a:lnTo>
                  <a:lnTo>
                    <a:pt x="57180" y="328794"/>
                  </a:lnTo>
                  <a:lnTo>
                    <a:pt x="66712" y="324030"/>
                  </a:lnTo>
                  <a:lnTo>
                    <a:pt x="76240" y="319264"/>
                  </a:lnTo>
                  <a:lnTo>
                    <a:pt x="90536" y="314500"/>
                  </a:lnTo>
                  <a:lnTo>
                    <a:pt x="109596" y="328794"/>
                  </a:lnTo>
                  <a:lnTo>
                    <a:pt x="123892" y="328794"/>
                  </a:lnTo>
                  <a:lnTo>
                    <a:pt x="133424" y="347856"/>
                  </a:lnTo>
                  <a:lnTo>
                    <a:pt x="138188" y="352620"/>
                  </a:lnTo>
                  <a:lnTo>
                    <a:pt x="138188" y="347856"/>
                  </a:lnTo>
                  <a:lnTo>
                    <a:pt x="152484" y="338324"/>
                  </a:lnTo>
                  <a:lnTo>
                    <a:pt x="152484" y="333560"/>
                  </a:lnTo>
                  <a:lnTo>
                    <a:pt x="152484" y="328794"/>
                  </a:lnTo>
                  <a:lnTo>
                    <a:pt x="138188" y="324030"/>
                  </a:lnTo>
                  <a:lnTo>
                    <a:pt x="123892" y="300204"/>
                  </a:lnTo>
                  <a:lnTo>
                    <a:pt x="123892" y="290674"/>
                  </a:lnTo>
                  <a:lnTo>
                    <a:pt x="119128" y="281144"/>
                  </a:lnTo>
                  <a:lnTo>
                    <a:pt x="123892" y="262082"/>
                  </a:lnTo>
                  <a:lnTo>
                    <a:pt x="109596" y="238258"/>
                  </a:lnTo>
                  <a:lnTo>
                    <a:pt x="100068" y="233492"/>
                  </a:lnTo>
                  <a:lnTo>
                    <a:pt x="104832" y="209666"/>
                  </a:lnTo>
                  <a:lnTo>
                    <a:pt x="95300" y="200136"/>
                  </a:lnTo>
                  <a:lnTo>
                    <a:pt x="90536" y="190606"/>
                  </a:lnTo>
                  <a:lnTo>
                    <a:pt x="90536" y="181076"/>
                  </a:lnTo>
                  <a:lnTo>
                    <a:pt x="90536" y="171546"/>
                  </a:lnTo>
                  <a:lnTo>
                    <a:pt x="95300" y="171546"/>
                  </a:lnTo>
                  <a:lnTo>
                    <a:pt x="100068" y="166780"/>
                  </a:lnTo>
                  <a:lnTo>
                    <a:pt x="104832" y="162016"/>
                  </a:lnTo>
                  <a:lnTo>
                    <a:pt x="104832" y="157250"/>
                  </a:lnTo>
                  <a:lnTo>
                    <a:pt x="104832" y="138190"/>
                  </a:lnTo>
                  <a:lnTo>
                    <a:pt x="119128" y="128660"/>
                  </a:lnTo>
                  <a:lnTo>
                    <a:pt x="138188" y="100068"/>
                  </a:lnTo>
                  <a:lnTo>
                    <a:pt x="147720" y="85774"/>
                  </a:lnTo>
                  <a:lnTo>
                    <a:pt x="157248" y="76244"/>
                  </a:lnTo>
                  <a:lnTo>
                    <a:pt x="171544" y="66712"/>
                  </a:lnTo>
                  <a:lnTo>
                    <a:pt x="181076" y="61948"/>
                  </a:lnTo>
                  <a:lnTo>
                    <a:pt x="204900" y="61948"/>
                  </a:lnTo>
                  <a:lnTo>
                    <a:pt x="238256" y="61948"/>
                  </a:lnTo>
                  <a:lnTo>
                    <a:pt x="247784" y="61948"/>
                  </a:lnTo>
                  <a:lnTo>
                    <a:pt x="271612" y="61948"/>
                  </a:lnTo>
                  <a:lnTo>
                    <a:pt x="281140" y="61948"/>
                  </a:lnTo>
                  <a:lnTo>
                    <a:pt x="300204" y="61948"/>
                  </a:lnTo>
                  <a:lnTo>
                    <a:pt x="319264" y="61948"/>
                  </a:lnTo>
                  <a:lnTo>
                    <a:pt x="328792" y="57182"/>
                  </a:lnTo>
                  <a:lnTo>
                    <a:pt x="338324" y="52418"/>
                  </a:lnTo>
                  <a:lnTo>
                    <a:pt x="347852" y="38122"/>
                  </a:lnTo>
                  <a:lnTo>
                    <a:pt x="357384" y="1906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3" name="Google Shape;4700;p64">
              <a:extLst>
                <a:ext uri="{FF2B5EF4-FFF2-40B4-BE49-F238E27FC236}">
                  <a16:creationId xmlns:a16="http://schemas.microsoft.com/office/drawing/2014/main" id="{597FB848-FA2E-11CF-148C-BF9146A0E38D}"/>
                </a:ext>
              </a:extLst>
            </p:cNvPr>
            <p:cNvSpPr/>
            <p:nvPr/>
          </p:nvSpPr>
          <p:spPr>
            <a:xfrm>
              <a:off x="4956165" y="3955098"/>
              <a:ext cx="36754" cy="41347"/>
            </a:xfrm>
            <a:custGeom>
              <a:avLst/>
              <a:gdLst/>
              <a:ahLst/>
              <a:cxnLst/>
              <a:rect l="l" t="t" r="r" b="b"/>
              <a:pathLst>
                <a:path w="112" h="126" extrusionOk="0">
                  <a:moveTo>
                    <a:pt x="100" y="92"/>
                  </a:moveTo>
                  <a:lnTo>
                    <a:pt x="98" y="88"/>
                  </a:lnTo>
                  <a:lnTo>
                    <a:pt x="96" y="84"/>
                  </a:lnTo>
                  <a:lnTo>
                    <a:pt x="98" y="82"/>
                  </a:lnTo>
                  <a:lnTo>
                    <a:pt x="102" y="78"/>
                  </a:lnTo>
                  <a:lnTo>
                    <a:pt x="104" y="76"/>
                  </a:lnTo>
                  <a:lnTo>
                    <a:pt x="110" y="60"/>
                  </a:lnTo>
                  <a:lnTo>
                    <a:pt x="112" y="56"/>
                  </a:lnTo>
                  <a:lnTo>
                    <a:pt x="112" y="54"/>
                  </a:lnTo>
                  <a:lnTo>
                    <a:pt x="110" y="52"/>
                  </a:lnTo>
                  <a:lnTo>
                    <a:pt x="106" y="52"/>
                  </a:lnTo>
                  <a:lnTo>
                    <a:pt x="88" y="46"/>
                  </a:lnTo>
                  <a:lnTo>
                    <a:pt x="90" y="40"/>
                  </a:lnTo>
                  <a:lnTo>
                    <a:pt x="84" y="36"/>
                  </a:lnTo>
                  <a:lnTo>
                    <a:pt x="78" y="32"/>
                  </a:lnTo>
                  <a:lnTo>
                    <a:pt x="78" y="28"/>
                  </a:lnTo>
                  <a:lnTo>
                    <a:pt x="72" y="20"/>
                  </a:lnTo>
                  <a:lnTo>
                    <a:pt x="66" y="16"/>
                  </a:lnTo>
                  <a:lnTo>
                    <a:pt x="60" y="14"/>
                  </a:lnTo>
                  <a:lnTo>
                    <a:pt x="56" y="10"/>
                  </a:lnTo>
                  <a:lnTo>
                    <a:pt x="52" y="8"/>
                  </a:lnTo>
                  <a:lnTo>
                    <a:pt x="52" y="4"/>
                  </a:lnTo>
                  <a:lnTo>
                    <a:pt x="52" y="2"/>
                  </a:lnTo>
                  <a:lnTo>
                    <a:pt x="50" y="0"/>
                  </a:lnTo>
                  <a:lnTo>
                    <a:pt x="48" y="2"/>
                  </a:lnTo>
                  <a:lnTo>
                    <a:pt x="44" y="4"/>
                  </a:lnTo>
                  <a:lnTo>
                    <a:pt x="38" y="6"/>
                  </a:lnTo>
                  <a:lnTo>
                    <a:pt x="38" y="8"/>
                  </a:lnTo>
                  <a:lnTo>
                    <a:pt x="40" y="12"/>
                  </a:lnTo>
                  <a:lnTo>
                    <a:pt x="40" y="16"/>
                  </a:lnTo>
                  <a:lnTo>
                    <a:pt x="40" y="18"/>
                  </a:lnTo>
                  <a:lnTo>
                    <a:pt x="38" y="22"/>
                  </a:lnTo>
                  <a:lnTo>
                    <a:pt x="28" y="28"/>
                  </a:lnTo>
                  <a:lnTo>
                    <a:pt x="28" y="32"/>
                  </a:lnTo>
                  <a:lnTo>
                    <a:pt x="30" y="36"/>
                  </a:lnTo>
                  <a:lnTo>
                    <a:pt x="28" y="36"/>
                  </a:lnTo>
                  <a:lnTo>
                    <a:pt x="20" y="40"/>
                  </a:lnTo>
                  <a:lnTo>
                    <a:pt x="12" y="42"/>
                  </a:lnTo>
                  <a:lnTo>
                    <a:pt x="10" y="46"/>
                  </a:lnTo>
                  <a:lnTo>
                    <a:pt x="6" y="46"/>
                  </a:lnTo>
                  <a:lnTo>
                    <a:pt x="0" y="46"/>
                  </a:lnTo>
                  <a:lnTo>
                    <a:pt x="0" y="48"/>
                  </a:lnTo>
                  <a:lnTo>
                    <a:pt x="2" y="52"/>
                  </a:lnTo>
                  <a:lnTo>
                    <a:pt x="2" y="58"/>
                  </a:lnTo>
                  <a:lnTo>
                    <a:pt x="2" y="64"/>
                  </a:lnTo>
                  <a:lnTo>
                    <a:pt x="2" y="64"/>
                  </a:lnTo>
                  <a:lnTo>
                    <a:pt x="4" y="66"/>
                  </a:lnTo>
                  <a:lnTo>
                    <a:pt x="10" y="76"/>
                  </a:lnTo>
                  <a:lnTo>
                    <a:pt x="14" y="84"/>
                  </a:lnTo>
                  <a:lnTo>
                    <a:pt x="20" y="86"/>
                  </a:lnTo>
                  <a:lnTo>
                    <a:pt x="24" y="88"/>
                  </a:lnTo>
                  <a:lnTo>
                    <a:pt x="30" y="94"/>
                  </a:lnTo>
                  <a:lnTo>
                    <a:pt x="32" y="98"/>
                  </a:lnTo>
                  <a:lnTo>
                    <a:pt x="34" y="112"/>
                  </a:lnTo>
                  <a:lnTo>
                    <a:pt x="36" y="120"/>
                  </a:lnTo>
                  <a:lnTo>
                    <a:pt x="34" y="124"/>
                  </a:lnTo>
                  <a:lnTo>
                    <a:pt x="36" y="124"/>
                  </a:lnTo>
                  <a:lnTo>
                    <a:pt x="42" y="126"/>
                  </a:lnTo>
                  <a:lnTo>
                    <a:pt x="44" y="124"/>
                  </a:lnTo>
                  <a:lnTo>
                    <a:pt x="46" y="122"/>
                  </a:lnTo>
                  <a:lnTo>
                    <a:pt x="46" y="112"/>
                  </a:lnTo>
                  <a:lnTo>
                    <a:pt x="48" y="106"/>
                  </a:lnTo>
                  <a:lnTo>
                    <a:pt x="66" y="98"/>
                  </a:lnTo>
                  <a:lnTo>
                    <a:pt x="72" y="98"/>
                  </a:lnTo>
                  <a:lnTo>
                    <a:pt x="76" y="102"/>
                  </a:lnTo>
                  <a:lnTo>
                    <a:pt x="80" y="104"/>
                  </a:lnTo>
                  <a:lnTo>
                    <a:pt x="82" y="104"/>
                  </a:lnTo>
                  <a:lnTo>
                    <a:pt x="82" y="102"/>
                  </a:lnTo>
                  <a:lnTo>
                    <a:pt x="84" y="96"/>
                  </a:lnTo>
                  <a:lnTo>
                    <a:pt x="88" y="94"/>
                  </a:lnTo>
                  <a:lnTo>
                    <a:pt x="100" y="92"/>
                  </a:lnTo>
                  <a:lnTo>
                    <a:pt x="100" y="9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4" name="Google Shape;4701;p64">
              <a:extLst>
                <a:ext uri="{FF2B5EF4-FFF2-40B4-BE49-F238E27FC236}">
                  <a16:creationId xmlns:a16="http://schemas.microsoft.com/office/drawing/2014/main" id="{8B1B701C-8FC7-034C-16D5-A4F6ADB1ED10}"/>
                </a:ext>
              </a:extLst>
            </p:cNvPr>
            <p:cNvSpPr/>
            <p:nvPr/>
          </p:nvSpPr>
          <p:spPr>
            <a:xfrm>
              <a:off x="5525846" y="4310164"/>
              <a:ext cx="41347" cy="38722"/>
            </a:xfrm>
            <a:custGeom>
              <a:avLst/>
              <a:gdLst/>
              <a:ahLst/>
              <a:cxnLst/>
              <a:rect l="l" t="t" r="r" b="b"/>
              <a:pathLst>
                <a:path w="300204" h="281140" extrusionOk="0">
                  <a:moveTo>
                    <a:pt x="262084" y="19060"/>
                  </a:moveTo>
                  <a:lnTo>
                    <a:pt x="266848" y="28590"/>
                  </a:lnTo>
                  <a:lnTo>
                    <a:pt x="285912" y="57180"/>
                  </a:lnTo>
                  <a:lnTo>
                    <a:pt x="285912" y="66710"/>
                  </a:lnTo>
                  <a:lnTo>
                    <a:pt x="285912" y="71476"/>
                  </a:lnTo>
                  <a:lnTo>
                    <a:pt x="271616" y="85770"/>
                  </a:lnTo>
                  <a:lnTo>
                    <a:pt x="266848" y="90536"/>
                  </a:lnTo>
                  <a:lnTo>
                    <a:pt x="257320" y="85770"/>
                  </a:lnTo>
                  <a:lnTo>
                    <a:pt x="252556" y="76240"/>
                  </a:lnTo>
                  <a:lnTo>
                    <a:pt x="243024" y="52414"/>
                  </a:lnTo>
                  <a:lnTo>
                    <a:pt x="247788" y="42884"/>
                  </a:lnTo>
                  <a:lnTo>
                    <a:pt x="247788" y="38120"/>
                  </a:lnTo>
                  <a:lnTo>
                    <a:pt x="252556" y="33354"/>
                  </a:lnTo>
                  <a:lnTo>
                    <a:pt x="257320" y="23824"/>
                  </a:lnTo>
                  <a:close/>
                  <a:moveTo>
                    <a:pt x="152488" y="0"/>
                  </a:moveTo>
                  <a:lnTo>
                    <a:pt x="176312" y="0"/>
                  </a:lnTo>
                  <a:lnTo>
                    <a:pt x="181076" y="0"/>
                  </a:lnTo>
                  <a:lnTo>
                    <a:pt x="190608" y="4764"/>
                  </a:lnTo>
                  <a:lnTo>
                    <a:pt x="228728" y="19060"/>
                  </a:lnTo>
                  <a:lnTo>
                    <a:pt x="228728" y="28590"/>
                  </a:lnTo>
                  <a:lnTo>
                    <a:pt x="233492" y="47650"/>
                  </a:lnTo>
                  <a:lnTo>
                    <a:pt x="243024" y="66710"/>
                  </a:lnTo>
                  <a:lnTo>
                    <a:pt x="252552" y="85772"/>
                  </a:lnTo>
                  <a:lnTo>
                    <a:pt x="252552" y="95302"/>
                  </a:lnTo>
                  <a:lnTo>
                    <a:pt x="243024" y="90536"/>
                  </a:lnTo>
                  <a:lnTo>
                    <a:pt x="238260" y="90536"/>
                  </a:lnTo>
                  <a:lnTo>
                    <a:pt x="223964" y="85772"/>
                  </a:lnTo>
                  <a:lnTo>
                    <a:pt x="200136" y="109596"/>
                  </a:lnTo>
                  <a:lnTo>
                    <a:pt x="185840" y="123892"/>
                  </a:lnTo>
                  <a:lnTo>
                    <a:pt x="185840" y="128658"/>
                  </a:lnTo>
                  <a:lnTo>
                    <a:pt x="204904" y="133422"/>
                  </a:lnTo>
                  <a:lnTo>
                    <a:pt x="219196" y="128658"/>
                  </a:lnTo>
                  <a:lnTo>
                    <a:pt x="228728" y="128658"/>
                  </a:lnTo>
                  <a:lnTo>
                    <a:pt x="238260" y="133422"/>
                  </a:lnTo>
                  <a:lnTo>
                    <a:pt x="243024" y="147718"/>
                  </a:lnTo>
                  <a:lnTo>
                    <a:pt x="247788" y="157248"/>
                  </a:lnTo>
                  <a:lnTo>
                    <a:pt x="257320" y="200134"/>
                  </a:lnTo>
                  <a:lnTo>
                    <a:pt x="271616" y="214430"/>
                  </a:lnTo>
                  <a:lnTo>
                    <a:pt x="285908" y="238254"/>
                  </a:lnTo>
                  <a:lnTo>
                    <a:pt x="290676" y="252550"/>
                  </a:lnTo>
                  <a:lnTo>
                    <a:pt x="290676" y="262080"/>
                  </a:lnTo>
                  <a:lnTo>
                    <a:pt x="300204" y="276376"/>
                  </a:lnTo>
                  <a:lnTo>
                    <a:pt x="271616" y="281140"/>
                  </a:lnTo>
                  <a:lnTo>
                    <a:pt x="238260" y="281140"/>
                  </a:lnTo>
                  <a:lnTo>
                    <a:pt x="209668" y="281140"/>
                  </a:lnTo>
                  <a:lnTo>
                    <a:pt x="181076" y="281140"/>
                  </a:lnTo>
                  <a:lnTo>
                    <a:pt x="166780" y="262080"/>
                  </a:lnTo>
                  <a:lnTo>
                    <a:pt x="162016" y="243020"/>
                  </a:lnTo>
                  <a:lnTo>
                    <a:pt x="157252" y="223960"/>
                  </a:lnTo>
                  <a:lnTo>
                    <a:pt x="142956" y="200134"/>
                  </a:lnTo>
                  <a:lnTo>
                    <a:pt x="95304" y="190604"/>
                  </a:lnTo>
                  <a:lnTo>
                    <a:pt x="71480" y="190604"/>
                  </a:lnTo>
                  <a:lnTo>
                    <a:pt x="33356" y="185838"/>
                  </a:lnTo>
                  <a:lnTo>
                    <a:pt x="0" y="181074"/>
                  </a:lnTo>
                  <a:lnTo>
                    <a:pt x="28592" y="152482"/>
                  </a:lnTo>
                  <a:lnTo>
                    <a:pt x="38124" y="133422"/>
                  </a:lnTo>
                  <a:lnTo>
                    <a:pt x="57184" y="100066"/>
                  </a:lnTo>
                  <a:lnTo>
                    <a:pt x="71480" y="76240"/>
                  </a:lnTo>
                  <a:lnTo>
                    <a:pt x="81008" y="47650"/>
                  </a:lnTo>
                  <a:lnTo>
                    <a:pt x="90540" y="28590"/>
                  </a:lnTo>
                  <a:lnTo>
                    <a:pt x="90540" y="23824"/>
                  </a:lnTo>
                  <a:lnTo>
                    <a:pt x="95304" y="19060"/>
                  </a:lnTo>
                  <a:lnTo>
                    <a:pt x="109600" y="9530"/>
                  </a:lnTo>
                  <a:lnTo>
                    <a:pt x="12866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5" name="Google Shape;4702;p64">
              <a:extLst>
                <a:ext uri="{FF2B5EF4-FFF2-40B4-BE49-F238E27FC236}">
                  <a16:creationId xmlns:a16="http://schemas.microsoft.com/office/drawing/2014/main" id="{0E31D13D-5134-FABB-7E1F-37EBEB86BF8B}"/>
                </a:ext>
              </a:extLst>
            </p:cNvPr>
            <p:cNvSpPr/>
            <p:nvPr/>
          </p:nvSpPr>
          <p:spPr>
            <a:xfrm>
              <a:off x="6678663" y="4492620"/>
              <a:ext cx="162109" cy="194269"/>
            </a:xfrm>
            <a:custGeom>
              <a:avLst/>
              <a:gdLst/>
              <a:ahLst/>
              <a:cxnLst/>
              <a:rect l="l" t="t" r="r" b="b"/>
              <a:pathLst>
                <a:path w="494" h="592" extrusionOk="0">
                  <a:moveTo>
                    <a:pt x="132" y="8"/>
                  </a:moveTo>
                  <a:lnTo>
                    <a:pt x="128" y="6"/>
                  </a:lnTo>
                  <a:lnTo>
                    <a:pt x="124" y="4"/>
                  </a:lnTo>
                  <a:lnTo>
                    <a:pt x="120" y="4"/>
                  </a:lnTo>
                  <a:lnTo>
                    <a:pt x="112" y="8"/>
                  </a:lnTo>
                  <a:lnTo>
                    <a:pt x="108" y="0"/>
                  </a:lnTo>
                  <a:lnTo>
                    <a:pt x="106" y="0"/>
                  </a:lnTo>
                  <a:lnTo>
                    <a:pt x="104" y="0"/>
                  </a:lnTo>
                  <a:lnTo>
                    <a:pt x="102" y="2"/>
                  </a:lnTo>
                  <a:lnTo>
                    <a:pt x="100" y="6"/>
                  </a:lnTo>
                  <a:lnTo>
                    <a:pt x="98" y="12"/>
                  </a:lnTo>
                  <a:lnTo>
                    <a:pt x="94" y="16"/>
                  </a:lnTo>
                  <a:lnTo>
                    <a:pt x="92" y="18"/>
                  </a:lnTo>
                  <a:lnTo>
                    <a:pt x="92" y="20"/>
                  </a:lnTo>
                  <a:lnTo>
                    <a:pt x="94" y="24"/>
                  </a:lnTo>
                  <a:lnTo>
                    <a:pt x="94" y="26"/>
                  </a:lnTo>
                  <a:lnTo>
                    <a:pt x="96" y="32"/>
                  </a:lnTo>
                  <a:lnTo>
                    <a:pt x="96" y="36"/>
                  </a:lnTo>
                  <a:lnTo>
                    <a:pt x="104" y="44"/>
                  </a:lnTo>
                  <a:lnTo>
                    <a:pt x="106" y="48"/>
                  </a:lnTo>
                  <a:lnTo>
                    <a:pt x="106" y="52"/>
                  </a:lnTo>
                  <a:lnTo>
                    <a:pt x="106" y="64"/>
                  </a:lnTo>
                  <a:lnTo>
                    <a:pt x="106" y="68"/>
                  </a:lnTo>
                  <a:lnTo>
                    <a:pt x="104" y="78"/>
                  </a:lnTo>
                  <a:lnTo>
                    <a:pt x="104" y="84"/>
                  </a:lnTo>
                  <a:lnTo>
                    <a:pt x="108" y="86"/>
                  </a:lnTo>
                  <a:lnTo>
                    <a:pt x="110" y="90"/>
                  </a:lnTo>
                  <a:lnTo>
                    <a:pt x="110" y="90"/>
                  </a:lnTo>
                  <a:lnTo>
                    <a:pt x="108" y="92"/>
                  </a:lnTo>
                  <a:lnTo>
                    <a:pt x="106" y="96"/>
                  </a:lnTo>
                  <a:lnTo>
                    <a:pt x="104" y="96"/>
                  </a:lnTo>
                  <a:lnTo>
                    <a:pt x="102" y="94"/>
                  </a:lnTo>
                  <a:lnTo>
                    <a:pt x="98" y="92"/>
                  </a:lnTo>
                  <a:lnTo>
                    <a:pt x="96" y="92"/>
                  </a:lnTo>
                  <a:lnTo>
                    <a:pt x="92" y="90"/>
                  </a:lnTo>
                  <a:lnTo>
                    <a:pt x="86" y="90"/>
                  </a:lnTo>
                  <a:lnTo>
                    <a:pt x="76" y="92"/>
                  </a:lnTo>
                  <a:lnTo>
                    <a:pt x="74" y="92"/>
                  </a:lnTo>
                  <a:lnTo>
                    <a:pt x="72" y="90"/>
                  </a:lnTo>
                  <a:lnTo>
                    <a:pt x="72" y="86"/>
                  </a:lnTo>
                  <a:lnTo>
                    <a:pt x="72" y="82"/>
                  </a:lnTo>
                  <a:lnTo>
                    <a:pt x="70" y="80"/>
                  </a:lnTo>
                  <a:lnTo>
                    <a:pt x="68" y="78"/>
                  </a:lnTo>
                  <a:lnTo>
                    <a:pt x="70" y="70"/>
                  </a:lnTo>
                  <a:lnTo>
                    <a:pt x="66" y="66"/>
                  </a:lnTo>
                  <a:lnTo>
                    <a:pt x="62" y="72"/>
                  </a:lnTo>
                  <a:lnTo>
                    <a:pt x="52" y="80"/>
                  </a:lnTo>
                  <a:lnTo>
                    <a:pt x="46" y="84"/>
                  </a:lnTo>
                  <a:lnTo>
                    <a:pt x="42" y="84"/>
                  </a:lnTo>
                  <a:lnTo>
                    <a:pt x="38" y="88"/>
                  </a:lnTo>
                  <a:lnTo>
                    <a:pt x="36" y="96"/>
                  </a:lnTo>
                  <a:lnTo>
                    <a:pt x="32" y="102"/>
                  </a:lnTo>
                  <a:lnTo>
                    <a:pt x="28" y="104"/>
                  </a:lnTo>
                  <a:lnTo>
                    <a:pt x="28" y="106"/>
                  </a:lnTo>
                  <a:lnTo>
                    <a:pt x="26" y="112"/>
                  </a:lnTo>
                  <a:lnTo>
                    <a:pt x="28" y="114"/>
                  </a:lnTo>
                  <a:lnTo>
                    <a:pt x="32" y="114"/>
                  </a:lnTo>
                  <a:lnTo>
                    <a:pt x="32" y="116"/>
                  </a:lnTo>
                  <a:lnTo>
                    <a:pt x="28" y="118"/>
                  </a:lnTo>
                  <a:lnTo>
                    <a:pt x="24" y="120"/>
                  </a:lnTo>
                  <a:lnTo>
                    <a:pt x="18" y="118"/>
                  </a:lnTo>
                  <a:lnTo>
                    <a:pt x="14" y="120"/>
                  </a:lnTo>
                  <a:lnTo>
                    <a:pt x="8" y="124"/>
                  </a:lnTo>
                  <a:lnTo>
                    <a:pt x="4" y="134"/>
                  </a:lnTo>
                  <a:lnTo>
                    <a:pt x="0" y="150"/>
                  </a:lnTo>
                  <a:lnTo>
                    <a:pt x="0" y="154"/>
                  </a:lnTo>
                  <a:lnTo>
                    <a:pt x="0" y="158"/>
                  </a:lnTo>
                  <a:lnTo>
                    <a:pt x="0" y="158"/>
                  </a:lnTo>
                  <a:lnTo>
                    <a:pt x="4" y="156"/>
                  </a:lnTo>
                  <a:lnTo>
                    <a:pt x="6" y="152"/>
                  </a:lnTo>
                  <a:lnTo>
                    <a:pt x="10" y="150"/>
                  </a:lnTo>
                  <a:lnTo>
                    <a:pt x="12" y="148"/>
                  </a:lnTo>
                  <a:lnTo>
                    <a:pt x="16" y="152"/>
                  </a:lnTo>
                  <a:lnTo>
                    <a:pt x="20" y="158"/>
                  </a:lnTo>
                  <a:lnTo>
                    <a:pt x="24" y="164"/>
                  </a:lnTo>
                  <a:lnTo>
                    <a:pt x="26" y="164"/>
                  </a:lnTo>
                  <a:lnTo>
                    <a:pt x="28" y="166"/>
                  </a:lnTo>
                  <a:lnTo>
                    <a:pt x="28" y="170"/>
                  </a:lnTo>
                  <a:lnTo>
                    <a:pt x="26" y="176"/>
                  </a:lnTo>
                  <a:lnTo>
                    <a:pt x="22" y="184"/>
                  </a:lnTo>
                  <a:lnTo>
                    <a:pt x="18" y="194"/>
                  </a:lnTo>
                  <a:lnTo>
                    <a:pt x="20" y="200"/>
                  </a:lnTo>
                  <a:lnTo>
                    <a:pt x="26" y="206"/>
                  </a:lnTo>
                  <a:lnTo>
                    <a:pt x="32" y="210"/>
                  </a:lnTo>
                  <a:lnTo>
                    <a:pt x="40" y="210"/>
                  </a:lnTo>
                  <a:lnTo>
                    <a:pt x="44" y="208"/>
                  </a:lnTo>
                  <a:lnTo>
                    <a:pt x="48" y="204"/>
                  </a:lnTo>
                  <a:lnTo>
                    <a:pt x="52" y="204"/>
                  </a:lnTo>
                  <a:lnTo>
                    <a:pt x="56" y="204"/>
                  </a:lnTo>
                  <a:lnTo>
                    <a:pt x="68" y="206"/>
                  </a:lnTo>
                  <a:lnTo>
                    <a:pt x="72" y="208"/>
                  </a:lnTo>
                  <a:lnTo>
                    <a:pt x="72" y="212"/>
                  </a:lnTo>
                  <a:lnTo>
                    <a:pt x="70" y="222"/>
                  </a:lnTo>
                  <a:lnTo>
                    <a:pt x="72" y="230"/>
                  </a:lnTo>
                  <a:lnTo>
                    <a:pt x="76" y="240"/>
                  </a:lnTo>
                  <a:lnTo>
                    <a:pt x="76" y="246"/>
                  </a:lnTo>
                  <a:lnTo>
                    <a:pt x="72" y="260"/>
                  </a:lnTo>
                  <a:lnTo>
                    <a:pt x="68" y="272"/>
                  </a:lnTo>
                  <a:lnTo>
                    <a:pt x="64" y="278"/>
                  </a:lnTo>
                  <a:lnTo>
                    <a:pt x="62" y="282"/>
                  </a:lnTo>
                  <a:lnTo>
                    <a:pt x="60" y="284"/>
                  </a:lnTo>
                  <a:lnTo>
                    <a:pt x="60" y="286"/>
                  </a:lnTo>
                  <a:lnTo>
                    <a:pt x="64" y="290"/>
                  </a:lnTo>
                  <a:lnTo>
                    <a:pt x="66" y="294"/>
                  </a:lnTo>
                  <a:lnTo>
                    <a:pt x="68" y="300"/>
                  </a:lnTo>
                  <a:lnTo>
                    <a:pt x="66" y="304"/>
                  </a:lnTo>
                  <a:lnTo>
                    <a:pt x="64" y="312"/>
                  </a:lnTo>
                  <a:lnTo>
                    <a:pt x="58" y="328"/>
                  </a:lnTo>
                  <a:lnTo>
                    <a:pt x="52" y="344"/>
                  </a:lnTo>
                  <a:lnTo>
                    <a:pt x="54" y="346"/>
                  </a:lnTo>
                  <a:lnTo>
                    <a:pt x="60" y="348"/>
                  </a:lnTo>
                  <a:lnTo>
                    <a:pt x="64" y="350"/>
                  </a:lnTo>
                  <a:lnTo>
                    <a:pt x="68" y="350"/>
                  </a:lnTo>
                  <a:lnTo>
                    <a:pt x="78" y="340"/>
                  </a:lnTo>
                  <a:lnTo>
                    <a:pt x="84" y="334"/>
                  </a:lnTo>
                  <a:lnTo>
                    <a:pt x="94" y="328"/>
                  </a:lnTo>
                  <a:lnTo>
                    <a:pt x="94" y="326"/>
                  </a:lnTo>
                  <a:lnTo>
                    <a:pt x="102" y="322"/>
                  </a:lnTo>
                  <a:lnTo>
                    <a:pt x="106" y="318"/>
                  </a:lnTo>
                  <a:lnTo>
                    <a:pt x="108" y="312"/>
                  </a:lnTo>
                  <a:lnTo>
                    <a:pt x="112" y="310"/>
                  </a:lnTo>
                  <a:lnTo>
                    <a:pt x="114" y="312"/>
                  </a:lnTo>
                  <a:lnTo>
                    <a:pt x="120" y="310"/>
                  </a:lnTo>
                  <a:lnTo>
                    <a:pt x="126" y="302"/>
                  </a:lnTo>
                  <a:lnTo>
                    <a:pt x="130" y="300"/>
                  </a:lnTo>
                  <a:lnTo>
                    <a:pt x="132" y="300"/>
                  </a:lnTo>
                  <a:lnTo>
                    <a:pt x="138" y="304"/>
                  </a:lnTo>
                  <a:lnTo>
                    <a:pt x="146" y="312"/>
                  </a:lnTo>
                  <a:lnTo>
                    <a:pt x="152" y="316"/>
                  </a:lnTo>
                  <a:lnTo>
                    <a:pt x="160" y="318"/>
                  </a:lnTo>
                  <a:lnTo>
                    <a:pt x="162" y="320"/>
                  </a:lnTo>
                  <a:lnTo>
                    <a:pt x="162" y="324"/>
                  </a:lnTo>
                  <a:lnTo>
                    <a:pt x="164" y="326"/>
                  </a:lnTo>
                  <a:lnTo>
                    <a:pt x="166" y="328"/>
                  </a:lnTo>
                  <a:lnTo>
                    <a:pt x="168" y="326"/>
                  </a:lnTo>
                  <a:lnTo>
                    <a:pt x="168" y="324"/>
                  </a:lnTo>
                  <a:lnTo>
                    <a:pt x="170" y="322"/>
                  </a:lnTo>
                  <a:lnTo>
                    <a:pt x="176" y="318"/>
                  </a:lnTo>
                  <a:lnTo>
                    <a:pt x="182" y="316"/>
                  </a:lnTo>
                  <a:lnTo>
                    <a:pt x="188" y="316"/>
                  </a:lnTo>
                  <a:lnTo>
                    <a:pt x="192" y="312"/>
                  </a:lnTo>
                  <a:lnTo>
                    <a:pt x="194" y="304"/>
                  </a:lnTo>
                  <a:lnTo>
                    <a:pt x="198" y="300"/>
                  </a:lnTo>
                  <a:lnTo>
                    <a:pt x="202" y="296"/>
                  </a:lnTo>
                  <a:lnTo>
                    <a:pt x="206" y="296"/>
                  </a:lnTo>
                  <a:lnTo>
                    <a:pt x="206" y="294"/>
                  </a:lnTo>
                  <a:lnTo>
                    <a:pt x="204" y="292"/>
                  </a:lnTo>
                  <a:lnTo>
                    <a:pt x="204" y="288"/>
                  </a:lnTo>
                  <a:lnTo>
                    <a:pt x="208" y="286"/>
                  </a:lnTo>
                  <a:lnTo>
                    <a:pt x="212" y="286"/>
                  </a:lnTo>
                  <a:lnTo>
                    <a:pt x="220" y="286"/>
                  </a:lnTo>
                  <a:lnTo>
                    <a:pt x="230" y="288"/>
                  </a:lnTo>
                  <a:lnTo>
                    <a:pt x="240" y="292"/>
                  </a:lnTo>
                  <a:lnTo>
                    <a:pt x="248" y="294"/>
                  </a:lnTo>
                  <a:lnTo>
                    <a:pt x="250" y="292"/>
                  </a:lnTo>
                  <a:lnTo>
                    <a:pt x="258" y="300"/>
                  </a:lnTo>
                  <a:lnTo>
                    <a:pt x="266" y="316"/>
                  </a:lnTo>
                  <a:lnTo>
                    <a:pt x="276" y="328"/>
                  </a:lnTo>
                  <a:lnTo>
                    <a:pt x="282" y="336"/>
                  </a:lnTo>
                  <a:lnTo>
                    <a:pt x="290" y="342"/>
                  </a:lnTo>
                  <a:lnTo>
                    <a:pt x="296" y="346"/>
                  </a:lnTo>
                  <a:lnTo>
                    <a:pt x="302" y="352"/>
                  </a:lnTo>
                  <a:lnTo>
                    <a:pt x="308" y="362"/>
                  </a:lnTo>
                  <a:lnTo>
                    <a:pt x="304" y="378"/>
                  </a:lnTo>
                  <a:lnTo>
                    <a:pt x="302" y="392"/>
                  </a:lnTo>
                  <a:lnTo>
                    <a:pt x="304" y="408"/>
                  </a:lnTo>
                  <a:lnTo>
                    <a:pt x="308" y="420"/>
                  </a:lnTo>
                  <a:lnTo>
                    <a:pt x="316" y="428"/>
                  </a:lnTo>
                  <a:lnTo>
                    <a:pt x="322" y="436"/>
                  </a:lnTo>
                  <a:lnTo>
                    <a:pt x="322" y="440"/>
                  </a:lnTo>
                  <a:lnTo>
                    <a:pt x="330" y="446"/>
                  </a:lnTo>
                  <a:lnTo>
                    <a:pt x="342" y="450"/>
                  </a:lnTo>
                  <a:lnTo>
                    <a:pt x="346" y="452"/>
                  </a:lnTo>
                  <a:lnTo>
                    <a:pt x="344" y="456"/>
                  </a:lnTo>
                  <a:lnTo>
                    <a:pt x="344" y="460"/>
                  </a:lnTo>
                  <a:lnTo>
                    <a:pt x="346" y="464"/>
                  </a:lnTo>
                  <a:lnTo>
                    <a:pt x="350" y="466"/>
                  </a:lnTo>
                  <a:lnTo>
                    <a:pt x="356" y="470"/>
                  </a:lnTo>
                  <a:lnTo>
                    <a:pt x="360" y="472"/>
                  </a:lnTo>
                  <a:lnTo>
                    <a:pt x="362" y="476"/>
                  </a:lnTo>
                  <a:lnTo>
                    <a:pt x="362" y="480"/>
                  </a:lnTo>
                  <a:lnTo>
                    <a:pt x="360" y="486"/>
                  </a:lnTo>
                  <a:lnTo>
                    <a:pt x="358" y="492"/>
                  </a:lnTo>
                  <a:lnTo>
                    <a:pt x="354" y="496"/>
                  </a:lnTo>
                  <a:lnTo>
                    <a:pt x="352" y="498"/>
                  </a:lnTo>
                  <a:lnTo>
                    <a:pt x="352" y="502"/>
                  </a:lnTo>
                  <a:lnTo>
                    <a:pt x="352" y="510"/>
                  </a:lnTo>
                  <a:lnTo>
                    <a:pt x="354" y="516"/>
                  </a:lnTo>
                  <a:lnTo>
                    <a:pt x="356" y="524"/>
                  </a:lnTo>
                  <a:lnTo>
                    <a:pt x="354" y="530"/>
                  </a:lnTo>
                  <a:lnTo>
                    <a:pt x="352" y="542"/>
                  </a:lnTo>
                  <a:lnTo>
                    <a:pt x="352" y="548"/>
                  </a:lnTo>
                  <a:lnTo>
                    <a:pt x="350" y="552"/>
                  </a:lnTo>
                  <a:lnTo>
                    <a:pt x="348" y="556"/>
                  </a:lnTo>
                  <a:lnTo>
                    <a:pt x="342" y="560"/>
                  </a:lnTo>
                  <a:lnTo>
                    <a:pt x="336" y="562"/>
                  </a:lnTo>
                  <a:lnTo>
                    <a:pt x="332" y="564"/>
                  </a:lnTo>
                  <a:lnTo>
                    <a:pt x="332" y="566"/>
                  </a:lnTo>
                  <a:lnTo>
                    <a:pt x="334" y="570"/>
                  </a:lnTo>
                  <a:lnTo>
                    <a:pt x="336" y="574"/>
                  </a:lnTo>
                  <a:lnTo>
                    <a:pt x="338" y="576"/>
                  </a:lnTo>
                  <a:lnTo>
                    <a:pt x="342" y="580"/>
                  </a:lnTo>
                  <a:lnTo>
                    <a:pt x="346" y="580"/>
                  </a:lnTo>
                  <a:lnTo>
                    <a:pt x="354" y="576"/>
                  </a:lnTo>
                  <a:lnTo>
                    <a:pt x="368" y="582"/>
                  </a:lnTo>
                  <a:lnTo>
                    <a:pt x="370" y="584"/>
                  </a:lnTo>
                  <a:lnTo>
                    <a:pt x="374" y="590"/>
                  </a:lnTo>
                  <a:lnTo>
                    <a:pt x="378" y="592"/>
                  </a:lnTo>
                  <a:lnTo>
                    <a:pt x="390" y="592"/>
                  </a:lnTo>
                  <a:lnTo>
                    <a:pt x="394" y="584"/>
                  </a:lnTo>
                  <a:lnTo>
                    <a:pt x="392" y="578"/>
                  </a:lnTo>
                  <a:lnTo>
                    <a:pt x="386" y="570"/>
                  </a:lnTo>
                  <a:lnTo>
                    <a:pt x="384" y="564"/>
                  </a:lnTo>
                  <a:lnTo>
                    <a:pt x="386" y="564"/>
                  </a:lnTo>
                  <a:lnTo>
                    <a:pt x="396" y="562"/>
                  </a:lnTo>
                  <a:lnTo>
                    <a:pt x="398" y="562"/>
                  </a:lnTo>
                  <a:lnTo>
                    <a:pt x="400" y="556"/>
                  </a:lnTo>
                  <a:lnTo>
                    <a:pt x="402" y="556"/>
                  </a:lnTo>
                  <a:lnTo>
                    <a:pt x="408" y="556"/>
                  </a:lnTo>
                  <a:lnTo>
                    <a:pt x="414" y="552"/>
                  </a:lnTo>
                  <a:lnTo>
                    <a:pt x="418" y="548"/>
                  </a:lnTo>
                  <a:lnTo>
                    <a:pt x="420" y="550"/>
                  </a:lnTo>
                  <a:lnTo>
                    <a:pt x="422" y="554"/>
                  </a:lnTo>
                  <a:lnTo>
                    <a:pt x="424" y="556"/>
                  </a:lnTo>
                  <a:lnTo>
                    <a:pt x="428" y="558"/>
                  </a:lnTo>
                  <a:lnTo>
                    <a:pt x="434" y="562"/>
                  </a:lnTo>
                  <a:lnTo>
                    <a:pt x="436" y="564"/>
                  </a:lnTo>
                  <a:lnTo>
                    <a:pt x="438" y="566"/>
                  </a:lnTo>
                  <a:lnTo>
                    <a:pt x="446" y="566"/>
                  </a:lnTo>
                  <a:lnTo>
                    <a:pt x="446" y="566"/>
                  </a:lnTo>
                  <a:lnTo>
                    <a:pt x="450" y="560"/>
                  </a:lnTo>
                  <a:lnTo>
                    <a:pt x="452" y="558"/>
                  </a:lnTo>
                  <a:lnTo>
                    <a:pt x="454" y="560"/>
                  </a:lnTo>
                  <a:lnTo>
                    <a:pt x="458" y="560"/>
                  </a:lnTo>
                  <a:lnTo>
                    <a:pt x="464" y="554"/>
                  </a:lnTo>
                  <a:lnTo>
                    <a:pt x="468" y="548"/>
                  </a:lnTo>
                  <a:lnTo>
                    <a:pt x="470" y="548"/>
                  </a:lnTo>
                  <a:lnTo>
                    <a:pt x="476" y="550"/>
                  </a:lnTo>
                  <a:lnTo>
                    <a:pt x="478" y="550"/>
                  </a:lnTo>
                  <a:lnTo>
                    <a:pt x="482" y="542"/>
                  </a:lnTo>
                  <a:lnTo>
                    <a:pt x="484" y="540"/>
                  </a:lnTo>
                  <a:lnTo>
                    <a:pt x="484" y="532"/>
                  </a:lnTo>
                  <a:lnTo>
                    <a:pt x="486" y="528"/>
                  </a:lnTo>
                  <a:lnTo>
                    <a:pt x="484" y="526"/>
                  </a:lnTo>
                  <a:lnTo>
                    <a:pt x="482" y="522"/>
                  </a:lnTo>
                  <a:lnTo>
                    <a:pt x="484" y="518"/>
                  </a:lnTo>
                  <a:lnTo>
                    <a:pt x="488" y="516"/>
                  </a:lnTo>
                  <a:lnTo>
                    <a:pt x="490" y="512"/>
                  </a:lnTo>
                  <a:lnTo>
                    <a:pt x="492" y="506"/>
                  </a:lnTo>
                  <a:lnTo>
                    <a:pt x="494" y="502"/>
                  </a:lnTo>
                  <a:lnTo>
                    <a:pt x="492" y="498"/>
                  </a:lnTo>
                  <a:lnTo>
                    <a:pt x="488" y="494"/>
                  </a:lnTo>
                  <a:lnTo>
                    <a:pt x="480" y="488"/>
                  </a:lnTo>
                  <a:lnTo>
                    <a:pt x="472" y="482"/>
                  </a:lnTo>
                  <a:lnTo>
                    <a:pt x="470" y="478"/>
                  </a:lnTo>
                  <a:lnTo>
                    <a:pt x="466" y="474"/>
                  </a:lnTo>
                  <a:lnTo>
                    <a:pt x="464" y="468"/>
                  </a:lnTo>
                  <a:lnTo>
                    <a:pt x="462" y="466"/>
                  </a:lnTo>
                  <a:lnTo>
                    <a:pt x="464" y="462"/>
                  </a:lnTo>
                  <a:lnTo>
                    <a:pt x="474" y="458"/>
                  </a:lnTo>
                  <a:lnTo>
                    <a:pt x="476" y="456"/>
                  </a:lnTo>
                  <a:lnTo>
                    <a:pt x="478" y="452"/>
                  </a:lnTo>
                  <a:lnTo>
                    <a:pt x="476" y="448"/>
                  </a:lnTo>
                  <a:lnTo>
                    <a:pt x="474" y="448"/>
                  </a:lnTo>
                  <a:lnTo>
                    <a:pt x="470" y="446"/>
                  </a:lnTo>
                  <a:lnTo>
                    <a:pt x="464" y="442"/>
                  </a:lnTo>
                  <a:lnTo>
                    <a:pt x="456" y="432"/>
                  </a:lnTo>
                  <a:lnTo>
                    <a:pt x="450" y="430"/>
                  </a:lnTo>
                  <a:lnTo>
                    <a:pt x="446" y="428"/>
                  </a:lnTo>
                  <a:lnTo>
                    <a:pt x="444" y="424"/>
                  </a:lnTo>
                  <a:lnTo>
                    <a:pt x="440" y="416"/>
                  </a:lnTo>
                  <a:lnTo>
                    <a:pt x="440" y="416"/>
                  </a:lnTo>
                  <a:lnTo>
                    <a:pt x="438" y="418"/>
                  </a:lnTo>
                  <a:lnTo>
                    <a:pt x="434" y="420"/>
                  </a:lnTo>
                  <a:lnTo>
                    <a:pt x="430" y="420"/>
                  </a:lnTo>
                  <a:lnTo>
                    <a:pt x="428" y="418"/>
                  </a:lnTo>
                  <a:lnTo>
                    <a:pt x="426" y="416"/>
                  </a:lnTo>
                  <a:lnTo>
                    <a:pt x="424" y="410"/>
                  </a:lnTo>
                  <a:lnTo>
                    <a:pt x="422" y="408"/>
                  </a:lnTo>
                  <a:lnTo>
                    <a:pt x="420" y="396"/>
                  </a:lnTo>
                  <a:lnTo>
                    <a:pt x="420" y="392"/>
                  </a:lnTo>
                  <a:lnTo>
                    <a:pt x="418" y="386"/>
                  </a:lnTo>
                  <a:lnTo>
                    <a:pt x="416" y="384"/>
                  </a:lnTo>
                  <a:lnTo>
                    <a:pt x="414" y="384"/>
                  </a:lnTo>
                  <a:lnTo>
                    <a:pt x="408" y="374"/>
                  </a:lnTo>
                  <a:lnTo>
                    <a:pt x="402" y="368"/>
                  </a:lnTo>
                  <a:lnTo>
                    <a:pt x="386" y="354"/>
                  </a:lnTo>
                  <a:lnTo>
                    <a:pt x="384" y="352"/>
                  </a:lnTo>
                  <a:lnTo>
                    <a:pt x="378" y="346"/>
                  </a:lnTo>
                  <a:lnTo>
                    <a:pt x="370" y="338"/>
                  </a:lnTo>
                  <a:lnTo>
                    <a:pt x="364" y="332"/>
                  </a:lnTo>
                  <a:lnTo>
                    <a:pt x="360" y="326"/>
                  </a:lnTo>
                  <a:lnTo>
                    <a:pt x="358" y="320"/>
                  </a:lnTo>
                  <a:lnTo>
                    <a:pt x="358" y="316"/>
                  </a:lnTo>
                  <a:lnTo>
                    <a:pt x="354" y="310"/>
                  </a:lnTo>
                  <a:lnTo>
                    <a:pt x="350" y="304"/>
                  </a:lnTo>
                  <a:lnTo>
                    <a:pt x="346" y="302"/>
                  </a:lnTo>
                  <a:lnTo>
                    <a:pt x="342" y="302"/>
                  </a:lnTo>
                  <a:lnTo>
                    <a:pt x="338" y="298"/>
                  </a:lnTo>
                  <a:lnTo>
                    <a:pt x="330" y="292"/>
                  </a:lnTo>
                  <a:lnTo>
                    <a:pt x="328" y="286"/>
                  </a:lnTo>
                  <a:lnTo>
                    <a:pt x="326" y="284"/>
                  </a:lnTo>
                  <a:lnTo>
                    <a:pt x="326" y="280"/>
                  </a:lnTo>
                  <a:lnTo>
                    <a:pt x="326" y="276"/>
                  </a:lnTo>
                  <a:lnTo>
                    <a:pt x="328" y="272"/>
                  </a:lnTo>
                  <a:lnTo>
                    <a:pt x="330" y="270"/>
                  </a:lnTo>
                  <a:lnTo>
                    <a:pt x="328" y="268"/>
                  </a:lnTo>
                  <a:lnTo>
                    <a:pt x="320" y="264"/>
                  </a:lnTo>
                  <a:lnTo>
                    <a:pt x="300" y="260"/>
                  </a:lnTo>
                  <a:lnTo>
                    <a:pt x="294" y="256"/>
                  </a:lnTo>
                  <a:lnTo>
                    <a:pt x="288" y="250"/>
                  </a:lnTo>
                  <a:lnTo>
                    <a:pt x="284" y="246"/>
                  </a:lnTo>
                  <a:lnTo>
                    <a:pt x="262" y="232"/>
                  </a:lnTo>
                  <a:lnTo>
                    <a:pt x="254" y="230"/>
                  </a:lnTo>
                  <a:lnTo>
                    <a:pt x="248" y="226"/>
                  </a:lnTo>
                  <a:lnTo>
                    <a:pt x="246" y="224"/>
                  </a:lnTo>
                  <a:lnTo>
                    <a:pt x="248" y="222"/>
                  </a:lnTo>
                  <a:lnTo>
                    <a:pt x="250" y="220"/>
                  </a:lnTo>
                  <a:lnTo>
                    <a:pt x="256" y="216"/>
                  </a:lnTo>
                  <a:lnTo>
                    <a:pt x="258" y="212"/>
                  </a:lnTo>
                  <a:lnTo>
                    <a:pt x="258" y="206"/>
                  </a:lnTo>
                  <a:lnTo>
                    <a:pt x="256" y="200"/>
                  </a:lnTo>
                  <a:lnTo>
                    <a:pt x="256" y="198"/>
                  </a:lnTo>
                  <a:lnTo>
                    <a:pt x="258" y="198"/>
                  </a:lnTo>
                  <a:lnTo>
                    <a:pt x="262" y="198"/>
                  </a:lnTo>
                  <a:lnTo>
                    <a:pt x="272" y="198"/>
                  </a:lnTo>
                  <a:lnTo>
                    <a:pt x="290" y="204"/>
                  </a:lnTo>
                  <a:lnTo>
                    <a:pt x="292" y="202"/>
                  </a:lnTo>
                  <a:lnTo>
                    <a:pt x="302" y="194"/>
                  </a:lnTo>
                  <a:lnTo>
                    <a:pt x="306" y="188"/>
                  </a:lnTo>
                  <a:lnTo>
                    <a:pt x="308" y="182"/>
                  </a:lnTo>
                  <a:lnTo>
                    <a:pt x="310" y="180"/>
                  </a:lnTo>
                  <a:lnTo>
                    <a:pt x="314" y="174"/>
                  </a:lnTo>
                  <a:lnTo>
                    <a:pt x="316" y="170"/>
                  </a:lnTo>
                  <a:lnTo>
                    <a:pt x="312" y="164"/>
                  </a:lnTo>
                  <a:lnTo>
                    <a:pt x="310" y="162"/>
                  </a:lnTo>
                  <a:lnTo>
                    <a:pt x="308" y="160"/>
                  </a:lnTo>
                  <a:lnTo>
                    <a:pt x="300" y="162"/>
                  </a:lnTo>
                  <a:lnTo>
                    <a:pt x="298" y="160"/>
                  </a:lnTo>
                  <a:lnTo>
                    <a:pt x="298" y="156"/>
                  </a:lnTo>
                  <a:lnTo>
                    <a:pt x="296" y="154"/>
                  </a:lnTo>
                  <a:lnTo>
                    <a:pt x="294" y="150"/>
                  </a:lnTo>
                  <a:lnTo>
                    <a:pt x="286" y="146"/>
                  </a:lnTo>
                  <a:lnTo>
                    <a:pt x="280" y="146"/>
                  </a:lnTo>
                  <a:lnTo>
                    <a:pt x="278" y="146"/>
                  </a:lnTo>
                  <a:lnTo>
                    <a:pt x="280" y="142"/>
                  </a:lnTo>
                  <a:lnTo>
                    <a:pt x="286" y="138"/>
                  </a:lnTo>
                  <a:lnTo>
                    <a:pt x="290" y="138"/>
                  </a:lnTo>
                  <a:lnTo>
                    <a:pt x="292" y="134"/>
                  </a:lnTo>
                  <a:lnTo>
                    <a:pt x="292" y="130"/>
                  </a:lnTo>
                  <a:lnTo>
                    <a:pt x="288" y="128"/>
                  </a:lnTo>
                  <a:lnTo>
                    <a:pt x="284" y="124"/>
                  </a:lnTo>
                  <a:lnTo>
                    <a:pt x="276" y="118"/>
                  </a:lnTo>
                  <a:lnTo>
                    <a:pt x="266" y="112"/>
                  </a:lnTo>
                  <a:lnTo>
                    <a:pt x="260" y="110"/>
                  </a:lnTo>
                  <a:lnTo>
                    <a:pt x="258" y="110"/>
                  </a:lnTo>
                  <a:lnTo>
                    <a:pt x="246" y="116"/>
                  </a:lnTo>
                  <a:lnTo>
                    <a:pt x="240" y="120"/>
                  </a:lnTo>
                  <a:lnTo>
                    <a:pt x="236" y="126"/>
                  </a:lnTo>
                  <a:lnTo>
                    <a:pt x="230" y="128"/>
                  </a:lnTo>
                  <a:lnTo>
                    <a:pt x="218" y="122"/>
                  </a:lnTo>
                  <a:lnTo>
                    <a:pt x="202" y="116"/>
                  </a:lnTo>
                  <a:lnTo>
                    <a:pt x="196" y="114"/>
                  </a:lnTo>
                  <a:lnTo>
                    <a:pt x="180" y="92"/>
                  </a:lnTo>
                  <a:lnTo>
                    <a:pt x="178" y="88"/>
                  </a:lnTo>
                  <a:lnTo>
                    <a:pt x="180" y="82"/>
                  </a:lnTo>
                  <a:lnTo>
                    <a:pt x="180" y="74"/>
                  </a:lnTo>
                  <a:lnTo>
                    <a:pt x="182" y="70"/>
                  </a:lnTo>
                  <a:lnTo>
                    <a:pt x="186" y="66"/>
                  </a:lnTo>
                  <a:lnTo>
                    <a:pt x="186" y="62"/>
                  </a:lnTo>
                  <a:lnTo>
                    <a:pt x="186" y="58"/>
                  </a:lnTo>
                  <a:lnTo>
                    <a:pt x="184" y="56"/>
                  </a:lnTo>
                  <a:lnTo>
                    <a:pt x="180" y="56"/>
                  </a:lnTo>
                  <a:lnTo>
                    <a:pt x="178" y="54"/>
                  </a:lnTo>
                  <a:lnTo>
                    <a:pt x="176" y="50"/>
                  </a:lnTo>
                  <a:lnTo>
                    <a:pt x="176" y="50"/>
                  </a:lnTo>
                  <a:lnTo>
                    <a:pt x="174" y="56"/>
                  </a:lnTo>
                  <a:lnTo>
                    <a:pt x="172" y="58"/>
                  </a:lnTo>
                  <a:lnTo>
                    <a:pt x="168" y="60"/>
                  </a:lnTo>
                  <a:lnTo>
                    <a:pt x="166" y="58"/>
                  </a:lnTo>
                  <a:lnTo>
                    <a:pt x="164" y="56"/>
                  </a:lnTo>
                  <a:lnTo>
                    <a:pt x="164" y="52"/>
                  </a:lnTo>
                  <a:lnTo>
                    <a:pt x="162" y="46"/>
                  </a:lnTo>
                  <a:lnTo>
                    <a:pt x="162" y="42"/>
                  </a:lnTo>
                  <a:lnTo>
                    <a:pt x="154" y="38"/>
                  </a:lnTo>
                  <a:lnTo>
                    <a:pt x="152" y="34"/>
                  </a:lnTo>
                  <a:lnTo>
                    <a:pt x="142" y="22"/>
                  </a:lnTo>
                  <a:lnTo>
                    <a:pt x="134" y="16"/>
                  </a:lnTo>
                  <a:lnTo>
                    <a:pt x="13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6" name="Google Shape;4703;p64">
              <a:extLst>
                <a:ext uri="{FF2B5EF4-FFF2-40B4-BE49-F238E27FC236}">
                  <a16:creationId xmlns:a16="http://schemas.microsoft.com/office/drawing/2014/main" id="{F827E871-EE25-D265-3017-DA17436F8C67}"/>
                </a:ext>
              </a:extLst>
            </p:cNvPr>
            <p:cNvSpPr/>
            <p:nvPr/>
          </p:nvSpPr>
          <p:spPr>
            <a:xfrm>
              <a:off x="5280385" y="4193340"/>
              <a:ext cx="31503" cy="41347"/>
            </a:xfrm>
            <a:custGeom>
              <a:avLst/>
              <a:gdLst/>
              <a:ahLst/>
              <a:cxnLst/>
              <a:rect l="l" t="t" r="r" b="b"/>
              <a:pathLst>
                <a:path w="96" h="126" extrusionOk="0">
                  <a:moveTo>
                    <a:pt x="50" y="98"/>
                  </a:moveTo>
                  <a:lnTo>
                    <a:pt x="52" y="96"/>
                  </a:lnTo>
                  <a:lnTo>
                    <a:pt x="54" y="94"/>
                  </a:lnTo>
                  <a:lnTo>
                    <a:pt x="56" y="90"/>
                  </a:lnTo>
                  <a:lnTo>
                    <a:pt x="60" y="88"/>
                  </a:lnTo>
                  <a:lnTo>
                    <a:pt x="60" y="86"/>
                  </a:lnTo>
                  <a:lnTo>
                    <a:pt x="60" y="86"/>
                  </a:lnTo>
                  <a:lnTo>
                    <a:pt x="56" y="84"/>
                  </a:lnTo>
                  <a:lnTo>
                    <a:pt x="54" y="80"/>
                  </a:lnTo>
                  <a:lnTo>
                    <a:pt x="56" y="74"/>
                  </a:lnTo>
                  <a:lnTo>
                    <a:pt x="58" y="74"/>
                  </a:lnTo>
                  <a:lnTo>
                    <a:pt x="60" y="72"/>
                  </a:lnTo>
                  <a:lnTo>
                    <a:pt x="64" y="68"/>
                  </a:lnTo>
                  <a:lnTo>
                    <a:pt x="68" y="66"/>
                  </a:lnTo>
                  <a:lnTo>
                    <a:pt x="72" y="66"/>
                  </a:lnTo>
                  <a:lnTo>
                    <a:pt x="76" y="66"/>
                  </a:lnTo>
                  <a:lnTo>
                    <a:pt x="80" y="68"/>
                  </a:lnTo>
                  <a:lnTo>
                    <a:pt x="82" y="66"/>
                  </a:lnTo>
                  <a:lnTo>
                    <a:pt x="82" y="66"/>
                  </a:lnTo>
                  <a:lnTo>
                    <a:pt x="76" y="62"/>
                  </a:lnTo>
                  <a:lnTo>
                    <a:pt x="76" y="60"/>
                  </a:lnTo>
                  <a:lnTo>
                    <a:pt x="78" y="58"/>
                  </a:lnTo>
                  <a:lnTo>
                    <a:pt x="82" y="54"/>
                  </a:lnTo>
                  <a:lnTo>
                    <a:pt x="86" y="50"/>
                  </a:lnTo>
                  <a:lnTo>
                    <a:pt x="88" y="50"/>
                  </a:lnTo>
                  <a:lnTo>
                    <a:pt x="94" y="44"/>
                  </a:lnTo>
                  <a:lnTo>
                    <a:pt x="96" y="36"/>
                  </a:lnTo>
                  <a:lnTo>
                    <a:pt x="92" y="20"/>
                  </a:lnTo>
                  <a:lnTo>
                    <a:pt x="88" y="16"/>
                  </a:lnTo>
                  <a:lnTo>
                    <a:pt x="82" y="14"/>
                  </a:lnTo>
                  <a:lnTo>
                    <a:pt x="80" y="14"/>
                  </a:lnTo>
                  <a:lnTo>
                    <a:pt x="80" y="14"/>
                  </a:lnTo>
                  <a:lnTo>
                    <a:pt x="84" y="8"/>
                  </a:lnTo>
                  <a:lnTo>
                    <a:pt x="86" y="6"/>
                  </a:lnTo>
                  <a:lnTo>
                    <a:pt x="84" y="2"/>
                  </a:lnTo>
                  <a:lnTo>
                    <a:pt x="78" y="0"/>
                  </a:lnTo>
                  <a:lnTo>
                    <a:pt x="76" y="4"/>
                  </a:lnTo>
                  <a:lnTo>
                    <a:pt x="68" y="4"/>
                  </a:lnTo>
                  <a:lnTo>
                    <a:pt x="56" y="4"/>
                  </a:lnTo>
                  <a:lnTo>
                    <a:pt x="56" y="10"/>
                  </a:lnTo>
                  <a:lnTo>
                    <a:pt x="54" y="14"/>
                  </a:lnTo>
                  <a:lnTo>
                    <a:pt x="46" y="20"/>
                  </a:lnTo>
                  <a:lnTo>
                    <a:pt x="36" y="34"/>
                  </a:lnTo>
                  <a:lnTo>
                    <a:pt x="32" y="52"/>
                  </a:lnTo>
                  <a:lnTo>
                    <a:pt x="26" y="64"/>
                  </a:lnTo>
                  <a:lnTo>
                    <a:pt x="14" y="92"/>
                  </a:lnTo>
                  <a:lnTo>
                    <a:pt x="8" y="102"/>
                  </a:lnTo>
                  <a:lnTo>
                    <a:pt x="6" y="112"/>
                  </a:lnTo>
                  <a:lnTo>
                    <a:pt x="2" y="120"/>
                  </a:lnTo>
                  <a:lnTo>
                    <a:pt x="0" y="126"/>
                  </a:lnTo>
                  <a:lnTo>
                    <a:pt x="8" y="126"/>
                  </a:lnTo>
                  <a:lnTo>
                    <a:pt x="12" y="126"/>
                  </a:lnTo>
                  <a:lnTo>
                    <a:pt x="20" y="126"/>
                  </a:lnTo>
                  <a:lnTo>
                    <a:pt x="24" y="124"/>
                  </a:lnTo>
                  <a:lnTo>
                    <a:pt x="28" y="112"/>
                  </a:lnTo>
                  <a:lnTo>
                    <a:pt x="30" y="112"/>
                  </a:lnTo>
                  <a:lnTo>
                    <a:pt x="32" y="114"/>
                  </a:lnTo>
                  <a:lnTo>
                    <a:pt x="34" y="112"/>
                  </a:lnTo>
                  <a:lnTo>
                    <a:pt x="40" y="106"/>
                  </a:lnTo>
                  <a:lnTo>
                    <a:pt x="44" y="104"/>
                  </a:lnTo>
                  <a:lnTo>
                    <a:pt x="48" y="100"/>
                  </a:lnTo>
                  <a:lnTo>
                    <a:pt x="50" y="9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7" name="Google Shape;4704;p64">
              <a:extLst>
                <a:ext uri="{FF2B5EF4-FFF2-40B4-BE49-F238E27FC236}">
                  <a16:creationId xmlns:a16="http://schemas.microsoft.com/office/drawing/2014/main" id="{1078137B-88DD-EC98-62CB-027F208B4576}"/>
                </a:ext>
              </a:extLst>
            </p:cNvPr>
            <p:cNvSpPr/>
            <p:nvPr/>
          </p:nvSpPr>
          <p:spPr>
            <a:xfrm>
              <a:off x="4277536" y="4805025"/>
              <a:ext cx="87945" cy="91228"/>
            </a:xfrm>
            <a:custGeom>
              <a:avLst/>
              <a:gdLst/>
              <a:ahLst/>
              <a:cxnLst/>
              <a:rect l="l" t="t" r="r" b="b"/>
              <a:pathLst>
                <a:path w="268" h="278" extrusionOk="0">
                  <a:moveTo>
                    <a:pt x="198" y="66"/>
                  </a:moveTo>
                  <a:lnTo>
                    <a:pt x="196" y="64"/>
                  </a:lnTo>
                  <a:lnTo>
                    <a:pt x="192" y="62"/>
                  </a:lnTo>
                  <a:lnTo>
                    <a:pt x="192" y="58"/>
                  </a:lnTo>
                  <a:lnTo>
                    <a:pt x="190" y="56"/>
                  </a:lnTo>
                  <a:lnTo>
                    <a:pt x="186" y="56"/>
                  </a:lnTo>
                  <a:lnTo>
                    <a:pt x="184" y="58"/>
                  </a:lnTo>
                  <a:lnTo>
                    <a:pt x="182" y="62"/>
                  </a:lnTo>
                  <a:lnTo>
                    <a:pt x="182" y="66"/>
                  </a:lnTo>
                  <a:lnTo>
                    <a:pt x="182" y="70"/>
                  </a:lnTo>
                  <a:lnTo>
                    <a:pt x="180" y="72"/>
                  </a:lnTo>
                  <a:lnTo>
                    <a:pt x="176" y="76"/>
                  </a:lnTo>
                  <a:lnTo>
                    <a:pt x="174" y="82"/>
                  </a:lnTo>
                  <a:lnTo>
                    <a:pt x="172" y="84"/>
                  </a:lnTo>
                  <a:lnTo>
                    <a:pt x="168" y="84"/>
                  </a:lnTo>
                  <a:lnTo>
                    <a:pt x="166" y="84"/>
                  </a:lnTo>
                  <a:lnTo>
                    <a:pt x="166" y="86"/>
                  </a:lnTo>
                  <a:lnTo>
                    <a:pt x="160" y="88"/>
                  </a:lnTo>
                  <a:lnTo>
                    <a:pt x="156" y="88"/>
                  </a:lnTo>
                  <a:lnTo>
                    <a:pt x="156" y="86"/>
                  </a:lnTo>
                  <a:lnTo>
                    <a:pt x="152" y="84"/>
                  </a:lnTo>
                  <a:lnTo>
                    <a:pt x="150" y="80"/>
                  </a:lnTo>
                  <a:lnTo>
                    <a:pt x="146" y="78"/>
                  </a:lnTo>
                  <a:lnTo>
                    <a:pt x="140" y="76"/>
                  </a:lnTo>
                  <a:lnTo>
                    <a:pt x="138" y="76"/>
                  </a:lnTo>
                  <a:lnTo>
                    <a:pt x="136" y="76"/>
                  </a:lnTo>
                  <a:lnTo>
                    <a:pt x="134" y="74"/>
                  </a:lnTo>
                  <a:lnTo>
                    <a:pt x="134" y="74"/>
                  </a:lnTo>
                  <a:lnTo>
                    <a:pt x="138" y="68"/>
                  </a:lnTo>
                  <a:lnTo>
                    <a:pt x="138" y="64"/>
                  </a:lnTo>
                  <a:lnTo>
                    <a:pt x="140" y="60"/>
                  </a:lnTo>
                  <a:lnTo>
                    <a:pt x="140" y="56"/>
                  </a:lnTo>
                  <a:lnTo>
                    <a:pt x="138" y="50"/>
                  </a:lnTo>
                  <a:lnTo>
                    <a:pt x="136" y="46"/>
                  </a:lnTo>
                  <a:lnTo>
                    <a:pt x="134" y="42"/>
                  </a:lnTo>
                  <a:lnTo>
                    <a:pt x="136" y="38"/>
                  </a:lnTo>
                  <a:lnTo>
                    <a:pt x="134" y="34"/>
                  </a:lnTo>
                  <a:lnTo>
                    <a:pt x="134" y="32"/>
                  </a:lnTo>
                  <a:lnTo>
                    <a:pt x="134" y="30"/>
                  </a:lnTo>
                  <a:lnTo>
                    <a:pt x="132" y="26"/>
                  </a:lnTo>
                  <a:lnTo>
                    <a:pt x="130" y="24"/>
                  </a:lnTo>
                  <a:lnTo>
                    <a:pt x="130" y="20"/>
                  </a:lnTo>
                  <a:lnTo>
                    <a:pt x="130" y="14"/>
                  </a:lnTo>
                  <a:lnTo>
                    <a:pt x="128" y="12"/>
                  </a:lnTo>
                  <a:lnTo>
                    <a:pt x="124" y="10"/>
                  </a:lnTo>
                  <a:lnTo>
                    <a:pt x="122" y="8"/>
                  </a:lnTo>
                  <a:lnTo>
                    <a:pt x="120" y="6"/>
                  </a:lnTo>
                  <a:lnTo>
                    <a:pt x="120" y="4"/>
                  </a:lnTo>
                  <a:lnTo>
                    <a:pt x="118" y="4"/>
                  </a:lnTo>
                  <a:lnTo>
                    <a:pt x="116" y="6"/>
                  </a:lnTo>
                  <a:lnTo>
                    <a:pt x="116" y="6"/>
                  </a:lnTo>
                  <a:lnTo>
                    <a:pt x="114" y="0"/>
                  </a:lnTo>
                  <a:lnTo>
                    <a:pt x="112" y="0"/>
                  </a:lnTo>
                  <a:lnTo>
                    <a:pt x="112" y="2"/>
                  </a:lnTo>
                  <a:lnTo>
                    <a:pt x="94" y="8"/>
                  </a:lnTo>
                  <a:lnTo>
                    <a:pt x="94" y="6"/>
                  </a:lnTo>
                  <a:lnTo>
                    <a:pt x="92" y="2"/>
                  </a:lnTo>
                  <a:lnTo>
                    <a:pt x="88" y="2"/>
                  </a:lnTo>
                  <a:lnTo>
                    <a:pt x="84" y="4"/>
                  </a:lnTo>
                  <a:lnTo>
                    <a:pt x="80" y="4"/>
                  </a:lnTo>
                  <a:lnTo>
                    <a:pt x="80" y="6"/>
                  </a:lnTo>
                  <a:lnTo>
                    <a:pt x="78" y="16"/>
                  </a:lnTo>
                  <a:lnTo>
                    <a:pt x="74" y="24"/>
                  </a:lnTo>
                  <a:lnTo>
                    <a:pt x="72" y="26"/>
                  </a:lnTo>
                  <a:lnTo>
                    <a:pt x="64" y="28"/>
                  </a:lnTo>
                  <a:lnTo>
                    <a:pt x="62" y="32"/>
                  </a:lnTo>
                  <a:lnTo>
                    <a:pt x="58" y="44"/>
                  </a:lnTo>
                  <a:lnTo>
                    <a:pt x="56" y="52"/>
                  </a:lnTo>
                  <a:lnTo>
                    <a:pt x="54" y="54"/>
                  </a:lnTo>
                  <a:lnTo>
                    <a:pt x="40" y="66"/>
                  </a:lnTo>
                  <a:lnTo>
                    <a:pt x="32" y="72"/>
                  </a:lnTo>
                  <a:lnTo>
                    <a:pt x="28" y="76"/>
                  </a:lnTo>
                  <a:lnTo>
                    <a:pt x="22" y="82"/>
                  </a:lnTo>
                  <a:lnTo>
                    <a:pt x="16" y="88"/>
                  </a:lnTo>
                  <a:lnTo>
                    <a:pt x="8" y="96"/>
                  </a:lnTo>
                  <a:lnTo>
                    <a:pt x="4" y="106"/>
                  </a:lnTo>
                  <a:lnTo>
                    <a:pt x="0" y="108"/>
                  </a:lnTo>
                  <a:lnTo>
                    <a:pt x="14" y="124"/>
                  </a:lnTo>
                  <a:lnTo>
                    <a:pt x="32" y="132"/>
                  </a:lnTo>
                  <a:lnTo>
                    <a:pt x="42" y="138"/>
                  </a:lnTo>
                  <a:lnTo>
                    <a:pt x="48" y="148"/>
                  </a:lnTo>
                  <a:lnTo>
                    <a:pt x="52" y="152"/>
                  </a:lnTo>
                  <a:lnTo>
                    <a:pt x="60" y="154"/>
                  </a:lnTo>
                  <a:lnTo>
                    <a:pt x="72" y="158"/>
                  </a:lnTo>
                  <a:lnTo>
                    <a:pt x="80" y="164"/>
                  </a:lnTo>
                  <a:lnTo>
                    <a:pt x="122" y="200"/>
                  </a:lnTo>
                  <a:lnTo>
                    <a:pt x="140" y="218"/>
                  </a:lnTo>
                  <a:lnTo>
                    <a:pt x="156" y="230"/>
                  </a:lnTo>
                  <a:lnTo>
                    <a:pt x="212" y="262"/>
                  </a:lnTo>
                  <a:lnTo>
                    <a:pt x="230" y="266"/>
                  </a:lnTo>
                  <a:lnTo>
                    <a:pt x="252" y="276"/>
                  </a:lnTo>
                  <a:lnTo>
                    <a:pt x="260" y="278"/>
                  </a:lnTo>
                  <a:lnTo>
                    <a:pt x="258" y="274"/>
                  </a:lnTo>
                  <a:lnTo>
                    <a:pt x="258" y="262"/>
                  </a:lnTo>
                  <a:lnTo>
                    <a:pt x="256" y="246"/>
                  </a:lnTo>
                  <a:lnTo>
                    <a:pt x="256" y="240"/>
                  </a:lnTo>
                  <a:lnTo>
                    <a:pt x="258" y="234"/>
                  </a:lnTo>
                  <a:lnTo>
                    <a:pt x="258" y="230"/>
                  </a:lnTo>
                  <a:lnTo>
                    <a:pt x="262" y="228"/>
                  </a:lnTo>
                  <a:lnTo>
                    <a:pt x="262" y="226"/>
                  </a:lnTo>
                  <a:lnTo>
                    <a:pt x="264" y="218"/>
                  </a:lnTo>
                  <a:lnTo>
                    <a:pt x="268" y="212"/>
                  </a:lnTo>
                  <a:lnTo>
                    <a:pt x="268" y="202"/>
                  </a:lnTo>
                  <a:lnTo>
                    <a:pt x="268" y="200"/>
                  </a:lnTo>
                  <a:lnTo>
                    <a:pt x="268" y="198"/>
                  </a:lnTo>
                  <a:lnTo>
                    <a:pt x="268" y="192"/>
                  </a:lnTo>
                  <a:lnTo>
                    <a:pt x="266" y="178"/>
                  </a:lnTo>
                  <a:lnTo>
                    <a:pt x="264" y="178"/>
                  </a:lnTo>
                  <a:lnTo>
                    <a:pt x="264" y="178"/>
                  </a:lnTo>
                  <a:lnTo>
                    <a:pt x="262" y="178"/>
                  </a:lnTo>
                  <a:lnTo>
                    <a:pt x="254" y="174"/>
                  </a:lnTo>
                  <a:lnTo>
                    <a:pt x="248" y="174"/>
                  </a:lnTo>
                  <a:lnTo>
                    <a:pt x="244" y="170"/>
                  </a:lnTo>
                  <a:lnTo>
                    <a:pt x="242" y="166"/>
                  </a:lnTo>
                  <a:lnTo>
                    <a:pt x="240" y="164"/>
                  </a:lnTo>
                  <a:lnTo>
                    <a:pt x="240" y="158"/>
                  </a:lnTo>
                  <a:lnTo>
                    <a:pt x="236" y="154"/>
                  </a:lnTo>
                  <a:lnTo>
                    <a:pt x="230" y="150"/>
                  </a:lnTo>
                  <a:lnTo>
                    <a:pt x="226" y="148"/>
                  </a:lnTo>
                  <a:lnTo>
                    <a:pt x="222" y="150"/>
                  </a:lnTo>
                  <a:lnTo>
                    <a:pt x="216" y="150"/>
                  </a:lnTo>
                  <a:lnTo>
                    <a:pt x="210" y="148"/>
                  </a:lnTo>
                  <a:lnTo>
                    <a:pt x="208" y="146"/>
                  </a:lnTo>
                  <a:lnTo>
                    <a:pt x="204" y="142"/>
                  </a:lnTo>
                  <a:lnTo>
                    <a:pt x="200" y="138"/>
                  </a:lnTo>
                  <a:lnTo>
                    <a:pt x="198" y="138"/>
                  </a:lnTo>
                  <a:lnTo>
                    <a:pt x="194" y="138"/>
                  </a:lnTo>
                  <a:lnTo>
                    <a:pt x="192" y="136"/>
                  </a:lnTo>
                  <a:lnTo>
                    <a:pt x="190" y="136"/>
                  </a:lnTo>
                  <a:lnTo>
                    <a:pt x="204" y="122"/>
                  </a:lnTo>
                  <a:lnTo>
                    <a:pt x="208" y="116"/>
                  </a:lnTo>
                  <a:lnTo>
                    <a:pt x="208" y="112"/>
                  </a:lnTo>
                  <a:lnTo>
                    <a:pt x="208" y="108"/>
                  </a:lnTo>
                  <a:lnTo>
                    <a:pt x="210" y="104"/>
                  </a:lnTo>
                  <a:lnTo>
                    <a:pt x="210" y="98"/>
                  </a:lnTo>
                  <a:lnTo>
                    <a:pt x="202" y="76"/>
                  </a:lnTo>
                  <a:lnTo>
                    <a:pt x="202" y="68"/>
                  </a:lnTo>
                  <a:lnTo>
                    <a:pt x="198" y="66"/>
                  </a:lnTo>
                  <a:lnTo>
                    <a:pt x="198" y="6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8" name="Google Shape;4705;p64">
              <a:extLst>
                <a:ext uri="{FF2B5EF4-FFF2-40B4-BE49-F238E27FC236}">
                  <a16:creationId xmlns:a16="http://schemas.microsoft.com/office/drawing/2014/main" id="{C3AB6E96-87CB-45CA-7CB0-BD1B550E239A}"/>
                </a:ext>
              </a:extLst>
            </p:cNvPr>
            <p:cNvSpPr/>
            <p:nvPr/>
          </p:nvSpPr>
          <p:spPr>
            <a:xfrm>
              <a:off x="4725143" y="4232063"/>
              <a:ext cx="340627" cy="330126"/>
            </a:xfrm>
            <a:custGeom>
              <a:avLst/>
              <a:gdLst/>
              <a:ahLst/>
              <a:cxnLst/>
              <a:rect l="l" t="t" r="r" b="b"/>
              <a:pathLst>
                <a:path w="1038" h="1006" extrusionOk="0">
                  <a:moveTo>
                    <a:pt x="1038" y="118"/>
                  </a:moveTo>
                  <a:lnTo>
                    <a:pt x="1036" y="114"/>
                  </a:lnTo>
                  <a:lnTo>
                    <a:pt x="1030" y="102"/>
                  </a:lnTo>
                  <a:lnTo>
                    <a:pt x="1026" y="96"/>
                  </a:lnTo>
                  <a:lnTo>
                    <a:pt x="1022" y="94"/>
                  </a:lnTo>
                  <a:lnTo>
                    <a:pt x="1008" y="90"/>
                  </a:lnTo>
                  <a:lnTo>
                    <a:pt x="994" y="92"/>
                  </a:lnTo>
                  <a:lnTo>
                    <a:pt x="972" y="92"/>
                  </a:lnTo>
                  <a:lnTo>
                    <a:pt x="966" y="90"/>
                  </a:lnTo>
                  <a:lnTo>
                    <a:pt x="956" y="82"/>
                  </a:lnTo>
                  <a:lnTo>
                    <a:pt x="950" y="80"/>
                  </a:lnTo>
                  <a:lnTo>
                    <a:pt x="916" y="76"/>
                  </a:lnTo>
                  <a:lnTo>
                    <a:pt x="906" y="66"/>
                  </a:lnTo>
                  <a:lnTo>
                    <a:pt x="906" y="62"/>
                  </a:lnTo>
                  <a:lnTo>
                    <a:pt x="906" y="58"/>
                  </a:lnTo>
                  <a:lnTo>
                    <a:pt x="904" y="44"/>
                  </a:lnTo>
                  <a:lnTo>
                    <a:pt x="892" y="38"/>
                  </a:lnTo>
                  <a:lnTo>
                    <a:pt x="882" y="34"/>
                  </a:lnTo>
                  <a:lnTo>
                    <a:pt x="866" y="30"/>
                  </a:lnTo>
                  <a:lnTo>
                    <a:pt x="854" y="24"/>
                  </a:lnTo>
                  <a:lnTo>
                    <a:pt x="844" y="20"/>
                  </a:lnTo>
                  <a:lnTo>
                    <a:pt x="822" y="22"/>
                  </a:lnTo>
                  <a:lnTo>
                    <a:pt x="814" y="20"/>
                  </a:lnTo>
                  <a:lnTo>
                    <a:pt x="808" y="20"/>
                  </a:lnTo>
                  <a:lnTo>
                    <a:pt x="794" y="30"/>
                  </a:lnTo>
                  <a:lnTo>
                    <a:pt x="788" y="32"/>
                  </a:lnTo>
                  <a:lnTo>
                    <a:pt x="770" y="32"/>
                  </a:lnTo>
                  <a:lnTo>
                    <a:pt x="742" y="48"/>
                  </a:lnTo>
                  <a:lnTo>
                    <a:pt x="726" y="58"/>
                  </a:lnTo>
                  <a:lnTo>
                    <a:pt x="710" y="76"/>
                  </a:lnTo>
                  <a:lnTo>
                    <a:pt x="704" y="84"/>
                  </a:lnTo>
                  <a:lnTo>
                    <a:pt x="700" y="92"/>
                  </a:lnTo>
                  <a:lnTo>
                    <a:pt x="696" y="106"/>
                  </a:lnTo>
                  <a:lnTo>
                    <a:pt x="698" y="126"/>
                  </a:lnTo>
                  <a:lnTo>
                    <a:pt x="702" y="138"/>
                  </a:lnTo>
                  <a:lnTo>
                    <a:pt x="708" y="146"/>
                  </a:lnTo>
                  <a:lnTo>
                    <a:pt x="710" y="154"/>
                  </a:lnTo>
                  <a:lnTo>
                    <a:pt x="712" y="164"/>
                  </a:lnTo>
                  <a:lnTo>
                    <a:pt x="708" y="172"/>
                  </a:lnTo>
                  <a:lnTo>
                    <a:pt x="702" y="184"/>
                  </a:lnTo>
                  <a:lnTo>
                    <a:pt x="682" y="208"/>
                  </a:lnTo>
                  <a:lnTo>
                    <a:pt x="674" y="214"/>
                  </a:lnTo>
                  <a:lnTo>
                    <a:pt x="654" y="224"/>
                  </a:lnTo>
                  <a:lnTo>
                    <a:pt x="644" y="226"/>
                  </a:lnTo>
                  <a:lnTo>
                    <a:pt x="632" y="224"/>
                  </a:lnTo>
                  <a:lnTo>
                    <a:pt x="614" y="214"/>
                  </a:lnTo>
                  <a:lnTo>
                    <a:pt x="582" y="186"/>
                  </a:lnTo>
                  <a:lnTo>
                    <a:pt x="566" y="180"/>
                  </a:lnTo>
                  <a:lnTo>
                    <a:pt x="558" y="174"/>
                  </a:lnTo>
                  <a:lnTo>
                    <a:pt x="528" y="162"/>
                  </a:lnTo>
                  <a:lnTo>
                    <a:pt x="490" y="152"/>
                  </a:lnTo>
                  <a:lnTo>
                    <a:pt x="468" y="152"/>
                  </a:lnTo>
                  <a:lnTo>
                    <a:pt x="448" y="150"/>
                  </a:lnTo>
                  <a:lnTo>
                    <a:pt x="428" y="142"/>
                  </a:lnTo>
                  <a:lnTo>
                    <a:pt x="420" y="136"/>
                  </a:lnTo>
                  <a:lnTo>
                    <a:pt x="412" y="128"/>
                  </a:lnTo>
                  <a:lnTo>
                    <a:pt x="406" y="118"/>
                  </a:lnTo>
                  <a:lnTo>
                    <a:pt x="400" y="104"/>
                  </a:lnTo>
                  <a:lnTo>
                    <a:pt x="398" y="94"/>
                  </a:lnTo>
                  <a:lnTo>
                    <a:pt x="398" y="80"/>
                  </a:lnTo>
                  <a:lnTo>
                    <a:pt x="390" y="68"/>
                  </a:lnTo>
                  <a:lnTo>
                    <a:pt x="384" y="62"/>
                  </a:lnTo>
                  <a:lnTo>
                    <a:pt x="342" y="52"/>
                  </a:lnTo>
                  <a:lnTo>
                    <a:pt x="336" y="50"/>
                  </a:lnTo>
                  <a:lnTo>
                    <a:pt x="324" y="40"/>
                  </a:lnTo>
                  <a:lnTo>
                    <a:pt x="318" y="38"/>
                  </a:lnTo>
                  <a:lnTo>
                    <a:pt x="296" y="30"/>
                  </a:lnTo>
                  <a:lnTo>
                    <a:pt x="284" y="30"/>
                  </a:lnTo>
                  <a:lnTo>
                    <a:pt x="278" y="28"/>
                  </a:lnTo>
                  <a:lnTo>
                    <a:pt x="260" y="22"/>
                  </a:lnTo>
                  <a:lnTo>
                    <a:pt x="252" y="22"/>
                  </a:lnTo>
                  <a:lnTo>
                    <a:pt x="226" y="30"/>
                  </a:lnTo>
                  <a:lnTo>
                    <a:pt x="204" y="28"/>
                  </a:lnTo>
                  <a:lnTo>
                    <a:pt x="196" y="26"/>
                  </a:lnTo>
                  <a:lnTo>
                    <a:pt x="164" y="8"/>
                  </a:lnTo>
                  <a:lnTo>
                    <a:pt x="154" y="6"/>
                  </a:lnTo>
                  <a:lnTo>
                    <a:pt x="144" y="0"/>
                  </a:lnTo>
                  <a:lnTo>
                    <a:pt x="144" y="2"/>
                  </a:lnTo>
                  <a:lnTo>
                    <a:pt x="142" y="18"/>
                  </a:lnTo>
                  <a:lnTo>
                    <a:pt x="142" y="22"/>
                  </a:lnTo>
                  <a:lnTo>
                    <a:pt x="140" y="32"/>
                  </a:lnTo>
                  <a:lnTo>
                    <a:pt x="140" y="42"/>
                  </a:lnTo>
                  <a:lnTo>
                    <a:pt x="146" y="52"/>
                  </a:lnTo>
                  <a:lnTo>
                    <a:pt x="146" y="56"/>
                  </a:lnTo>
                  <a:lnTo>
                    <a:pt x="144" y="60"/>
                  </a:lnTo>
                  <a:lnTo>
                    <a:pt x="134" y="66"/>
                  </a:lnTo>
                  <a:lnTo>
                    <a:pt x="122" y="72"/>
                  </a:lnTo>
                  <a:lnTo>
                    <a:pt x="112" y="78"/>
                  </a:lnTo>
                  <a:lnTo>
                    <a:pt x="100" y="86"/>
                  </a:lnTo>
                  <a:lnTo>
                    <a:pt x="96" y="90"/>
                  </a:lnTo>
                  <a:lnTo>
                    <a:pt x="90" y="94"/>
                  </a:lnTo>
                  <a:lnTo>
                    <a:pt x="86" y="98"/>
                  </a:lnTo>
                  <a:lnTo>
                    <a:pt x="84" y="102"/>
                  </a:lnTo>
                  <a:lnTo>
                    <a:pt x="82" y="108"/>
                  </a:lnTo>
                  <a:lnTo>
                    <a:pt x="76" y="112"/>
                  </a:lnTo>
                  <a:lnTo>
                    <a:pt x="66" y="116"/>
                  </a:lnTo>
                  <a:lnTo>
                    <a:pt x="64" y="116"/>
                  </a:lnTo>
                  <a:lnTo>
                    <a:pt x="58" y="124"/>
                  </a:lnTo>
                  <a:lnTo>
                    <a:pt x="56" y="128"/>
                  </a:lnTo>
                  <a:lnTo>
                    <a:pt x="54" y="134"/>
                  </a:lnTo>
                  <a:lnTo>
                    <a:pt x="56" y="150"/>
                  </a:lnTo>
                  <a:lnTo>
                    <a:pt x="62" y="166"/>
                  </a:lnTo>
                  <a:lnTo>
                    <a:pt x="62" y="174"/>
                  </a:lnTo>
                  <a:lnTo>
                    <a:pt x="62" y="180"/>
                  </a:lnTo>
                  <a:lnTo>
                    <a:pt x="60" y="186"/>
                  </a:lnTo>
                  <a:lnTo>
                    <a:pt x="54" y="194"/>
                  </a:lnTo>
                  <a:lnTo>
                    <a:pt x="50" y="202"/>
                  </a:lnTo>
                  <a:lnTo>
                    <a:pt x="42" y="212"/>
                  </a:lnTo>
                  <a:lnTo>
                    <a:pt x="38" y="216"/>
                  </a:lnTo>
                  <a:lnTo>
                    <a:pt x="32" y="220"/>
                  </a:lnTo>
                  <a:lnTo>
                    <a:pt x="22" y="224"/>
                  </a:lnTo>
                  <a:lnTo>
                    <a:pt x="14" y="228"/>
                  </a:lnTo>
                  <a:lnTo>
                    <a:pt x="8" y="232"/>
                  </a:lnTo>
                  <a:lnTo>
                    <a:pt x="0" y="236"/>
                  </a:lnTo>
                  <a:lnTo>
                    <a:pt x="6" y="246"/>
                  </a:lnTo>
                  <a:lnTo>
                    <a:pt x="16" y="260"/>
                  </a:lnTo>
                  <a:lnTo>
                    <a:pt x="22" y="272"/>
                  </a:lnTo>
                  <a:lnTo>
                    <a:pt x="24" y="278"/>
                  </a:lnTo>
                  <a:lnTo>
                    <a:pt x="30" y="292"/>
                  </a:lnTo>
                  <a:lnTo>
                    <a:pt x="32" y="308"/>
                  </a:lnTo>
                  <a:lnTo>
                    <a:pt x="34" y="312"/>
                  </a:lnTo>
                  <a:lnTo>
                    <a:pt x="36" y="324"/>
                  </a:lnTo>
                  <a:lnTo>
                    <a:pt x="34" y="354"/>
                  </a:lnTo>
                  <a:lnTo>
                    <a:pt x="36" y="392"/>
                  </a:lnTo>
                  <a:lnTo>
                    <a:pt x="40" y="412"/>
                  </a:lnTo>
                  <a:lnTo>
                    <a:pt x="34" y="428"/>
                  </a:lnTo>
                  <a:lnTo>
                    <a:pt x="30" y="444"/>
                  </a:lnTo>
                  <a:lnTo>
                    <a:pt x="30" y="454"/>
                  </a:lnTo>
                  <a:lnTo>
                    <a:pt x="32" y="466"/>
                  </a:lnTo>
                  <a:lnTo>
                    <a:pt x="36" y="476"/>
                  </a:lnTo>
                  <a:lnTo>
                    <a:pt x="38" y="480"/>
                  </a:lnTo>
                  <a:lnTo>
                    <a:pt x="38" y="496"/>
                  </a:lnTo>
                  <a:lnTo>
                    <a:pt x="36" y="502"/>
                  </a:lnTo>
                  <a:lnTo>
                    <a:pt x="24" y="510"/>
                  </a:lnTo>
                  <a:lnTo>
                    <a:pt x="12" y="518"/>
                  </a:lnTo>
                  <a:lnTo>
                    <a:pt x="8" y="524"/>
                  </a:lnTo>
                  <a:lnTo>
                    <a:pt x="8" y="532"/>
                  </a:lnTo>
                  <a:lnTo>
                    <a:pt x="10" y="538"/>
                  </a:lnTo>
                  <a:lnTo>
                    <a:pt x="18" y="550"/>
                  </a:lnTo>
                  <a:lnTo>
                    <a:pt x="32" y="570"/>
                  </a:lnTo>
                  <a:lnTo>
                    <a:pt x="46" y="590"/>
                  </a:lnTo>
                  <a:lnTo>
                    <a:pt x="46" y="596"/>
                  </a:lnTo>
                  <a:lnTo>
                    <a:pt x="48" y="612"/>
                  </a:lnTo>
                  <a:lnTo>
                    <a:pt x="54" y="630"/>
                  </a:lnTo>
                  <a:lnTo>
                    <a:pt x="60" y="638"/>
                  </a:lnTo>
                  <a:lnTo>
                    <a:pt x="62" y="644"/>
                  </a:lnTo>
                  <a:lnTo>
                    <a:pt x="66" y="650"/>
                  </a:lnTo>
                  <a:lnTo>
                    <a:pt x="72" y="652"/>
                  </a:lnTo>
                  <a:lnTo>
                    <a:pt x="74" y="652"/>
                  </a:lnTo>
                  <a:lnTo>
                    <a:pt x="90" y="648"/>
                  </a:lnTo>
                  <a:lnTo>
                    <a:pt x="118" y="656"/>
                  </a:lnTo>
                  <a:lnTo>
                    <a:pt x="144" y="664"/>
                  </a:lnTo>
                  <a:lnTo>
                    <a:pt x="146" y="666"/>
                  </a:lnTo>
                  <a:lnTo>
                    <a:pt x="152" y="678"/>
                  </a:lnTo>
                  <a:lnTo>
                    <a:pt x="162" y="694"/>
                  </a:lnTo>
                  <a:lnTo>
                    <a:pt x="168" y="708"/>
                  </a:lnTo>
                  <a:lnTo>
                    <a:pt x="174" y="722"/>
                  </a:lnTo>
                  <a:lnTo>
                    <a:pt x="208" y="730"/>
                  </a:lnTo>
                  <a:lnTo>
                    <a:pt x="274" y="746"/>
                  </a:lnTo>
                  <a:lnTo>
                    <a:pt x="282" y="750"/>
                  </a:lnTo>
                  <a:lnTo>
                    <a:pt x="298" y="766"/>
                  </a:lnTo>
                  <a:lnTo>
                    <a:pt x="320" y="786"/>
                  </a:lnTo>
                  <a:lnTo>
                    <a:pt x="322" y="786"/>
                  </a:lnTo>
                  <a:lnTo>
                    <a:pt x="324" y="786"/>
                  </a:lnTo>
                  <a:lnTo>
                    <a:pt x="344" y="774"/>
                  </a:lnTo>
                  <a:lnTo>
                    <a:pt x="372" y="758"/>
                  </a:lnTo>
                  <a:lnTo>
                    <a:pt x="396" y="748"/>
                  </a:lnTo>
                  <a:lnTo>
                    <a:pt x="414" y="738"/>
                  </a:lnTo>
                  <a:lnTo>
                    <a:pt x="438" y="726"/>
                  </a:lnTo>
                  <a:lnTo>
                    <a:pt x="460" y="738"/>
                  </a:lnTo>
                  <a:lnTo>
                    <a:pt x="554" y="788"/>
                  </a:lnTo>
                  <a:lnTo>
                    <a:pt x="586" y="806"/>
                  </a:lnTo>
                  <a:lnTo>
                    <a:pt x="616" y="822"/>
                  </a:lnTo>
                  <a:lnTo>
                    <a:pt x="648" y="840"/>
                  </a:lnTo>
                  <a:lnTo>
                    <a:pt x="680" y="856"/>
                  </a:lnTo>
                  <a:lnTo>
                    <a:pt x="742" y="890"/>
                  </a:lnTo>
                  <a:lnTo>
                    <a:pt x="774" y="906"/>
                  </a:lnTo>
                  <a:lnTo>
                    <a:pt x="836" y="940"/>
                  </a:lnTo>
                  <a:lnTo>
                    <a:pt x="868" y="956"/>
                  </a:lnTo>
                  <a:lnTo>
                    <a:pt x="962" y="1006"/>
                  </a:lnTo>
                  <a:lnTo>
                    <a:pt x="962" y="970"/>
                  </a:lnTo>
                  <a:lnTo>
                    <a:pt x="1026" y="970"/>
                  </a:lnTo>
                  <a:lnTo>
                    <a:pt x="1028" y="970"/>
                  </a:lnTo>
                  <a:lnTo>
                    <a:pt x="1028" y="970"/>
                  </a:lnTo>
                  <a:lnTo>
                    <a:pt x="1028" y="900"/>
                  </a:lnTo>
                  <a:lnTo>
                    <a:pt x="1028" y="864"/>
                  </a:lnTo>
                  <a:lnTo>
                    <a:pt x="1028" y="306"/>
                  </a:lnTo>
                  <a:lnTo>
                    <a:pt x="1028" y="304"/>
                  </a:lnTo>
                  <a:lnTo>
                    <a:pt x="1024" y="292"/>
                  </a:lnTo>
                  <a:lnTo>
                    <a:pt x="1020" y="278"/>
                  </a:lnTo>
                  <a:lnTo>
                    <a:pt x="1016" y="260"/>
                  </a:lnTo>
                  <a:lnTo>
                    <a:pt x="1016" y="254"/>
                  </a:lnTo>
                  <a:lnTo>
                    <a:pt x="1010" y="236"/>
                  </a:lnTo>
                  <a:lnTo>
                    <a:pt x="1010" y="230"/>
                  </a:lnTo>
                  <a:lnTo>
                    <a:pt x="1010" y="226"/>
                  </a:lnTo>
                  <a:lnTo>
                    <a:pt x="1022" y="210"/>
                  </a:lnTo>
                  <a:lnTo>
                    <a:pt x="1024" y="202"/>
                  </a:lnTo>
                  <a:lnTo>
                    <a:pt x="1026" y="194"/>
                  </a:lnTo>
                  <a:lnTo>
                    <a:pt x="1028" y="186"/>
                  </a:lnTo>
                  <a:lnTo>
                    <a:pt x="1024" y="174"/>
                  </a:lnTo>
                  <a:lnTo>
                    <a:pt x="1022" y="164"/>
                  </a:lnTo>
                  <a:lnTo>
                    <a:pt x="1020" y="154"/>
                  </a:lnTo>
                  <a:lnTo>
                    <a:pt x="1020" y="144"/>
                  </a:lnTo>
                  <a:lnTo>
                    <a:pt x="1024" y="136"/>
                  </a:lnTo>
                  <a:lnTo>
                    <a:pt x="1030" y="130"/>
                  </a:lnTo>
                  <a:lnTo>
                    <a:pt x="1032" y="126"/>
                  </a:lnTo>
                  <a:lnTo>
                    <a:pt x="1036" y="120"/>
                  </a:lnTo>
                  <a:lnTo>
                    <a:pt x="1038" y="1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39" name="Google Shape;4706;p64">
              <a:extLst>
                <a:ext uri="{FF2B5EF4-FFF2-40B4-BE49-F238E27FC236}">
                  <a16:creationId xmlns:a16="http://schemas.microsoft.com/office/drawing/2014/main" id="{E8409C09-80D2-4984-8726-3C72F4911053}"/>
                </a:ext>
              </a:extLst>
            </p:cNvPr>
            <p:cNvSpPr/>
            <p:nvPr/>
          </p:nvSpPr>
          <p:spPr>
            <a:xfrm>
              <a:off x="3211025" y="4683607"/>
              <a:ext cx="3938" cy="7876"/>
            </a:xfrm>
            <a:custGeom>
              <a:avLst/>
              <a:gdLst/>
              <a:ahLst/>
              <a:cxnLst/>
              <a:rect l="l" t="t" r="r" b="b"/>
              <a:pathLst>
                <a:path w="12" h="24" extrusionOk="0">
                  <a:moveTo>
                    <a:pt x="12" y="18"/>
                  </a:moveTo>
                  <a:lnTo>
                    <a:pt x="12" y="4"/>
                  </a:lnTo>
                  <a:lnTo>
                    <a:pt x="12" y="0"/>
                  </a:lnTo>
                  <a:lnTo>
                    <a:pt x="8" y="0"/>
                  </a:lnTo>
                  <a:lnTo>
                    <a:pt x="6" y="4"/>
                  </a:lnTo>
                  <a:lnTo>
                    <a:pt x="0" y="12"/>
                  </a:lnTo>
                  <a:lnTo>
                    <a:pt x="0" y="14"/>
                  </a:lnTo>
                  <a:lnTo>
                    <a:pt x="0" y="20"/>
                  </a:lnTo>
                  <a:lnTo>
                    <a:pt x="8" y="24"/>
                  </a:lnTo>
                  <a:lnTo>
                    <a:pt x="12"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40" name="Google Shape;4707;p64">
              <a:extLst>
                <a:ext uri="{FF2B5EF4-FFF2-40B4-BE49-F238E27FC236}">
                  <a16:creationId xmlns:a16="http://schemas.microsoft.com/office/drawing/2014/main" id="{762D15AF-0864-B761-8686-9B972C035FA2}"/>
                </a:ext>
              </a:extLst>
            </p:cNvPr>
            <p:cNvCxnSpPr/>
            <p:nvPr/>
          </p:nvCxnSpPr>
          <p:spPr>
            <a:xfrm>
              <a:off x="3214962" y="4689514"/>
              <a:ext cx="0" cy="0"/>
            </a:xfrm>
            <a:prstGeom prst="straightConnector1">
              <a:avLst/>
            </a:prstGeom>
            <a:grpFill/>
            <a:ln w="9525" cap="flat" cmpd="sng">
              <a:solidFill>
                <a:schemeClr val="bg2"/>
              </a:solidFill>
              <a:prstDash val="solid"/>
              <a:round/>
              <a:headEnd type="none" w="med" len="med"/>
              <a:tailEnd type="none" w="med" len="med"/>
            </a:ln>
          </p:spPr>
        </p:cxnSp>
        <p:cxnSp>
          <p:nvCxnSpPr>
            <p:cNvPr id="241" name="Google Shape;4708;p64">
              <a:extLst>
                <a:ext uri="{FF2B5EF4-FFF2-40B4-BE49-F238E27FC236}">
                  <a16:creationId xmlns:a16="http://schemas.microsoft.com/office/drawing/2014/main" id="{B11CE25B-8DD1-7611-E85C-B66719930A7A}"/>
                </a:ext>
              </a:extLst>
            </p:cNvPr>
            <p:cNvCxnSpPr/>
            <p:nvPr/>
          </p:nvCxnSpPr>
          <p:spPr>
            <a:xfrm>
              <a:off x="3214962" y="4689514"/>
              <a:ext cx="0" cy="0"/>
            </a:xfrm>
            <a:prstGeom prst="straightConnector1">
              <a:avLst/>
            </a:prstGeom>
            <a:grpFill/>
            <a:ln w="9525" cap="flat" cmpd="sng">
              <a:solidFill>
                <a:schemeClr val="bg2"/>
              </a:solidFill>
              <a:prstDash val="solid"/>
              <a:round/>
              <a:headEnd type="none" w="med" len="med"/>
              <a:tailEnd type="none" w="med" len="med"/>
            </a:ln>
          </p:spPr>
        </p:cxnSp>
        <p:sp>
          <p:nvSpPr>
            <p:cNvPr id="242" name="Google Shape;4709;p64">
              <a:extLst>
                <a:ext uri="{FF2B5EF4-FFF2-40B4-BE49-F238E27FC236}">
                  <a16:creationId xmlns:a16="http://schemas.microsoft.com/office/drawing/2014/main" id="{7C6FB0CD-C37C-E498-75D8-D01C960C115E}"/>
                </a:ext>
              </a:extLst>
            </p:cNvPr>
            <p:cNvSpPr/>
            <p:nvPr/>
          </p:nvSpPr>
          <p:spPr>
            <a:xfrm>
              <a:off x="4729081" y="3833024"/>
              <a:ext cx="2625" cy="6563"/>
            </a:xfrm>
            <a:custGeom>
              <a:avLst/>
              <a:gdLst/>
              <a:ahLst/>
              <a:cxnLst/>
              <a:rect l="l" t="t" r="r" b="b"/>
              <a:pathLst>
                <a:path w="8" h="20" extrusionOk="0">
                  <a:moveTo>
                    <a:pt x="6" y="20"/>
                  </a:moveTo>
                  <a:lnTo>
                    <a:pt x="8" y="18"/>
                  </a:lnTo>
                  <a:lnTo>
                    <a:pt x="8" y="14"/>
                  </a:lnTo>
                  <a:lnTo>
                    <a:pt x="8" y="12"/>
                  </a:lnTo>
                  <a:lnTo>
                    <a:pt x="6" y="10"/>
                  </a:lnTo>
                  <a:lnTo>
                    <a:pt x="4" y="8"/>
                  </a:lnTo>
                  <a:lnTo>
                    <a:pt x="4" y="4"/>
                  </a:lnTo>
                  <a:lnTo>
                    <a:pt x="4" y="2"/>
                  </a:lnTo>
                  <a:lnTo>
                    <a:pt x="4" y="0"/>
                  </a:lnTo>
                  <a:lnTo>
                    <a:pt x="2" y="0"/>
                  </a:lnTo>
                  <a:lnTo>
                    <a:pt x="0" y="8"/>
                  </a:lnTo>
                  <a:lnTo>
                    <a:pt x="0" y="16"/>
                  </a:lnTo>
                  <a:lnTo>
                    <a:pt x="0" y="20"/>
                  </a:lnTo>
                  <a:lnTo>
                    <a:pt x="2" y="20"/>
                  </a:lnTo>
                  <a:lnTo>
                    <a:pt x="6" y="2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43" name="Google Shape;4710;p64">
              <a:extLst>
                <a:ext uri="{FF2B5EF4-FFF2-40B4-BE49-F238E27FC236}">
                  <a16:creationId xmlns:a16="http://schemas.microsoft.com/office/drawing/2014/main" id="{E57FF470-7B06-F2FD-31AD-C6522BE2F244}"/>
                </a:ext>
              </a:extLst>
            </p:cNvPr>
            <p:cNvCxnSpPr/>
            <p:nvPr/>
          </p:nvCxnSpPr>
          <p:spPr>
            <a:xfrm>
              <a:off x="4731049" y="3839587"/>
              <a:ext cx="0" cy="0"/>
            </a:xfrm>
            <a:prstGeom prst="straightConnector1">
              <a:avLst/>
            </a:prstGeom>
            <a:grpFill/>
            <a:ln w="9525" cap="flat" cmpd="sng">
              <a:solidFill>
                <a:schemeClr val="bg2"/>
              </a:solidFill>
              <a:prstDash val="solid"/>
              <a:round/>
              <a:headEnd type="none" w="med" len="med"/>
              <a:tailEnd type="none" w="med" len="med"/>
            </a:ln>
          </p:spPr>
        </p:cxnSp>
        <p:cxnSp>
          <p:nvCxnSpPr>
            <p:cNvPr id="244" name="Google Shape;4711;p64">
              <a:extLst>
                <a:ext uri="{FF2B5EF4-FFF2-40B4-BE49-F238E27FC236}">
                  <a16:creationId xmlns:a16="http://schemas.microsoft.com/office/drawing/2014/main" id="{B08FC392-4690-5DA6-01EC-E9BB353C8913}"/>
                </a:ext>
              </a:extLst>
            </p:cNvPr>
            <p:cNvCxnSpPr/>
            <p:nvPr/>
          </p:nvCxnSpPr>
          <p:spPr>
            <a:xfrm>
              <a:off x="4731049" y="3839587"/>
              <a:ext cx="0" cy="0"/>
            </a:xfrm>
            <a:prstGeom prst="straightConnector1">
              <a:avLst/>
            </a:prstGeom>
            <a:grpFill/>
            <a:ln w="9525" cap="flat" cmpd="sng">
              <a:solidFill>
                <a:schemeClr val="bg2"/>
              </a:solidFill>
              <a:prstDash val="solid"/>
              <a:round/>
              <a:headEnd type="none" w="med" len="med"/>
              <a:tailEnd type="none" w="med" len="med"/>
            </a:ln>
          </p:spPr>
        </p:cxnSp>
        <p:sp>
          <p:nvSpPr>
            <p:cNvPr id="245" name="Google Shape;4712;p64">
              <a:extLst>
                <a:ext uri="{FF2B5EF4-FFF2-40B4-BE49-F238E27FC236}">
                  <a16:creationId xmlns:a16="http://schemas.microsoft.com/office/drawing/2014/main" id="{31FC40DA-02A5-7D19-A304-1B89D8AFAF59}"/>
                </a:ext>
              </a:extLst>
            </p:cNvPr>
            <p:cNvSpPr/>
            <p:nvPr/>
          </p:nvSpPr>
          <p:spPr>
            <a:xfrm>
              <a:off x="6239916" y="4777460"/>
              <a:ext cx="46598" cy="84008"/>
            </a:xfrm>
            <a:custGeom>
              <a:avLst/>
              <a:gdLst/>
              <a:ahLst/>
              <a:cxnLst/>
              <a:rect l="l" t="t" r="r" b="b"/>
              <a:pathLst>
                <a:path w="338324" h="609936" extrusionOk="0">
                  <a:moveTo>
                    <a:pt x="4764" y="114364"/>
                  </a:moveTo>
                  <a:lnTo>
                    <a:pt x="23828" y="119130"/>
                  </a:lnTo>
                  <a:lnTo>
                    <a:pt x="28592" y="133424"/>
                  </a:lnTo>
                  <a:lnTo>
                    <a:pt x="14296" y="123894"/>
                  </a:lnTo>
                  <a:lnTo>
                    <a:pt x="9532" y="119130"/>
                  </a:lnTo>
                  <a:close/>
                  <a:moveTo>
                    <a:pt x="23828" y="9532"/>
                  </a:moveTo>
                  <a:lnTo>
                    <a:pt x="28592" y="9532"/>
                  </a:lnTo>
                  <a:lnTo>
                    <a:pt x="28592" y="19062"/>
                  </a:lnTo>
                  <a:lnTo>
                    <a:pt x="38124" y="28592"/>
                  </a:lnTo>
                  <a:lnTo>
                    <a:pt x="28592" y="33358"/>
                  </a:lnTo>
                  <a:lnTo>
                    <a:pt x="23828" y="19062"/>
                  </a:lnTo>
                  <a:lnTo>
                    <a:pt x="19060" y="14298"/>
                  </a:lnTo>
                  <a:lnTo>
                    <a:pt x="23828" y="14298"/>
                  </a:lnTo>
                  <a:close/>
                  <a:moveTo>
                    <a:pt x="42888" y="0"/>
                  </a:moveTo>
                  <a:lnTo>
                    <a:pt x="57184" y="0"/>
                  </a:lnTo>
                  <a:lnTo>
                    <a:pt x="71476" y="0"/>
                  </a:lnTo>
                  <a:lnTo>
                    <a:pt x="85772" y="4766"/>
                  </a:lnTo>
                  <a:lnTo>
                    <a:pt x="104832" y="28592"/>
                  </a:lnTo>
                  <a:lnTo>
                    <a:pt x="157252" y="71478"/>
                  </a:lnTo>
                  <a:lnTo>
                    <a:pt x="185840" y="114364"/>
                  </a:lnTo>
                  <a:lnTo>
                    <a:pt x="185840" y="123894"/>
                  </a:lnTo>
                  <a:lnTo>
                    <a:pt x="190608" y="133424"/>
                  </a:lnTo>
                  <a:lnTo>
                    <a:pt x="195372" y="133424"/>
                  </a:lnTo>
                  <a:lnTo>
                    <a:pt x="204900" y="138190"/>
                  </a:lnTo>
                  <a:lnTo>
                    <a:pt x="233492" y="181076"/>
                  </a:lnTo>
                  <a:lnTo>
                    <a:pt x="233492" y="190606"/>
                  </a:lnTo>
                  <a:lnTo>
                    <a:pt x="233492" y="200136"/>
                  </a:lnTo>
                  <a:lnTo>
                    <a:pt x="238256" y="204902"/>
                  </a:lnTo>
                  <a:lnTo>
                    <a:pt x="243024" y="209666"/>
                  </a:lnTo>
                  <a:lnTo>
                    <a:pt x="252552" y="214432"/>
                  </a:lnTo>
                  <a:lnTo>
                    <a:pt x="257316" y="219196"/>
                  </a:lnTo>
                  <a:lnTo>
                    <a:pt x="266848" y="252552"/>
                  </a:lnTo>
                  <a:lnTo>
                    <a:pt x="266848" y="262082"/>
                  </a:lnTo>
                  <a:lnTo>
                    <a:pt x="266848" y="266848"/>
                  </a:lnTo>
                  <a:lnTo>
                    <a:pt x="304968" y="319264"/>
                  </a:lnTo>
                  <a:lnTo>
                    <a:pt x="304968" y="328794"/>
                  </a:lnTo>
                  <a:lnTo>
                    <a:pt x="304968" y="333560"/>
                  </a:lnTo>
                  <a:lnTo>
                    <a:pt x="304968" y="338324"/>
                  </a:lnTo>
                  <a:lnTo>
                    <a:pt x="314500" y="347856"/>
                  </a:lnTo>
                  <a:lnTo>
                    <a:pt x="324028" y="371680"/>
                  </a:lnTo>
                  <a:lnTo>
                    <a:pt x="328796" y="376446"/>
                  </a:lnTo>
                  <a:lnTo>
                    <a:pt x="338324" y="400272"/>
                  </a:lnTo>
                  <a:lnTo>
                    <a:pt x="338324" y="443158"/>
                  </a:lnTo>
                  <a:lnTo>
                    <a:pt x="333560" y="457452"/>
                  </a:lnTo>
                  <a:lnTo>
                    <a:pt x="328796" y="481278"/>
                  </a:lnTo>
                  <a:lnTo>
                    <a:pt x="319264" y="505104"/>
                  </a:lnTo>
                  <a:lnTo>
                    <a:pt x="309736" y="519400"/>
                  </a:lnTo>
                  <a:lnTo>
                    <a:pt x="300204" y="533696"/>
                  </a:lnTo>
                  <a:lnTo>
                    <a:pt x="262084" y="562286"/>
                  </a:lnTo>
                  <a:lnTo>
                    <a:pt x="247788" y="571816"/>
                  </a:lnTo>
                  <a:lnTo>
                    <a:pt x="195372" y="586112"/>
                  </a:lnTo>
                  <a:lnTo>
                    <a:pt x="157252" y="605172"/>
                  </a:lnTo>
                  <a:lnTo>
                    <a:pt x="123896" y="609936"/>
                  </a:lnTo>
                  <a:lnTo>
                    <a:pt x="85772" y="600406"/>
                  </a:lnTo>
                  <a:lnTo>
                    <a:pt x="57184" y="576582"/>
                  </a:lnTo>
                  <a:lnTo>
                    <a:pt x="47652" y="543226"/>
                  </a:lnTo>
                  <a:lnTo>
                    <a:pt x="38124" y="509870"/>
                  </a:lnTo>
                  <a:lnTo>
                    <a:pt x="23828" y="471748"/>
                  </a:lnTo>
                  <a:lnTo>
                    <a:pt x="14296" y="352620"/>
                  </a:lnTo>
                  <a:lnTo>
                    <a:pt x="4768" y="319264"/>
                  </a:lnTo>
                  <a:lnTo>
                    <a:pt x="0" y="276378"/>
                  </a:lnTo>
                  <a:lnTo>
                    <a:pt x="0" y="257318"/>
                  </a:lnTo>
                  <a:lnTo>
                    <a:pt x="4768" y="238258"/>
                  </a:lnTo>
                  <a:lnTo>
                    <a:pt x="4768" y="281144"/>
                  </a:lnTo>
                  <a:lnTo>
                    <a:pt x="9532" y="285908"/>
                  </a:lnTo>
                  <a:lnTo>
                    <a:pt x="14296" y="281144"/>
                  </a:lnTo>
                  <a:lnTo>
                    <a:pt x="19060" y="238258"/>
                  </a:lnTo>
                  <a:lnTo>
                    <a:pt x="19060" y="223962"/>
                  </a:lnTo>
                  <a:lnTo>
                    <a:pt x="33356" y="176310"/>
                  </a:lnTo>
                  <a:lnTo>
                    <a:pt x="33356" y="171546"/>
                  </a:lnTo>
                  <a:lnTo>
                    <a:pt x="33356" y="152484"/>
                  </a:lnTo>
                  <a:lnTo>
                    <a:pt x="33356" y="142954"/>
                  </a:lnTo>
                  <a:lnTo>
                    <a:pt x="52416" y="114364"/>
                  </a:lnTo>
                  <a:lnTo>
                    <a:pt x="61948" y="95304"/>
                  </a:lnTo>
                  <a:lnTo>
                    <a:pt x="61948" y="76244"/>
                  </a:lnTo>
                  <a:lnTo>
                    <a:pt x="61948" y="57182"/>
                  </a:lnTo>
                  <a:lnTo>
                    <a:pt x="57184" y="38122"/>
                  </a:lnTo>
                  <a:lnTo>
                    <a:pt x="76244" y="42888"/>
                  </a:lnTo>
                  <a:lnTo>
                    <a:pt x="85772" y="52418"/>
                  </a:lnTo>
                  <a:lnTo>
                    <a:pt x="95304" y="57182"/>
                  </a:lnTo>
                  <a:lnTo>
                    <a:pt x="100068" y="52418"/>
                  </a:lnTo>
                  <a:lnTo>
                    <a:pt x="109600" y="52418"/>
                  </a:lnTo>
                  <a:lnTo>
                    <a:pt x="104832" y="42888"/>
                  </a:lnTo>
                  <a:lnTo>
                    <a:pt x="85772" y="33356"/>
                  </a:lnTo>
                  <a:lnTo>
                    <a:pt x="52416" y="23826"/>
                  </a:lnTo>
                  <a:lnTo>
                    <a:pt x="42888" y="19062"/>
                  </a:lnTo>
                  <a:lnTo>
                    <a:pt x="38124" y="9532"/>
                  </a:lnTo>
                  <a:lnTo>
                    <a:pt x="38124"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46" name="Google Shape;4713;p64">
              <a:extLst>
                <a:ext uri="{FF2B5EF4-FFF2-40B4-BE49-F238E27FC236}">
                  <a16:creationId xmlns:a16="http://schemas.microsoft.com/office/drawing/2014/main" id="{846A7CDC-ECF5-CEED-9570-7BCAA19B5CBA}"/>
                </a:ext>
              </a:extLst>
            </p:cNvPr>
            <p:cNvSpPr/>
            <p:nvPr/>
          </p:nvSpPr>
          <p:spPr>
            <a:xfrm>
              <a:off x="4974542" y="3512742"/>
              <a:ext cx="126668" cy="95165"/>
            </a:xfrm>
            <a:custGeom>
              <a:avLst/>
              <a:gdLst/>
              <a:ahLst/>
              <a:cxnLst/>
              <a:rect l="l" t="t" r="r" b="b"/>
              <a:pathLst>
                <a:path w="919668" h="690942" extrusionOk="0">
                  <a:moveTo>
                    <a:pt x="33356" y="223961"/>
                  </a:moveTo>
                  <a:lnTo>
                    <a:pt x="33356" y="238256"/>
                  </a:lnTo>
                  <a:lnTo>
                    <a:pt x="33356" y="262082"/>
                  </a:lnTo>
                  <a:lnTo>
                    <a:pt x="19060" y="295438"/>
                  </a:lnTo>
                  <a:lnTo>
                    <a:pt x="9530" y="319264"/>
                  </a:lnTo>
                  <a:lnTo>
                    <a:pt x="0" y="314499"/>
                  </a:lnTo>
                  <a:lnTo>
                    <a:pt x="19060" y="281143"/>
                  </a:lnTo>
                  <a:lnTo>
                    <a:pt x="23824" y="262082"/>
                  </a:lnTo>
                  <a:lnTo>
                    <a:pt x="28590" y="233491"/>
                  </a:lnTo>
                  <a:close/>
                  <a:moveTo>
                    <a:pt x="614700" y="0"/>
                  </a:moveTo>
                  <a:lnTo>
                    <a:pt x="624232" y="4765"/>
                  </a:lnTo>
                  <a:lnTo>
                    <a:pt x="633762" y="28591"/>
                  </a:lnTo>
                  <a:lnTo>
                    <a:pt x="652822" y="61947"/>
                  </a:lnTo>
                  <a:lnTo>
                    <a:pt x="671882" y="66712"/>
                  </a:lnTo>
                  <a:lnTo>
                    <a:pt x="733828" y="81007"/>
                  </a:lnTo>
                  <a:lnTo>
                    <a:pt x="743360" y="85772"/>
                  </a:lnTo>
                  <a:lnTo>
                    <a:pt x="776716" y="119128"/>
                  </a:lnTo>
                  <a:lnTo>
                    <a:pt x="795776" y="133423"/>
                  </a:lnTo>
                  <a:lnTo>
                    <a:pt x="810072" y="147719"/>
                  </a:lnTo>
                  <a:lnTo>
                    <a:pt x="829132" y="171544"/>
                  </a:lnTo>
                  <a:lnTo>
                    <a:pt x="843426" y="185840"/>
                  </a:lnTo>
                  <a:lnTo>
                    <a:pt x="857722" y="200135"/>
                  </a:lnTo>
                  <a:lnTo>
                    <a:pt x="881548" y="209665"/>
                  </a:lnTo>
                  <a:lnTo>
                    <a:pt x="891078" y="209665"/>
                  </a:lnTo>
                  <a:lnTo>
                    <a:pt x="891078" y="223961"/>
                  </a:lnTo>
                  <a:lnTo>
                    <a:pt x="886314" y="243021"/>
                  </a:lnTo>
                  <a:lnTo>
                    <a:pt x="876782" y="271612"/>
                  </a:lnTo>
                  <a:lnTo>
                    <a:pt x="872018" y="290673"/>
                  </a:lnTo>
                  <a:lnTo>
                    <a:pt x="867252" y="300203"/>
                  </a:lnTo>
                  <a:lnTo>
                    <a:pt x="876782" y="304968"/>
                  </a:lnTo>
                  <a:lnTo>
                    <a:pt x="905374" y="309733"/>
                  </a:lnTo>
                  <a:lnTo>
                    <a:pt x="914904" y="314498"/>
                  </a:lnTo>
                  <a:lnTo>
                    <a:pt x="919668" y="319263"/>
                  </a:lnTo>
                  <a:lnTo>
                    <a:pt x="910138" y="324028"/>
                  </a:lnTo>
                  <a:lnTo>
                    <a:pt x="900608" y="333559"/>
                  </a:lnTo>
                  <a:lnTo>
                    <a:pt x="900608" y="338324"/>
                  </a:lnTo>
                  <a:lnTo>
                    <a:pt x="891078" y="357384"/>
                  </a:lnTo>
                  <a:lnTo>
                    <a:pt x="843426" y="357384"/>
                  </a:lnTo>
                  <a:lnTo>
                    <a:pt x="838662" y="357384"/>
                  </a:lnTo>
                  <a:lnTo>
                    <a:pt x="833896" y="366915"/>
                  </a:lnTo>
                  <a:lnTo>
                    <a:pt x="829132" y="381210"/>
                  </a:lnTo>
                  <a:lnTo>
                    <a:pt x="824366" y="390740"/>
                  </a:lnTo>
                  <a:lnTo>
                    <a:pt x="810072" y="405036"/>
                  </a:lnTo>
                  <a:lnTo>
                    <a:pt x="791010" y="405036"/>
                  </a:lnTo>
                  <a:lnTo>
                    <a:pt x="776716" y="414566"/>
                  </a:lnTo>
                  <a:lnTo>
                    <a:pt x="762420" y="438391"/>
                  </a:lnTo>
                  <a:lnTo>
                    <a:pt x="752890" y="471748"/>
                  </a:lnTo>
                  <a:lnTo>
                    <a:pt x="752890" y="490808"/>
                  </a:lnTo>
                  <a:lnTo>
                    <a:pt x="752890" y="505104"/>
                  </a:lnTo>
                  <a:lnTo>
                    <a:pt x="752890" y="509868"/>
                  </a:lnTo>
                  <a:lnTo>
                    <a:pt x="748124" y="519398"/>
                  </a:lnTo>
                  <a:lnTo>
                    <a:pt x="738594" y="538458"/>
                  </a:lnTo>
                  <a:lnTo>
                    <a:pt x="729064" y="562284"/>
                  </a:lnTo>
                  <a:lnTo>
                    <a:pt x="724298" y="571814"/>
                  </a:lnTo>
                  <a:lnTo>
                    <a:pt x="729064" y="581346"/>
                  </a:lnTo>
                  <a:lnTo>
                    <a:pt x="738594" y="581346"/>
                  </a:lnTo>
                  <a:lnTo>
                    <a:pt x="752890" y="586110"/>
                  </a:lnTo>
                  <a:lnTo>
                    <a:pt x="757654" y="590876"/>
                  </a:lnTo>
                  <a:lnTo>
                    <a:pt x="762420" y="605170"/>
                  </a:lnTo>
                  <a:lnTo>
                    <a:pt x="762420" y="614702"/>
                  </a:lnTo>
                  <a:lnTo>
                    <a:pt x="757654" y="619466"/>
                  </a:lnTo>
                  <a:lnTo>
                    <a:pt x="748124" y="624232"/>
                  </a:lnTo>
                  <a:lnTo>
                    <a:pt x="729064" y="624232"/>
                  </a:lnTo>
                  <a:lnTo>
                    <a:pt x="719534" y="619466"/>
                  </a:lnTo>
                  <a:lnTo>
                    <a:pt x="719534" y="614702"/>
                  </a:lnTo>
                  <a:lnTo>
                    <a:pt x="724298" y="605170"/>
                  </a:lnTo>
                  <a:lnTo>
                    <a:pt x="719534" y="590876"/>
                  </a:lnTo>
                  <a:lnTo>
                    <a:pt x="714768" y="586110"/>
                  </a:lnTo>
                  <a:lnTo>
                    <a:pt x="700474" y="595640"/>
                  </a:lnTo>
                  <a:lnTo>
                    <a:pt x="686178" y="595640"/>
                  </a:lnTo>
                  <a:lnTo>
                    <a:pt x="667118" y="605170"/>
                  </a:lnTo>
                  <a:lnTo>
                    <a:pt x="657588" y="619466"/>
                  </a:lnTo>
                  <a:lnTo>
                    <a:pt x="648056" y="628996"/>
                  </a:lnTo>
                  <a:lnTo>
                    <a:pt x="619466" y="624232"/>
                  </a:lnTo>
                  <a:lnTo>
                    <a:pt x="614700" y="628996"/>
                  </a:lnTo>
                  <a:lnTo>
                    <a:pt x="609936" y="662352"/>
                  </a:lnTo>
                  <a:lnTo>
                    <a:pt x="605170" y="667118"/>
                  </a:lnTo>
                  <a:lnTo>
                    <a:pt x="581344" y="667118"/>
                  </a:lnTo>
                  <a:lnTo>
                    <a:pt x="557520" y="681412"/>
                  </a:lnTo>
                  <a:lnTo>
                    <a:pt x="533694" y="690942"/>
                  </a:lnTo>
                  <a:lnTo>
                    <a:pt x="524164" y="686178"/>
                  </a:lnTo>
                  <a:lnTo>
                    <a:pt x="514634" y="676648"/>
                  </a:lnTo>
                  <a:lnTo>
                    <a:pt x="500338" y="676648"/>
                  </a:lnTo>
                  <a:lnTo>
                    <a:pt x="486042" y="681412"/>
                  </a:lnTo>
                  <a:lnTo>
                    <a:pt x="476512" y="676648"/>
                  </a:lnTo>
                  <a:lnTo>
                    <a:pt x="466982" y="681412"/>
                  </a:lnTo>
                  <a:lnTo>
                    <a:pt x="443156" y="686178"/>
                  </a:lnTo>
                  <a:lnTo>
                    <a:pt x="414566" y="686178"/>
                  </a:lnTo>
                  <a:lnTo>
                    <a:pt x="405036" y="676648"/>
                  </a:lnTo>
                  <a:lnTo>
                    <a:pt x="405036" y="671882"/>
                  </a:lnTo>
                  <a:lnTo>
                    <a:pt x="405036" y="662352"/>
                  </a:lnTo>
                  <a:lnTo>
                    <a:pt x="405036" y="643292"/>
                  </a:lnTo>
                  <a:lnTo>
                    <a:pt x="400270" y="624232"/>
                  </a:lnTo>
                  <a:lnTo>
                    <a:pt x="385974" y="609936"/>
                  </a:lnTo>
                  <a:lnTo>
                    <a:pt x="371680" y="600406"/>
                  </a:lnTo>
                  <a:lnTo>
                    <a:pt x="357384" y="586110"/>
                  </a:lnTo>
                  <a:lnTo>
                    <a:pt x="343088" y="581346"/>
                  </a:lnTo>
                  <a:lnTo>
                    <a:pt x="333558" y="581346"/>
                  </a:lnTo>
                  <a:lnTo>
                    <a:pt x="333558" y="576580"/>
                  </a:lnTo>
                  <a:lnTo>
                    <a:pt x="328794" y="571814"/>
                  </a:lnTo>
                  <a:lnTo>
                    <a:pt x="324028" y="562284"/>
                  </a:lnTo>
                  <a:lnTo>
                    <a:pt x="314498" y="557520"/>
                  </a:lnTo>
                  <a:lnTo>
                    <a:pt x="300202" y="557520"/>
                  </a:lnTo>
                  <a:lnTo>
                    <a:pt x="290672" y="567050"/>
                  </a:lnTo>
                  <a:lnTo>
                    <a:pt x="285908" y="552754"/>
                  </a:lnTo>
                  <a:lnTo>
                    <a:pt x="276376" y="528928"/>
                  </a:lnTo>
                  <a:lnTo>
                    <a:pt x="281142" y="509868"/>
                  </a:lnTo>
                  <a:lnTo>
                    <a:pt x="281142" y="490808"/>
                  </a:lnTo>
                  <a:lnTo>
                    <a:pt x="300202" y="438391"/>
                  </a:lnTo>
                  <a:lnTo>
                    <a:pt x="300202" y="428861"/>
                  </a:lnTo>
                  <a:lnTo>
                    <a:pt x="285908" y="414566"/>
                  </a:lnTo>
                  <a:lnTo>
                    <a:pt x="271612" y="400270"/>
                  </a:lnTo>
                  <a:lnTo>
                    <a:pt x="262082" y="376445"/>
                  </a:lnTo>
                  <a:lnTo>
                    <a:pt x="223960" y="376445"/>
                  </a:lnTo>
                  <a:lnTo>
                    <a:pt x="195370" y="376445"/>
                  </a:lnTo>
                  <a:lnTo>
                    <a:pt x="185840" y="376445"/>
                  </a:lnTo>
                  <a:lnTo>
                    <a:pt x="152484" y="366915"/>
                  </a:lnTo>
                  <a:lnTo>
                    <a:pt x="123892" y="347854"/>
                  </a:lnTo>
                  <a:lnTo>
                    <a:pt x="104832" y="338324"/>
                  </a:lnTo>
                  <a:lnTo>
                    <a:pt x="85772" y="328794"/>
                  </a:lnTo>
                  <a:lnTo>
                    <a:pt x="76242" y="319263"/>
                  </a:lnTo>
                  <a:lnTo>
                    <a:pt x="61946" y="319263"/>
                  </a:lnTo>
                  <a:lnTo>
                    <a:pt x="52416" y="319263"/>
                  </a:lnTo>
                  <a:lnTo>
                    <a:pt x="47650" y="300203"/>
                  </a:lnTo>
                  <a:lnTo>
                    <a:pt x="52416" y="266847"/>
                  </a:lnTo>
                  <a:lnTo>
                    <a:pt x="42886" y="223961"/>
                  </a:lnTo>
                  <a:lnTo>
                    <a:pt x="23824" y="171544"/>
                  </a:lnTo>
                  <a:lnTo>
                    <a:pt x="23824" y="109598"/>
                  </a:lnTo>
                  <a:lnTo>
                    <a:pt x="23824" y="100068"/>
                  </a:lnTo>
                  <a:lnTo>
                    <a:pt x="66712" y="66712"/>
                  </a:lnTo>
                  <a:lnTo>
                    <a:pt x="119128" y="28591"/>
                  </a:lnTo>
                  <a:lnTo>
                    <a:pt x="128658" y="23826"/>
                  </a:lnTo>
                  <a:lnTo>
                    <a:pt x="181074" y="4765"/>
                  </a:lnTo>
                  <a:lnTo>
                    <a:pt x="185840" y="4765"/>
                  </a:lnTo>
                  <a:lnTo>
                    <a:pt x="228726" y="9530"/>
                  </a:lnTo>
                  <a:lnTo>
                    <a:pt x="262082" y="14295"/>
                  </a:lnTo>
                  <a:lnTo>
                    <a:pt x="295438" y="9530"/>
                  </a:lnTo>
                  <a:lnTo>
                    <a:pt x="309732" y="4765"/>
                  </a:lnTo>
                  <a:lnTo>
                    <a:pt x="324028" y="9530"/>
                  </a:lnTo>
                  <a:lnTo>
                    <a:pt x="333558" y="28591"/>
                  </a:lnTo>
                  <a:lnTo>
                    <a:pt x="347854" y="23826"/>
                  </a:lnTo>
                  <a:lnTo>
                    <a:pt x="357384" y="14295"/>
                  </a:lnTo>
                  <a:lnTo>
                    <a:pt x="424096" y="23826"/>
                  </a:lnTo>
                  <a:lnTo>
                    <a:pt x="438392" y="23826"/>
                  </a:lnTo>
                  <a:lnTo>
                    <a:pt x="457452" y="23826"/>
                  </a:lnTo>
                  <a:lnTo>
                    <a:pt x="486042" y="33356"/>
                  </a:lnTo>
                  <a:lnTo>
                    <a:pt x="505102" y="42886"/>
                  </a:lnTo>
                  <a:lnTo>
                    <a:pt x="543224" y="38121"/>
                  </a:lnTo>
                  <a:lnTo>
                    <a:pt x="557520" y="38121"/>
                  </a:lnTo>
                  <a:lnTo>
                    <a:pt x="567050" y="33356"/>
                  </a:lnTo>
                  <a:lnTo>
                    <a:pt x="595640" y="9530"/>
                  </a:lnTo>
                  <a:lnTo>
                    <a:pt x="605170" y="476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47" name="Google Shape;4714;p64">
              <a:extLst>
                <a:ext uri="{FF2B5EF4-FFF2-40B4-BE49-F238E27FC236}">
                  <a16:creationId xmlns:a16="http://schemas.microsoft.com/office/drawing/2014/main" id="{4F4ADC85-578E-AAC2-3EA8-B2F62A1FE908}"/>
                </a:ext>
              </a:extLst>
            </p:cNvPr>
            <p:cNvSpPr/>
            <p:nvPr/>
          </p:nvSpPr>
          <p:spPr>
            <a:xfrm>
              <a:off x="4648353" y="3738514"/>
              <a:ext cx="16408" cy="23627"/>
            </a:xfrm>
            <a:custGeom>
              <a:avLst/>
              <a:gdLst/>
              <a:ahLst/>
              <a:cxnLst/>
              <a:rect l="l" t="t" r="r" b="b"/>
              <a:pathLst>
                <a:path w="50" h="72" extrusionOk="0">
                  <a:moveTo>
                    <a:pt x="26" y="4"/>
                  </a:moveTo>
                  <a:lnTo>
                    <a:pt x="24" y="4"/>
                  </a:lnTo>
                  <a:lnTo>
                    <a:pt x="24" y="0"/>
                  </a:lnTo>
                  <a:lnTo>
                    <a:pt x="20" y="0"/>
                  </a:lnTo>
                  <a:lnTo>
                    <a:pt x="16" y="0"/>
                  </a:lnTo>
                  <a:lnTo>
                    <a:pt x="8" y="8"/>
                  </a:lnTo>
                  <a:lnTo>
                    <a:pt x="6" y="14"/>
                  </a:lnTo>
                  <a:lnTo>
                    <a:pt x="4" y="20"/>
                  </a:lnTo>
                  <a:lnTo>
                    <a:pt x="0" y="24"/>
                  </a:lnTo>
                  <a:lnTo>
                    <a:pt x="0" y="28"/>
                  </a:lnTo>
                  <a:lnTo>
                    <a:pt x="0" y="30"/>
                  </a:lnTo>
                  <a:lnTo>
                    <a:pt x="0" y="34"/>
                  </a:lnTo>
                  <a:lnTo>
                    <a:pt x="0" y="36"/>
                  </a:lnTo>
                  <a:lnTo>
                    <a:pt x="4" y="40"/>
                  </a:lnTo>
                  <a:lnTo>
                    <a:pt x="4" y="44"/>
                  </a:lnTo>
                  <a:lnTo>
                    <a:pt x="10" y="52"/>
                  </a:lnTo>
                  <a:lnTo>
                    <a:pt x="8" y="56"/>
                  </a:lnTo>
                  <a:lnTo>
                    <a:pt x="6" y="60"/>
                  </a:lnTo>
                  <a:lnTo>
                    <a:pt x="6" y="62"/>
                  </a:lnTo>
                  <a:lnTo>
                    <a:pt x="4" y="64"/>
                  </a:lnTo>
                  <a:lnTo>
                    <a:pt x="6" y="66"/>
                  </a:lnTo>
                  <a:lnTo>
                    <a:pt x="10" y="68"/>
                  </a:lnTo>
                  <a:lnTo>
                    <a:pt x="12" y="70"/>
                  </a:lnTo>
                  <a:lnTo>
                    <a:pt x="14" y="72"/>
                  </a:lnTo>
                  <a:lnTo>
                    <a:pt x="18" y="72"/>
                  </a:lnTo>
                  <a:lnTo>
                    <a:pt x="22" y="72"/>
                  </a:lnTo>
                  <a:lnTo>
                    <a:pt x="26" y="68"/>
                  </a:lnTo>
                  <a:lnTo>
                    <a:pt x="30" y="66"/>
                  </a:lnTo>
                  <a:lnTo>
                    <a:pt x="34" y="68"/>
                  </a:lnTo>
                  <a:lnTo>
                    <a:pt x="36" y="70"/>
                  </a:lnTo>
                  <a:lnTo>
                    <a:pt x="40" y="72"/>
                  </a:lnTo>
                  <a:lnTo>
                    <a:pt x="40" y="66"/>
                  </a:lnTo>
                  <a:lnTo>
                    <a:pt x="42" y="56"/>
                  </a:lnTo>
                  <a:lnTo>
                    <a:pt x="44" y="52"/>
                  </a:lnTo>
                  <a:lnTo>
                    <a:pt x="46" y="48"/>
                  </a:lnTo>
                  <a:lnTo>
                    <a:pt x="50" y="46"/>
                  </a:lnTo>
                  <a:lnTo>
                    <a:pt x="50" y="42"/>
                  </a:lnTo>
                  <a:lnTo>
                    <a:pt x="50" y="36"/>
                  </a:lnTo>
                  <a:lnTo>
                    <a:pt x="46" y="36"/>
                  </a:lnTo>
                  <a:lnTo>
                    <a:pt x="38" y="32"/>
                  </a:lnTo>
                  <a:lnTo>
                    <a:pt x="34" y="30"/>
                  </a:lnTo>
                  <a:lnTo>
                    <a:pt x="30" y="24"/>
                  </a:lnTo>
                  <a:lnTo>
                    <a:pt x="26" y="18"/>
                  </a:lnTo>
                  <a:lnTo>
                    <a:pt x="24" y="12"/>
                  </a:lnTo>
                  <a:lnTo>
                    <a:pt x="24" y="6"/>
                  </a:lnTo>
                  <a:lnTo>
                    <a:pt x="26"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48" name="Google Shape;4715;p64">
              <a:extLst>
                <a:ext uri="{FF2B5EF4-FFF2-40B4-BE49-F238E27FC236}">
                  <a16:creationId xmlns:a16="http://schemas.microsoft.com/office/drawing/2014/main" id="{ED03739E-08A2-3E5A-D11C-34D2F17656E5}"/>
                </a:ext>
              </a:extLst>
            </p:cNvPr>
            <p:cNvCxnSpPr/>
            <p:nvPr/>
          </p:nvCxnSpPr>
          <p:spPr>
            <a:xfrm>
              <a:off x="4656885" y="3739827"/>
              <a:ext cx="0" cy="0"/>
            </a:xfrm>
            <a:prstGeom prst="straightConnector1">
              <a:avLst/>
            </a:prstGeom>
            <a:grpFill/>
            <a:ln w="9525" cap="flat" cmpd="sng">
              <a:solidFill>
                <a:schemeClr val="bg2"/>
              </a:solidFill>
              <a:prstDash val="solid"/>
              <a:round/>
              <a:headEnd type="none" w="med" len="med"/>
              <a:tailEnd type="none" w="med" len="med"/>
            </a:ln>
          </p:spPr>
        </p:cxnSp>
        <p:cxnSp>
          <p:nvCxnSpPr>
            <p:cNvPr id="249" name="Google Shape;4716;p64">
              <a:extLst>
                <a:ext uri="{FF2B5EF4-FFF2-40B4-BE49-F238E27FC236}">
                  <a16:creationId xmlns:a16="http://schemas.microsoft.com/office/drawing/2014/main" id="{A3C7CE24-8ED9-2279-7074-F36E78DDBD50}"/>
                </a:ext>
              </a:extLst>
            </p:cNvPr>
            <p:cNvCxnSpPr/>
            <p:nvPr/>
          </p:nvCxnSpPr>
          <p:spPr>
            <a:xfrm>
              <a:off x="4656885" y="3739827"/>
              <a:ext cx="0" cy="0"/>
            </a:xfrm>
            <a:prstGeom prst="straightConnector1">
              <a:avLst/>
            </a:prstGeom>
            <a:grpFill/>
            <a:ln w="9525" cap="flat" cmpd="sng">
              <a:solidFill>
                <a:schemeClr val="bg2"/>
              </a:solidFill>
              <a:prstDash val="solid"/>
              <a:round/>
              <a:headEnd type="none" w="med" len="med"/>
              <a:tailEnd type="none" w="med" len="med"/>
            </a:ln>
          </p:spPr>
        </p:cxnSp>
        <p:sp>
          <p:nvSpPr>
            <p:cNvPr id="250" name="Google Shape;4717;p64">
              <a:extLst>
                <a:ext uri="{FF2B5EF4-FFF2-40B4-BE49-F238E27FC236}">
                  <a16:creationId xmlns:a16="http://schemas.microsoft.com/office/drawing/2014/main" id="{973AC16B-8486-3A6D-41A7-37E282A878DF}"/>
                </a:ext>
              </a:extLst>
            </p:cNvPr>
            <p:cNvSpPr/>
            <p:nvPr/>
          </p:nvSpPr>
          <p:spPr>
            <a:xfrm>
              <a:off x="4977167" y="3447111"/>
              <a:ext cx="154234" cy="94509"/>
            </a:xfrm>
            <a:custGeom>
              <a:avLst/>
              <a:gdLst/>
              <a:ahLst/>
              <a:cxnLst/>
              <a:rect l="l" t="t" r="r" b="b"/>
              <a:pathLst>
                <a:path w="470" h="288" extrusionOk="0">
                  <a:moveTo>
                    <a:pt x="416" y="66"/>
                  </a:moveTo>
                  <a:lnTo>
                    <a:pt x="414" y="66"/>
                  </a:lnTo>
                  <a:lnTo>
                    <a:pt x="404" y="66"/>
                  </a:lnTo>
                  <a:lnTo>
                    <a:pt x="394" y="60"/>
                  </a:lnTo>
                  <a:lnTo>
                    <a:pt x="390" y="56"/>
                  </a:lnTo>
                  <a:lnTo>
                    <a:pt x="386" y="56"/>
                  </a:lnTo>
                  <a:lnTo>
                    <a:pt x="380" y="58"/>
                  </a:lnTo>
                  <a:lnTo>
                    <a:pt x="362" y="66"/>
                  </a:lnTo>
                  <a:lnTo>
                    <a:pt x="356" y="64"/>
                  </a:lnTo>
                  <a:lnTo>
                    <a:pt x="346" y="58"/>
                  </a:lnTo>
                  <a:lnTo>
                    <a:pt x="340" y="50"/>
                  </a:lnTo>
                  <a:lnTo>
                    <a:pt x="328" y="36"/>
                  </a:lnTo>
                  <a:lnTo>
                    <a:pt x="328" y="32"/>
                  </a:lnTo>
                  <a:lnTo>
                    <a:pt x="326" y="28"/>
                  </a:lnTo>
                  <a:lnTo>
                    <a:pt x="314" y="24"/>
                  </a:lnTo>
                  <a:lnTo>
                    <a:pt x="308" y="20"/>
                  </a:lnTo>
                  <a:lnTo>
                    <a:pt x="304" y="18"/>
                  </a:lnTo>
                  <a:lnTo>
                    <a:pt x="298" y="16"/>
                  </a:lnTo>
                  <a:lnTo>
                    <a:pt x="284" y="4"/>
                  </a:lnTo>
                  <a:lnTo>
                    <a:pt x="280" y="2"/>
                  </a:lnTo>
                  <a:lnTo>
                    <a:pt x="278" y="4"/>
                  </a:lnTo>
                  <a:lnTo>
                    <a:pt x="278" y="8"/>
                  </a:lnTo>
                  <a:lnTo>
                    <a:pt x="278" y="8"/>
                  </a:lnTo>
                  <a:lnTo>
                    <a:pt x="276" y="8"/>
                  </a:lnTo>
                  <a:lnTo>
                    <a:pt x="272" y="4"/>
                  </a:lnTo>
                  <a:lnTo>
                    <a:pt x="268" y="0"/>
                  </a:lnTo>
                  <a:lnTo>
                    <a:pt x="256" y="8"/>
                  </a:lnTo>
                  <a:lnTo>
                    <a:pt x="250" y="10"/>
                  </a:lnTo>
                  <a:lnTo>
                    <a:pt x="246" y="10"/>
                  </a:lnTo>
                  <a:lnTo>
                    <a:pt x="226" y="20"/>
                  </a:lnTo>
                  <a:lnTo>
                    <a:pt x="220" y="24"/>
                  </a:lnTo>
                  <a:lnTo>
                    <a:pt x="216" y="24"/>
                  </a:lnTo>
                  <a:lnTo>
                    <a:pt x="216" y="36"/>
                  </a:lnTo>
                  <a:lnTo>
                    <a:pt x="220" y="52"/>
                  </a:lnTo>
                  <a:lnTo>
                    <a:pt x="222" y="92"/>
                  </a:lnTo>
                  <a:lnTo>
                    <a:pt x="220" y="100"/>
                  </a:lnTo>
                  <a:lnTo>
                    <a:pt x="214" y="110"/>
                  </a:lnTo>
                  <a:lnTo>
                    <a:pt x="200" y="122"/>
                  </a:lnTo>
                  <a:lnTo>
                    <a:pt x="190" y="130"/>
                  </a:lnTo>
                  <a:lnTo>
                    <a:pt x="172" y="134"/>
                  </a:lnTo>
                  <a:lnTo>
                    <a:pt x="148" y="120"/>
                  </a:lnTo>
                  <a:lnTo>
                    <a:pt x="138" y="92"/>
                  </a:lnTo>
                  <a:lnTo>
                    <a:pt x="132" y="82"/>
                  </a:lnTo>
                  <a:lnTo>
                    <a:pt x="106" y="58"/>
                  </a:lnTo>
                  <a:lnTo>
                    <a:pt x="104" y="52"/>
                  </a:lnTo>
                  <a:lnTo>
                    <a:pt x="100" y="42"/>
                  </a:lnTo>
                  <a:lnTo>
                    <a:pt x="80" y="50"/>
                  </a:lnTo>
                  <a:lnTo>
                    <a:pt x="60" y="58"/>
                  </a:lnTo>
                  <a:lnTo>
                    <a:pt x="46" y="62"/>
                  </a:lnTo>
                  <a:lnTo>
                    <a:pt x="28" y="92"/>
                  </a:lnTo>
                  <a:lnTo>
                    <a:pt x="26" y="102"/>
                  </a:lnTo>
                  <a:lnTo>
                    <a:pt x="26" y="114"/>
                  </a:lnTo>
                  <a:lnTo>
                    <a:pt x="22" y="128"/>
                  </a:lnTo>
                  <a:lnTo>
                    <a:pt x="16" y="138"/>
                  </a:lnTo>
                  <a:lnTo>
                    <a:pt x="4" y="152"/>
                  </a:lnTo>
                  <a:lnTo>
                    <a:pt x="0" y="174"/>
                  </a:lnTo>
                  <a:lnTo>
                    <a:pt x="0" y="218"/>
                  </a:lnTo>
                  <a:lnTo>
                    <a:pt x="2" y="242"/>
                  </a:lnTo>
                  <a:lnTo>
                    <a:pt x="20" y="228"/>
                  </a:lnTo>
                  <a:lnTo>
                    <a:pt x="42" y="212"/>
                  </a:lnTo>
                  <a:lnTo>
                    <a:pt x="46" y="210"/>
                  </a:lnTo>
                  <a:lnTo>
                    <a:pt x="68" y="202"/>
                  </a:lnTo>
                  <a:lnTo>
                    <a:pt x="70" y="202"/>
                  </a:lnTo>
                  <a:lnTo>
                    <a:pt x="88" y="204"/>
                  </a:lnTo>
                  <a:lnTo>
                    <a:pt x="102" y="206"/>
                  </a:lnTo>
                  <a:lnTo>
                    <a:pt x="116" y="204"/>
                  </a:lnTo>
                  <a:lnTo>
                    <a:pt x="122" y="202"/>
                  </a:lnTo>
                  <a:lnTo>
                    <a:pt x="128" y="204"/>
                  </a:lnTo>
                  <a:lnTo>
                    <a:pt x="132" y="212"/>
                  </a:lnTo>
                  <a:lnTo>
                    <a:pt x="138" y="210"/>
                  </a:lnTo>
                  <a:lnTo>
                    <a:pt x="142" y="206"/>
                  </a:lnTo>
                  <a:lnTo>
                    <a:pt x="170" y="210"/>
                  </a:lnTo>
                  <a:lnTo>
                    <a:pt x="176" y="210"/>
                  </a:lnTo>
                  <a:lnTo>
                    <a:pt x="184" y="210"/>
                  </a:lnTo>
                  <a:lnTo>
                    <a:pt x="196" y="214"/>
                  </a:lnTo>
                  <a:lnTo>
                    <a:pt x="204" y="218"/>
                  </a:lnTo>
                  <a:lnTo>
                    <a:pt x="220" y="216"/>
                  </a:lnTo>
                  <a:lnTo>
                    <a:pt x="226" y="216"/>
                  </a:lnTo>
                  <a:lnTo>
                    <a:pt x="230" y="214"/>
                  </a:lnTo>
                  <a:lnTo>
                    <a:pt x="242" y="204"/>
                  </a:lnTo>
                  <a:lnTo>
                    <a:pt x="246" y="202"/>
                  </a:lnTo>
                  <a:lnTo>
                    <a:pt x="250" y="200"/>
                  </a:lnTo>
                  <a:lnTo>
                    <a:pt x="254" y="202"/>
                  </a:lnTo>
                  <a:lnTo>
                    <a:pt x="258" y="212"/>
                  </a:lnTo>
                  <a:lnTo>
                    <a:pt x="266" y="226"/>
                  </a:lnTo>
                  <a:lnTo>
                    <a:pt x="274" y="228"/>
                  </a:lnTo>
                  <a:lnTo>
                    <a:pt x="300" y="234"/>
                  </a:lnTo>
                  <a:lnTo>
                    <a:pt x="304" y="236"/>
                  </a:lnTo>
                  <a:lnTo>
                    <a:pt x="318" y="250"/>
                  </a:lnTo>
                  <a:lnTo>
                    <a:pt x="326" y="256"/>
                  </a:lnTo>
                  <a:lnTo>
                    <a:pt x="332" y="262"/>
                  </a:lnTo>
                  <a:lnTo>
                    <a:pt x="340" y="272"/>
                  </a:lnTo>
                  <a:lnTo>
                    <a:pt x="346" y="278"/>
                  </a:lnTo>
                  <a:lnTo>
                    <a:pt x="352" y="284"/>
                  </a:lnTo>
                  <a:lnTo>
                    <a:pt x="362" y="288"/>
                  </a:lnTo>
                  <a:lnTo>
                    <a:pt x="366" y="288"/>
                  </a:lnTo>
                  <a:lnTo>
                    <a:pt x="368" y="286"/>
                  </a:lnTo>
                  <a:lnTo>
                    <a:pt x="378" y="286"/>
                  </a:lnTo>
                  <a:lnTo>
                    <a:pt x="380" y="284"/>
                  </a:lnTo>
                  <a:lnTo>
                    <a:pt x="388" y="272"/>
                  </a:lnTo>
                  <a:lnTo>
                    <a:pt x="396" y="270"/>
                  </a:lnTo>
                  <a:lnTo>
                    <a:pt x="412" y="272"/>
                  </a:lnTo>
                  <a:lnTo>
                    <a:pt x="420" y="272"/>
                  </a:lnTo>
                  <a:lnTo>
                    <a:pt x="422" y="272"/>
                  </a:lnTo>
                  <a:lnTo>
                    <a:pt x="430" y="272"/>
                  </a:lnTo>
                  <a:lnTo>
                    <a:pt x="430" y="272"/>
                  </a:lnTo>
                  <a:lnTo>
                    <a:pt x="434" y="260"/>
                  </a:lnTo>
                  <a:lnTo>
                    <a:pt x="438" y="256"/>
                  </a:lnTo>
                  <a:lnTo>
                    <a:pt x="450" y="240"/>
                  </a:lnTo>
                  <a:lnTo>
                    <a:pt x="460" y="234"/>
                  </a:lnTo>
                  <a:lnTo>
                    <a:pt x="466" y="232"/>
                  </a:lnTo>
                  <a:lnTo>
                    <a:pt x="468" y="232"/>
                  </a:lnTo>
                  <a:lnTo>
                    <a:pt x="470" y="226"/>
                  </a:lnTo>
                  <a:lnTo>
                    <a:pt x="470" y="218"/>
                  </a:lnTo>
                  <a:lnTo>
                    <a:pt x="470" y="212"/>
                  </a:lnTo>
                  <a:lnTo>
                    <a:pt x="468" y="204"/>
                  </a:lnTo>
                  <a:lnTo>
                    <a:pt x="466" y="188"/>
                  </a:lnTo>
                  <a:lnTo>
                    <a:pt x="464" y="184"/>
                  </a:lnTo>
                  <a:lnTo>
                    <a:pt x="458" y="178"/>
                  </a:lnTo>
                  <a:lnTo>
                    <a:pt x="456" y="172"/>
                  </a:lnTo>
                  <a:lnTo>
                    <a:pt x="454" y="166"/>
                  </a:lnTo>
                  <a:lnTo>
                    <a:pt x="450" y="162"/>
                  </a:lnTo>
                  <a:lnTo>
                    <a:pt x="450" y="152"/>
                  </a:lnTo>
                  <a:lnTo>
                    <a:pt x="448" y="148"/>
                  </a:lnTo>
                  <a:lnTo>
                    <a:pt x="444" y="146"/>
                  </a:lnTo>
                  <a:lnTo>
                    <a:pt x="436" y="150"/>
                  </a:lnTo>
                  <a:lnTo>
                    <a:pt x="434" y="148"/>
                  </a:lnTo>
                  <a:lnTo>
                    <a:pt x="438" y="134"/>
                  </a:lnTo>
                  <a:lnTo>
                    <a:pt x="440" y="124"/>
                  </a:lnTo>
                  <a:lnTo>
                    <a:pt x="442" y="114"/>
                  </a:lnTo>
                  <a:lnTo>
                    <a:pt x="446" y="110"/>
                  </a:lnTo>
                  <a:lnTo>
                    <a:pt x="446" y="106"/>
                  </a:lnTo>
                  <a:lnTo>
                    <a:pt x="448" y="100"/>
                  </a:lnTo>
                  <a:lnTo>
                    <a:pt x="446" y="96"/>
                  </a:lnTo>
                  <a:lnTo>
                    <a:pt x="444" y="92"/>
                  </a:lnTo>
                  <a:lnTo>
                    <a:pt x="436" y="86"/>
                  </a:lnTo>
                  <a:lnTo>
                    <a:pt x="428" y="78"/>
                  </a:lnTo>
                  <a:lnTo>
                    <a:pt x="426" y="70"/>
                  </a:lnTo>
                  <a:lnTo>
                    <a:pt x="422" y="66"/>
                  </a:lnTo>
                  <a:lnTo>
                    <a:pt x="416" y="6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51" name="Google Shape;4718;p64">
              <a:extLst>
                <a:ext uri="{FF2B5EF4-FFF2-40B4-BE49-F238E27FC236}">
                  <a16:creationId xmlns:a16="http://schemas.microsoft.com/office/drawing/2014/main" id="{86EC378E-83F4-F4CD-4DA2-58F4782137C3}"/>
                </a:ext>
              </a:extLst>
            </p:cNvPr>
            <p:cNvSpPr/>
            <p:nvPr/>
          </p:nvSpPr>
          <p:spPr>
            <a:xfrm>
              <a:off x="3167051" y="4593036"/>
              <a:ext cx="2625" cy="1313"/>
            </a:xfrm>
            <a:custGeom>
              <a:avLst/>
              <a:gdLst/>
              <a:ahLst/>
              <a:cxnLst/>
              <a:rect l="l" t="t" r="r" b="b"/>
              <a:pathLst>
                <a:path w="8" h="4" extrusionOk="0">
                  <a:moveTo>
                    <a:pt x="8" y="4"/>
                  </a:moveTo>
                  <a:lnTo>
                    <a:pt x="8" y="2"/>
                  </a:lnTo>
                  <a:lnTo>
                    <a:pt x="6" y="0"/>
                  </a:lnTo>
                  <a:lnTo>
                    <a:pt x="4" y="0"/>
                  </a:lnTo>
                  <a:lnTo>
                    <a:pt x="0" y="2"/>
                  </a:lnTo>
                  <a:lnTo>
                    <a:pt x="0" y="4"/>
                  </a:lnTo>
                  <a:lnTo>
                    <a:pt x="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52" name="Google Shape;4719;p64">
              <a:extLst>
                <a:ext uri="{FF2B5EF4-FFF2-40B4-BE49-F238E27FC236}">
                  <a16:creationId xmlns:a16="http://schemas.microsoft.com/office/drawing/2014/main" id="{A0B83DBD-6F09-ACA9-CD3D-86B3381E2EC2}"/>
                </a:ext>
              </a:extLst>
            </p:cNvPr>
            <p:cNvCxnSpPr/>
            <p:nvPr/>
          </p:nvCxnSpPr>
          <p:spPr>
            <a:xfrm>
              <a:off x="3169677" y="4594348"/>
              <a:ext cx="0" cy="0"/>
            </a:xfrm>
            <a:prstGeom prst="straightConnector1">
              <a:avLst/>
            </a:prstGeom>
            <a:grpFill/>
            <a:ln w="9525" cap="flat" cmpd="sng">
              <a:solidFill>
                <a:schemeClr val="bg2"/>
              </a:solidFill>
              <a:prstDash val="solid"/>
              <a:round/>
              <a:headEnd type="none" w="med" len="med"/>
              <a:tailEnd type="none" w="med" len="med"/>
            </a:ln>
          </p:spPr>
        </p:cxnSp>
        <p:cxnSp>
          <p:nvCxnSpPr>
            <p:cNvPr id="253" name="Google Shape;4720;p64">
              <a:extLst>
                <a:ext uri="{FF2B5EF4-FFF2-40B4-BE49-F238E27FC236}">
                  <a16:creationId xmlns:a16="http://schemas.microsoft.com/office/drawing/2014/main" id="{D8A9AC83-6FAA-81ED-B318-BD0F5A6F0549}"/>
                </a:ext>
              </a:extLst>
            </p:cNvPr>
            <p:cNvCxnSpPr/>
            <p:nvPr/>
          </p:nvCxnSpPr>
          <p:spPr>
            <a:xfrm>
              <a:off x="3169677" y="4594348"/>
              <a:ext cx="0" cy="0"/>
            </a:xfrm>
            <a:prstGeom prst="straightConnector1">
              <a:avLst/>
            </a:prstGeom>
            <a:grpFill/>
            <a:ln w="9525" cap="flat" cmpd="sng">
              <a:solidFill>
                <a:schemeClr val="bg2"/>
              </a:solidFill>
              <a:prstDash val="solid"/>
              <a:round/>
              <a:headEnd type="none" w="med" len="med"/>
              <a:tailEnd type="none" w="med" len="med"/>
            </a:ln>
          </p:spPr>
        </p:cxnSp>
        <p:sp>
          <p:nvSpPr>
            <p:cNvPr id="254" name="Google Shape;4721;p64">
              <a:extLst>
                <a:ext uri="{FF2B5EF4-FFF2-40B4-BE49-F238E27FC236}">
                  <a16:creationId xmlns:a16="http://schemas.microsoft.com/office/drawing/2014/main" id="{68AAC557-F08D-F660-4DC0-E2E8295566FD}"/>
                </a:ext>
              </a:extLst>
            </p:cNvPr>
            <p:cNvSpPr/>
            <p:nvPr/>
          </p:nvSpPr>
          <p:spPr>
            <a:xfrm>
              <a:off x="4159399" y="4160525"/>
              <a:ext cx="342597" cy="357035"/>
            </a:xfrm>
            <a:custGeom>
              <a:avLst/>
              <a:gdLst/>
              <a:ahLst/>
              <a:cxnLst/>
              <a:rect l="l" t="t" r="r" b="b"/>
              <a:pathLst>
                <a:path w="1044" h="1088" extrusionOk="0">
                  <a:moveTo>
                    <a:pt x="968" y="66"/>
                  </a:moveTo>
                  <a:lnTo>
                    <a:pt x="956" y="64"/>
                  </a:lnTo>
                  <a:lnTo>
                    <a:pt x="942" y="66"/>
                  </a:lnTo>
                  <a:lnTo>
                    <a:pt x="934" y="64"/>
                  </a:lnTo>
                  <a:lnTo>
                    <a:pt x="928" y="64"/>
                  </a:lnTo>
                  <a:lnTo>
                    <a:pt x="926" y="60"/>
                  </a:lnTo>
                  <a:lnTo>
                    <a:pt x="922" y="52"/>
                  </a:lnTo>
                  <a:lnTo>
                    <a:pt x="920" y="50"/>
                  </a:lnTo>
                  <a:lnTo>
                    <a:pt x="920" y="46"/>
                  </a:lnTo>
                  <a:lnTo>
                    <a:pt x="920" y="42"/>
                  </a:lnTo>
                  <a:lnTo>
                    <a:pt x="914" y="48"/>
                  </a:lnTo>
                  <a:lnTo>
                    <a:pt x="904" y="56"/>
                  </a:lnTo>
                  <a:lnTo>
                    <a:pt x="892" y="58"/>
                  </a:lnTo>
                  <a:lnTo>
                    <a:pt x="878" y="56"/>
                  </a:lnTo>
                  <a:lnTo>
                    <a:pt x="872" y="52"/>
                  </a:lnTo>
                  <a:lnTo>
                    <a:pt x="866" y="54"/>
                  </a:lnTo>
                  <a:lnTo>
                    <a:pt x="852" y="54"/>
                  </a:lnTo>
                  <a:lnTo>
                    <a:pt x="830" y="62"/>
                  </a:lnTo>
                  <a:lnTo>
                    <a:pt x="810" y="58"/>
                  </a:lnTo>
                  <a:lnTo>
                    <a:pt x="796" y="52"/>
                  </a:lnTo>
                  <a:lnTo>
                    <a:pt x="780" y="36"/>
                  </a:lnTo>
                  <a:lnTo>
                    <a:pt x="770" y="24"/>
                  </a:lnTo>
                  <a:lnTo>
                    <a:pt x="764" y="14"/>
                  </a:lnTo>
                  <a:lnTo>
                    <a:pt x="764" y="6"/>
                  </a:lnTo>
                  <a:lnTo>
                    <a:pt x="768" y="2"/>
                  </a:lnTo>
                  <a:lnTo>
                    <a:pt x="760" y="0"/>
                  </a:lnTo>
                  <a:lnTo>
                    <a:pt x="752" y="6"/>
                  </a:lnTo>
                  <a:lnTo>
                    <a:pt x="746" y="8"/>
                  </a:lnTo>
                  <a:lnTo>
                    <a:pt x="738" y="8"/>
                  </a:lnTo>
                  <a:lnTo>
                    <a:pt x="726" y="12"/>
                  </a:lnTo>
                  <a:lnTo>
                    <a:pt x="724" y="20"/>
                  </a:lnTo>
                  <a:lnTo>
                    <a:pt x="698" y="92"/>
                  </a:lnTo>
                  <a:lnTo>
                    <a:pt x="672" y="144"/>
                  </a:lnTo>
                  <a:lnTo>
                    <a:pt x="662" y="156"/>
                  </a:lnTo>
                  <a:lnTo>
                    <a:pt x="646" y="168"/>
                  </a:lnTo>
                  <a:lnTo>
                    <a:pt x="618" y="182"/>
                  </a:lnTo>
                  <a:lnTo>
                    <a:pt x="570" y="204"/>
                  </a:lnTo>
                  <a:lnTo>
                    <a:pt x="556" y="212"/>
                  </a:lnTo>
                  <a:lnTo>
                    <a:pt x="550" y="218"/>
                  </a:lnTo>
                  <a:lnTo>
                    <a:pt x="534" y="238"/>
                  </a:lnTo>
                  <a:lnTo>
                    <a:pt x="508" y="266"/>
                  </a:lnTo>
                  <a:lnTo>
                    <a:pt x="508" y="272"/>
                  </a:lnTo>
                  <a:lnTo>
                    <a:pt x="506" y="292"/>
                  </a:lnTo>
                  <a:lnTo>
                    <a:pt x="502" y="304"/>
                  </a:lnTo>
                  <a:lnTo>
                    <a:pt x="480" y="332"/>
                  </a:lnTo>
                  <a:lnTo>
                    <a:pt x="472" y="354"/>
                  </a:lnTo>
                  <a:lnTo>
                    <a:pt x="470" y="382"/>
                  </a:lnTo>
                  <a:lnTo>
                    <a:pt x="470" y="398"/>
                  </a:lnTo>
                  <a:lnTo>
                    <a:pt x="466" y="408"/>
                  </a:lnTo>
                  <a:lnTo>
                    <a:pt x="468" y="414"/>
                  </a:lnTo>
                  <a:lnTo>
                    <a:pt x="474" y="418"/>
                  </a:lnTo>
                  <a:lnTo>
                    <a:pt x="482" y="430"/>
                  </a:lnTo>
                  <a:lnTo>
                    <a:pt x="484" y="436"/>
                  </a:lnTo>
                  <a:lnTo>
                    <a:pt x="480" y="454"/>
                  </a:lnTo>
                  <a:lnTo>
                    <a:pt x="476" y="466"/>
                  </a:lnTo>
                  <a:lnTo>
                    <a:pt x="468" y="478"/>
                  </a:lnTo>
                  <a:lnTo>
                    <a:pt x="458" y="490"/>
                  </a:lnTo>
                  <a:lnTo>
                    <a:pt x="446" y="510"/>
                  </a:lnTo>
                  <a:lnTo>
                    <a:pt x="426" y="534"/>
                  </a:lnTo>
                  <a:lnTo>
                    <a:pt x="414" y="544"/>
                  </a:lnTo>
                  <a:lnTo>
                    <a:pt x="388" y="560"/>
                  </a:lnTo>
                  <a:lnTo>
                    <a:pt x="374" y="574"/>
                  </a:lnTo>
                  <a:lnTo>
                    <a:pt x="364" y="584"/>
                  </a:lnTo>
                  <a:lnTo>
                    <a:pt x="356" y="590"/>
                  </a:lnTo>
                  <a:lnTo>
                    <a:pt x="328" y="604"/>
                  </a:lnTo>
                  <a:lnTo>
                    <a:pt x="296" y="612"/>
                  </a:lnTo>
                  <a:lnTo>
                    <a:pt x="276" y="614"/>
                  </a:lnTo>
                  <a:lnTo>
                    <a:pt x="266" y="620"/>
                  </a:lnTo>
                  <a:lnTo>
                    <a:pt x="260" y="630"/>
                  </a:lnTo>
                  <a:lnTo>
                    <a:pt x="250" y="638"/>
                  </a:lnTo>
                  <a:lnTo>
                    <a:pt x="250" y="640"/>
                  </a:lnTo>
                  <a:lnTo>
                    <a:pt x="246" y="656"/>
                  </a:lnTo>
                  <a:lnTo>
                    <a:pt x="234" y="676"/>
                  </a:lnTo>
                  <a:lnTo>
                    <a:pt x="230" y="696"/>
                  </a:lnTo>
                  <a:lnTo>
                    <a:pt x="224" y="706"/>
                  </a:lnTo>
                  <a:lnTo>
                    <a:pt x="216" y="714"/>
                  </a:lnTo>
                  <a:lnTo>
                    <a:pt x="200" y="724"/>
                  </a:lnTo>
                  <a:lnTo>
                    <a:pt x="186" y="730"/>
                  </a:lnTo>
                  <a:lnTo>
                    <a:pt x="176" y="738"/>
                  </a:lnTo>
                  <a:lnTo>
                    <a:pt x="170" y="742"/>
                  </a:lnTo>
                  <a:lnTo>
                    <a:pt x="166" y="748"/>
                  </a:lnTo>
                  <a:lnTo>
                    <a:pt x="162" y="766"/>
                  </a:lnTo>
                  <a:lnTo>
                    <a:pt x="156" y="774"/>
                  </a:lnTo>
                  <a:lnTo>
                    <a:pt x="150" y="794"/>
                  </a:lnTo>
                  <a:lnTo>
                    <a:pt x="144" y="804"/>
                  </a:lnTo>
                  <a:lnTo>
                    <a:pt x="140" y="818"/>
                  </a:lnTo>
                  <a:lnTo>
                    <a:pt x="140" y="842"/>
                  </a:lnTo>
                  <a:lnTo>
                    <a:pt x="136" y="854"/>
                  </a:lnTo>
                  <a:lnTo>
                    <a:pt x="128" y="866"/>
                  </a:lnTo>
                  <a:lnTo>
                    <a:pt x="118" y="870"/>
                  </a:lnTo>
                  <a:lnTo>
                    <a:pt x="92" y="900"/>
                  </a:lnTo>
                  <a:lnTo>
                    <a:pt x="80" y="908"/>
                  </a:lnTo>
                  <a:lnTo>
                    <a:pt x="72" y="916"/>
                  </a:lnTo>
                  <a:lnTo>
                    <a:pt x="68" y="924"/>
                  </a:lnTo>
                  <a:lnTo>
                    <a:pt x="66" y="928"/>
                  </a:lnTo>
                  <a:lnTo>
                    <a:pt x="70" y="924"/>
                  </a:lnTo>
                  <a:lnTo>
                    <a:pt x="74" y="920"/>
                  </a:lnTo>
                  <a:lnTo>
                    <a:pt x="78" y="916"/>
                  </a:lnTo>
                  <a:lnTo>
                    <a:pt x="80" y="920"/>
                  </a:lnTo>
                  <a:lnTo>
                    <a:pt x="78" y="922"/>
                  </a:lnTo>
                  <a:lnTo>
                    <a:pt x="70" y="938"/>
                  </a:lnTo>
                  <a:lnTo>
                    <a:pt x="66" y="946"/>
                  </a:lnTo>
                  <a:lnTo>
                    <a:pt x="58" y="960"/>
                  </a:lnTo>
                  <a:lnTo>
                    <a:pt x="52" y="970"/>
                  </a:lnTo>
                  <a:lnTo>
                    <a:pt x="54" y="974"/>
                  </a:lnTo>
                  <a:lnTo>
                    <a:pt x="52" y="980"/>
                  </a:lnTo>
                  <a:lnTo>
                    <a:pt x="46" y="988"/>
                  </a:lnTo>
                  <a:lnTo>
                    <a:pt x="42" y="1006"/>
                  </a:lnTo>
                  <a:lnTo>
                    <a:pt x="32" y="1024"/>
                  </a:lnTo>
                  <a:lnTo>
                    <a:pt x="20" y="1028"/>
                  </a:lnTo>
                  <a:lnTo>
                    <a:pt x="14" y="1036"/>
                  </a:lnTo>
                  <a:lnTo>
                    <a:pt x="4" y="1054"/>
                  </a:lnTo>
                  <a:lnTo>
                    <a:pt x="0" y="1088"/>
                  </a:lnTo>
                  <a:lnTo>
                    <a:pt x="2" y="1088"/>
                  </a:lnTo>
                  <a:lnTo>
                    <a:pt x="18" y="1084"/>
                  </a:lnTo>
                  <a:lnTo>
                    <a:pt x="28" y="1084"/>
                  </a:lnTo>
                  <a:lnTo>
                    <a:pt x="52" y="1084"/>
                  </a:lnTo>
                  <a:lnTo>
                    <a:pt x="62" y="1082"/>
                  </a:lnTo>
                  <a:lnTo>
                    <a:pt x="70" y="1082"/>
                  </a:lnTo>
                  <a:lnTo>
                    <a:pt x="82" y="1084"/>
                  </a:lnTo>
                  <a:lnTo>
                    <a:pt x="90" y="1084"/>
                  </a:lnTo>
                  <a:lnTo>
                    <a:pt x="100" y="1086"/>
                  </a:lnTo>
                  <a:lnTo>
                    <a:pt x="112" y="1086"/>
                  </a:lnTo>
                  <a:lnTo>
                    <a:pt x="120" y="1086"/>
                  </a:lnTo>
                  <a:lnTo>
                    <a:pt x="132" y="1086"/>
                  </a:lnTo>
                  <a:lnTo>
                    <a:pt x="142" y="1086"/>
                  </a:lnTo>
                  <a:lnTo>
                    <a:pt x="146" y="1082"/>
                  </a:lnTo>
                  <a:lnTo>
                    <a:pt x="152" y="1076"/>
                  </a:lnTo>
                  <a:lnTo>
                    <a:pt x="154" y="1070"/>
                  </a:lnTo>
                  <a:lnTo>
                    <a:pt x="156" y="1066"/>
                  </a:lnTo>
                  <a:lnTo>
                    <a:pt x="156" y="1060"/>
                  </a:lnTo>
                  <a:lnTo>
                    <a:pt x="154" y="1058"/>
                  </a:lnTo>
                  <a:lnTo>
                    <a:pt x="158" y="1054"/>
                  </a:lnTo>
                  <a:lnTo>
                    <a:pt x="162" y="1048"/>
                  </a:lnTo>
                  <a:lnTo>
                    <a:pt x="166" y="1044"/>
                  </a:lnTo>
                  <a:lnTo>
                    <a:pt x="168" y="1042"/>
                  </a:lnTo>
                  <a:lnTo>
                    <a:pt x="172" y="1038"/>
                  </a:lnTo>
                  <a:lnTo>
                    <a:pt x="176" y="1034"/>
                  </a:lnTo>
                  <a:lnTo>
                    <a:pt x="178" y="1030"/>
                  </a:lnTo>
                  <a:lnTo>
                    <a:pt x="182" y="1026"/>
                  </a:lnTo>
                  <a:lnTo>
                    <a:pt x="182" y="1022"/>
                  </a:lnTo>
                  <a:lnTo>
                    <a:pt x="184" y="1016"/>
                  </a:lnTo>
                  <a:lnTo>
                    <a:pt x="184" y="1006"/>
                  </a:lnTo>
                  <a:lnTo>
                    <a:pt x="186" y="994"/>
                  </a:lnTo>
                  <a:lnTo>
                    <a:pt x="188" y="986"/>
                  </a:lnTo>
                  <a:lnTo>
                    <a:pt x="188" y="980"/>
                  </a:lnTo>
                  <a:lnTo>
                    <a:pt x="190" y="970"/>
                  </a:lnTo>
                  <a:lnTo>
                    <a:pt x="194" y="952"/>
                  </a:lnTo>
                  <a:lnTo>
                    <a:pt x="194" y="948"/>
                  </a:lnTo>
                  <a:lnTo>
                    <a:pt x="198" y="940"/>
                  </a:lnTo>
                  <a:lnTo>
                    <a:pt x="200" y="932"/>
                  </a:lnTo>
                  <a:lnTo>
                    <a:pt x="204" y="928"/>
                  </a:lnTo>
                  <a:lnTo>
                    <a:pt x="206" y="922"/>
                  </a:lnTo>
                  <a:lnTo>
                    <a:pt x="212" y="920"/>
                  </a:lnTo>
                  <a:lnTo>
                    <a:pt x="218" y="918"/>
                  </a:lnTo>
                  <a:lnTo>
                    <a:pt x="224" y="914"/>
                  </a:lnTo>
                  <a:lnTo>
                    <a:pt x="230" y="912"/>
                  </a:lnTo>
                  <a:lnTo>
                    <a:pt x="236" y="910"/>
                  </a:lnTo>
                  <a:lnTo>
                    <a:pt x="242" y="906"/>
                  </a:lnTo>
                  <a:lnTo>
                    <a:pt x="244" y="904"/>
                  </a:lnTo>
                  <a:lnTo>
                    <a:pt x="246" y="898"/>
                  </a:lnTo>
                  <a:lnTo>
                    <a:pt x="252" y="890"/>
                  </a:lnTo>
                  <a:lnTo>
                    <a:pt x="254" y="884"/>
                  </a:lnTo>
                  <a:lnTo>
                    <a:pt x="258" y="876"/>
                  </a:lnTo>
                  <a:lnTo>
                    <a:pt x="262" y="872"/>
                  </a:lnTo>
                  <a:lnTo>
                    <a:pt x="266" y="870"/>
                  </a:lnTo>
                  <a:lnTo>
                    <a:pt x="268" y="868"/>
                  </a:lnTo>
                  <a:lnTo>
                    <a:pt x="274" y="864"/>
                  </a:lnTo>
                  <a:lnTo>
                    <a:pt x="280" y="860"/>
                  </a:lnTo>
                  <a:lnTo>
                    <a:pt x="286" y="856"/>
                  </a:lnTo>
                  <a:lnTo>
                    <a:pt x="290" y="852"/>
                  </a:lnTo>
                  <a:lnTo>
                    <a:pt x="294" y="850"/>
                  </a:lnTo>
                  <a:lnTo>
                    <a:pt x="300" y="846"/>
                  </a:lnTo>
                  <a:lnTo>
                    <a:pt x="302" y="842"/>
                  </a:lnTo>
                  <a:lnTo>
                    <a:pt x="304" y="836"/>
                  </a:lnTo>
                  <a:lnTo>
                    <a:pt x="308" y="824"/>
                  </a:lnTo>
                  <a:lnTo>
                    <a:pt x="310" y="814"/>
                  </a:lnTo>
                  <a:lnTo>
                    <a:pt x="312" y="802"/>
                  </a:lnTo>
                  <a:lnTo>
                    <a:pt x="314" y="796"/>
                  </a:lnTo>
                  <a:lnTo>
                    <a:pt x="316" y="786"/>
                  </a:lnTo>
                  <a:lnTo>
                    <a:pt x="318" y="780"/>
                  </a:lnTo>
                  <a:lnTo>
                    <a:pt x="320" y="772"/>
                  </a:lnTo>
                  <a:lnTo>
                    <a:pt x="322" y="770"/>
                  </a:lnTo>
                  <a:lnTo>
                    <a:pt x="322" y="766"/>
                  </a:lnTo>
                  <a:lnTo>
                    <a:pt x="324" y="762"/>
                  </a:lnTo>
                  <a:lnTo>
                    <a:pt x="324" y="760"/>
                  </a:lnTo>
                  <a:lnTo>
                    <a:pt x="326" y="758"/>
                  </a:lnTo>
                  <a:lnTo>
                    <a:pt x="330" y="756"/>
                  </a:lnTo>
                  <a:lnTo>
                    <a:pt x="336" y="756"/>
                  </a:lnTo>
                  <a:lnTo>
                    <a:pt x="344" y="754"/>
                  </a:lnTo>
                  <a:lnTo>
                    <a:pt x="346" y="752"/>
                  </a:lnTo>
                  <a:lnTo>
                    <a:pt x="348" y="748"/>
                  </a:lnTo>
                  <a:lnTo>
                    <a:pt x="348" y="744"/>
                  </a:lnTo>
                  <a:lnTo>
                    <a:pt x="352" y="738"/>
                  </a:lnTo>
                  <a:lnTo>
                    <a:pt x="354" y="734"/>
                  </a:lnTo>
                  <a:lnTo>
                    <a:pt x="356" y="732"/>
                  </a:lnTo>
                  <a:lnTo>
                    <a:pt x="360" y="726"/>
                  </a:lnTo>
                  <a:lnTo>
                    <a:pt x="362" y="722"/>
                  </a:lnTo>
                  <a:lnTo>
                    <a:pt x="366" y="718"/>
                  </a:lnTo>
                  <a:lnTo>
                    <a:pt x="370" y="714"/>
                  </a:lnTo>
                  <a:lnTo>
                    <a:pt x="372" y="710"/>
                  </a:lnTo>
                  <a:lnTo>
                    <a:pt x="372" y="706"/>
                  </a:lnTo>
                  <a:lnTo>
                    <a:pt x="370" y="702"/>
                  </a:lnTo>
                  <a:lnTo>
                    <a:pt x="368" y="696"/>
                  </a:lnTo>
                  <a:lnTo>
                    <a:pt x="376" y="694"/>
                  </a:lnTo>
                  <a:lnTo>
                    <a:pt x="384" y="692"/>
                  </a:lnTo>
                  <a:lnTo>
                    <a:pt x="390" y="690"/>
                  </a:lnTo>
                  <a:lnTo>
                    <a:pt x="398" y="686"/>
                  </a:lnTo>
                  <a:lnTo>
                    <a:pt x="404" y="686"/>
                  </a:lnTo>
                  <a:lnTo>
                    <a:pt x="408" y="686"/>
                  </a:lnTo>
                  <a:lnTo>
                    <a:pt x="416" y="688"/>
                  </a:lnTo>
                  <a:lnTo>
                    <a:pt x="422" y="688"/>
                  </a:lnTo>
                  <a:lnTo>
                    <a:pt x="428" y="690"/>
                  </a:lnTo>
                  <a:lnTo>
                    <a:pt x="436" y="694"/>
                  </a:lnTo>
                  <a:lnTo>
                    <a:pt x="442" y="698"/>
                  </a:lnTo>
                  <a:lnTo>
                    <a:pt x="446" y="698"/>
                  </a:lnTo>
                  <a:lnTo>
                    <a:pt x="450" y="696"/>
                  </a:lnTo>
                  <a:lnTo>
                    <a:pt x="454" y="694"/>
                  </a:lnTo>
                  <a:lnTo>
                    <a:pt x="456" y="694"/>
                  </a:lnTo>
                  <a:lnTo>
                    <a:pt x="460" y="696"/>
                  </a:lnTo>
                  <a:lnTo>
                    <a:pt x="466" y="698"/>
                  </a:lnTo>
                  <a:lnTo>
                    <a:pt x="470" y="698"/>
                  </a:lnTo>
                  <a:lnTo>
                    <a:pt x="476" y="698"/>
                  </a:lnTo>
                  <a:lnTo>
                    <a:pt x="480" y="694"/>
                  </a:lnTo>
                  <a:lnTo>
                    <a:pt x="486" y="688"/>
                  </a:lnTo>
                  <a:lnTo>
                    <a:pt x="492" y="684"/>
                  </a:lnTo>
                  <a:lnTo>
                    <a:pt x="498" y="680"/>
                  </a:lnTo>
                  <a:lnTo>
                    <a:pt x="500" y="680"/>
                  </a:lnTo>
                  <a:lnTo>
                    <a:pt x="506" y="680"/>
                  </a:lnTo>
                  <a:lnTo>
                    <a:pt x="510" y="680"/>
                  </a:lnTo>
                  <a:lnTo>
                    <a:pt x="518" y="680"/>
                  </a:lnTo>
                  <a:lnTo>
                    <a:pt x="524" y="680"/>
                  </a:lnTo>
                  <a:lnTo>
                    <a:pt x="532" y="680"/>
                  </a:lnTo>
                  <a:lnTo>
                    <a:pt x="538" y="678"/>
                  </a:lnTo>
                  <a:lnTo>
                    <a:pt x="540" y="676"/>
                  </a:lnTo>
                  <a:lnTo>
                    <a:pt x="540" y="674"/>
                  </a:lnTo>
                  <a:lnTo>
                    <a:pt x="538" y="664"/>
                  </a:lnTo>
                  <a:lnTo>
                    <a:pt x="538" y="660"/>
                  </a:lnTo>
                  <a:lnTo>
                    <a:pt x="538" y="656"/>
                  </a:lnTo>
                  <a:lnTo>
                    <a:pt x="538" y="654"/>
                  </a:lnTo>
                  <a:lnTo>
                    <a:pt x="538" y="648"/>
                  </a:lnTo>
                  <a:lnTo>
                    <a:pt x="536" y="642"/>
                  </a:lnTo>
                  <a:lnTo>
                    <a:pt x="536" y="638"/>
                  </a:lnTo>
                  <a:lnTo>
                    <a:pt x="544" y="638"/>
                  </a:lnTo>
                  <a:lnTo>
                    <a:pt x="544" y="566"/>
                  </a:lnTo>
                  <a:lnTo>
                    <a:pt x="546" y="562"/>
                  </a:lnTo>
                  <a:lnTo>
                    <a:pt x="546" y="560"/>
                  </a:lnTo>
                  <a:lnTo>
                    <a:pt x="554" y="556"/>
                  </a:lnTo>
                  <a:lnTo>
                    <a:pt x="564" y="548"/>
                  </a:lnTo>
                  <a:lnTo>
                    <a:pt x="568" y="544"/>
                  </a:lnTo>
                  <a:lnTo>
                    <a:pt x="572" y="540"/>
                  </a:lnTo>
                  <a:lnTo>
                    <a:pt x="590" y="528"/>
                  </a:lnTo>
                  <a:lnTo>
                    <a:pt x="594" y="526"/>
                  </a:lnTo>
                  <a:lnTo>
                    <a:pt x="610" y="512"/>
                  </a:lnTo>
                  <a:lnTo>
                    <a:pt x="614" y="510"/>
                  </a:lnTo>
                  <a:lnTo>
                    <a:pt x="624" y="510"/>
                  </a:lnTo>
                  <a:lnTo>
                    <a:pt x="628" y="506"/>
                  </a:lnTo>
                  <a:lnTo>
                    <a:pt x="632" y="502"/>
                  </a:lnTo>
                  <a:lnTo>
                    <a:pt x="640" y="496"/>
                  </a:lnTo>
                  <a:lnTo>
                    <a:pt x="644" y="492"/>
                  </a:lnTo>
                  <a:lnTo>
                    <a:pt x="646" y="492"/>
                  </a:lnTo>
                  <a:lnTo>
                    <a:pt x="648" y="492"/>
                  </a:lnTo>
                  <a:lnTo>
                    <a:pt x="664" y="494"/>
                  </a:lnTo>
                  <a:lnTo>
                    <a:pt x="672" y="494"/>
                  </a:lnTo>
                  <a:lnTo>
                    <a:pt x="680" y="496"/>
                  </a:lnTo>
                  <a:lnTo>
                    <a:pt x="682" y="494"/>
                  </a:lnTo>
                  <a:lnTo>
                    <a:pt x="684" y="494"/>
                  </a:lnTo>
                  <a:lnTo>
                    <a:pt x="686" y="488"/>
                  </a:lnTo>
                  <a:lnTo>
                    <a:pt x="688" y="484"/>
                  </a:lnTo>
                  <a:lnTo>
                    <a:pt x="688" y="480"/>
                  </a:lnTo>
                  <a:lnTo>
                    <a:pt x="688" y="478"/>
                  </a:lnTo>
                  <a:lnTo>
                    <a:pt x="690" y="476"/>
                  </a:lnTo>
                  <a:lnTo>
                    <a:pt x="692" y="478"/>
                  </a:lnTo>
                  <a:lnTo>
                    <a:pt x="698" y="478"/>
                  </a:lnTo>
                  <a:lnTo>
                    <a:pt x="706" y="478"/>
                  </a:lnTo>
                  <a:lnTo>
                    <a:pt x="710" y="476"/>
                  </a:lnTo>
                  <a:lnTo>
                    <a:pt x="720" y="476"/>
                  </a:lnTo>
                  <a:lnTo>
                    <a:pt x="736" y="474"/>
                  </a:lnTo>
                  <a:lnTo>
                    <a:pt x="748" y="470"/>
                  </a:lnTo>
                  <a:lnTo>
                    <a:pt x="756" y="466"/>
                  </a:lnTo>
                  <a:lnTo>
                    <a:pt x="768" y="458"/>
                  </a:lnTo>
                  <a:lnTo>
                    <a:pt x="774" y="450"/>
                  </a:lnTo>
                  <a:lnTo>
                    <a:pt x="782" y="438"/>
                  </a:lnTo>
                  <a:lnTo>
                    <a:pt x="788" y="428"/>
                  </a:lnTo>
                  <a:lnTo>
                    <a:pt x="800" y="422"/>
                  </a:lnTo>
                  <a:lnTo>
                    <a:pt x="812" y="418"/>
                  </a:lnTo>
                  <a:lnTo>
                    <a:pt x="818" y="416"/>
                  </a:lnTo>
                  <a:lnTo>
                    <a:pt x="830" y="410"/>
                  </a:lnTo>
                  <a:lnTo>
                    <a:pt x="842" y="402"/>
                  </a:lnTo>
                  <a:lnTo>
                    <a:pt x="852" y="394"/>
                  </a:lnTo>
                  <a:lnTo>
                    <a:pt x="860" y="392"/>
                  </a:lnTo>
                  <a:lnTo>
                    <a:pt x="872" y="392"/>
                  </a:lnTo>
                  <a:lnTo>
                    <a:pt x="874" y="390"/>
                  </a:lnTo>
                  <a:lnTo>
                    <a:pt x="876" y="388"/>
                  </a:lnTo>
                  <a:lnTo>
                    <a:pt x="876" y="382"/>
                  </a:lnTo>
                  <a:lnTo>
                    <a:pt x="874" y="378"/>
                  </a:lnTo>
                  <a:lnTo>
                    <a:pt x="870" y="376"/>
                  </a:lnTo>
                  <a:lnTo>
                    <a:pt x="866" y="374"/>
                  </a:lnTo>
                  <a:lnTo>
                    <a:pt x="864" y="374"/>
                  </a:lnTo>
                  <a:lnTo>
                    <a:pt x="862" y="372"/>
                  </a:lnTo>
                  <a:lnTo>
                    <a:pt x="864" y="368"/>
                  </a:lnTo>
                  <a:lnTo>
                    <a:pt x="864" y="364"/>
                  </a:lnTo>
                  <a:lnTo>
                    <a:pt x="866" y="360"/>
                  </a:lnTo>
                  <a:lnTo>
                    <a:pt x="866" y="354"/>
                  </a:lnTo>
                  <a:lnTo>
                    <a:pt x="862" y="348"/>
                  </a:lnTo>
                  <a:lnTo>
                    <a:pt x="862" y="344"/>
                  </a:lnTo>
                  <a:lnTo>
                    <a:pt x="862" y="340"/>
                  </a:lnTo>
                  <a:lnTo>
                    <a:pt x="864" y="336"/>
                  </a:lnTo>
                  <a:lnTo>
                    <a:pt x="868" y="334"/>
                  </a:lnTo>
                  <a:lnTo>
                    <a:pt x="872" y="334"/>
                  </a:lnTo>
                  <a:lnTo>
                    <a:pt x="878" y="334"/>
                  </a:lnTo>
                  <a:lnTo>
                    <a:pt x="888" y="334"/>
                  </a:lnTo>
                  <a:lnTo>
                    <a:pt x="916" y="322"/>
                  </a:lnTo>
                  <a:lnTo>
                    <a:pt x="918" y="320"/>
                  </a:lnTo>
                  <a:lnTo>
                    <a:pt x="920" y="314"/>
                  </a:lnTo>
                  <a:lnTo>
                    <a:pt x="922" y="306"/>
                  </a:lnTo>
                  <a:lnTo>
                    <a:pt x="924" y="304"/>
                  </a:lnTo>
                  <a:lnTo>
                    <a:pt x="926" y="304"/>
                  </a:lnTo>
                  <a:lnTo>
                    <a:pt x="936" y="302"/>
                  </a:lnTo>
                  <a:lnTo>
                    <a:pt x="948" y="300"/>
                  </a:lnTo>
                  <a:lnTo>
                    <a:pt x="954" y="300"/>
                  </a:lnTo>
                  <a:lnTo>
                    <a:pt x="968" y="302"/>
                  </a:lnTo>
                  <a:lnTo>
                    <a:pt x="978" y="302"/>
                  </a:lnTo>
                  <a:lnTo>
                    <a:pt x="996" y="302"/>
                  </a:lnTo>
                  <a:lnTo>
                    <a:pt x="1006" y="302"/>
                  </a:lnTo>
                  <a:lnTo>
                    <a:pt x="1018" y="302"/>
                  </a:lnTo>
                  <a:lnTo>
                    <a:pt x="1030" y="304"/>
                  </a:lnTo>
                  <a:lnTo>
                    <a:pt x="1034" y="302"/>
                  </a:lnTo>
                  <a:lnTo>
                    <a:pt x="1034" y="298"/>
                  </a:lnTo>
                  <a:lnTo>
                    <a:pt x="1032" y="290"/>
                  </a:lnTo>
                  <a:lnTo>
                    <a:pt x="1032" y="284"/>
                  </a:lnTo>
                  <a:lnTo>
                    <a:pt x="1038" y="280"/>
                  </a:lnTo>
                  <a:lnTo>
                    <a:pt x="1044" y="274"/>
                  </a:lnTo>
                  <a:lnTo>
                    <a:pt x="1042" y="268"/>
                  </a:lnTo>
                  <a:lnTo>
                    <a:pt x="1036" y="264"/>
                  </a:lnTo>
                  <a:lnTo>
                    <a:pt x="1030" y="258"/>
                  </a:lnTo>
                  <a:lnTo>
                    <a:pt x="1026" y="256"/>
                  </a:lnTo>
                  <a:lnTo>
                    <a:pt x="1018" y="250"/>
                  </a:lnTo>
                  <a:lnTo>
                    <a:pt x="1016" y="242"/>
                  </a:lnTo>
                  <a:lnTo>
                    <a:pt x="1012" y="226"/>
                  </a:lnTo>
                  <a:lnTo>
                    <a:pt x="1008" y="218"/>
                  </a:lnTo>
                  <a:lnTo>
                    <a:pt x="1004" y="208"/>
                  </a:lnTo>
                  <a:lnTo>
                    <a:pt x="1008" y="188"/>
                  </a:lnTo>
                  <a:lnTo>
                    <a:pt x="1002" y="176"/>
                  </a:lnTo>
                  <a:lnTo>
                    <a:pt x="1002" y="172"/>
                  </a:lnTo>
                  <a:lnTo>
                    <a:pt x="1002" y="166"/>
                  </a:lnTo>
                  <a:lnTo>
                    <a:pt x="1002" y="154"/>
                  </a:lnTo>
                  <a:lnTo>
                    <a:pt x="1002" y="140"/>
                  </a:lnTo>
                  <a:lnTo>
                    <a:pt x="996" y="124"/>
                  </a:lnTo>
                  <a:lnTo>
                    <a:pt x="1000" y="120"/>
                  </a:lnTo>
                  <a:lnTo>
                    <a:pt x="1000" y="116"/>
                  </a:lnTo>
                  <a:lnTo>
                    <a:pt x="1000" y="114"/>
                  </a:lnTo>
                  <a:lnTo>
                    <a:pt x="996" y="110"/>
                  </a:lnTo>
                  <a:lnTo>
                    <a:pt x="992" y="106"/>
                  </a:lnTo>
                  <a:lnTo>
                    <a:pt x="994" y="102"/>
                  </a:lnTo>
                  <a:lnTo>
                    <a:pt x="996" y="96"/>
                  </a:lnTo>
                  <a:lnTo>
                    <a:pt x="996" y="94"/>
                  </a:lnTo>
                  <a:lnTo>
                    <a:pt x="988" y="88"/>
                  </a:lnTo>
                  <a:lnTo>
                    <a:pt x="974" y="76"/>
                  </a:lnTo>
                  <a:lnTo>
                    <a:pt x="970" y="72"/>
                  </a:lnTo>
                  <a:lnTo>
                    <a:pt x="968" y="6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55" name="Google Shape;4722;p64">
              <a:extLst>
                <a:ext uri="{FF2B5EF4-FFF2-40B4-BE49-F238E27FC236}">
                  <a16:creationId xmlns:a16="http://schemas.microsoft.com/office/drawing/2014/main" id="{ABF8620A-3F94-E0A8-F417-2C3256018CC6}"/>
                </a:ext>
              </a:extLst>
            </p:cNvPr>
            <p:cNvSpPr/>
            <p:nvPr/>
          </p:nvSpPr>
          <p:spPr>
            <a:xfrm>
              <a:off x="5455621" y="5251319"/>
              <a:ext cx="155546" cy="307483"/>
            </a:xfrm>
            <a:custGeom>
              <a:avLst/>
              <a:gdLst/>
              <a:ahLst/>
              <a:cxnLst/>
              <a:rect l="l" t="t" r="r" b="b"/>
              <a:pathLst>
                <a:path w="1129332" h="2232462" extrusionOk="0">
                  <a:moveTo>
                    <a:pt x="1057856" y="740976"/>
                  </a:moveTo>
                  <a:lnTo>
                    <a:pt x="1043560" y="779098"/>
                  </a:lnTo>
                  <a:lnTo>
                    <a:pt x="1024500" y="807688"/>
                  </a:lnTo>
                  <a:lnTo>
                    <a:pt x="1029264" y="783864"/>
                  </a:lnTo>
                  <a:lnTo>
                    <a:pt x="1048324" y="745742"/>
                  </a:lnTo>
                  <a:close/>
                  <a:moveTo>
                    <a:pt x="781480" y="178692"/>
                  </a:moveTo>
                  <a:lnTo>
                    <a:pt x="791008" y="178692"/>
                  </a:lnTo>
                  <a:lnTo>
                    <a:pt x="795776" y="197752"/>
                  </a:lnTo>
                  <a:lnTo>
                    <a:pt x="795776" y="202518"/>
                  </a:lnTo>
                  <a:lnTo>
                    <a:pt x="795776" y="207284"/>
                  </a:lnTo>
                  <a:lnTo>
                    <a:pt x="771948" y="207284"/>
                  </a:lnTo>
                  <a:lnTo>
                    <a:pt x="771948" y="188222"/>
                  </a:lnTo>
                  <a:lnTo>
                    <a:pt x="781480" y="188222"/>
                  </a:lnTo>
                  <a:close/>
                  <a:moveTo>
                    <a:pt x="929196" y="0"/>
                  </a:moveTo>
                  <a:lnTo>
                    <a:pt x="938728" y="0"/>
                  </a:lnTo>
                  <a:lnTo>
                    <a:pt x="943492" y="9530"/>
                  </a:lnTo>
                  <a:lnTo>
                    <a:pt x="948260" y="19060"/>
                  </a:lnTo>
                  <a:lnTo>
                    <a:pt x="953024" y="23824"/>
                  </a:lnTo>
                  <a:lnTo>
                    <a:pt x="972084" y="42886"/>
                  </a:lnTo>
                  <a:lnTo>
                    <a:pt x="981616" y="57180"/>
                  </a:lnTo>
                  <a:lnTo>
                    <a:pt x="986380" y="76242"/>
                  </a:lnTo>
                  <a:lnTo>
                    <a:pt x="995908" y="90536"/>
                  </a:lnTo>
                  <a:lnTo>
                    <a:pt x="1024500" y="128658"/>
                  </a:lnTo>
                  <a:lnTo>
                    <a:pt x="1034032" y="142952"/>
                  </a:lnTo>
                  <a:lnTo>
                    <a:pt x="1043560" y="159630"/>
                  </a:lnTo>
                  <a:lnTo>
                    <a:pt x="1048324" y="188222"/>
                  </a:lnTo>
                  <a:lnTo>
                    <a:pt x="1062620" y="240638"/>
                  </a:lnTo>
                  <a:lnTo>
                    <a:pt x="1081680" y="312114"/>
                  </a:lnTo>
                  <a:lnTo>
                    <a:pt x="1086448" y="388358"/>
                  </a:lnTo>
                  <a:lnTo>
                    <a:pt x="1091212" y="426478"/>
                  </a:lnTo>
                  <a:lnTo>
                    <a:pt x="1100744" y="455068"/>
                  </a:lnTo>
                  <a:lnTo>
                    <a:pt x="1119804" y="493190"/>
                  </a:lnTo>
                  <a:lnTo>
                    <a:pt x="1129332" y="531310"/>
                  </a:lnTo>
                  <a:lnTo>
                    <a:pt x="1115036" y="569432"/>
                  </a:lnTo>
                  <a:lnTo>
                    <a:pt x="1100744" y="607552"/>
                  </a:lnTo>
                  <a:lnTo>
                    <a:pt x="1095976" y="612318"/>
                  </a:lnTo>
                  <a:lnTo>
                    <a:pt x="1086448" y="621848"/>
                  </a:lnTo>
                  <a:lnTo>
                    <a:pt x="1081680" y="621848"/>
                  </a:lnTo>
                  <a:lnTo>
                    <a:pt x="1067388" y="612318"/>
                  </a:lnTo>
                  <a:lnTo>
                    <a:pt x="1057856" y="598022"/>
                  </a:lnTo>
                  <a:lnTo>
                    <a:pt x="1043560" y="559902"/>
                  </a:lnTo>
                  <a:lnTo>
                    <a:pt x="1034032" y="540842"/>
                  </a:lnTo>
                  <a:lnTo>
                    <a:pt x="1029264" y="540842"/>
                  </a:lnTo>
                  <a:lnTo>
                    <a:pt x="1014968" y="540842"/>
                  </a:lnTo>
                  <a:lnTo>
                    <a:pt x="1000676" y="550372"/>
                  </a:lnTo>
                  <a:lnTo>
                    <a:pt x="995908" y="559902"/>
                  </a:lnTo>
                  <a:lnTo>
                    <a:pt x="1000676" y="578962"/>
                  </a:lnTo>
                  <a:lnTo>
                    <a:pt x="1005440" y="598022"/>
                  </a:lnTo>
                  <a:lnTo>
                    <a:pt x="1005440" y="617084"/>
                  </a:lnTo>
                  <a:lnTo>
                    <a:pt x="1010204" y="640908"/>
                  </a:lnTo>
                  <a:lnTo>
                    <a:pt x="1014968" y="650440"/>
                  </a:lnTo>
                  <a:lnTo>
                    <a:pt x="1019736" y="655204"/>
                  </a:lnTo>
                  <a:lnTo>
                    <a:pt x="1024500" y="669500"/>
                  </a:lnTo>
                  <a:lnTo>
                    <a:pt x="1029264" y="707620"/>
                  </a:lnTo>
                  <a:lnTo>
                    <a:pt x="1024500" y="726682"/>
                  </a:lnTo>
                  <a:lnTo>
                    <a:pt x="1010204" y="745742"/>
                  </a:lnTo>
                  <a:lnTo>
                    <a:pt x="1010204" y="755272"/>
                  </a:lnTo>
                  <a:lnTo>
                    <a:pt x="1014968" y="764802"/>
                  </a:lnTo>
                  <a:lnTo>
                    <a:pt x="1010204" y="769568"/>
                  </a:lnTo>
                  <a:lnTo>
                    <a:pt x="995908" y="774332"/>
                  </a:lnTo>
                  <a:lnTo>
                    <a:pt x="991144" y="783862"/>
                  </a:lnTo>
                  <a:lnTo>
                    <a:pt x="981616" y="798158"/>
                  </a:lnTo>
                  <a:lnTo>
                    <a:pt x="967320" y="831514"/>
                  </a:lnTo>
                  <a:lnTo>
                    <a:pt x="967320" y="850574"/>
                  </a:lnTo>
                  <a:lnTo>
                    <a:pt x="972084" y="902992"/>
                  </a:lnTo>
                  <a:lnTo>
                    <a:pt x="972084" y="941112"/>
                  </a:lnTo>
                  <a:lnTo>
                    <a:pt x="953024" y="1012588"/>
                  </a:lnTo>
                  <a:lnTo>
                    <a:pt x="943492" y="1045944"/>
                  </a:lnTo>
                  <a:lnTo>
                    <a:pt x="929196" y="1088832"/>
                  </a:lnTo>
                  <a:lnTo>
                    <a:pt x="905372" y="1141248"/>
                  </a:lnTo>
                  <a:lnTo>
                    <a:pt x="886312" y="1207960"/>
                  </a:lnTo>
                  <a:lnTo>
                    <a:pt x="867252" y="1279436"/>
                  </a:lnTo>
                  <a:lnTo>
                    <a:pt x="852956" y="1322322"/>
                  </a:lnTo>
                  <a:lnTo>
                    <a:pt x="833896" y="1365208"/>
                  </a:lnTo>
                  <a:lnTo>
                    <a:pt x="814836" y="1436686"/>
                  </a:lnTo>
                  <a:lnTo>
                    <a:pt x="795776" y="1512928"/>
                  </a:lnTo>
                  <a:lnTo>
                    <a:pt x="767184" y="1593934"/>
                  </a:lnTo>
                  <a:lnTo>
                    <a:pt x="729064" y="1689238"/>
                  </a:lnTo>
                  <a:lnTo>
                    <a:pt x="724296" y="1698768"/>
                  </a:lnTo>
                  <a:lnTo>
                    <a:pt x="719532" y="1746418"/>
                  </a:lnTo>
                  <a:lnTo>
                    <a:pt x="710000" y="1789304"/>
                  </a:lnTo>
                  <a:lnTo>
                    <a:pt x="700472" y="1832192"/>
                  </a:lnTo>
                  <a:lnTo>
                    <a:pt x="676648" y="1898904"/>
                  </a:lnTo>
                  <a:lnTo>
                    <a:pt x="676648" y="1917964"/>
                  </a:lnTo>
                  <a:lnTo>
                    <a:pt x="671880" y="1941790"/>
                  </a:lnTo>
                  <a:lnTo>
                    <a:pt x="652820" y="1979910"/>
                  </a:lnTo>
                  <a:lnTo>
                    <a:pt x="643292" y="1998970"/>
                  </a:lnTo>
                  <a:lnTo>
                    <a:pt x="638524" y="2013266"/>
                  </a:lnTo>
                  <a:lnTo>
                    <a:pt x="633760" y="2037092"/>
                  </a:lnTo>
                  <a:lnTo>
                    <a:pt x="628996" y="2056152"/>
                  </a:lnTo>
                  <a:lnTo>
                    <a:pt x="609936" y="2094274"/>
                  </a:lnTo>
                  <a:lnTo>
                    <a:pt x="590872" y="2127630"/>
                  </a:lnTo>
                  <a:lnTo>
                    <a:pt x="576580" y="2141924"/>
                  </a:lnTo>
                  <a:lnTo>
                    <a:pt x="543224" y="2156220"/>
                  </a:lnTo>
                  <a:lnTo>
                    <a:pt x="524160" y="2160984"/>
                  </a:lnTo>
                  <a:lnTo>
                    <a:pt x="486040" y="2160984"/>
                  </a:lnTo>
                  <a:lnTo>
                    <a:pt x="452684" y="2170516"/>
                  </a:lnTo>
                  <a:lnTo>
                    <a:pt x="414564" y="2189576"/>
                  </a:lnTo>
                  <a:lnTo>
                    <a:pt x="381208" y="2213402"/>
                  </a:lnTo>
                  <a:lnTo>
                    <a:pt x="366912" y="2222932"/>
                  </a:lnTo>
                  <a:lnTo>
                    <a:pt x="352616" y="2227696"/>
                  </a:lnTo>
                  <a:lnTo>
                    <a:pt x="304968" y="2232462"/>
                  </a:lnTo>
                  <a:lnTo>
                    <a:pt x="290672" y="2227696"/>
                  </a:lnTo>
                  <a:lnTo>
                    <a:pt x="243020" y="2189576"/>
                  </a:lnTo>
                  <a:lnTo>
                    <a:pt x="223960" y="2184810"/>
                  </a:lnTo>
                  <a:lnTo>
                    <a:pt x="190604" y="2180046"/>
                  </a:lnTo>
                  <a:lnTo>
                    <a:pt x="181072" y="2175280"/>
                  </a:lnTo>
                  <a:lnTo>
                    <a:pt x="171544" y="2170516"/>
                  </a:lnTo>
                  <a:lnTo>
                    <a:pt x="157248" y="2151454"/>
                  </a:lnTo>
                  <a:lnTo>
                    <a:pt x="128656" y="2137160"/>
                  </a:lnTo>
                  <a:lnTo>
                    <a:pt x="123892" y="2132394"/>
                  </a:lnTo>
                  <a:lnTo>
                    <a:pt x="119128" y="2122864"/>
                  </a:lnTo>
                  <a:lnTo>
                    <a:pt x="114360" y="2108568"/>
                  </a:lnTo>
                  <a:lnTo>
                    <a:pt x="104832" y="2094274"/>
                  </a:lnTo>
                  <a:lnTo>
                    <a:pt x="100064" y="2070448"/>
                  </a:lnTo>
                  <a:lnTo>
                    <a:pt x="90536" y="2051388"/>
                  </a:lnTo>
                  <a:lnTo>
                    <a:pt x="66708" y="2022796"/>
                  </a:lnTo>
                  <a:lnTo>
                    <a:pt x="66708" y="2013266"/>
                  </a:lnTo>
                  <a:lnTo>
                    <a:pt x="61944" y="1979910"/>
                  </a:lnTo>
                  <a:lnTo>
                    <a:pt x="61944" y="1956084"/>
                  </a:lnTo>
                  <a:lnTo>
                    <a:pt x="61944" y="1917964"/>
                  </a:lnTo>
                  <a:lnTo>
                    <a:pt x="61944" y="1898904"/>
                  </a:lnTo>
                  <a:lnTo>
                    <a:pt x="71476" y="1879842"/>
                  </a:lnTo>
                  <a:lnTo>
                    <a:pt x="66708" y="1860782"/>
                  </a:lnTo>
                  <a:lnTo>
                    <a:pt x="57180" y="1841722"/>
                  </a:lnTo>
                  <a:lnTo>
                    <a:pt x="57180" y="1822660"/>
                  </a:lnTo>
                  <a:lnTo>
                    <a:pt x="47648" y="1803600"/>
                  </a:lnTo>
                  <a:lnTo>
                    <a:pt x="19060" y="1770244"/>
                  </a:lnTo>
                  <a:lnTo>
                    <a:pt x="14292" y="1755950"/>
                  </a:lnTo>
                  <a:lnTo>
                    <a:pt x="9528" y="1736888"/>
                  </a:lnTo>
                  <a:lnTo>
                    <a:pt x="0" y="1684472"/>
                  </a:lnTo>
                  <a:lnTo>
                    <a:pt x="0" y="1670176"/>
                  </a:lnTo>
                  <a:lnTo>
                    <a:pt x="0" y="1632056"/>
                  </a:lnTo>
                  <a:lnTo>
                    <a:pt x="4764" y="1608230"/>
                  </a:lnTo>
                  <a:lnTo>
                    <a:pt x="9528" y="1593934"/>
                  </a:lnTo>
                  <a:lnTo>
                    <a:pt x="14292" y="1584404"/>
                  </a:lnTo>
                  <a:lnTo>
                    <a:pt x="19060" y="1579640"/>
                  </a:lnTo>
                  <a:lnTo>
                    <a:pt x="23824" y="1570108"/>
                  </a:lnTo>
                  <a:lnTo>
                    <a:pt x="28588" y="1560578"/>
                  </a:lnTo>
                  <a:lnTo>
                    <a:pt x="38120" y="1512928"/>
                  </a:lnTo>
                  <a:lnTo>
                    <a:pt x="52416" y="1503398"/>
                  </a:lnTo>
                  <a:lnTo>
                    <a:pt x="71476" y="1493868"/>
                  </a:lnTo>
                  <a:lnTo>
                    <a:pt x="85772" y="1484336"/>
                  </a:lnTo>
                  <a:lnTo>
                    <a:pt x="95300" y="1465276"/>
                  </a:lnTo>
                  <a:lnTo>
                    <a:pt x="100064" y="1431920"/>
                  </a:lnTo>
                  <a:lnTo>
                    <a:pt x="123892" y="1393800"/>
                  </a:lnTo>
                  <a:lnTo>
                    <a:pt x="133420" y="1379504"/>
                  </a:lnTo>
                  <a:lnTo>
                    <a:pt x="152484" y="1350914"/>
                  </a:lnTo>
                  <a:lnTo>
                    <a:pt x="171544" y="1312792"/>
                  </a:lnTo>
                  <a:lnTo>
                    <a:pt x="176308" y="1293732"/>
                  </a:lnTo>
                  <a:lnTo>
                    <a:pt x="176308" y="1274672"/>
                  </a:lnTo>
                  <a:lnTo>
                    <a:pt x="185836" y="1231784"/>
                  </a:lnTo>
                  <a:lnTo>
                    <a:pt x="185836" y="1212724"/>
                  </a:lnTo>
                  <a:lnTo>
                    <a:pt x="185836" y="1193664"/>
                  </a:lnTo>
                  <a:lnTo>
                    <a:pt x="176308" y="1169838"/>
                  </a:lnTo>
                  <a:lnTo>
                    <a:pt x="152484" y="1131718"/>
                  </a:lnTo>
                  <a:lnTo>
                    <a:pt x="152484" y="1126952"/>
                  </a:lnTo>
                  <a:lnTo>
                    <a:pt x="152484" y="1098362"/>
                  </a:lnTo>
                  <a:lnTo>
                    <a:pt x="152484" y="1079300"/>
                  </a:lnTo>
                  <a:lnTo>
                    <a:pt x="142952" y="1060240"/>
                  </a:lnTo>
                  <a:lnTo>
                    <a:pt x="133420" y="1041180"/>
                  </a:lnTo>
                  <a:lnTo>
                    <a:pt x="123892" y="1003058"/>
                  </a:lnTo>
                  <a:lnTo>
                    <a:pt x="114360" y="945878"/>
                  </a:lnTo>
                  <a:lnTo>
                    <a:pt x="119128" y="922052"/>
                  </a:lnTo>
                  <a:lnTo>
                    <a:pt x="114360" y="907756"/>
                  </a:lnTo>
                  <a:lnTo>
                    <a:pt x="104832" y="888696"/>
                  </a:lnTo>
                  <a:lnTo>
                    <a:pt x="114360" y="855340"/>
                  </a:lnTo>
                  <a:lnTo>
                    <a:pt x="181072" y="745742"/>
                  </a:lnTo>
                  <a:lnTo>
                    <a:pt x="185836" y="731446"/>
                  </a:lnTo>
                  <a:lnTo>
                    <a:pt x="181072" y="698090"/>
                  </a:lnTo>
                  <a:lnTo>
                    <a:pt x="181072" y="674264"/>
                  </a:lnTo>
                  <a:lnTo>
                    <a:pt x="185836" y="669500"/>
                  </a:lnTo>
                  <a:lnTo>
                    <a:pt x="190604" y="664734"/>
                  </a:lnTo>
                  <a:lnTo>
                    <a:pt x="200132" y="664734"/>
                  </a:lnTo>
                  <a:lnTo>
                    <a:pt x="257316" y="659970"/>
                  </a:lnTo>
                  <a:lnTo>
                    <a:pt x="266844" y="655204"/>
                  </a:lnTo>
                  <a:lnTo>
                    <a:pt x="281140" y="645674"/>
                  </a:lnTo>
                  <a:lnTo>
                    <a:pt x="300200" y="626614"/>
                  </a:lnTo>
                  <a:lnTo>
                    <a:pt x="304968" y="621848"/>
                  </a:lnTo>
                  <a:lnTo>
                    <a:pt x="314496" y="621848"/>
                  </a:lnTo>
                  <a:lnTo>
                    <a:pt x="319260" y="631378"/>
                  </a:lnTo>
                  <a:lnTo>
                    <a:pt x="324028" y="636144"/>
                  </a:lnTo>
                  <a:lnTo>
                    <a:pt x="347852" y="626614"/>
                  </a:lnTo>
                  <a:lnTo>
                    <a:pt x="357384" y="626614"/>
                  </a:lnTo>
                  <a:lnTo>
                    <a:pt x="366912" y="626614"/>
                  </a:lnTo>
                  <a:lnTo>
                    <a:pt x="371676" y="621848"/>
                  </a:lnTo>
                  <a:lnTo>
                    <a:pt x="371676" y="612318"/>
                  </a:lnTo>
                  <a:lnTo>
                    <a:pt x="376444" y="602788"/>
                  </a:lnTo>
                  <a:lnTo>
                    <a:pt x="381208" y="598022"/>
                  </a:lnTo>
                  <a:lnTo>
                    <a:pt x="409800" y="598022"/>
                  </a:lnTo>
                  <a:lnTo>
                    <a:pt x="428860" y="593258"/>
                  </a:lnTo>
                  <a:lnTo>
                    <a:pt x="452684" y="588492"/>
                  </a:lnTo>
                  <a:lnTo>
                    <a:pt x="457452" y="588492"/>
                  </a:lnTo>
                  <a:lnTo>
                    <a:pt x="476512" y="612318"/>
                  </a:lnTo>
                  <a:lnTo>
                    <a:pt x="481276" y="617084"/>
                  </a:lnTo>
                  <a:lnTo>
                    <a:pt x="490808" y="617084"/>
                  </a:lnTo>
                  <a:lnTo>
                    <a:pt x="495572" y="612318"/>
                  </a:lnTo>
                  <a:lnTo>
                    <a:pt x="481276" y="598022"/>
                  </a:lnTo>
                  <a:lnTo>
                    <a:pt x="481276" y="593258"/>
                  </a:lnTo>
                  <a:lnTo>
                    <a:pt x="481276" y="583728"/>
                  </a:lnTo>
                  <a:lnTo>
                    <a:pt x="486040" y="564666"/>
                  </a:lnTo>
                  <a:lnTo>
                    <a:pt x="500336" y="550372"/>
                  </a:lnTo>
                  <a:lnTo>
                    <a:pt x="533692" y="531310"/>
                  </a:lnTo>
                  <a:lnTo>
                    <a:pt x="567048" y="502720"/>
                  </a:lnTo>
                  <a:lnTo>
                    <a:pt x="576580" y="502720"/>
                  </a:lnTo>
                  <a:lnTo>
                    <a:pt x="581344" y="507486"/>
                  </a:lnTo>
                  <a:lnTo>
                    <a:pt x="590872" y="536076"/>
                  </a:lnTo>
                  <a:lnTo>
                    <a:pt x="590872" y="540842"/>
                  </a:lnTo>
                  <a:lnTo>
                    <a:pt x="595640" y="540842"/>
                  </a:lnTo>
                  <a:lnTo>
                    <a:pt x="600404" y="536076"/>
                  </a:lnTo>
                  <a:lnTo>
                    <a:pt x="605168" y="526546"/>
                  </a:lnTo>
                  <a:lnTo>
                    <a:pt x="605168" y="517016"/>
                  </a:lnTo>
                  <a:lnTo>
                    <a:pt x="600404" y="507486"/>
                  </a:lnTo>
                  <a:lnTo>
                    <a:pt x="600404" y="497956"/>
                  </a:lnTo>
                  <a:lnTo>
                    <a:pt x="600404" y="493190"/>
                  </a:lnTo>
                  <a:lnTo>
                    <a:pt x="614700" y="474130"/>
                  </a:lnTo>
                  <a:lnTo>
                    <a:pt x="628996" y="459834"/>
                  </a:lnTo>
                  <a:lnTo>
                    <a:pt x="633760" y="440774"/>
                  </a:lnTo>
                  <a:lnTo>
                    <a:pt x="638524" y="431244"/>
                  </a:lnTo>
                  <a:lnTo>
                    <a:pt x="652820" y="421712"/>
                  </a:lnTo>
                  <a:lnTo>
                    <a:pt x="657584" y="421712"/>
                  </a:lnTo>
                  <a:lnTo>
                    <a:pt x="662352" y="431244"/>
                  </a:lnTo>
                  <a:lnTo>
                    <a:pt x="662352" y="436008"/>
                  </a:lnTo>
                  <a:lnTo>
                    <a:pt x="657584" y="445538"/>
                  </a:lnTo>
                  <a:lnTo>
                    <a:pt x="652820" y="455068"/>
                  </a:lnTo>
                  <a:lnTo>
                    <a:pt x="652820" y="469364"/>
                  </a:lnTo>
                  <a:lnTo>
                    <a:pt x="657584" y="469364"/>
                  </a:lnTo>
                  <a:lnTo>
                    <a:pt x="667116" y="464600"/>
                  </a:lnTo>
                  <a:lnTo>
                    <a:pt x="676648" y="445538"/>
                  </a:lnTo>
                  <a:lnTo>
                    <a:pt x="690940" y="426478"/>
                  </a:lnTo>
                  <a:lnTo>
                    <a:pt x="695708" y="416948"/>
                  </a:lnTo>
                  <a:lnTo>
                    <a:pt x="705236" y="407418"/>
                  </a:lnTo>
                  <a:lnTo>
                    <a:pt x="719532" y="412182"/>
                  </a:lnTo>
                  <a:lnTo>
                    <a:pt x="733828" y="416948"/>
                  </a:lnTo>
                  <a:lnTo>
                    <a:pt x="710000" y="393122"/>
                  </a:lnTo>
                  <a:lnTo>
                    <a:pt x="705236" y="364532"/>
                  </a:lnTo>
                  <a:lnTo>
                    <a:pt x="733828" y="316880"/>
                  </a:lnTo>
                  <a:lnTo>
                    <a:pt x="733828" y="307350"/>
                  </a:lnTo>
                  <a:lnTo>
                    <a:pt x="738592" y="302584"/>
                  </a:lnTo>
                  <a:lnTo>
                    <a:pt x="738592" y="297820"/>
                  </a:lnTo>
                  <a:lnTo>
                    <a:pt x="724296" y="283524"/>
                  </a:lnTo>
                  <a:lnTo>
                    <a:pt x="724296" y="273994"/>
                  </a:lnTo>
                  <a:lnTo>
                    <a:pt x="724296" y="264464"/>
                  </a:lnTo>
                  <a:lnTo>
                    <a:pt x="733828" y="250168"/>
                  </a:lnTo>
                  <a:lnTo>
                    <a:pt x="738592" y="245404"/>
                  </a:lnTo>
                  <a:lnTo>
                    <a:pt x="748124" y="240638"/>
                  </a:lnTo>
                  <a:lnTo>
                    <a:pt x="752888" y="245404"/>
                  </a:lnTo>
                  <a:lnTo>
                    <a:pt x="771948" y="259698"/>
                  </a:lnTo>
                  <a:lnTo>
                    <a:pt x="781480" y="259698"/>
                  </a:lnTo>
                  <a:lnTo>
                    <a:pt x="791008" y="250168"/>
                  </a:lnTo>
                  <a:lnTo>
                    <a:pt x="805304" y="231108"/>
                  </a:lnTo>
                  <a:lnTo>
                    <a:pt x="819600" y="221578"/>
                  </a:lnTo>
                  <a:lnTo>
                    <a:pt x="838660" y="212048"/>
                  </a:lnTo>
                  <a:lnTo>
                    <a:pt x="867252" y="188222"/>
                  </a:lnTo>
                  <a:lnTo>
                    <a:pt x="881548" y="138188"/>
                  </a:lnTo>
                  <a:lnTo>
                    <a:pt x="886312" y="123892"/>
                  </a:lnTo>
                  <a:lnTo>
                    <a:pt x="881548" y="104832"/>
                  </a:lnTo>
                  <a:lnTo>
                    <a:pt x="872016" y="85772"/>
                  </a:lnTo>
                  <a:lnTo>
                    <a:pt x="862484" y="61946"/>
                  </a:lnTo>
                  <a:lnTo>
                    <a:pt x="867252" y="57180"/>
                  </a:lnTo>
                  <a:lnTo>
                    <a:pt x="881548" y="61946"/>
                  </a:lnTo>
                  <a:lnTo>
                    <a:pt x="886312" y="57180"/>
                  </a:lnTo>
                  <a:lnTo>
                    <a:pt x="900608" y="3812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56" name="Google Shape;4723;p64">
              <a:extLst>
                <a:ext uri="{FF2B5EF4-FFF2-40B4-BE49-F238E27FC236}">
                  <a16:creationId xmlns:a16="http://schemas.microsoft.com/office/drawing/2014/main" id="{CB1E6942-CED7-4527-A2AB-0EAF159AD852}"/>
                </a:ext>
              </a:extLst>
            </p:cNvPr>
            <p:cNvCxnSpPr/>
            <p:nvPr/>
          </p:nvCxnSpPr>
          <p:spPr>
            <a:xfrm>
              <a:off x="5590821" y="5259195"/>
              <a:ext cx="0" cy="0"/>
            </a:xfrm>
            <a:prstGeom prst="straightConnector1">
              <a:avLst/>
            </a:prstGeom>
            <a:grpFill/>
            <a:ln w="9525" cap="flat" cmpd="sng">
              <a:solidFill>
                <a:schemeClr val="bg2"/>
              </a:solidFill>
              <a:prstDash val="solid"/>
              <a:round/>
              <a:headEnd type="none" w="med" len="med"/>
              <a:tailEnd type="none" w="med" len="med"/>
            </a:ln>
          </p:spPr>
        </p:cxnSp>
        <p:cxnSp>
          <p:nvCxnSpPr>
            <p:cNvPr id="257" name="Google Shape;4724;p64">
              <a:extLst>
                <a:ext uri="{FF2B5EF4-FFF2-40B4-BE49-F238E27FC236}">
                  <a16:creationId xmlns:a16="http://schemas.microsoft.com/office/drawing/2014/main" id="{310E143F-EA91-BE98-806A-5E63C36BC648}"/>
                </a:ext>
              </a:extLst>
            </p:cNvPr>
            <p:cNvCxnSpPr/>
            <p:nvPr/>
          </p:nvCxnSpPr>
          <p:spPr>
            <a:xfrm>
              <a:off x="5590821" y="5259195"/>
              <a:ext cx="0" cy="0"/>
            </a:xfrm>
            <a:prstGeom prst="straightConnector1">
              <a:avLst/>
            </a:prstGeom>
            <a:grpFill/>
            <a:ln w="9525" cap="flat" cmpd="sng">
              <a:solidFill>
                <a:schemeClr val="bg2"/>
              </a:solidFill>
              <a:prstDash val="solid"/>
              <a:round/>
              <a:headEnd type="none" w="med" len="med"/>
              <a:tailEnd type="none" w="med" len="med"/>
            </a:ln>
          </p:spPr>
        </p:cxnSp>
        <p:sp>
          <p:nvSpPr>
            <p:cNvPr id="258" name="Google Shape;4725;p64">
              <a:extLst>
                <a:ext uri="{FF2B5EF4-FFF2-40B4-BE49-F238E27FC236}">
                  <a16:creationId xmlns:a16="http://schemas.microsoft.com/office/drawing/2014/main" id="{ED18C559-F04D-A817-1B8F-85AE1236E306}"/>
                </a:ext>
              </a:extLst>
            </p:cNvPr>
            <p:cNvSpPr/>
            <p:nvPr/>
          </p:nvSpPr>
          <p:spPr>
            <a:xfrm>
              <a:off x="1978137" y="4243876"/>
              <a:ext cx="681911" cy="429229"/>
            </a:xfrm>
            <a:custGeom>
              <a:avLst/>
              <a:gdLst/>
              <a:ahLst/>
              <a:cxnLst/>
              <a:rect l="l" t="t" r="r" b="b"/>
              <a:pathLst>
                <a:path w="4950967" h="3116392" extrusionOk="0">
                  <a:moveTo>
                    <a:pt x="4188547" y="2425452"/>
                  </a:moveTo>
                  <a:lnTo>
                    <a:pt x="4193312" y="2430216"/>
                  </a:lnTo>
                  <a:lnTo>
                    <a:pt x="4198077" y="2430216"/>
                  </a:lnTo>
                  <a:lnTo>
                    <a:pt x="4179017" y="2439744"/>
                  </a:lnTo>
                  <a:lnTo>
                    <a:pt x="4174252" y="2444512"/>
                  </a:lnTo>
                  <a:lnTo>
                    <a:pt x="4155191" y="2449276"/>
                  </a:lnTo>
                  <a:lnTo>
                    <a:pt x="4150426" y="2444512"/>
                  </a:lnTo>
                  <a:close/>
                  <a:moveTo>
                    <a:pt x="1157927" y="2411156"/>
                  </a:moveTo>
                  <a:lnTo>
                    <a:pt x="1162692" y="2425450"/>
                  </a:lnTo>
                  <a:lnTo>
                    <a:pt x="1167457" y="2434980"/>
                  </a:lnTo>
                  <a:lnTo>
                    <a:pt x="1157927" y="2434980"/>
                  </a:lnTo>
                  <a:lnTo>
                    <a:pt x="1143631" y="2425450"/>
                  </a:lnTo>
                  <a:lnTo>
                    <a:pt x="1148396" y="2420686"/>
                  </a:lnTo>
                  <a:close/>
                  <a:moveTo>
                    <a:pt x="4931907" y="2130012"/>
                  </a:moveTo>
                  <a:lnTo>
                    <a:pt x="4941437" y="2130012"/>
                  </a:lnTo>
                  <a:lnTo>
                    <a:pt x="4941437" y="2134776"/>
                  </a:lnTo>
                  <a:lnTo>
                    <a:pt x="4936672" y="2149072"/>
                  </a:lnTo>
                  <a:lnTo>
                    <a:pt x="4912846" y="2172896"/>
                  </a:lnTo>
                  <a:lnTo>
                    <a:pt x="4908081" y="2177664"/>
                  </a:lnTo>
                  <a:lnTo>
                    <a:pt x="4903316" y="2163368"/>
                  </a:lnTo>
                  <a:lnTo>
                    <a:pt x="4908081" y="2144308"/>
                  </a:lnTo>
                  <a:lnTo>
                    <a:pt x="4917611" y="2134776"/>
                  </a:lnTo>
                  <a:close/>
                  <a:moveTo>
                    <a:pt x="4941437" y="2010884"/>
                  </a:moveTo>
                  <a:lnTo>
                    <a:pt x="4946202" y="2010884"/>
                  </a:lnTo>
                  <a:lnTo>
                    <a:pt x="4950967" y="2020416"/>
                  </a:lnTo>
                  <a:lnTo>
                    <a:pt x="4950967" y="2025180"/>
                  </a:lnTo>
                  <a:lnTo>
                    <a:pt x="4946202" y="2020416"/>
                  </a:lnTo>
                  <a:close/>
                  <a:moveTo>
                    <a:pt x="1839339" y="1939408"/>
                  </a:moveTo>
                  <a:lnTo>
                    <a:pt x="1844104" y="1939408"/>
                  </a:lnTo>
                  <a:lnTo>
                    <a:pt x="1853635" y="1944174"/>
                  </a:lnTo>
                  <a:lnTo>
                    <a:pt x="1853635" y="1948938"/>
                  </a:lnTo>
                  <a:lnTo>
                    <a:pt x="1858400" y="1953704"/>
                  </a:lnTo>
                  <a:lnTo>
                    <a:pt x="1853635" y="1968000"/>
                  </a:lnTo>
                  <a:lnTo>
                    <a:pt x="1844104" y="1963234"/>
                  </a:lnTo>
                  <a:lnTo>
                    <a:pt x="1839339" y="1953704"/>
                  </a:lnTo>
                  <a:close/>
                  <a:moveTo>
                    <a:pt x="1329471" y="1491486"/>
                  </a:moveTo>
                  <a:lnTo>
                    <a:pt x="1343766" y="1520076"/>
                  </a:lnTo>
                  <a:lnTo>
                    <a:pt x="1343766" y="1524842"/>
                  </a:lnTo>
                  <a:lnTo>
                    <a:pt x="1339001" y="1524842"/>
                  </a:lnTo>
                  <a:lnTo>
                    <a:pt x="1329471" y="1515312"/>
                  </a:lnTo>
                  <a:lnTo>
                    <a:pt x="1329471" y="1496252"/>
                  </a:lnTo>
                  <a:close/>
                  <a:moveTo>
                    <a:pt x="995912" y="1458130"/>
                  </a:moveTo>
                  <a:lnTo>
                    <a:pt x="1010207" y="1458130"/>
                  </a:lnTo>
                  <a:lnTo>
                    <a:pt x="1024503" y="1458130"/>
                  </a:lnTo>
                  <a:lnTo>
                    <a:pt x="1048328" y="1481956"/>
                  </a:lnTo>
                  <a:lnTo>
                    <a:pt x="1043563" y="1491486"/>
                  </a:lnTo>
                  <a:close/>
                  <a:moveTo>
                    <a:pt x="1205577" y="1362828"/>
                  </a:moveTo>
                  <a:lnTo>
                    <a:pt x="1219873" y="1372358"/>
                  </a:lnTo>
                  <a:lnTo>
                    <a:pt x="1224638" y="1377122"/>
                  </a:lnTo>
                  <a:lnTo>
                    <a:pt x="1229403" y="1396184"/>
                  </a:lnTo>
                  <a:lnTo>
                    <a:pt x="1219873" y="1396184"/>
                  </a:lnTo>
                  <a:lnTo>
                    <a:pt x="1210342" y="1386652"/>
                  </a:lnTo>
                  <a:lnTo>
                    <a:pt x="1200812" y="1372358"/>
                  </a:lnTo>
                  <a:lnTo>
                    <a:pt x="1200812" y="1367592"/>
                  </a:lnTo>
                  <a:close/>
                  <a:moveTo>
                    <a:pt x="976852" y="1329472"/>
                  </a:moveTo>
                  <a:lnTo>
                    <a:pt x="981617" y="1339002"/>
                  </a:lnTo>
                  <a:lnTo>
                    <a:pt x="967321" y="1400948"/>
                  </a:lnTo>
                  <a:lnTo>
                    <a:pt x="967321" y="1405714"/>
                  </a:lnTo>
                  <a:lnTo>
                    <a:pt x="976852" y="1415244"/>
                  </a:lnTo>
                  <a:lnTo>
                    <a:pt x="981617" y="1424774"/>
                  </a:lnTo>
                  <a:lnTo>
                    <a:pt x="981617" y="1439070"/>
                  </a:lnTo>
                  <a:lnTo>
                    <a:pt x="991147" y="1453364"/>
                  </a:lnTo>
                  <a:lnTo>
                    <a:pt x="991147" y="1458130"/>
                  </a:lnTo>
                  <a:lnTo>
                    <a:pt x="986382" y="1458130"/>
                  </a:lnTo>
                  <a:lnTo>
                    <a:pt x="976852" y="1439070"/>
                  </a:lnTo>
                  <a:lnTo>
                    <a:pt x="972086" y="1424774"/>
                  </a:lnTo>
                  <a:lnTo>
                    <a:pt x="967321" y="1420010"/>
                  </a:lnTo>
                  <a:lnTo>
                    <a:pt x="953026" y="1415244"/>
                  </a:lnTo>
                  <a:lnTo>
                    <a:pt x="967321" y="1386654"/>
                  </a:lnTo>
                  <a:close/>
                  <a:moveTo>
                    <a:pt x="1143631" y="1191284"/>
                  </a:moveTo>
                  <a:lnTo>
                    <a:pt x="1138866" y="1200814"/>
                  </a:lnTo>
                  <a:lnTo>
                    <a:pt x="1143631" y="1210344"/>
                  </a:lnTo>
                  <a:lnTo>
                    <a:pt x="1134101" y="1205578"/>
                  </a:lnTo>
                  <a:lnTo>
                    <a:pt x="1124570" y="1234168"/>
                  </a:lnTo>
                  <a:lnTo>
                    <a:pt x="1119805" y="1234168"/>
                  </a:lnTo>
                  <a:lnTo>
                    <a:pt x="1129335" y="1200814"/>
                  </a:lnTo>
                  <a:lnTo>
                    <a:pt x="1134101" y="1196048"/>
                  </a:lnTo>
                  <a:close/>
                  <a:moveTo>
                    <a:pt x="495574" y="791012"/>
                  </a:moveTo>
                  <a:lnTo>
                    <a:pt x="500339" y="795778"/>
                  </a:lnTo>
                  <a:lnTo>
                    <a:pt x="509869" y="824368"/>
                  </a:lnTo>
                  <a:lnTo>
                    <a:pt x="505104" y="843428"/>
                  </a:lnTo>
                  <a:lnTo>
                    <a:pt x="500339" y="848194"/>
                  </a:lnTo>
                  <a:lnTo>
                    <a:pt x="476513" y="838664"/>
                  </a:lnTo>
                  <a:lnTo>
                    <a:pt x="490808" y="814838"/>
                  </a:lnTo>
                  <a:lnTo>
                    <a:pt x="490808" y="795778"/>
                  </a:lnTo>
                  <a:close/>
                  <a:moveTo>
                    <a:pt x="4765" y="643292"/>
                  </a:moveTo>
                  <a:lnTo>
                    <a:pt x="14296" y="643292"/>
                  </a:lnTo>
                  <a:lnTo>
                    <a:pt x="14296" y="652824"/>
                  </a:lnTo>
                  <a:lnTo>
                    <a:pt x="19061" y="662354"/>
                  </a:lnTo>
                  <a:lnTo>
                    <a:pt x="23826" y="671884"/>
                  </a:lnTo>
                  <a:lnTo>
                    <a:pt x="23826" y="686178"/>
                  </a:lnTo>
                  <a:lnTo>
                    <a:pt x="19061" y="695708"/>
                  </a:lnTo>
                  <a:lnTo>
                    <a:pt x="0" y="657588"/>
                  </a:lnTo>
                  <a:lnTo>
                    <a:pt x="0" y="648058"/>
                  </a:lnTo>
                  <a:close/>
                  <a:moveTo>
                    <a:pt x="957791" y="633764"/>
                  </a:moveTo>
                  <a:lnTo>
                    <a:pt x="957791" y="643294"/>
                  </a:lnTo>
                  <a:lnTo>
                    <a:pt x="962556" y="657588"/>
                  </a:lnTo>
                  <a:lnTo>
                    <a:pt x="967321" y="676648"/>
                  </a:lnTo>
                  <a:lnTo>
                    <a:pt x="957791" y="719536"/>
                  </a:lnTo>
                  <a:lnTo>
                    <a:pt x="943496" y="719536"/>
                  </a:lnTo>
                  <a:lnTo>
                    <a:pt x="919670" y="705240"/>
                  </a:lnTo>
                  <a:lnTo>
                    <a:pt x="914905" y="695710"/>
                  </a:lnTo>
                  <a:lnTo>
                    <a:pt x="924435" y="648058"/>
                  </a:lnTo>
                  <a:lnTo>
                    <a:pt x="933965" y="643294"/>
                  </a:lnTo>
                  <a:close/>
                  <a:moveTo>
                    <a:pt x="752890" y="576582"/>
                  </a:moveTo>
                  <a:lnTo>
                    <a:pt x="762420" y="576582"/>
                  </a:lnTo>
                  <a:lnTo>
                    <a:pt x="781481" y="590878"/>
                  </a:lnTo>
                  <a:lnTo>
                    <a:pt x="786246" y="605172"/>
                  </a:lnTo>
                  <a:lnTo>
                    <a:pt x="786246" y="619468"/>
                  </a:lnTo>
                  <a:lnTo>
                    <a:pt x="810072" y="624234"/>
                  </a:lnTo>
                  <a:lnTo>
                    <a:pt x="814837" y="652824"/>
                  </a:lnTo>
                  <a:lnTo>
                    <a:pt x="819602" y="667120"/>
                  </a:lnTo>
                  <a:lnTo>
                    <a:pt x="819602" y="671884"/>
                  </a:lnTo>
                  <a:lnTo>
                    <a:pt x="800541" y="662354"/>
                  </a:lnTo>
                  <a:lnTo>
                    <a:pt x="767185" y="624234"/>
                  </a:lnTo>
                  <a:lnTo>
                    <a:pt x="752890" y="605172"/>
                  </a:lnTo>
                  <a:lnTo>
                    <a:pt x="752890" y="595642"/>
                  </a:lnTo>
                  <a:close/>
                  <a:moveTo>
                    <a:pt x="567050" y="171546"/>
                  </a:moveTo>
                  <a:lnTo>
                    <a:pt x="576581" y="181076"/>
                  </a:lnTo>
                  <a:lnTo>
                    <a:pt x="581346" y="185842"/>
                  </a:lnTo>
                  <a:lnTo>
                    <a:pt x="576581" y="190608"/>
                  </a:lnTo>
                  <a:lnTo>
                    <a:pt x="571816" y="190608"/>
                  </a:lnTo>
                  <a:lnTo>
                    <a:pt x="562285" y="181076"/>
                  </a:lnTo>
                  <a:close/>
                  <a:moveTo>
                    <a:pt x="576581" y="0"/>
                  </a:moveTo>
                  <a:lnTo>
                    <a:pt x="567051" y="28592"/>
                  </a:lnTo>
                  <a:lnTo>
                    <a:pt x="557521" y="38120"/>
                  </a:lnTo>
                  <a:lnTo>
                    <a:pt x="705240" y="95304"/>
                  </a:lnTo>
                  <a:lnTo>
                    <a:pt x="781482" y="123892"/>
                  </a:lnTo>
                  <a:lnTo>
                    <a:pt x="852958" y="147720"/>
                  </a:lnTo>
                  <a:lnTo>
                    <a:pt x="929200" y="176308"/>
                  </a:lnTo>
                  <a:lnTo>
                    <a:pt x="1000677" y="204900"/>
                  </a:lnTo>
                  <a:lnTo>
                    <a:pt x="1076920" y="233492"/>
                  </a:lnTo>
                  <a:lnTo>
                    <a:pt x="1148396" y="257316"/>
                  </a:lnTo>
                  <a:lnTo>
                    <a:pt x="1315176" y="257316"/>
                  </a:lnTo>
                  <a:lnTo>
                    <a:pt x="1372357" y="257316"/>
                  </a:lnTo>
                  <a:lnTo>
                    <a:pt x="1591553" y="257316"/>
                  </a:lnTo>
                  <a:lnTo>
                    <a:pt x="1591553" y="238256"/>
                  </a:lnTo>
                  <a:lnTo>
                    <a:pt x="1591553" y="176308"/>
                  </a:lnTo>
                  <a:lnTo>
                    <a:pt x="1658265" y="176308"/>
                  </a:lnTo>
                  <a:lnTo>
                    <a:pt x="1696386" y="176308"/>
                  </a:lnTo>
                  <a:lnTo>
                    <a:pt x="1763098" y="176308"/>
                  </a:lnTo>
                  <a:lnTo>
                    <a:pt x="1796454" y="176308"/>
                  </a:lnTo>
                  <a:lnTo>
                    <a:pt x="1867931" y="176308"/>
                  </a:lnTo>
                  <a:lnTo>
                    <a:pt x="1882226" y="195372"/>
                  </a:lnTo>
                  <a:lnTo>
                    <a:pt x="1896522" y="219196"/>
                  </a:lnTo>
                  <a:lnTo>
                    <a:pt x="1915582" y="233492"/>
                  </a:lnTo>
                  <a:lnTo>
                    <a:pt x="1934642" y="243020"/>
                  </a:lnTo>
                  <a:lnTo>
                    <a:pt x="1967998" y="271612"/>
                  </a:lnTo>
                  <a:lnTo>
                    <a:pt x="2015650" y="319264"/>
                  </a:lnTo>
                  <a:lnTo>
                    <a:pt x="2049006" y="352620"/>
                  </a:lnTo>
                  <a:lnTo>
                    <a:pt x="2077596" y="366916"/>
                  </a:lnTo>
                  <a:lnTo>
                    <a:pt x="2096657" y="381212"/>
                  </a:lnTo>
                  <a:lnTo>
                    <a:pt x="2106187" y="390740"/>
                  </a:lnTo>
                  <a:lnTo>
                    <a:pt x="2120482" y="419332"/>
                  </a:lnTo>
                  <a:lnTo>
                    <a:pt x="2144308" y="476512"/>
                  </a:lnTo>
                  <a:lnTo>
                    <a:pt x="2144308" y="500340"/>
                  </a:lnTo>
                  <a:lnTo>
                    <a:pt x="2153838" y="524164"/>
                  </a:lnTo>
                  <a:lnTo>
                    <a:pt x="2172899" y="557520"/>
                  </a:lnTo>
                  <a:lnTo>
                    <a:pt x="2187194" y="576580"/>
                  </a:lnTo>
                  <a:lnTo>
                    <a:pt x="2201490" y="581344"/>
                  </a:lnTo>
                  <a:lnTo>
                    <a:pt x="2215785" y="590876"/>
                  </a:lnTo>
                  <a:lnTo>
                    <a:pt x="2230080" y="609936"/>
                  </a:lnTo>
                  <a:lnTo>
                    <a:pt x="2249141" y="619468"/>
                  </a:lnTo>
                  <a:lnTo>
                    <a:pt x="2272966" y="624232"/>
                  </a:lnTo>
                  <a:lnTo>
                    <a:pt x="2301557" y="643292"/>
                  </a:lnTo>
                  <a:lnTo>
                    <a:pt x="2339678" y="667116"/>
                  </a:lnTo>
                  <a:lnTo>
                    <a:pt x="2363504" y="676648"/>
                  </a:lnTo>
                  <a:lnTo>
                    <a:pt x="2377799" y="676648"/>
                  </a:lnTo>
                  <a:lnTo>
                    <a:pt x="2392095" y="671884"/>
                  </a:lnTo>
                  <a:lnTo>
                    <a:pt x="2401625" y="652824"/>
                  </a:lnTo>
                  <a:lnTo>
                    <a:pt x="2411155" y="643292"/>
                  </a:lnTo>
                  <a:lnTo>
                    <a:pt x="2420686" y="638528"/>
                  </a:lnTo>
                  <a:lnTo>
                    <a:pt x="2425450" y="633760"/>
                  </a:lnTo>
                  <a:lnTo>
                    <a:pt x="2425450" y="624232"/>
                  </a:lnTo>
                  <a:lnTo>
                    <a:pt x="2430216" y="600408"/>
                  </a:lnTo>
                  <a:lnTo>
                    <a:pt x="2449276" y="562284"/>
                  </a:lnTo>
                  <a:lnTo>
                    <a:pt x="2468337" y="543224"/>
                  </a:lnTo>
                  <a:lnTo>
                    <a:pt x="2487397" y="538460"/>
                  </a:lnTo>
                  <a:lnTo>
                    <a:pt x="2501693" y="533696"/>
                  </a:lnTo>
                  <a:lnTo>
                    <a:pt x="2506458" y="524164"/>
                  </a:lnTo>
                  <a:lnTo>
                    <a:pt x="2520753" y="524164"/>
                  </a:lnTo>
                  <a:lnTo>
                    <a:pt x="2535048" y="528928"/>
                  </a:lnTo>
                  <a:lnTo>
                    <a:pt x="2563639" y="533696"/>
                  </a:lnTo>
                  <a:lnTo>
                    <a:pt x="2601760" y="538460"/>
                  </a:lnTo>
                  <a:lnTo>
                    <a:pt x="2620821" y="538460"/>
                  </a:lnTo>
                  <a:lnTo>
                    <a:pt x="2630351" y="533696"/>
                  </a:lnTo>
                  <a:lnTo>
                    <a:pt x="2635116" y="538460"/>
                  </a:lnTo>
                  <a:lnTo>
                    <a:pt x="2639881" y="538460"/>
                  </a:lnTo>
                  <a:lnTo>
                    <a:pt x="2649412" y="538460"/>
                  </a:lnTo>
                  <a:lnTo>
                    <a:pt x="2658942" y="543224"/>
                  </a:lnTo>
                  <a:lnTo>
                    <a:pt x="2668472" y="562284"/>
                  </a:lnTo>
                  <a:lnTo>
                    <a:pt x="2711358" y="595640"/>
                  </a:lnTo>
                  <a:lnTo>
                    <a:pt x="2716124" y="605172"/>
                  </a:lnTo>
                  <a:lnTo>
                    <a:pt x="2730419" y="624232"/>
                  </a:lnTo>
                  <a:lnTo>
                    <a:pt x="2759010" y="643292"/>
                  </a:lnTo>
                  <a:lnTo>
                    <a:pt x="2773305" y="667116"/>
                  </a:lnTo>
                  <a:lnTo>
                    <a:pt x="2773305" y="681412"/>
                  </a:lnTo>
                  <a:lnTo>
                    <a:pt x="2787600" y="710004"/>
                  </a:lnTo>
                  <a:lnTo>
                    <a:pt x="2811426" y="748124"/>
                  </a:lnTo>
                  <a:lnTo>
                    <a:pt x="2820956" y="767184"/>
                  </a:lnTo>
                  <a:lnTo>
                    <a:pt x="2820956" y="781480"/>
                  </a:lnTo>
                  <a:lnTo>
                    <a:pt x="2825721" y="795776"/>
                  </a:lnTo>
                  <a:lnTo>
                    <a:pt x="2840017" y="814836"/>
                  </a:lnTo>
                  <a:lnTo>
                    <a:pt x="2859077" y="824368"/>
                  </a:lnTo>
                  <a:lnTo>
                    <a:pt x="2873372" y="848192"/>
                  </a:lnTo>
                  <a:lnTo>
                    <a:pt x="2892433" y="881548"/>
                  </a:lnTo>
                  <a:lnTo>
                    <a:pt x="2911494" y="905376"/>
                  </a:lnTo>
                  <a:lnTo>
                    <a:pt x="2935319" y="919668"/>
                  </a:lnTo>
                  <a:lnTo>
                    <a:pt x="2949615" y="933964"/>
                  </a:lnTo>
                  <a:lnTo>
                    <a:pt x="2954380" y="948260"/>
                  </a:lnTo>
                  <a:lnTo>
                    <a:pt x="2954380" y="962556"/>
                  </a:lnTo>
                  <a:lnTo>
                    <a:pt x="2949615" y="972084"/>
                  </a:lnTo>
                  <a:lnTo>
                    <a:pt x="2954380" y="981616"/>
                  </a:lnTo>
                  <a:lnTo>
                    <a:pt x="2959145" y="991148"/>
                  </a:lnTo>
                  <a:lnTo>
                    <a:pt x="2963910" y="1000676"/>
                  </a:lnTo>
                  <a:lnTo>
                    <a:pt x="2959145" y="1019736"/>
                  </a:lnTo>
                  <a:lnTo>
                    <a:pt x="2959145" y="1024504"/>
                  </a:lnTo>
                  <a:lnTo>
                    <a:pt x="2982970" y="1053092"/>
                  </a:lnTo>
                  <a:lnTo>
                    <a:pt x="2992501" y="1072152"/>
                  </a:lnTo>
                  <a:lnTo>
                    <a:pt x="3002031" y="1110276"/>
                  </a:lnTo>
                  <a:lnTo>
                    <a:pt x="3011561" y="1129336"/>
                  </a:lnTo>
                  <a:lnTo>
                    <a:pt x="3030622" y="1138864"/>
                  </a:lnTo>
                  <a:lnTo>
                    <a:pt x="3049682" y="1138864"/>
                  </a:lnTo>
                  <a:lnTo>
                    <a:pt x="3068743" y="1148396"/>
                  </a:lnTo>
                  <a:lnTo>
                    <a:pt x="3078273" y="1157924"/>
                  </a:lnTo>
                  <a:lnTo>
                    <a:pt x="3092568" y="1162692"/>
                  </a:lnTo>
                  <a:lnTo>
                    <a:pt x="3111629" y="1167456"/>
                  </a:lnTo>
                  <a:lnTo>
                    <a:pt x="3125924" y="1176988"/>
                  </a:lnTo>
                  <a:lnTo>
                    <a:pt x="3144985" y="1186516"/>
                  </a:lnTo>
                  <a:lnTo>
                    <a:pt x="3173576" y="1196048"/>
                  </a:lnTo>
                  <a:lnTo>
                    <a:pt x="3216462" y="1200812"/>
                  </a:lnTo>
                  <a:lnTo>
                    <a:pt x="3249818" y="1210344"/>
                  </a:lnTo>
                  <a:lnTo>
                    <a:pt x="3273643" y="1224636"/>
                  </a:lnTo>
                  <a:lnTo>
                    <a:pt x="3283174" y="1229404"/>
                  </a:lnTo>
                  <a:lnTo>
                    <a:pt x="3287939" y="1229404"/>
                  </a:lnTo>
                  <a:lnTo>
                    <a:pt x="3287939" y="1224636"/>
                  </a:lnTo>
                  <a:lnTo>
                    <a:pt x="3287939" y="1219872"/>
                  </a:lnTo>
                  <a:lnTo>
                    <a:pt x="3297469" y="1215108"/>
                  </a:lnTo>
                  <a:lnTo>
                    <a:pt x="3321294" y="1215108"/>
                  </a:lnTo>
                  <a:lnTo>
                    <a:pt x="3316530" y="1248464"/>
                  </a:lnTo>
                  <a:lnTo>
                    <a:pt x="3306999" y="1277056"/>
                  </a:lnTo>
                  <a:lnTo>
                    <a:pt x="3278408" y="1339000"/>
                  </a:lnTo>
                  <a:lnTo>
                    <a:pt x="3264113" y="1377120"/>
                  </a:lnTo>
                  <a:lnTo>
                    <a:pt x="3240288" y="1486720"/>
                  </a:lnTo>
                  <a:lnTo>
                    <a:pt x="3230757" y="1553432"/>
                  </a:lnTo>
                  <a:lnTo>
                    <a:pt x="3230757" y="1586788"/>
                  </a:lnTo>
                  <a:lnTo>
                    <a:pt x="3225992" y="1591552"/>
                  </a:lnTo>
                  <a:lnTo>
                    <a:pt x="3230757" y="1596316"/>
                  </a:lnTo>
                  <a:lnTo>
                    <a:pt x="3221227" y="1667796"/>
                  </a:lnTo>
                  <a:lnTo>
                    <a:pt x="3225992" y="1729740"/>
                  </a:lnTo>
                  <a:lnTo>
                    <a:pt x="3225992" y="1739272"/>
                  </a:lnTo>
                  <a:lnTo>
                    <a:pt x="3216462" y="1758332"/>
                  </a:lnTo>
                  <a:lnTo>
                    <a:pt x="3206932" y="1786924"/>
                  </a:lnTo>
                  <a:lnTo>
                    <a:pt x="3211697" y="1796452"/>
                  </a:lnTo>
                  <a:lnTo>
                    <a:pt x="3211697" y="1805984"/>
                  </a:lnTo>
                  <a:lnTo>
                    <a:pt x="3221227" y="1844104"/>
                  </a:lnTo>
                  <a:lnTo>
                    <a:pt x="3221227" y="1872696"/>
                  </a:lnTo>
                  <a:lnTo>
                    <a:pt x="3249818" y="1920348"/>
                  </a:lnTo>
                  <a:lnTo>
                    <a:pt x="3268878" y="1939408"/>
                  </a:lnTo>
                  <a:lnTo>
                    <a:pt x="3287939" y="1953704"/>
                  </a:lnTo>
                  <a:lnTo>
                    <a:pt x="3292704" y="1963232"/>
                  </a:lnTo>
                  <a:lnTo>
                    <a:pt x="3287939" y="1987056"/>
                  </a:lnTo>
                  <a:lnTo>
                    <a:pt x="3283174" y="1996588"/>
                  </a:lnTo>
                  <a:lnTo>
                    <a:pt x="3278408" y="2010884"/>
                  </a:lnTo>
                  <a:lnTo>
                    <a:pt x="3273643" y="1996588"/>
                  </a:lnTo>
                  <a:lnTo>
                    <a:pt x="3278408" y="1982292"/>
                  </a:lnTo>
                  <a:lnTo>
                    <a:pt x="3283174" y="1972764"/>
                  </a:lnTo>
                  <a:lnTo>
                    <a:pt x="3283174" y="1963232"/>
                  </a:lnTo>
                  <a:lnTo>
                    <a:pt x="3273643" y="1953704"/>
                  </a:lnTo>
                  <a:lnTo>
                    <a:pt x="3249818" y="1929876"/>
                  </a:lnTo>
                  <a:lnTo>
                    <a:pt x="3225992" y="1886992"/>
                  </a:lnTo>
                  <a:lnTo>
                    <a:pt x="3245052" y="1958468"/>
                  </a:lnTo>
                  <a:lnTo>
                    <a:pt x="3249818" y="1967996"/>
                  </a:lnTo>
                  <a:lnTo>
                    <a:pt x="3254583" y="1972764"/>
                  </a:lnTo>
                  <a:lnTo>
                    <a:pt x="3264113" y="1977528"/>
                  </a:lnTo>
                  <a:lnTo>
                    <a:pt x="3264113" y="1987056"/>
                  </a:lnTo>
                  <a:lnTo>
                    <a:pt x="3264113" y="1991824"/>
                  </a:lnTo>
                  <a:lnTo>
                    <a:pt x="3287939" y="2039476"/>
                  </a:lnTo>
                  <a:lnTo>
                    <a:pt x="3311764" y="2091892"/>
                  </a:lnTo>
                  <a:lnTo>
                    <a:pt x="3311764" y="2106188"/>
                  </a:lnTo>
                  <a:lnTo>
                    <a:pt x="3326060" y="2120480"/>
                  </a:lnTo>
                  <a:lnTo>
                    <a:pt x="3388006" y="2191960"/>
                  </a:lnTo>
                  <a:lnTo>
                    <a:pt x="3426128" y="2249140"/>
                  </a:lnTo>
                  <a:lnTo>
                    <a:pt x="3440423" y="2296792"/>
                  </a:lnTo>
                  <a:lnTo>
                    <a:pt x="3449953" y="2311088"/>
                  </a:lnTo>
                  <a:lnTo>
                    <a:pt x="3454718" y="2334912"/>
                  </a:lnTo>
                  <a:lnTo>
                    <a:pt x="3478544" y="2358736"/>
                  </a:lnTo>
                  <a:lnTo>
                    <a:pt x="3488074" y="2373032"/>
                  </a:lnTo>
                  <a:lnTo>
                    <a:pt x="3502370" y="2382564"/>
                  </a:lnTo>
                  <a:lnTo>
                    <a:pt x="3511900" y="2406388"/>
                  </a:lnTo>
                  <a:lnTo>
                    <a:pt x="3535725" y="2425448"/>
                  </a:lnTo>
                  <a:lnTo>
                    <a:pt x="3530960" y="2425448"/>
                  </a:lnTo>
                  <a:lnTo>
                    <a:pt x="3511900" y="2415920"/>
                  </a:lnTo>
                  <a:lnTo>
                    <a:pt x="3511900" y="2420684"/>
                  </a:lnTo>
                  <a:lnTo>
                    <a:pt x="3526195" y="2430216"/>
                  </a:lnTo>
                  <a:lnTo>
                    <a:pt x="3559551" y="2439744"/>
                  </a:lnTo>
                  <a:lnTo>
                    <a:pt x="3564316" y="2439744"/>
                  </a:lnTo>
                  <a:lnTo>
                    <a:pt x="3554786" y="2434980"/>
                  </a:lnTo>
                  <a:lnTo>
                    <a:pt x="3545256" y="2430216"/>
                  </a:lnTo>
                  <a:lnTo>
                    <a:pt x="3569081" y="2434980"/>
                  </a:lnTo>
                  <a:lnTo>
                    <a:pt x="3626263" y="2439744"/>
                  </a:lnTo>
                  <a:lnTo>
                    <a:pt x="3654854" y="2463572"/>
                  </a:lnTo>
                  <a:lnTo>
                    <a:pt x="3688210" y="2473100"/>
                  </a:lnTo>
                  <a:lnTo>
                    <a:pt x="3707270" y="2496928"/>
                  </a:lnTo>
                  <a:lnTo>
                    <a:pt x="3726330" y="2525516"/>
                  </a:lnTo>
                  <a:lnTo>
                    <a:pt x="3740626" y="2530284"/>
                  </a:lnTo>
                  <a:lnTo>
                    <a:pt x="3750156" y="2530284"/>
                  </a:lnTo>
                  <a:lnTo>
                    <a:pt x="3783512" y="2525516"/>
                  </a:lnTo>
                  <a:lnTo>
                    <a:pt x="3831163" y="2506456"/>
                  </a:lnTo>
                  <a:lnTo>
                    <a:pt x="3850224" y="2496928"/>
                  </a:lnTo>
                  <a:lnTo>
                    <a:pt x="3883580" y="2482632"/>
                  </a:lnTo>
                  <a:lnTo>
                    <a:pt x="3931231" y="2482632"/>
                  </a:lnTo>
                  <a:lnTo>
                    <a:pt x="3950292" y="2487396"/>
                  </a:lnTo>
                  <a:lnTo>
                    <a:pt x="3983647" y="2477868"/>
                  </a:lnTo>
                  <a:lnTo>
                    <a:pt x="4002708" y="2468336"/>
                  </a:lnTo>
                  <a:lnTo>
                    <a:pt x="4012238" y="2463572"/>
                  </a:lnTo>
                  <a:lnTo>
                    <a:pt x="4012238" y="2454040"/>
                  </a:lnTo>
                  <a:lnTo>
                    <a:pt x="4050359" y="2444512"/>
                  </a:lnTo>
                  <a:lnTo>
                    <a:pt x="4055124" y="2444512"/>
                  </a:lnTo>
                  <a:lnTo>
                    <a:pt x="4088480" y="2444512"/>
                  </a:lnTo>
                  <a:lnTo>
                    <a:pt x="4107541" y="2439744"/>
                  </a:lnTo>
                  <a:lnTo>
                    <a:pt x="4126601" y="2439744"/>
                  </a:lnTo>
                  <a:lnTo>
                    <a:pt x="4140896" y="2449276"/>
                  </a:lnTo>
                  <a:lnTo>
                    <a:pt x="4140896" y="2458804"/>
                  </a:lnTo>
                  <a:lnTo>
                    <a:pt x="4131366" y="2463572"/>
                  </a:lnTo>
                  <a:lnTo>
                    <a:pt x="4136132" y="2468336"/>
                  </a:lnTo>
                  <a:lnTo>
                    <a:pt x="4155192" y="2477868"/>
                  </a:lnTo>
                  <a:lnTo>
                    <a:pt x="4188548" y="2482632"/>
                  </a:lnTo>
                  <a:lnTo>
                    <a:pt x="4198078" y="2482632"/>
                  </a:lnTo>
                  <a:lnTo>
                    <a:pt x="4212374" y="2468336"/>
                  </a:lnTo>
                  <a:lnTo>
                    <a:pt x="4236199" y="2454040"/>
                  </a:lnTo>
                  <a:lnTo>
                    <a:pt x="4236199" y="2434980"/>
                  </a:lnTo>
                  <a:lnTo>
                    <a:pt x="4231434" y="2430216"/>
                  </a:lnTo>
                  <a:lnTo>
                    <a:pt x="4226669" y="2425448"/>
                  </a:lnTo>
                  <a:lnTo>
                    <a:pt x="4221904" y="2420684"/>
                  </a:lnTo>
                  <a:lnTo>
                    <a:pt x="4226669" y="2411156"/>
                  </a:lnTo>
                  <a:lnTo>
                    <a:pt x="4226669" y="2406388"/>
                  </a:lnTo>
                  <a:lnTo>
                    <a:pt x="4212374" y="2415920"/>
                  </a:lnTo>
                  <a:lnTo>
                    <a:pt x="4207608" y="2415920"/>
                  </a:lnTo>
                  <a:lnTo>
                    <a:pt x="4207608" y="2411156"/>
                  </a:lnTo>
                  <a:lnTo>
                    <a:pt x="4212374" y="2411156"/>
                  </a:lnTo>
                  <a:lnTo>
                    <a:pt x="4260025" y="2382564"/>
                  </a:lnTo>
                  <a:lnTo>
                    <a:pt x="4269555" y="2373032"/>
                  </a:lnTo>
                  <a:lnTo>
                    <a:pt x="4288616" y="2368268"/>
                  </a:lnTo>
                  <a:lnTo>
                    <a:pt x="4321972" y="2330148"/>
                  </a:lnTo>
                  <a:lnTo>
                    <a:pt x="4326736" y="2268200"/>
                  </a:lnTo>
                  <a:lnTo>
                    <a:pt x="4336267" y="2258672"/>
                  </a:lnTo>
                  <a:lnTo>
                    <a:pt x="4355327" y="2239608"/>
                  </a:lnTo>
                  <a:lnTo>
                    <a:pt x="4360092" y="2234844"/>
                  </a:lnTo>
                  <a:lnTo>
                    <a:pt x="4360092" y="2220548"/>
                  </a:lnTo>
                  <a:lnTo>
                    <a:pt x="4360092" y="2187192"/>
                  </a:lnTo>
                  <a:lnTo>
                    <a:pt x="4360092" y="2163368"/>
                  </a:lnTo>
                  <a:lnTo>
                    <a:pt x="4360092" y="2134776"/>
                  </a:lnTo>
                  <a:lnTo>
                    <a:pt x="4364858" y="2106188"/>
                  </a:lnTo>
                  <a:lnTo>
                    <a:pt x="4369623" y="2096656"/>
                  </a:lnTo>
                  <a:lnTo>
                    <a:pt x="4379153" y="2058536"/>
                  </a:lnTo>
                  <a:lnTo>
                    <a:pt x="4407744" y="2039476"/>
                  </a:lnTo>
                  <a:lnTo>
                    <a:pt x="4455395" y="2015648"/>
                  </a:lnTo>
                  <a:lnTo>
                    <a:pt x="4464925" y="2010884"/>
                  </a:lnTo>
                  <a:lnTo>
                    <a:pt x="4612644" y="1987056"/>
                  </a:lnTo>
                  <a:lnTo>
                    <a:pt x="4631704" y="1982292"/>
                  </a:lnTo>
                  <a:lnTo>
                    <a:pt x="4655530" y="1967996"/>
                  </a:lnTo>
                  <a:lnTo>
                    <a:pt x="4674591" y="1963232"/>
                  </a:lnTo>
                  <a:lnTo>
                    <a:pt x="4707946" y="1963232"/>
                  </a:lnTo>
                  <a:lnTo>
                    <a:pt x="4717477" y="1963232"/>
                  </a:lnTo>
                  <a:lnTo>
                    <a:pt x="4722242" y="1958468"/>
                  </a:lnTo>
                  <a:lnTo>
                    <a:pt x="4727008" y="1953704"/>
                  </a:lnTo>
                  <a:lnTo>
                    <a:pt x="4746068" y="1958468"/>
                  </a:lnTo>
                  <a:lnTo>
                    <a:pt x="4784189" y="1967996"/>
                  </a:lnTo>
                  <a:lnTo>
                    <a:pt x="4798484" y="1967996"/>
                  </a:lnTo>
                  <a:lnTo>
                    <a:pt x="4831840" y="1977528"/>
                  </a:lnTo>
                  <a:lnTo>
                    <a:pt x="4865196" y="1982292"/>
                  </a:lnTo>
                  <a:lnTo>
                    <a:pt x="4869961" y="1982292"/>
                  </a:lnTo>
                  <a:lnTo>
                    <a:pt x="4874726" y="1977528"/>
                  </a:lnTo>
                  <a:lnTo>
                    <a:pt x="4879492" y="1972764"/>
                  </a:lnTo>
                  <a:lnTo>
                    <a:pt x="4874726" y="1967996"/>
                  </a:lnTo>
                  <a:lnTo>
                    <a:pt x="4869961" y="1967996"/>
                  </a:lnTo>
                  <a:lnTo>
                    <a:pt x="4865196" y="1972764"/>
                  </a:lnTo>
                  <a:lnTo>
                    <a:pt x="4860431" y="1972764"/>
                  </a:lnTo>
                  <a:lnTo>
                    <a:pt x="4846136" y="1967996"/>
                  </a:lnTo>
                  <a:lnTo>
                    <a:pt x="4846136" y="1963232"/>
                  </a:lnTo>
                  <a:lnTo>
                    <a:pt x="4860431" y="1963232"/>
                  </a:lnTo>
                  <a:lnTo>
                    <a:pt x="4869961" y="1958468"/>
                  </a:lnTo>
                  <a:lnTo>
                    <a:pt x="4884256" y="1953704"/>
                  </a:lnTo>
                  <a:lnTo>
                    <a:pt x="4898552" y="1958468"/>
                  </a:lnTo>
                  <a:lnTo>
                    <a:pt x="4917612" y="1982292"/>
                  </a:lnTo>
                  <a:lnTo>
                    <a:pt x="4931908" y="1987056"/>
                  </a:lnTo>
                  <a:lnTo>
                    <a:pt x="4931908" y="2020412"/>
                  </a:lnTo>
                  <a:lnTo>
                    <a:pt x="4936673" y="2025180"/>
                  </a:lnTo>
                  <a:lnTo>
                    <a:pt x="4941438" y="2034708"/>
                  </a:lnTo>
                  <a:lnTo>
                    <a:pt x="4931908" y="2058536"/>
                  </a:lnTo>
                  <a:lnTo>
                    <a:pt x="4927142" y="2077596"/>
                  </a:lnTo>
                  <a:lnTo>
                    <a:pt x="4917612" y="2091892"/>
                  </a:lnTo>
                  <a:lnTo>
                    <a:pt x="4893786" y="2120480"/>
                  </a:lnTo>
                  <a:lnTo>
                    <a:pt x="4869961" y="2139544"/>
                  </a:lnTo>
                  <a:lnTo>
                    <a:pt x="4836605" y="2187192"/>
                  </a:lnTo>
                  <a:lnTo>
                    <a:pt x="4831840" y="2206252"/>
                  </a:lnTo>
                  <a:lnTo>
                    <a:pt x="4831840" y="2225316"/>
                  </a:lnTo>
                  <a:lnTo>
                    <a:pt x="4836605" y="2244376"/>
                  </a:lnTo>
                  <a:lnTo>
                    <a:pt x="4836605" y="2249140"/>
                  </a:lnTo>
                  <a:lnTo>
                    <a:pt x="4831840" y="2253904"/>
                  </a:lnTo>
                  <a:lnTo>
                    <a:pt x="4827075" y="2253904"/>
                  </a:lnTo>
                  <a:lnTo>
                    <a:pt x="4812780" y="2263436"/>
                  </a:lnTo>
                  <a:lnTo>
                    <a:pt x="4798484" y="2287260"/>
                  </a:lnTo>
                  <a:lnTo>
                    <a:pt x="4798484" y="2292028"/>
                  </a:lnTo>
                  <a:lnTo>
                    <a:pt x="4803250" y="2296792"/>
                  </a:lnTo>
                  <a:lnTo>
                    <a:pt x="4812780" y="2296792"/>
                  </a:lnTo>
                  <a:lnTo>
                    <a:pt x="4822310" y="2296792"/>
                  </a:lnTo>
                  <a:lnTo>
                    <a:pt x="4831840" y="2292028"/>
                  </a:lnTo>
                  <a:lnTo>
                    <a:pt x="4836605" y="2292028"/>
                  </a:lnTo>
                  <a:lnTo>
                    <a:pt x="4836605" y="2306320"/>
                  </a:lnTo>
                  <a:lnTo>
                    <a:pt x="4831840" y="2315852"/>
                  </a:lnTo>
                  <a:lnTo>
                    <a:pt x="4822310" y="2320616"/>
                  </a:lnTo>
                  <a:lnTo>
                    <a:pt x="4817544" y="2320616"/>
                  </a:lnTo>
                  <a:lnTo>
                    <a:pt x="4808014" y="2325384"/>
                  </a:lnTo>
                  <a:lnTo>
                    <a:pt x="4803250" y="2330148"/>
                  </a:lnTo>
                  <a:lnTo>
                    <a:pt x="4803250" y="2349208"/>
                  </a:lnTo>
                  <a:lnTo>
                    <a:pt x="4808014" y="2349208"/>
                  </a:lnTo>
                  <a:lnTo>
                    <a:pt x="4817544" y="2339676"/>
                  </a:lnTo>
                  <a:lnTo>
                    <a:pt x="4827075" y="2339676"/>
                  </a:lnTo>
                  <a:lnTo>
                    <a:pt x="4827075" y="2344444"/>
                  </a:lnTo>
                  <a:lnTo>
                    <a:pt x="4812780" y="2382564"/>
                  </a:lnTo>
                  <a:lnTo>
                    <a:pt x="4803250" y="2425448"/>
                  </a:lnTo>
                  <a:lnTo>
                    <a:pt x="4788954" y="2449276"/>
                  </a:lnTo>
                  <a:lnTo>
                    <a:pt x="4784189" y="2482632"/>
                  </a:lnTo>
                  <a:lnTo>
                    <a:pt x="4779424" y="2496928"/>
                  </a:lnTo>
                  <a:lnTo>
                    <a:pt x="4769894" y="2511224"/>
                  </a:lnTo>
                  <a:lnTo>
                    <a:pt x="4765128" y="2511224"/>
                  </a:lnTo>
                  <a:lnTo>
                    <a:pt x="4755598" y="2482632"/>
                  </a:lnTo>
                  <a:lnTo>
                    <a:pt x="4741302" y="2477868"/>
                  </a:lnTo>
                  <a:lnTo>
                    <a:pt x="4741302" y="2468336"/>
                  </a:lnTo>
                  <a:lnTo>
                    <a:pt x="4746068" y="2434980"/>
                  </a:lnTo>
                  <a:lnTo>
                    <a:pt x="4741302" y="2415920"/>
                  </a:lnTo>
                  <a:lnTo>
                    <a:pt x="4736538" y="2415920"/>
                  </a:lnTo>
                  <a:lnTo>
                    <a:pt x="4727008" y="2430216"/>
                  </a:lnTo>
                  <a:lnTo>
                    <a:pt x="4717477" y="2434980"/>
                  </a:lnTo>
                  <a:lnTo>
                    <a:pt x="4717477" y="2449276"/>
                  </a:lnTo>
                  <a:lnTo>
                    <a:pt x="4703182" y="2473100"/>
                  </a:lnTo>
                  <a:lnTo>
                    <a:pt x="4703182" y="2477868"/>
                  </a:lnTo>
                  <a:lnTo>
                    <a:pt x="4688886" y="2477868"/>
                  </a:lnTo>
                  <a:lnTo>
                    <a:pt x="4674591" y="2477868"/>
                  </a:lnTo>
                  <a:lnTo>
                    <a:pt x="4665060" y="2482632"/>
                  </a:lnTo>
                  <a:lnTo>
                    <a:pt x="4655530" y="2506456"/>
                  </a:lnTo>
                  <a:lnTo>
                    <a:pt x="4631704" y="2544576"/>
                  </a:lnTo>
                  <a:lnTo>
                    <a:pt x="4622174" y="2563640"/>
                  </a:lnTo>
                  <a:lnTo>
                    <a:pt x="4612644" y="2568404"/>
                  </a:lnTo>
                  <a:lnTo>
                    <a:pt x="4607879" y="2568404"/>
                  </a:lnTo>
                  <a:lnTo>
                    <a:pt x="4603114" y="2563640"/>
                  </a:lnTo>
                  <a:lnTo>
                    <a:pt x="4584054" y="2554108"/>
                  </a:lnTo>
                  <a:lnTo>
                    <a:pt x="4569758" y="2558872"/>
                  </a:lnTo>
                  <a:lnTo>
                    <a:pt x="4564993" y="2573168"/>
                  </a:lnTo>
                  <a:lnTo>
                    <a:pt x="4564993" y="2587464"/>
                  </a:lnTo>
                  <a:lnTo>
                    <a:pt x="4479220" y="2587464"/>
                  </a:lnTo>
                  <a:lnTo>
                    <a:pt x="4407744" y="2587464"/>
                  </a:lnTo>
                  <a:lnTo>
                    <a:pt x="4279085" y="2587464"/>
                  </a:lnTo>
                  <a:lnTo>
                    <a:pt x="4279085" y="2644644"/>
                  </a:lnTo>
                  <a:lnTo>
                    <a:pt x="4279085" y="2678000"/>
                  </a:lnTo>
                  <a:lnTo>
                    <a:pt x="4217138" y="2678000"/>
                  </a:lnTo>
                  <a:lnTo>
                    <a:pt x="4217138" y="2682768"/>
                  </a:lnTo>
                  <a:lnTo>
                    <a:pt x="4231434" y="2687532"/>
                  </a:lnTo>
                  <a:lnTo>
                    <a:pt x="4245729" y="2701828"/>
                  </a:lnTo>
                  <a:lnTo>
                    <a:pt x="4264790" y="2720888"/>
                  </a:lnTo>
                  <a:lnTo>
                    <a:pt x="4283850" y="2739948"/>
                  </a:lnTo>
                  <a:lnTo>
                    <a:pt x="4307676" y="2754244"/>
                  </a:lnTo>
                  <a:lnTo>
                    <a:pt x="4326736" y="2768540"/>
                  </a:lnTo>
                  <a:lnTo>
                    <a:pt x="4331502" y="2778068"/>
                  </a:lnTo>
                  <a:lnTo>
                    <a:pt x="4336267" y="2787600"/>
                  </a:lnTo>
                  <a:lnTo>
                    <a:pt x="4336267" y="2797128"/>
                  </a:lnTo>
                  <a:lnTo>
                    <a:pt x="4345797" y="2806660"/>
                  </a:lnTo>
                  <a:lnTo>
                    <a:pt x="4364858" y="2811424"/>
                  </a:lnTo>
                  <a:lnTo>
                    <a:pt x="4369623" y="2820956"/>
                  </a:lnTo>
                  <a:lnTo>
                    <a:pt x="4369623" y="2825720"/>
                  </a:lnTo>
                  <a:lnTo>
                    <a:pt x="4364858" y="2840016"/>
                  </a:lnTo>
                  <a:lnTo>
                    <a:pt x="4364858" y="2854312"/>
                  </a:lnTo>
                  <a:lnTo>
                    <a:pt x="4364858" y="2868608"/>
                  </a:lnTo>
                  <a:lnTo>
                    <a:pt x="4245729" y="2868608"/>
                  </a:lnTo>
                  <a:lnTo>
                    <a:pt x="4212374" y="2873372"/>
                  </a:lnTo>
                  <a:lnTo>
                    <a:pt x="4164722" y="2873372"/>
                  </a:lnTo>
                  <a:lnTo>
                    <a:pt x="4150427" y="2892432"/>
                  </a:lnTo>
                  <a:lnTo>
                    <a:pt x="4131366" y="2930552"/>
                  </a:lnTo>
                  <a:lnTo>
                    <a:pt x="4112306" y="2963908"/>
                  </a:lnTo>
                  <a:lnTo>
                    <a:pt x="4093245" y="2992500"/>
                  </a:lnTo>
                  <a:lnTo>
                    <a:pt x="4093245" y="3002032"/>
                  </a:lnTo>
                  <a:lnTo>
                    <a:pt x="4093245" y="3006796"/>
                  </a:lnTo>
                  <a:lnTo>
                    <a:pt x="4112306" y="3030620"/>
                  </a:lnTo>
                  <a:lnTo>
                    <a:pt x="4107541" y="3040152"/>
                  </a:lnTo>
                  <a:lnTo>
                    <a:pt x="4102776" y="3044916"/>
                  </a:lnTo>
                  <a:lnTo>
                    <a:pt x="4098010" y="3049680"/>
                  </a:lnTo>
                  <a:lnTo>
                    <a:pt x="4098010" y="3059212"/>
                  </a:lnTo>
                  <a:lnTo>
                    <a:pt x="4093245" y="3073508"/>
                  </a:lnTo>
                  <a:lnTo>
                    <a:pt x="4098010" y="3083036"/>
                  </a:lnTo>
                  <a:lnTo>
                    <a:pt x="4098010" y="3092568"/>
                  </a:lnTo>
                  <a:lnTo>
                    <a:pt x="4093245" y="3102096"/>
                  </a:lnTo>
                  <a:lnTo>
                    <a:pt x="4093245" y="3111628"/>
                  </a:lnTo>
                  <a:lnTo>
                    <a:pt x="4088480" y="3116392"/>
                  </a:lnTo>
                  <a:lnTo>
                    <a:pt x="4083715" y="3116392"/>
                  </a:lnTo>
                  <a:lnTo>
                    <a:pt x="4040829" y="3068740"/>
                  </a:lnTo>
                  <a:lnTo>
                    <a:pt x="3997943" y="3021092"/>
                  </a:lnTo>
                  <a:lnTo>
                    <a:pt x="3978882" y="3006796"/>
                  </a:lnTo>
                  <a:lnTo>
                    <a:pt x="3964587" y="2992500"/>
                  </a:lnTo>
                  <a:lnTo>
                    <a:pt x="3940761" y="2973440"/>
                  </a:lnTo>
                  <a:lnTo>
                    <a:pt x="3883580" y="2921024"/>
                  </a:lnTo>
                  <a:lnTo>
                    <a:pt x="3854989" y="2901964"/>
                  </a:lnTo>
                  <a:lnTo>
                    <a:pt x="3826398" y="2873372"/>
                  </a:lnTo>
                  <a:lnTo>
                    <a:pt x="3797807" y="2859076"/>
                  </a:lnTo>
                  <a:lnTo>
                    <a:pt x="3773982" y="2849548"/>
                  </a:lnTo>
                  <a:lnTo>
                    <a:pt x="3764452" y="2844780"/>
                  </a:lnTo>
                  <a:lnTo>
                    <a:pt x="3754921" y="2835252"/>
                  </a:lnTo>
                  <a:lnTo>
                    <a:pt x="3745391" y="2835252"/>
                  </a:lnTo>
                  <a:lnTo>
                    <a:pt x="3745391" y="2844780"/>
                  </a:lnTo>
                  <a:lnTo>
                    <a:pt x="3754921" y="2849548"/>
                  </a:lnTo>
                  <a:lnTo>
                    <a:pt x="3764452" y="2854312"/>
                  </a:lnTo>
                  <a:lnTo>
                    <a:pt x="3773982" y="2854312"/>
                  </a:lnTo>
                  <a:lnTo>
                    <a:pt x="3783512" y="2859076"/>
                  </a:lnTo>
                  <a:lnTo>
                    <a:pt x="3807338" y="2873372"/>
                  </a:lnTo>
                  <a:lnTo>
                    <a:pt x="3812103" y="2878136"/>
                  </a:lnTo>
                  <a:lnTo>
                    <a:pt x="3735861" y="2854312"/>
                  </a:lnTo>
                  <a:lnTo>
                    <a:pt x="3707270" y="2849548"/>
                  </a:lnTo>
                  <a:lnTo>
                    <a:pt x="3702505" y="2844780"/>
                  </a:lnTo>
                  <a:lnTo>
                    <a:pt x="3721565" y="2830484"/>
                  </a:lnTo>
                  <a:lnTo>
                    <a:pt x="3716800" y="2825720"/>
                  </a:lnTo>
                  <a:lnTo>
                    <a:pt x="3707270" y="2825720"/>
                  </a:lnTo>
                  <a:lnTo>
                    <a:pt x="3692974" y="2835252"/>
                  </a:lnTo>
                  <a:lnTo>
                    <a:pt x="3688210" y="2835252"/>
                  </a:lnTo>
                  <a:lnTo>
                    <a:pt x="3688210" y="2830484"/>
                  </a:lnTo>
                  <a:lnTo>
                    <a:pt x="3688210" y="2820956"/>
                  </a:lnTo>
                  <a:lnTo>
                    <a:pt x="3678679" y="2816192"/>
                  </a:lnTo>
                  <a:lnTo>
                    <a:pt x="3669149" y="2816192"/>
                  </a:lnTo>
                  <a:lnTo>
                    <a:pt x="3664384" y="2820956"/>
                  </a:lnTo>
                  <a:lnTo>
                    <a:pt x="3650088" y="2830484"/>
                  </a:lnTo>
                  <a:lnTo>
                    <a:pt x="3650088" y="2835252"/>
                  </a:lnTo>
                  <a:lnTo>
                    <a:pt x="3678679" y="2840016"/>
                  </a:lnTo>
                  <a:lnTo>
                    <a:pt x="3688210" y="2844780"/>
                  </a:lnTo>
                  <a:lnTo>
                    <a:pt x="3688210" y="2849548"/>
                  </a:lnTo>
                  <a:lnTo>
                    <a:pt x="3664384" y="2849548"/>
                  </a:lnTo>
                  <a:lnTo>
                    <a:pt x="3635793" y="2854312"/>
                  </a:lnTo>
                  <a:lnTo>
                    <a:pt x="3583376" y="2887668"/>
                  </a:lnTo>
                  <a:lnTo>
                    <a:pt x="3535725" y="2901964"/>
                  </a:lnTo>
                  <a:lnTo>
                    <a:pt x="3464248" y="2930552"/>
                  </a:lnTo>
                  <a:lnTo>
                    <a:pt x="3435658" y="2935320"/>
                  </a:lnTo>
                  <a:lnTo>
                    <a:pt x="3416597" y="2940084"/>
                  </a:lnTo>
                  <a:lnTo>
                    <a:pt x="3373711" y="2925788"/>
                  </a:lnTo>
                  <a:lnTo>
                    <a:pt x="3311764" y="2897196"/>
                  </a:lnTo>
                  <a:lnTo>
                    <a:pt x="3225992" y="2887668"/>
                  </a:lnTo>
                  <a:lnTo>
                    <a:pt x="3164046" y="2849548"/>
                  </a:lnTo>
                  <a:lnTo>
                    <a:pt x="3106864" y="2830484"/>
                  </a:lnTo>
                  <a:lnTo>
                    <a:pt x="3068743" y="2797128"/>
                  </a:lnTo>
                  <a:lnTo>
                    <a:pt x="3044917" y="2792364"/>
                  </a:lnTo>
                  <a:lnTo>
                    <a:pt x="3030622" y="2787600"/>
                  </a:lnTo>
                  <a:lnTo>
                    <a:pt x="2978206" y="2773304"/>
                  </a:lnTo>
                  <a:lnTo>
                    <a:pt x="2921024" y="2763772"/>
                  </a:lnTo>
                  <a:lnTo>
                    <a:pt x="2868608" y="2730416"/>
                  </a:lnTo>
                  <a:lnTo>
                    <a:pt x="2835252" y="2720888"/>
                  </a:lnTo>
                  <a:lnTo>
                    <a:pt x="2806661" y="2706592"/>
                  </a:lnTo>
                  <a:lnTo>
                    <a:pt x="2739949" y="2687532"/>
                  </a:lnTo>
                  <a:lnTo>
                    <a:pt x="2716124" y="2673236"/>
                  </a:lnTo>
                  <a:lnTo>
                    <a:pt x="2692298" y="2654176"/>
                  </a:lnTo>
                  <a:lnTo>
                    <a:pt x="2658942" y="2635116"/>
                  </a:lnTo>
                  <a:lnTo>
                    <a:pt x="2639881" y="2620820"/>
                  </a:lnTo>
                  <a:lnTo>
                    <a:pt x="2625586" y="2611288"/>
                  </a:lnTo>
                  <a:lnTo>
                    <a:pt x="2596995" y="2582700"/>
                  </a:lnTo>
                  <a:lnTo>
                    <a:pt x="2587465" y="2568404"/>
                  </a:lnTo>
                  <a:lnTo>
                    <a:pt x="2573170" y="2563640"/>
                  </a:lnTo>
                  <a:lnTo>
                    <a:pt x="2563639" y="2558872"/>
                  </a:lnTo>
                  <a:lnTo>
                    <a:pt x="2530284" y="2563640"/>
                  </a:lnTo>
                  <a:lnTo>
                    <a:pt x="2477867" y="2549344"/>
                  </a:lnTo>
                  <a:lnTo>
                    <a:pt x="2454041" y="2544576"/>
                  </a:lnTo>
                  <a:lnTo>
                    <a:pt x="2401625" y="2525516"/>
                  </a:lnTo>
                  <a:lnTo>
                    <a:pt x="2334913" y="2501692"/>
                  </a:lnTo>
                  <a:lnTo>
                    <a:pt x="2315853" y="2477868"/>
                  </a:lnTo>
                  <a:lnTo>
                    <a:pt x="2296792" y="2449276"/>
                  </a:lnTo>
                  <a:lnTo>
                    <a:pt x="2263436" y="2420684"/>
                  </a:lnTo>
                  <a:lnTo>
                    <a:pt x="2244376" y="2406388"/>
                  </a:lnTo>
                  <a:lnTo>
                    <a:pt x="2206255" y="2387328"/>
                  </a:lnTo>
                  <a:lnTo>
                    <a:pt x="2187194" y="2377800"/>
                  </a:lnTo>
                  <a:lnTo>
                    <a:pt x="2153838" y="2363504"/>
                  </a:lnTo>
                  <a:lnTo>
                    <a:pt x="2101422" y="2339676"/>
                  </a:lnTo>
                  <a:lnTo>
                    <a:pt x="2087126" y="2315852"/>
                  </a:lnTo>
                  <a:lnTo>
                    <a:pt x="2077596" y="2296792"/>
                  </a:lnTo>
                  <a:lnTo>
                    <a:pt x="2049006" y="2272964"/>
                  </a:lnTo>
                  <a:lnTo>
                    <a:pt x="2020415" y="2230080"/>
                  </a:lnTo>
                  <a:lnTo>
                    <a:pt x="2010884" y="2211020"/>
                  </a:lnTo>
                  <a:lnTo>
                    <a:pt x="2006119" y="2187192"/>
                  </a:lnTo>
                  <a:lnTo>
                    <a:pt x="1996589" y="2172896"/>
                  </a:lnTo>
                  <a:lnTo>
                    <a:pt x="1987059" y="2158604"/>
                  </a:lnTo>
                  <a:lnTo>
                    <a:pt x="1991824" y="2153836"/>
                  </a:lnTo>
                  <a:lnTo>
                    <a:pt x="2006119" y="2144308"/>
                  </a:lnTo>
                  <a:lnTo>
                    <a:pt x="2034710" y="2139544"/>
                  </a:lnTo>
                  <a:lnTo>
                    <a:pt x="2053771" y="2130012"/>
                  </a:lnTo>
                  <a:lnTo>
                    <a:pt x="2053771" y="2120480"/>
                  </a:lnTo>
                  <a:lnTo>
                    <a:pt x="2053771" y="2115716"/>
                  </a:lnTo>
                  <a:lnTo>
                    <a:pt x="2044240" y="2101420"/>
                  </a:lnTo>
                  <a:lnTo>
                    <a:pt x="2025180" y="2096656"/>
                  </a:lnTo>
                  <a:lnTo>
                    <a:pt x="2015650" y="2096656"/>
                  </a:lnTo>
                  <a:lnTo>
                    <a:pt x="2015650" y="2091892"/>
                  </a:lnTo>
                  <a:lnTo>
                    <a:pt x="2020415" y="2082360"/>
                  </a:lnTo>
                  <a:lnTo>
                    <a:pt x="2029945" y="2072832"/>
                  </a:lnTo>
                  <a:lnTo>
                    <a:pt x="2044240" y="2053768"/>
                  </a:lnTo>
                  <a:lnTo>
                    <a:pt x="2058536" y="2039476"/>
                  </a:lnTo>
                  <a:lnTo>
                    <a:pt x="2058536" y="2015648"/>
                  </a:lnTo>
                  <a:lnTo>
                    <a:pt x="2058536" y="1996588"/>
                  </a:lnTo>
                  <a:lnTo>
                    <a:pt x="2058536" y="1977528"/>
                  </a:lnTo>
                  <a:lnTo>
                    <a:pt x="2025180" y="1953704"/>
                  </a:lnTo>
                  <a:lnTo>
                    <a:pt x="2020415" y="1944172"/>
                  </a:lnTo>
                  <a:lnTo>
                    <a:pt x="2010884" y="1920348"/>
                  </a:lnTo>
                  <a:lnTo>
                    <a:pt x="1991824" y="1891756"/>
                  </a:lnTo>
                  <a:lnTo>
                    <a:pt x="1991824" y="1834572"/>
                  </a:lnTo>
                  <a:lnTo>
                    <a:pt x="1967998" y="1782156"/>
                  </a:lnTo>
                  <a:lnTo>
                    <a:pt x="1944173" y="1758332"/>
                  </a:lnTo>
                  <a:lnTo>
                    <a:pt x="1934642" y="1748800"/>
                  </a:lnTo>
                  <a:lnTo>
                    <a:pt x="1901287" y="1710680"/>
                  </a:lnTo>
                  <a:lnTo>
                    <a:pt x="1872696" y="1686856"/>
                  </a:lnTo>
                  <a:lnTo>
                    <a:pt x="1848870" y="1643968"/>
                  </a:lnTo>
                  <a:lnTo>
                    <a:pt x="1825044" y="1620144"/>
                  </a:lnTo>
                  <a:lnTo>
                    <a:pt x="1791689" y="1572492"/>
                  </a:lnTo>
                  <a:lnTo>
                    <a:pt x="1767863" y="1548668"/>
                  </a:lnTo>
                  <a:lnTo>
                    <a:pt x="1663030" y="1472424"/>
                  </a:lnTo>
                  <a:lnTo>
                    <a:pt x="1667795" y="1472424"/>
                  </a:lnTo>
                  <a:lnTo>
                    <a:pt x="1701151" y="1491484"/>
                  </a:lnTo>
                  <a:lnTo>
                    <a:pt x="1705916" y="1486720"/>
                  </a:lnTo>
                  <a:lnTo>
                    <a:pt x="1705916" y="1477188"/>
                  </a:lnTo>
                  <a:lnTo>
                    <a:pt x="1701151" y="1467660"/>
                  </a:lnTo>
                  <a:lnTo>
                    <a:pt x="1696386" y="1462896"/>
                  </a:lnTo>
                  <a:lnTo>
                    <a:pt x="1686856" y="1467660"/>
                  </a:lnTo>
                  <a:lnTo>
                    <a:pt x="1677326" y="1462896"/>
                  </a:lnTo>
                  <a:lnTo>
                    <a:pt x="1667795" y="1462896"/>
                  </a:lnTo>
                  <a:lnTo>
                    <a:pt x="1653500" y="1458128"/>
                  </a:lnTo>
                  <a:lnTo>
                    <a:pt x="1634439" y="1443832"/>
                  </a:lnTo>
                  <a:lnTo>
                    <a:pt x="1624909" y="1434304"/>
                  </a:lnTo>
                  <a:lnTo>
                    <a:pt x="1624909" y="1415244"/>
                  </a:lnTo>
                  <a:lnTo>
                    <a:pt x="1591553" y="1381888"/>
                  </a:lnTo>
                  <a:lnTo>
                    <a:pt x="1582023" y="1367592"/>
                  </a:lnTo>
                  <a:lnTo>
                    <a:pt x="1586788" y="1367592"/>
                  </a:lnTo>
                  <a:lnTo>
                    <a:pt x="1596318" y="1372356"/>
                  </a:lnTo>
                  <a:lnTo>
                    <a:pt x="1601084" y="1377120"/>
                  </a:lnTo>
                  <a:lnTo>
                    <a:pt x="1610614" y="1377120"/>
                  </a:lnTo>
                  <a:lnTo>
                    <a:pt x="1620144" y="1372356"/>
                  </a:lnTo>
                  <a:lnTo>
                    <a:pt x="1615379" y="1367592"/>
                  </a:lnTo>
                  <a:lnTo>
                    <a:pt x="1610614" y="1362828"/>
                  </a:lnTo>
                  <a:lnTo>
                    <a:pt x="1567728" y="1343764"/>
                  </a:lnTo>
                  <a:lnTo>
                    <a:pt x="1553432" y="1334236"/>
                  </a:lnTo>
                  <a:lnTo>
                    <a:pt x="1515311" y="1315176"/>
                  </a:lnTo>
                  <a:lnTo>
                    <a:pt x="1505781" y="1305644"/>
                  </a:lnTo>
                  <a:lnTo>
                    <a:pt x="1501016" y="1286584"/>
                  </a:lnTo>
                  <a:lnTo>
                    <a:pt x="1491486" y="1286584"/>
                  </a:lnTo>
                  <a:lnTo>
                    <a:pt x="1486720" y="1291348"/>
                  </a:lnTo>
                  <a:lnTo>
                    <a:pt x="1462895" y="1296116"/>
                  </a:lnTo>
                  <a:lnTo>
                    <a:pt x="1458130" y="1291348"/>
                  </a:lnTo>
                  <a:lnTo>
                    <a:pt x="1458130" y="1281820"/>
                  </a:lnTo>
                  <a:lnTo>
                    <a:pt x="1472425" y="1277056"/>
                  </a:lnTo>
                  <a:lnTo>
                    <a:pt x="1486720" y="1257992"/>
                  </a:lnTo>
                  <a:lnTo>
                    <a:pt x="1486720" y="1253228"/>
                  </a:lnTo>
                  <a:lnTo>
                    <a:pt x="1477190" y="1257992"/>
                  </a:lnTo>
                  <a:lnTo>
                    <a:pt x="1467660" y="1267524"/>
                  </a:lnTo>
                  <a:lnTo>
                    <a:pt x="1453365" y="1272288"/>
                  </a:lnTo>
                  <a:lnTo>
                    <a:pt x="1439069" y="1277056"/>
                  </a:lnTo>
                  <a:lnTo>
                    <a:pt x="1429539" y="1272288"/>
                  </a:lnTo>
                  <a:lnTo>
                    <a:pt x="1420009" y="1272288"/>
                  </a:lnTo>
                  <a:lnTo>
                    <a:pt x="1410478" y="1253228"/>
                  </a:lnTo>
                  <a:lnTo>
                    <a:pt x="1400948" y="1200812"/>
                  </a:lnTo>
                  <a:lnTo>
                    <a:pt x="1415244" y="1181752"/>
                  </a:lnTo>
                  <a:lnTo>
                    <a:pt x="1424774" y="1162692"/>
                  </a:lnTo>
                  <a:lnTo>
                    <a:pt x="1439069" y="1153160"/>
                  </a:lnTo>
                  <a:lnTo>
                    <a:pt x="1443834" y="1162692"/>
                  </a:lnTo>
                  <a:lnTo>
                    <a:pt x="1448600" y="1162692"/>
                  </a:lnTo>
                  <a:lnTo>
                    <a:pt x="1443834" y="1153160"/>
                  </a:lnTo>
                  <a:lnTo>
                    <a:pt x="1434304" y="1143632"/>
                  </a:lnTo>
                  <a:lnTo>
                    <a:pt x="1429539" y="1134100"/>
                  </a:lnTo>
                  <a:lnTo>
                    <a:pt x="1429539" y="1129336"/>
                  </a:lnTo>
                  <a:lnTo>
                    <a:pt x="1424774" y="1115040"/>
                  </a:lnTo>
                  <a:lnTo>
                    <a:pt x="1391418" y="1081684"/>
                  </a:lnTo>
                  <a:lnTo>
                    <a:pt x="1362827" y="1086448"/>
                  </a:lnTo>
                  <a:lnTo>
                    <a:pt x="1348532" y="1081684"/>
                  </a:lnTo>
                  <a:lnTo>
                    <a:pt x="1339002" y="1072152"/>
                  </a:lnTo>
                  <a:lnTo>
                    <a:pt x="1329471" y="1053092"/>
                  </a:lnTo>
                  <a:lnTo>
                    <a:pt x="1324706" y="1034032"/>
                  </a:lnTo>
                  <a:lnTo>
                    <a:pt x="1324706" y="1024504"/>
                  </a:lnTo>
                  <a:lnTo>
                    <a:pt x="1319941" y="1019736"/>
                  </a:lnTo>
                  <a:lnTo>
                    <a:pt x="1267525" y="1005440"/>
                  </a:lnTo>
                  <a:lnTo>
                    <a:pt x="1253229" y="991148"/>
                  </a:lnTo>
                  <a:lnTo>
                    <a:pt x="1238934" y="976852"/>
                  </a:lnTo>
                  <a:lnTo>
                    <a:pt x="1229404" y="962556"/>
                  </a:lnTo>
                  <a:lnTo>
                    <a:pt x="1224638" y="953024"/>
                  </a:lnTo>
                  <a:lnTo>
                    <a:pt x="1219873" y="938732"/>
                  </a:lnTo>
                  <a:lnTo>
                    <a:pt x="1215108" y="914904"/>
                  </a:lnTo>
                  <a:lnTo>
                    <a:pt x="1219873" y="891080"/>
                  </a:lnTo>
                  <a:lnTo>
                    <a:pt x="1229404" y="881548"/>
                  </a:lnTo>
                  <a:lnTo>
                    <a:pt x="1196048" y="872020"/>
                  </a:lnTo>
                  <a:lnTo>
                    <a:pt x="1181752" y="872020"/>
                  </a:lnTo>
                  <a:lnTo>
                    <a:pt x="1167457" y="876784"/>
                  </a:lnTo>
                  <a:lnTo>
                    <a:pt x="1157927" y="867252"/>
                  </a:lnTo>
                  <a:lnTo>
                    <a:pt x="1138866" y="862488"/>
                  </a:lnTo>
                  <a:lnTo>
                    <a:pt x="1110275" y="833896"/>
                  </a:lnTo>
                  <a:lnTo>
                    <a:pt x="1081685" y="786244"/>
                  </a:lnTo>
                  <a:lnTo>
                    <a:pt x="1048329" y="771952"/>
                  </a:lnTo>
                  <a:lnTo>
                    <a:pt x="1038798" y="757656"/>
                  </a:lnTo>
                  <a:lnTo>
                    <a:pt x="1024503" y="738596"/>
                  </a:lnTo>
                  <a:lnTo>
                    <a:pt x="1014973" y="724300"/>
                  </a:lnTo>
                  <a:lnTo>
                    <a:pt x="1010208" y="714768"/>
                  </a:lnTo>
                  <a:lnTo>
                    <a:pt x="1010208" y="710004"/>
                  </a:lnTo>
                  <a:lnTo>
                    <a:pt x="991147" y="695708"/>
                  </a:lnTo>
                  <a:lnTo>
                    <a:pt x="976852" y="676648"/>
                  </a:lnTo>
                  <a:lnTo>
                    <a:pt x="972087" y="657588"/>
                  </a:lnTo>
                  <a:lnTo>
                    <a:pt x="967322" y="628996"/>
                  </a:lnTo>
                  <a:lnTo>
                    <a:pt x="953026" y="619468"/>
                  </a:lnTo>
                  <a:lnTo>
                    <a:pt x="938731" y="614700"/>
                  </a:lnTo>
                  <a:lnTo>
                    <a:pt x="938731" y="605172"/>
                  </a:lnTo>
                  <a:lnTo>
                    <a:pt x="938731" y="595640"/>
                  </a:lnTo>
                  <a:lnTo>
                    <a:pt x="933966" y="581344"/>
                  </a:lnTo>
                  <a:lnTo>
                    <a:pt x="910140" y="547988"/>
                  </a:lnTo>
                  <a:lnTo>
                    <a:pt x="895845" y="524164"/>
                  </a:lnTo>
                  <a:lnTo>
                    <a:pt x="891080" y="514632"/>
                  </a:lnTo>
                  <a:lnTo>
                    <a:pt x="886314" y="500340"/>
                  </a:lnTo>
                  <a:lnTo>
                    <a:pt x="881549" y="476512"/>
                  </a:lnTo>
                  <a:lnTo>
                    <a:pt x="872019" y="443156"/>
                  </a:lnTo>
                  <a:lnTo>
                    <a:pt x="852958" y="405036"/>
                  </a:lnTo>
                  <a:lnTo>
                    <a:pt x="833898" y="381212"/>
                  </a:lnTo>
                  <a:lnTo>
                    <a:pt x="824368" y="352620"/>
                  </a:lnTo>
                  <a:lnTo>
                    <a:pt x="829133" y="328792"/>
                  </a:lnTo>
                  <a:lnTo>
                    <a:pt x="829133" y="314500"/>
                  </a:lnTo>
                  <a:lnTo>
                    <a:pt x="824368" y="309732"/>
                  </a:lnTo>
                  <a:lnTo>
                    <a:pt x="829133" y="304968"/>
                  </a:lnTo>
                  <a:lnTo>
                    <a:pt x="833898" y="304968"/>
                  </a:lnTo>
                  <a:lnTo>
                    <a:pt x="838663" y="300204"/>
                  </a:lnTo>
                  <a:lnTo>
                    <a:pt x="833898" y="285908"/>
                  </a:lnTo>
                  <a:lnTo>
                    <a:pt x="829133" y="281144"/>
                  </a:lnTo>
                  <a:lnTo>
                    <a:pt x="814837" y="276376"/>
                  </a:lnTo>
                  <a:lnTo>
                    <a:pt x="805307" y="271612"/>
                  </a:lnTo>
                  <a:lnTo>
                    <a:pt x="767186" y="262080"/>
                  </a:lnTo>
                  <a:lnTo>
                    <a:pt x="748126" y="252552"/>
                  </a:lnTo>
                  <a:lnTo>
                    <a:pt x="743361" y="233492"/>
                  </a:lnTo>
                  <a:lnTo>
                    <a:pt x="733830" y="219196"/>
                  </a:lnTo>
                  <a:lnTo>
                    <a:pt x="724300" y="214432"/>
                  </a:lnTo>
                  <a:lnTo>
                    <a:pt x="695709" y="200136"/>
                  </a:lnTo>
                  <a:lnTo>
                    <a:pt x="690944" y="209664"/>
                  </a:lnTo>
                  <a:lnTo>
                    <a:pt x="686179" y="219196"/>
                  </a:lnTo>
                  <a:lnTo>
                    <a:pt x="676649" y="223960"/>
                  </a:lnTo>
                  <a:lnTo>
                    <a:pt x="662353" y="223960"/>
                  </a:lnTo>
                  <a:lnTo>
                    <a:pt x="648058" y="214432"/>
                  </a:lnTo>
                  <a:lnTo>
                    <a:pt x="600407" y="181076"/>
                  </a:lnTo>
                  <a:lnTo>
                    <a:pt x="590876" y="176308"/>
                  </a:lnTo>
                  <a:lnTo>
                    <a:pt x="576581" y="176308"/>
                  </a:lnTo>
                  <a:lnTo>
                    <a:pt x="571816" y="171544"/>
                  </a:lnTo>
                  <a:lnTo>
                    <a:pt x="543225" y="152484"/>
                  </a:lnTo>
                  <a:lnTo>
                    <a:pt x="547990" y="162016"/>
                  </a:lnTo>
                  <a:lnTo>
                    <a:pt x="557521" y="171544"/>
                  </a:lnTo>
                  <a:lnTo>
                    <a:pt x="562286" y="200136"/>
                  </a:lnTo>
                  <a:lnTo>
                    <a:pt x="552755" y="219196"/>
                  </a:lnTo>
                  <a:lnTo>
                    <a:pt x="547990" y="290672"/>
                  </a:lnTo>
                  <a:lnTo>
                    <a:pt x="557521" y="300204"/>
                  </a:lnTo>
                  <a:lnTo>
                    <a:pt x="567051" y="324028"/>
                  </a:lnTo>
                  <a:lnTo>
                    <a:pt x="576581" y="362148"/>
                  </a:lnTo>
                  <a:lnTo>
                    <a:pt x="581346" y="385976"/>
                  </a:lnTo>
                  <a:lnTo>
                    <a:pt x="590876" y="405036"/>
                  </a:lnTo>
                  <a:lnTo>
                    <a:pt x="586111" y="457452"/>
                  </a:lnTo>
                  <a:lnTo>
                    <a:pt x="590876" y="471748"/>
                  </a:lnTo>
                  <a:lnTo>
                    <a:pt x="600407" y="495572"/>
                  </a:lnTo>
                  <a:lnTo>
                    <a:pt x="624232" y="514632"/>
                  </a:lnTo>
                  <a:lnTo>
                    <a:pt x="628998" y="528928"/>
                  </a:lnTo>
                  <a:lnTo>
                    <a:pt x="657588" y="547988"/>
                  </a:lnTo>
                  <a:lnTo>
                    <a:pt x="676649" y="567052"/>
                  </a:lnTo>
                  <a:lnTo>
                    <a:pt x="714770" y="600408"/>
                  </a:lnTo>
                  <a:lnTo>
                    <a:pt x="724300" y="609936"/>
                  </a:lnTo>
                  <a:lnTo>
                    <a:pt x="757656" y="662352"/>
                  </a:lnTo>
                  <a:lnTo>
                    <a:pt x="757656" y="671884"/>
                  </a:lnTo>
                  <a:lnTo>
                    <a:pt x="767186" y="690944"/>
                  </a:lnTo>
                  <a:lnTo>
                    <a:pt x="786247" y="686180"/>
                  </a:lnTo>
                  <a:lnTo>
                    <a:pt x="791012" y="700472"/>
                  </a:lnTo>
                  <a:lnTo>
                    <a:pt x="791012" y="705240"/>
                  </a:lnTo>
                  <a:lnTo>
                    <a:pt x="795777" y="710004"/>
                  </a:lnTo>
                  <a:lnTo>
                    <a:pt x="805307" y="710004"/>
                  </a:lnTo>
                  <a:lnTo>
                    <a:pt x="810072" y="714768"/>
                  </a:lnTo>
                  <a:lnTo>
                    <a:pt x="829133" y="767184"/>
                  </a:lnTo>
                  <a:lnTo>
                    <a:pt x="838663" y="771952"/>
                  </a:lnTo>
                  <a:lnTo>
                    <a:pt x="848193" y="776716"/>
                  </a:lnTo>
                  <a:lnTo>
                    <a:pt x="862489" y="781480"/>
                  </a:lnTo>
                  <a:lnTo>
                    <a:pt x="862489" y="791012"/>
                  </a:lnTo>
                  <a:lnTo>
                    <a:pt x="862489" y="805308"/>
                  </a:lnTo>
                  <a:lnTo>
                    <a:pt x="876784" y="819600"/>
                  </a:lnTo>
                  <a:lnTo>
                    <a:pt x="872019" y="838664"/>
                  </a:lnTo>
                  <a:lnTo>
                    <a:pt x="881549" y="857724"/>
                  </a:lnTo>
                  <a:lnTo>
                    <a:pt x="881549" y="872020"/>
                  </a:lnTo>
                  <a:lnTo>
                    <a:pt x="886314" y="886312"/>
                  </a:lnTo>
                  <a:lnTo>
                    <a:pt x="914905" y="914904"/>
                  </a:lnTo>
                  <a:lnTo>
                    <a:pt x="948261" y="938732"/>
                  </a:lnTo>
                  <a:lnTo>
                    <a:pt x="957791" y="972084"/>
                  </a:lnTo>
                  <a:lnTo>
                    <a:pt x="972087" y="1000676"/>
                  </a:lnTo>
                  <a:lnTo>
                    <a:pt x="986382" y="1005440"/>
                  </a:lnTo>
                  <a:lnTo>
                    <a:pt x="1000677" y="1019736"/>
                  </a:lnTo>
                  <a:lnTo>
                    <a:pt x="995912" y="1029268"/>
                  </a:lnTo>
                  <a:lnTo>
                    <a:pt x="1000677" y="1038796"/>
                  </a:lnTo>
                  <a:lnTo>
                    <a:pt x="1019738" y="1057860"/>
                  </a:lnTo>
                  <a:lnTo>
                    <a:pt x="1019738" y="1086448"/>
                  </a:lnTo>
                  <a:lnTo>
                    <a:pt x="1038798" y="1105508"/>
                  </a:lnTo>
                  <a:lnTo>
                    <a:pt x="1043564" y="1110276"/>
                  </a:lnTo>
                  <a:lnTo>
                    <a:pt x="1048329" y="1105508"/>
                  </a:lnTo>
                  <a:lnTo>
                    <a:pt x="1034033" y="1086448"/>
                  </a:lnTo>
                  <a:lnTo>
                    <a:pt x="1029268" y="1076920"/>
                  </a:lnTo>
                  <a:lnTo>
                    <a:pt x="1029268" y="1057860"/>
                  </a:lnTo>
                  <a:lnTo>
                    <a:pt x="1029268" y="1053092"/>
                  </a:lnTo>
                  <a:lnTo>
                    <a:pt x="1067389" y="1081684"/>
                  </a:lnTo>
                  <a:lnTo>
                    <a:pt x="1072154" y="1105508"/>
                  </a:lnTo>
                  <a:lnTo>
                    <a:pt x="1081685" y="1119804"/>
                  </a:lnTo>
                  <a:lnTo>
                    <a:pt x="1081685" y="1134100"/>
                  </a:lnTo>
                  <a:lnTo>
                    <a:pt x="1091215" y="1143632"/>
                  </a:lnTo>
                  <a:lnTo>
                    <a:pt x="1091215" y="1157924"/>
                  </a:lnTo>
                  <a:lnTo>
                    <a:pt x="1105510" y="1186516"/>
                  </a:lnTo>
                  <a:lnTo>
                    <a:pt x="1105510" y="1219872"/>
                  </a:lnTo>
                  <a:lnTo>
                    <a:pt x="1110275" y="1243700"/>
                  </a:lnTo>
                  <a:lnTo>
                    <a:pt x="1134101" y="1281820"/>
                  </a:lnTo>
                  <a:lnTo>
                    <a:pt x="1153162" y="1286584"/>
                  </a:lnTo>
                  <a:lnTo>
                    <a:pt x="1153162" y="1305644"/>
                  </a:lnTo>
                  <a:lnTo>
                    <a:pt x="1172222" y="1353296"/>
                  </a:lnTo>
                  <a:lnTo>
                    <a:pt x="1196048" y="1381888"/>
                  </a:lnTo>
                  <a:lnTo>
                    <a:pt x="1205578" y="1400948"/>
                  </a:lnTo>
                  <a:lnTo>
                    <a:pt x="1205578" y="1415244"/>
                  </a:lnTo>
                  <a:lnTo>
                    <a:pt x="1200813" y="1434304"/>
                  </a:lnTo>
                  <a:lnTo>
                    <a:pt x="1196048" y="1448600"/>
                  </a:lnTo>
                  <a:lnTo>
                    <a:pt x="1210343" y="1491484"/>
                  </a:lnTo>
                  <a:lnTo>
                    <a:pt x="1224638" y="1515312"/>
                  </a:lnTo>
                  <a:lnTo>
                    <a:pt x="1248464" y="1520076"/>
                  </a:lnTo>
                  <a:lnTo>
                    <a:pt x="1248464" y="1524840"/>
                  </a:lnTo>
                  <a:lnTo>
                    <a:pt x="1248464" y="1529604"/>
                  </a:lnTo>
                  <a:lnTo>
                    <a:pt x="1253229" y="1534372"/>
                  </a:lnTo>
                  <a:lnTo>
                    <a:pt x="1262760" y="1529604"/>
                  </a:lnTo>
                  <a:lnTo>
                    <a:pt x="1267525" y="1515312"/>
                  </a:lnTo>
                  <a:lnTo>
                    <a:pt x="1262760" y="1505780"/>
                  </a:lnTo>
                  <a:lnTo>
                    <a:pt x="1262760" y="1501016"/>
                  </a:lnTo>
                  <a:lnTo>
                    <a:pt x="1262760" y="1491484"/>
                  </a:lnTo>
                  <a:lnTo>
                    <a:pt x="1272290" y="1491484"/>
                  </a:lnTo>
                  <a:lnTo>
                    <a:pt x="1310411" y="1520076"/>
                  </a:lnTo>
                  <a:lnTo>
                    <a:pt x="1315176" y="1534372"/>
                  </a:lnTo>
                  <a:lnTo>
                    <a:pt x="1329471" y="1543900"/>
                  </a:lnTo>
                  <a:lnTo>
                    <a:pt x="1343767" y="1562960"/>
                  </a:lnTo>
                  <a:lnTo>
                    <a:pt x="1348532" y="1572492"/>
                  </a:lnTo>
                  <a:lnTo>
                    <a:pt x="1358062" y="1586788"/>
                  </a:lnTo>
                  <a:lnTo>
                    <a:pt x="1362827" y="1610612"/>
                  </a:lnTo>
                  <a:lnTo>
                    <a:pt x="1391418" y="1620144"/>
                  </a:lnTo>
                  <a:lnTo>
                    <a:pt x="1400948" y="1639204"/>
                  </a:lnTo>
                  <a:lnTo>
                    <a:pt x="1405713" y="1653500"/>
                  </a:lnTo>
                  <a:lnTo>
                    <a:pt x="1396183" y="1686856"/>
                  </a:lnTo>
                  <a:lnTo>
                    <a:pt x="1391418" y="1696384"/>
                  </a:lnTo>
                  <a:lnTo>
                    <a:pt x="1372357" y="1705916"/>
                  </a:lnTo>
                  <a:lnTo>
                    <a:pt x="1353297" y="1724976"/>
                  </a:lnTo>
                  <a:lnTo>
                    <a:pt x="1339002" y="1734508"/>
                  </a:lnTo>
                  <a:lnTo>
                    <a:pt x="1324706" y="1739272"/>
                  </a:lnTo>
                  <a:lnTo>
                    <a:pt x="1310411" y="1739272"/>
                  </a:lnTo>
                  <a:lnTo>
                    <a:pt x="1300880" y="1720212"/>
                  </a:lnTo>
                  <a:lnTo>
                    <a:pt x="1281820" y="1663028"/>
                  </a:lnTo>
                  <a:lnTo>
                    <a:pt x="1272290" y="1653500"/>
                  </a:lnTo>
                  <a:lnTo>
                    <a:pt x="1267525" y="1634440"/>
                  </a:lnTo>
                  <a:lnTo>
                    <a:pt x="1257994" y="1620144"/>
                  </a:lnTo>
                  <a:lnTo>
                    <a:pt x="1215108" y="1596316"/>
                  </a:lnTo>
                  <a:lnTo>
                    <a:pt x="1191283" y="1572492"/>
                  </a:lnTo>
                  <a:lnTo>
                    <a:pt x="1172222" y="1558196"/>
                  </a:lnTo>
                  <a:lnTo>
                    <a:pt x="1153162" y="1534372"/>
                  </a:lnTo>
                  <a:lnTo>
                    <a:pt x="1091215" y="1496248"/>
                  </a:lnTo>
                  <a:lnTo>
                    <a:pt x="1067389" y="1477188"/>
                  </a:lnTo>
                  <a:lnTo>
                    <a:pt x="1048329" y="1453364"/>
                  </a:lnTo>
                  <a:lnTo>
                    <a:pt x="1038798" y="1458128"/>
                  </a:lnTo>
                  <a:lnTo>
                    <a:pt x="1029268" y="1458128"/>
                  </a:lnTo>
                  <a:lnTo>
                    <a:pt x="1029268" y="1453364"/>
                  </a:lnTo>
                  <a:lnTo>
                    <a:pt x="1029268" y="1443832"/>
                  </a:lnTo>
                  <a:lnTo>
                    <a:pt x="1024503" y="1434304"/>
                  </a:lnTo>
                  <a:lnTo>
                    <a:pt x="986382" y="1405712"/>
                  </a:lnTo>
                  <a:lnTo>
                    <a:pt x="981617" y="1391416"/>
                  </a:lnTo>
                  <a:lnTo>
                    <a:pt x="981617" y="1372356"/>
                  </a:lnTo>
                  <a:lnTo>
                    <a:pt x="986382" y="1324704"/>
                  </a:lnTo>
                  <a:lnTo>
                    <a:pt x="991147" y="1296116"/>
                  </a:lnTo>
                  <a:lnTo>
                    <a:pt x="991147" y="1281820"/>
                  </a:lnTo>
                  <a:lnTo>
                    <a:pt x="986382" y="1277056"/>
                  </a:lnTo>
                  <a:lnTo>
                    <a:pt x="981617" y="1272288"/>
                  </a:lnTo>
                  <a:lnTo>
                    <a:pt x="981617" y="1248464"/>
                  </a:lnTo>
                  <a:lnTo>
                    <a:pt x="972087" y="1219872"/>
                  </a:lnTo>
                  <a:lnTo>
                    <a:pt x="943496" y="1167456"/>
                  </a:lnTo>
                  <a:lnTo>
                    <a:pt x="919670" y="1157924"/>
                  </a:lnTo>
                  <a:lnTo>
                    <a:pt x="895845" y="1153160"/>
                  </a:lnTo>
                  <a:lnTo>
                    <a:pt x="838663" y="1105508"/>
                  </a:lnTo>
                  <a:lnTo>
                    <a:pt x="824368" y="1081684"/>
                  </a:lnTo>
                  <a:lnTo>
                    <a:pt x="819603" y="1067388"/>
                  </a:lnTo>
                  <a:lnTo>
                    <a:pt x="819603" y="1043564"/>
                  </a:lnTo>
                  <a:lnTo>
                    <a:pt x="810072" y="1057860"/>
                  </a:lnTo>
                  <a:lnTo>
                    <a:pt x="800542" y="1067388"/>
                  </a:lnTo>
                  <a:lnTo>
                    <a:pt x="776716" y="1067388"/>
                  </a:lnTo>
                  <a:lnTo>
                    <a:pt x="748126" y="1081684"/>
                  </a:lnTo>
                  <a:lnTo>
                    <a:pt x="733830" y="1067388"/>
                  </a:lnTo>
                  <a:lnTo>
                    <a:pt x="724300" y="1053092"/>
                  </a:lnTo>
                  <a:lnTo>
                    <a:pt x="710005" y="1038796"/>
                  </a:lnTo>
                  <a:lnTo>
                    <a:pt x="695709" y="1034032"/>
                  </a:lnTo>
                  <a:lnTo>
                    <a:pt x="686179" y="1034032"/>
                  </a:lnTo>
                  <a:lnTo>
                    <a:pt x="671884" y="1014972"/>
                  </a:lnTo>
                  <a:lnTo>
                    <a:pt x="657588" y="1005440"/>
                  </a:lnTo>
                  <a:lnTo>
                    <a:pt x="633763" y="1005440"/>
                  </a:lnTo>
                  <a:lnTo>
                    <a:pt x="619467" y="995912"/>
                  </a:lnTo>
                  <a:lnTo>
                    <a:pt x="614702" y="981616"/>
                  </a:lnTo>
                  <a:lnTo>
                    <a:pt x="609937" y="967320"/>
                  </a:lnTo>
                  <a:lnTo>
                    <a:pt x="605172" y="957792"/>
                  </a:lnTo>
                  <a:lnTo>
                    <a:pt x="576581" y="938732"/>
                  </a:lnTo>
                  <a:lnTo>
                    <a:pt x="552755" y="914904"/>
                  </a:lnTo>
                  <a:lnTo>
                    <a:pt x="533695" y="900608"/>
                  </a:lnTo>
                  <a:lnTo>
                    <a:pt x="524165" y="891080"/>
                  </a:lnTo>
                  <a:lnTo>
                    <a:pt x="524165" y="881548"/>
                  </a:lnTo>
                  <a:lnTo>
                    <a:pt x="557521" y="886312"/>
                  </a:lnTo>
                  <a:lnTo>
                    <a:pt x="600407" y="895844"/>
                  </a:lnTo>
                  <a:lnTo>
                    <a:pt x="619467" y="891080"/>
                  </a:lnTo>
                  <a:lnTo>
                    <a:pt x="628998" y="881548"/>
                  </a:lnTo>
                  <a:lnTo>
                    <a:pt x="638528" y="876784"/>
                  </a:lnTo>
                  <a:lnTo>
                    <a:pt x="643293" y="886312"/>
                  </a:lnTo>
                  <a:lnTo>
                    <a:pt x="638528" y="895844"/>
                  </a:lnTo>
                  <a:lnTo>
                    <a:pt x="652823" y="905376"/>
                  </a:lnTo>
                  <a:lnTo>
                    <a:pt x="667118" y="914904"/>
                  </a:lnTo>
                  <a:lnTo>
                    <a:pt x="676649" y="914904"/>
                  </a:lnTo>
                  <a:lnTo>
                    <a:pt x="667118" y="905376"/>
                  </a:lnTo>
                  <a:lnTo>
                    <a:pt x="662353" y="886312"/>
                  </a:lnTo>
                  <a:lnTo>
                    <a:pt x="662353" y="881548"/>
                  </a:lnTo>
                  <a:lnTo>
                    <a:pt x="662353" y="872020"/>
                  </a:lnTo>
                  <a:lnTo>
                    <a:pt x="648058" y="872020"/>
                  </a:lnTo>
                  <a:lnTo>
                    <a:pt x="648058" y="867252"/>
                  </a:lnTo>
                  <a:lnTo>
                    <a:pt x="657588" y="852956"/>
                  </a:lnTo>
                  <a:lnTo>
                    <a:pt x="671884" y="814836"/>
                  </a:lnTo>
                  <a:lnTo>
                    <a:pt x="681414" y="781480"/>
                  </a:lnTo>
                  <a:lnTo>
                    <a:pt x="667118" y="748124"/>
                  </a:lnTo>
                  <a:lnTo>
                    <a:pt x="638528" y="724300"/>
                  </a:lnTo>
                  <a:lnTo>
                    <a:pt x="586111" y="662352"/>
                  </a:lnTo>
                  <a:lnTo>
                    <a:pt x="552755" y="628996"/>
                  </a:lnTo>
                  <a:lnTo>
                    <a:pt x="543225" y="614700"/>
                  </a:lnTo>
                  <a:lnTo>
                    <a:pt x="533695" y="609936"/>
                  </a:lnTo>
                  <a:lnTo>
                    <a:pt x="505104" y="600408"/>
                  </a:lnTo>
                  <a:lnTo>
                    <a:pt x="481279" y="581344"/>
                  </a:lnTo>
                  <a:lnTo>
                    <a:pt x="443158" y="557520"/>
                  </a:lnTo>
                  <a:lnTo>
                    <a:pt x="424097" y="543224"/>
                  </a:lnTo>
                  <a:lnTo>
                    <a:pt x="414567" y="509868"/>
                  </a:lnTo>
                  <a:lnTo>
                    <a:pt x="405036" y="505104"/>
                  </a:lnTo>
                  <a:lnTo>
                    <a:pt x="409802" y="481276"/>
                  </a:lnTo>
                  <a:lnTo>
                    <a:pt x="405036" y="443156"/>
                  </a:lnTo>
                  <a:lnTo>
                    <a:pt x="395506" y="433628"/>
                  </a:lnTo>
                  <a:lnTo>
                    <a:pt x="376446" y="424096"/>
                  </a:lnTo>
                  <a:lnTo>
                    <a:pt x="371681" y="395504"/>
                  </a:lnTo>
                  <a:lnTo>
                    <a:pt x="366915" y="371680"/>
                  </a:lnTo>
                  <a:lnTo>
                    <a:pt x="366915" y="352620"/>
                  </a:lnTo>
                  <a:lnTo>
                    <a:pt x="328794" y="324028"/>
                  </a:lnTo>
                  <a:lnTo>
                    <a:pt x="328794" y="309732"/>
                  </a:lnTo>
                  <a:lnTo>
                    <a:pt x="328794" y="295436"/>
                  </a:lnTo>
                  <a:lnTo>
                    <a:pt x="324029" y="281144"/>
                  </a:lnTo>
                  <a:lnTo>
                    <a:pt x="304969" y="252552"/>
                  </a:lnTo>
                  <a:lnTo>
                    <a:pt x="281143" y="223960"/>
                  </a:lnTo>
                  <a:lnTo>
                    <a:pt x="271613" y="214432"/>
                  </a:lnTo>
                  <a:lnTo>
                    <a:pt x="271613" y="190604"/>
                  </a:lnTo>
                  <a:lnTo>
                    <a:pt x="262083" y="181076"/>
                  </a:lnTo>
                  <a:lnTo>
                    <a:pt x="266848" y="181076"/>
                  </a:lnTo>
                  <a:lnTo>
                    <a:pt x="271613" y="181076"/>
                  </a:lnTo>
                  <a:lnTo>
                    <a:pt x="276378" y="176308"/>
                  </a:lnTo>
                  <a:lnTo>
                    <a:pt x="276378" y="162016"/>
                  </a:lnTo>
                  <a:lnTo>
                    <a:pt x="243022" y="133424"/>
                  </a:lnTo>
                  <a:lnTo>
                    <a:pt x="233492" y="95304"/>
                  </a:lnTo>
                  <a:lnTo>
                    <a:pt x="214431" y="76244"/>
                  </a:lnTo>
                  <a:lnTo>
                    <a:pt x="209666" y="71476"/>
                  </a:lnTo>
                  <a:lnTo>
                    <a:pt x="200136" y="38120"/>
                  </a:lnTo>
                  <a:lnTo>
                    <a:pt x="243022" y="33356"/>
                  </a:lnTo>
                  <a:lnTo>
                    <a:pt x="285908" y="28592"/>
                  </a:lnTo>
                  <a:lnTo>
                    <a:pt x="333560" y="23824"/>
                  </a:lnTo>
                  <a:lnTo>
                    <a:pt x="376446" y="19060"/>
                  </a:lnTo>
                  <a:lnTo>
                    <a:pt x="424097" y="14296"/>
                  </a:lnTo>
                  <a:lnTo>
                    <a:pt x="466983" y="9532"/>
                  </a:lnTo>
                  <a:lnTo>
                    <a:pt x="557521"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59" name="Google Shape;4726;p64">
              <a:extLst>
                <a:ext uri="{FF2B5EF4-FFF2-40B4-BE49-F238E27FC236}">
                  <a16:creationId xmlns:a16="http://schemas.microsoft.com/office/drawing/2014/main" id="{45D635CA-5C4D-220D-C612-9D0543983987}"/>
                </a:ext>
              </a:extLst>
            </p:cNvPr>
            <p:cNvSpPr/>
            <p:nvPr/>
          </p:nvSpPr>
          <p:spPr>
            <a:xfrm>
              <a:off x="8173091" y="4860156"/>
              <a:ext cx="3281" cy="4594"/>
            </a:xfrm>
            <a:custGeom>
              <a:avLst/>
              <a:gdLst/>
              <a:ahLst/>
              <a:cxnLst/>
              <a:rect l="l" t="t" r="r" b="b"/>
              <a:pathLst>
                <a:path w="10" h="14" extrusionOk="0">
                  <a:moveTo>
                    <a:pt x="2" y="12"/>
                  </a:moveTo>
                  <a:lnTo>
                    <a:pt x="6" y="4"/>
                  </a:lnTo>
                  <a:lnTo>
                    <a:pt x="8" y="2"/>
                  </a:lnTo>
                  <a:lnTo>
                    <a:pt x="10" y="0"/>
                  </a:lnTo>
                  <a:lnTo>
                    <a:pt x="8" y="2"/>
                  </a:lnTo>
                  <a:lnTo>
                    <a:pt x="4" y="4"/>
                  </a:lnTo>
                  <a:lnTo>
                    <a:pt x="2" y="10"/>
                  </a:lnTo>
                  <a:lnTo>
                    <a:pt x="2" y="12"/>
                  </a:lnTo>
                  <a:lnTo>
                    <a:pt x="0" y="14"/>
                  </a:lnTo>
                  <a:lnTo>
                    <a:pt x="2" y="14"/>
                  </a:lnTo>
                  <a:lnTo>
                    <a:pt x="2"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60" name="Google Shape;4727;p64">
              <a:extLst>
                <a:ext uri="{FF2B5EF4-FFF2-40B4-BE49-F238E27FC236}">
                  <a16:creationId xmlns:a16="http://schemas.microsoft.com/office/drawing/2014/main" id="{65322050-08AC-99BD-2FB9-F64BF2C7316E}"/>
                </a:ext>
              </a:extLst>
            </p:cNvPr>
            <p:cNvSpPr/>
            <p:nvPr/>
          </p:nvSpPr>
          <p:spPr>
            <a:xfrm>
              <a:off x="8215751" y="4837841"/>
              <a:ext cx="3938" cy="1313"/>
            </a:xfrm>
            <a:custGeom>
              <a:avLst/>
              <a:gdLst/>
              <a:ahLst/>
              <a:cxnLst/>
              <a:rect l="l" t="t" r="r" b="b"/>
              <a:pathLst>
                <a:path w="12" h="4" extrusionOk="0">
                  <a:moveTo>
                    <a:pt x="0" y="0"/>
                  </a:moveTo>
                  <a:lnTo>
                    <a:pt x="2" y="2"/>
                  </a:lnTo>
                  <a:lnTo>
                    <a:pt x="2" y="2"/>
                  </a:lnTo>
                  <a:lnTo>
                    <a:pt x="6" y="2"/>
                  </a:lnTo>
                  <a:lnTo>
                    <a:pt x="8" y="2"/>
                  </a:lnTo>
                  <a:lnTo>
                    <a:pt x="10" y="4"/>
                  </a:lnTo>
                  <a:lnTo>
                    <a:pt x="12" y="4"/>
                  </a:lnTo>
                  <a:lnTo>
                    <a:pt x="8" y="0"/>
                  </a:lnTo>
                  <a:lnTo>
                    <a:pt x="2" y="0"/>
                  </a:lnTo>
                  <a:lnTo>
                    <a:pt x="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61" name="Google Shape;4728;p64">
              <a:extLst>
                <a:ext uri="{FF2B5EF4-FFF2-40B4-BE49-F238E27FC236}">
                  <a16:creationId xmlns:a16="http://schemas.microsoft.com/office/drawing/2014/main" id="{2A41E84A-9681-BF07-5A31-6006CECB0E64}"/>
                </a:ext>
              </a:extLst>
            </p:cNvPr>
            <p:cNvSpPr/>
            <p:nvPr/>
          </p:nvSpPr>
          <p:spPr>
            <a:xfrm>
              <a:off x="8203939" y="4835216"/>
              <a:ext cx="7876" cy="1969"/>
            </a:xfrm>
            <a:custGeom>
              <a:avLst/>
              <a:gdLst/>
              <a:ahLst/>
              <a:cxnLst/>
              <a:rect l="l" t="t" r="r" b="b"/>
              <a:pathLst>
                <a:path w="24" h="6" extrusionOk="0">
                  <a:moveTo>
                    <a:pt x="6" y="2"/>
                  </a:moveTo>
                  <a:lnTo>
                    <a:pt x="2" y="0"/>
                  </a:lnTo>
                  <a:lnTo>
                    <a:pt x="0" y="0"/>
                  </a:lnTo>
                  <a:lnTo>
                    <a:pt x="4" y="4"/>
                  </a:lnTo>
                  <a:lnTo>
                    <a:pt x="12" y="6"/>
                  </a:lnTo>
                  <a:lnTo>
                    <a:pt x="14" y="6"/>
                  </a:lnTo>
                  <a:lnTo>
                    <a:pt x="16" y="6"/>
                  </a:lnTo>
                  <a:lnTo>
                    <a:pt x="18" y="6"/>
                  </a:lnTo>
                  <a:lnTo>
                    <a:pt x="22" y="4"/>
                  </a:lnTo>
                  <a:lnTo>
                    <a:pt x="24" y="4"/>
                  </a:lnTo>
                  <a:lnTo>
                    <a:pt x="14" y="4"/>
                  </a:lnTo>
                  <a:lnTo>
                    <a:pt x="6"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62" name="Google Shape;4729;p64">
              <a:extLst>
                <a:ext uri="{FF2B5EF4-FFF2-40B4-BE49-F238E27FC236}">
                  <a16:creationId xmlns:a16="http://schemas.microsoft.com/office/drawing/2014/main" id="{1419125D-DA40-463E-624C-19A34DFE6E11}"/>
                </a:ext>
              </a:extLst>
            </p:cNvPr>
            <p:cNvSpPr/>
            <p:nvPr/>
          </p:nvSpPr>
          <p:spPr>
            <a:xfrm>
              <a:off x="8153402" y="4831278"/>
              <a:ext cx="3281" cy="1313"/>
            </a:xfrm>
            <a:custGeom>
              <a:avLst/>
              <a:gdLst/>
              <a:ahLst/>
              <a:cxnLst/>
              <a:rect l="l" t="t" r="r" b="b"/>
              <a:pathLst>
                <a:path w="10" h="4" extrusionOk="0">
                  <a:moveTo>
                    <a:pt x="10" y="2"/>
                  </a:moveTo>
                  <a:lnTo>
                    <a:pt x="6" y="2"/>
                  </a:lnTo>
                  <a:lnTo>
                    <a:pt x="0" y="0"/>
                  </a:lnTo>
                  <a:lnTo>
                    <a:pt x="0" y="2"/>
                  </a:lnTo>
                  <a:lnTo>
                    <a:pt x="2" y="2"/>
                  </a:lnTo>
                  <a:lnTo>
                    <a:pt x="10" y="4"/>
                  </a:lnTo>
                  <a:lnTo>
                    <a:pt x="10"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63" name="Google Shape;4730;p64">
              <a:extLst>
                <a:ext uri="{FF2B5EF4-FFF2-40B4-BE49-F238E27FC236}">
                  <a16:creationId xmlns:a16="http://schemas.microsoft.com/office/drawing/2014/main" id="{38DFBE32-E7D6-51FB-AB20-02236B7F95E8}"/>
                </a:ext>
              </a:extLst>
            </p:cNvPr>
            <p:cNvSpPr/>
            <p:nvPr/>
          </p:nvSpPr>
          <p:spPr>
            <a:xfrm>
              <a:off x="8114023" y="4747926"/>
              <a:ext cx="1313" cy="657"/>
            </a:xfrm>
            <a:custGeom>
              <a:avLst/>
              <a:gdLst/>
              <a:ahLst/>
              <a:cxnLst/>
              <a:rect l="l" t="t" r="r" b="b"/>
              <a:pathLst>
                <a:path w="4" h="2" extrusionOk="0">
                  <a:moveTo>
                    <a:pt x="2" y="0"/>
                  </a:moveTo>
                  <a:lnTo>
                    <a:pt x="4" y="0"/>
                  </a:lnTo>
                  <a:lnTo>
                    <a:pt x="2" y="0"/>
                  </a:lnTo>
                  <a:lnTo>
                    <a:pt x="0" y="0"/>
                  </a:lnTo>
                  <a:lnTo>
                    <a:pt x="0" y="0"/>
                  </a:lnTo>
                  <a:lnTo>
                    <a:pt x="2" y="2"/>
                  </a:lnTo>
                  <a:lnTo>
                    <a:pt x="2"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64" name="Google Shape;4731;p64">
              <a:extLst>
                <a:ext uri="{FF2B5EF4-FFF2-40B4-BE49-F238E27FC236}">
                  <a16:creationId xmlns:a16="http://schemas.microsoft.com/office/drawing/2014/main" id="{55FA9B76-43DC-59E0-AF6D-BEFDEFA56791}"/>
                </a:ext>
              </a:extLst>
            </p:cNvPr>
            <p:cNvCxnSpPr/>
            <p:nvPr/>
          </p:nvCxnSpPr>
          <p:spPr>
            <a:xfrm>
              <a:off x="8114679" y="4747926"/>
              <a:ext cx="0" cy="0"/>
            </a:xfrm>
            <a:prstGeom prst="straightConnector1">
              <a:avLst/>
            </a:prstGeom>
            <a:grpFill/>
            <a:ln w="9525" cap="flat" cmpd="sng">
              <a:solidFill>
                <a:schemeClr val="bg2"/>
              </a:solidFill>
              <a:prstDash val="solid"/>
              <a:round/>
              <a:headEnd type="none" w="med" len="med"/>
              <a:tailEnd type="none" w="med" len="med"/>
            </a:ln>
          </p:spPr>
        </p:cxnSp>
        <p:sp>
          <p:nvSpPr>
            <p:cNvPr id="265" name="Google Shape;4732;p64">
              <a:extLst>
                <a:ext uri="{FF2B5EF4-FFF2-40B4-BE49-F238E27FC236}">
                  <a16:creationId xmlns:a16="http://schemas.microsoft.com/office/drawing/2014/main" id="{61213223-3C73-959E-2C46-A422974725F0}"/>
                </a:ext>
              </a:extLst>
            </p:cNvPr>
            <p:cNvSpPr/>
            <p:nvPr/>
          </p:nvSpPr>
          <p:spPr>
            <a:xfrm>
              <a:off x="4964697" y="3982007"/>
              <a:ext cx="55130" cy="43317"/>
            </a:xfrm>
            <a:custGeom>
              <a:avLst/>
              <a:gdLst/>
              <a:ahLst/>
              <a:cxnLst/>
              <a:rect l="l" t="t" r="r" b="b"/>
              <a:pathLst>
                <a:path w="168" h="132" extrusionOk="0">
                  <a:moveTo>
                    <a:pt x="124" y="4"/>
                  </a:moveTo>
                  <a:lnTo>
                    <a:pt x="124" y="2"/>
                  </a:lnTo>
                  <a:lnTo>
                    <a:pt x="120" y="0"/>
                  </a:lnTo>
                  <a:lnTo>
                    <a:pt x="118" y="0"/>
                  </a:lnTo>
                  <a:lnTo>
                    <a:pt x="112" y="2"/>
                  </a:lnTo>
                  <a:lnTo>
                    <a:pt x="106" y="4"/>
                  </a:lnTo>
                  <a:lnTo>
                    <a:pt x="102" y="2"/>
                  </a:lnTo>
                  <a:lnTo>
                    <a:pt x="96" y="2"/>
                  </a:lnTo>
                  <a:lnTo>
                    <a:pt x="92" y="4"/>
                  </a:lnTo>
                  <a:lnTo>
                    <a:pt x="90" y="4"/>
                  </a:lnTo>
                  <a:lnTo>
                    <a:pt x="86" y="8"/>
                  </a:lnTo>
                  <a:lnTo>
                    <a:pt x="78" y="10"/>
                  </a:lnTo>
                  <a:lnTo>
                    <a:pt x="74" y="10"/>
                  </a:lnTo>
                  <a:lnTo>
                    <a:pt x="74" y="10"/>
                  </a:lnTo>
                  <a:lnTo>
                    <a:pt x="62" y="12"/>
                  </a:lnTo>
                  <a:lnTo>
                    <a:pt x="58" y="14"/>
                  </a:lnTo>
                  <a:lnTo>
                    <a:pt x="56" y="20"/>
                  </a:lnTo>
                  <a:lnTo>
                    <a:pt x="56" y="22"/>
                  </a:lnTo>
                  <a:lnTo>
                    <a:pt x="54" y="22"/>
                  </a:lnTo>
                  <a:lnTo>
                    <a:pt x="50" y="20"/>
                  </a:lnTo>
                  <a:lnTo>
                    <a:pt x="46" y="16"/>
                  </a:lnTo>
                  <a:lnTo>
                    <a:pt x="40" y="16"/>
                  </a:lnTo>
                  <a:lnTo>
                    <a:pt x="22" y="24"/>
                  </a:lnTo>
                  <a:lnTo>
                    <a:pt x="20" y="30"/>
                  </a:lnTo>
                  <a:lnTo>
                    <a:pt x="20" y="40"/>
                  </a:lnTo>
                  <a:lnTo>
                    <a:pt x="18" y="42"/>
                  </a:lnTo>
                  <a:lnTo>
                    <a:pt x="16" y="44"/>
                  </a:lnTo>
                  <a:lnTo>
                    <a:pt x="10" y="42"/>
                  </a:lnTo>
                  <a:lnTo>
                    <a:pt x="8" y="42"/>
                  </a:lnTo>
                  <a:lnTo>
                    <a:pt x="8" y="44"/>
                  </a:lnTo>
                  <a:lnTo>
                    <a:pt x="4" y="58"/>
                  </a:lnTo>
                  <a:lnTo>
                    <a:pt x="6" y="64"/>
                  </a:lnTo>
                  <a:lnTo>
                    <a:pt x="6" y="68"/>
                  </a:lnTo>
                  <a:lnTo>
                    <a:pt x="2" y="70"/>
                  </a:lnTo>
                  <a:lnTo>
                    <a:pt x="0" y="74"/>
                  </a:lnTo>
                  <a:lnTo>
                    <a:pt x="4" y="84"/>
                  </a:lnTo>
                  <a:lnTo>
                    <a:pt x="4" y="90"/>
                  </a:lnTo>
                  <a:lnTo>
                    <a:pt x="4" y="94"/>
                  </a:lnTo>
                  <a:lnTo>
                    <a:pt x="8" y="108"/>
                  </a:lnTo>
                  <a:lnTo>
                    <a:pt x="12" y="112"/>
                  </a:lnTo>
                  <a:lnTo>
                    <a:pt x="14" y="114"/>
                  </a:lnTo>
                  <a:lnTo>
                    <a:pt x="18" y="124"/>
                  </a:lnTo>
                  <a:lnTo>
                    <a:pt x="20" y="126"/>
                  </a:lnTo>
                  <a:lnTo>
                    <a:pt x="28" y="126"/>
                  </a:lnTo>
                  <a:lnTo>
                    <a:pt x="32" y="128"/>
                  </a:lnTo>
                  <a:lnTo>
                    <a:pt x="34" y="130"/>
                  </a:lnTo>
                  <a:lnTo>
                    <a:pt x="34" y="132"/>
                  </a:lnTo>
                  <a:lnTo>
                    <a:pt x="44" y="132"/>
                  </a:lnTo>
                  <a:lnTo>
                    <a:pt x="46" y="130"/>
                  </a:lnTo>
                  <a:lnTo>
                    <a:pt x="58" y="130"/>
                  </a:lnTo>
                  <a:lnTo>
                    <a:pt x="64" y="126"/>
                  </a:lnTo>
                  <a:lnTo>
                    <a:pt x="66" y="128"/>
                  </a:lnTo>
                  <a:lnTo>
                    <a:pt x="74" y="130"/>
                  </a:lnTo>
                  <a:lnTo>
                    <a:pt x="78" y="128"/>
                  </a:lnTo>
                  <a:lnTo>
                    <a:pt x="88" y="124"/>
                  </a:lnTo>
                  <a:lnTo>
                    <a:pt x="98" y="110"/>
                  </a:lnTo>
                  <a:lnTo>
                    <a:pt x="102" y="108"/>
                  </a:lnTo>
                  <a:lnTo>
                    <a:pt x="112" y="106"/>
                  </a:lnTo>
                  <a:lnTo>
                    <a:pt x="114" y="104"/>
                  </a:lnTo>
                  <a:lnTo>
                    <a:pt x="118" y="106"/>
                  </a:lnTo>
                  <a:lnTo>
                    <a:pt x="128" y="108"/>
                  </a:lnTo>
                  <a:lnTo>
                    <a:pt x="134" y="108"/>
                  </a:lnTo>
                  <a:lnTo>
                    <a:pt x="142" y="106"/>
                  </a:lnTo>
                  <a:lnTo>
                    <a:pt x="150" y="104"/>
                  </a:lnTo>
                  <a:lnTo>
                    <a:pt x="152" y="92"/>
                  </a:lnTo>
                  <a:lnTo>
                    <a:pt x="154" y="90"/>
                  </a:lnTo>
                  <a:lnTo>
                    <a:pt x="158" y="90"/>
                  </a:lnTo>
                  <a:lnTo>
                    <a:pt x="162" y="90"/>
                  </a:lnTo>
                  <a:lnTo>
                    <a:pt x="164" y="88"/>
                  </a:lnTo>
                  <a:lnTo>
                    <a:pt x="164" y="66"/>
                  </a:lnTo>
                  <a:lnTo>
                    <a:pt x="168" y="56"/>
                  </a:lnTo>
                  <a:lnTo>
                    <a:pt x="168" y="54"/>
                  </a:lnTo>
                  <a:lnTo>
                    <a:pt x="168" y="52"/>
                  </a:lnTo>
                  <a:lnTo>
                    <a:pt x="164" y="52"/>
                  </a:lnTo>
                  <a:lnTo>
                    <a:pt x="162" y="46"/>
                  </a:lnTo>
                  <a:lnTo>
                    <a:pt x="158" y="32"/>
                  </a:lnTo>
                  <a:lnTo>
                    <a:pt x="154" y="28"/>
                  </a:lnTo>
                  <a:lnTo>
                    <a:pt x="148" y="26"/>
                  </a:lnTo>
                  <a:lnTo>
                    <a:pt x="140" y="22"/>
                  </a:lnTo>
                  <a:lnTo>
                    <a:pt x="136" y="16"/>
                  </a:lnTo>
                  <a:lnTo>
                    <a:pt x="124"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66" name="Google Shape;4733;p64">
              <a:extLst>
                <a:ext uri="{FF2B5EF4-FFF2-40B4-BE49-F238E27FC236}">
                  <a16:creationId xmlns:a16="http://schemas.microsoft.com/office/drawing/2014/main" id="{6AD1F55D-D860-A806-E329-58D92F23DFD9}"/>
                </a:ext>
              </a:extLst>
            </p:cNvPr>
            <p:cNvSpPr/>
            <p:nvPr/>
          </p:nvSpPr>
          <p:spPr>
            <a:xfrm>
              <a:off x="4261128" y="4434208"/>
              <a:ext cx="355066" cy="336033"/>
            </a:xfrm>
            <a:custGeom>
              <a:avLst/>
              <a:gdLst/>
              <a:ahLst/>
              <a:cxnLst/>
              <a:rect l="l" t="t" r="r" b="b"/>
              <a:pathLst>
                <a:path w="1082" h="1024" extrusionOk="0">
                  <a:moveTo>
                    <a:pt x="1082" y="414"/>
                  </a:moveTo>
                  <a:lnTo>
                    <a:pt x="1060" y="418"/>
                  </a:lnTo>
                  <a:lnTo>
                    <a:pt x="1046" y="420"/>
                  </a:lnTo>
                  <a:lnTo>
                    <a:pt x="1030" y="424"/>
                  </a:lnTo>
                  <a:lnTo>
                    <a:pt x="1026" y="424"/>
                  </a:lnTo>
                  <a:lnTo>
                    <a:pt x="1022" y="424"/>
                  </a:lnTo>
                  <a:lnTo>
                    <a:pt x="1018" y="422"/>
                  </a:lnTo>
                  <a:lnTo>
                    <a:pt x="1012" y="418"/>
                  </a:lnTo>
                  <a:lnTo>
                    <a:pt x="1008" y="416"/>
                  </a:lnTo>
                  <a:lnTo>
                    <a:pt x="1008" y="414"/>
                  </a:lnTo>
                  <a:lnTo>
                    <a:pt x="1010" y="408"/>
                  </a:lnTo>
                  <a:lnTo>
                    <a:pt x="1012" y="404"/>
                  </a:lnTo>
                  <a:lnTo>
                    <a:pt x="1014" y="402"/>
                  </a:lnTo>
                  <a:lnTo>
                    <a:pt x="1016" y="400"/>
                  </a:lnTo>
                  <a:lnTo>
                    <a:pt x="1018" y="398"/>
                  </a:lnTo>
                  <a:lnTo>
                    <a:pt x="1018" y="396"/>
                  </a:lnTo>
                  <a:lnTo>
                    <a:pt x="1016" y="390"/>
                  </a:lnTo>
                  <a:lnTo>
                    <a:pt x="1014" y="384"/>
                  </a:lnTo>
                  <a:lnTo>
                    <a:pt x="1014" y="374"/>
                  </a:lnTo>
                  <a:lnTo>
                    <a:pt x="1014" y="368"/>
                  </a:lnTo>
                  <a:lnTo>
                    <a:pt x="1010" y="364"/>
                  </a:lnTo>
                  <a:lnTo>
                    <a:pt x="1000" y="360"/>
                  </a:lnTo>
                  <a:lnTo>
                    <a:pt x="992" y="356"/>
                  </a:lnTo>
                  <a:lnTo>
                    <a:pt x="988" y="356"/>
                  </a:lnTo>
                  <a:lnTo>
                    <a:pt x="978" y="354"/>
                  </a:lnTo>
                  <a:lnTo>
                    <a:pt x="966" y="352"/>
                  </a:lnTo>
                  <a:lnTo>
                    <a:pt x="962" y="350"/>
                  </a:lnTo>
                  <a:lnTo>
                    <a:pt x="954" y="340"/>
                  </a:lnTo>
                  <a:lnTo>
                    <a:pt x="950" y="336"/>
                  </a:lnTo>
                  <a:lnTo>
                    <a:pt x="930" y="334"/>
                  </a:lnTo>
                  <a:lnTo>
                    <a:pt x="924" y="334"/>
                  </a:lnTo>
                  <a:lnTo>
                    <a:pt x="920" y="330"/>
                  </a:lnTo>
                  <a:lnTo>
                    <a:pt x="914" y="328"/>
                  </a:lnTo>
                  <a:lnTo>
                    <a:pt x="912" y="322"/>
                  </a:lnTo>
                  <a:lnTo>
                    <a:pt x="912" y="318"/>
                  </a:lnTo>
                  <a:lnTo>
                    <a:pt x="910" y="316"/>
                  </a:lnTo>
                  <a:lnTo>
                    <a:pt x="888" y="304"/>
                  </a:lnTo>
                  <a:lnTo>
                    <a:pt x="884" y="300"/>
                  </a:lnTo>
                  <a:lnTo>
                    <a:pt x="880" y="296"/>
                  </a:lnTo>
                  <a:lnTo>
                    <a:pt x="880" y="292"/>
                  </a:lnTo>
                  <a:lnTo>
                    <a:pt x="880" y="286"/>
                  </a:lnTo>
                  <a:lnTo>
                    <a:pt x="880" y="280"/>
                  </a:lnTo>
                  <a:lnTo>
                    <a:pt x="880" y="276"/>
                  </a:lnTo>
                  <a:lnTo>
                    <a:pt x="870" y="270"/>
                  </a:lnTo>
                  <a:lnTo>
                    <a:pt x="848" y="254"/>
                  </a:lnTo>
                  <a:lnTo>
                    <a:pt x="826" y="240"/>
                  </a:lnTo>
                  <a:lnTo>
                    <a:pt x="806" y="224"/>
                  </a:lnTo>
                  <a:lnTo>
                    <a:pt x="784" y="210"/>
                  </a:lnTo>
                  <a:lnTo>
                    <a:pt x="762" y="194"/>
                  </a:lnTo>
                  <a:lnTo>
                    <a:pt x="740" y="180"/>
                  </a:lnTo>
                  <a:lnTo>
                    <a:pt x="720" y="164"/>
                  </a:lnTo>
                  <a:lnTo>
                    <a:pt x="698" y="148"/>
                  </a:lnTo>
                  <a:lnTo>
                    <a:pt x="676" y="134"/>
                  </a:lnTo>
                  <a:lnTo>
                    <a:pt x="654" y="118"/>
                  </a:lnTo>
                  <a:lnTo>
                    <a:pt x="634" y="104"/>
                  </a:lnTo>
                  <a:lnTo>
                    <a:pt x="612" y="88"/>
                  </a:lnTo>
                  <a:lnTo>
                    <a:pt x="590" y="72"/>
                  </a:lnTo>
                  <a:lnTo>
                    <a:pt x="568" y="56"/>
                  </a:lnTo>
                  <a:lnTo>
                    <a:pt x="548" y="42"/>
                  </a:lnTo>
                  <a:lnTo>
                    <a:pt x="526" y="26"/>
                  </a:lnTo>
                  <a:lnTo>
                    <a:pt x="508" y="14"/>
                  </a:lnTo>
                  <a:lnTo>
                    <a:pt x="488" y="0"/>
                  </a:lnTo>
                  <a:lnTo>
                    <a:pt x="372" y="0"/>
                  </a:lnTo>
                  <a:lnTo>
                    <a:pt x="374" y="16"/>
                  </a:lnTo>
                  <a:lnTo>
                    <a:pt x="376" y="34"/>
                  </a:lnTo>
                  <a:lnTo>
                    <a:pt x="378" y="52"/>
                  </a:lnTo>
                  <a:lnTo>
                    <a:pt x="380" y="70"/>
                  </a:lnTo>
                  <a:lnTo>
                    <a:pt x="380" y="88"/>
                  </a:lnTo>
                  <a:lnTo>
                    <a:pt x="382" y="106"/>
                  </a:lnTo>
                  <a:lnTo>
                    <a:pt x="384" y="122"/>
                  </a:lnTo>
                  <a:lnTo>
                    <a:pt x="386" y="140"/>
                  </a:lnTo>
                  <a:lnTo>
                    <a:pt x="388" y="158"/>
                  </a:lnTo>
                  <a:lnTo>
                    <a:pt x="390" y="176"/>
                  </a:lnTo>
                  <a:lnTo>
                    <a:pt x="392" y="194"/>
                  </a:lnTo>
                  <a:lnTo>
                    <a:pt x="394" y="212"/>
                  </a:lnTo>
                  <a:lnTo>
                    <a:pt x="396" y="228"/>
                  </a:lnTo>
                  <a:lnTo>
                    <a:pt x="398" y="246"/>
                  </a:lnTo>
                  <a:lnTo>
                    <a:pt x="402" y="282"/>
                  </a:lnTo>
                  <a:lnTo>
                    <a:pt x="404" y="298"/>
                  </a:lnTo>
                  <a:lnTo>
                    <a:pt x="406" y="316"/>
                  </a:lnTo>
                  <a:lnTo>
                    <a:pt x="408" y="334"/>
                  </a:lnTo>
                  <a:lnTo>
                    <a:pt x="410" y="350"/>
                  </a:lnTo>
                  <a:lnTo>
                    <a:pt x="410" y="368"/>
                  </a:lnTo>
                  <a:lnTo>
                    <a:pt x="412" y="386"/>
                  </a:lnTo>
                  <a:lnTo>
                    <a:pt x="414" y="404"/>
                  </a:lnTo>
                  <a:lnTo>
                    <a:pt x="420" y="454"/>
                  </a:lnTo>
                  <a:lnTo>
                    <a:pt x="422" y="472"/>
                  </a:lnTo>
                  <a:lnTo>
                    <a:pt x="426" y="506"/>
                  </a:lnTo>
                  <a:lnTo>
                    <a:pt x="428" y="524"/>
                  </a:lnTo>
                  <a:lnTo>
                    <a:pt x="430" y="540"/>
                  </a:lnTo>
                  <a:lnTo>
                    <a:pt x="432" y="558"/>
                  </a:lnTo>
                  <a:lnTo>
                    <a:pt x="434" y="574"/>
                  </a:lnTo>
                  <a:lnTo>
                    <a:pt x="436" y="590"/>
                  </a:lnTo>
                  <a:lnTo>
                    <a:pt x="442" y="600"/>
                  </a:lnTo>
                  <a:lnTo>
                    <a:pt x="452" y="610"/>
                  </a:lnTo>
                  <a:lnTo>
                    <a:pt x="450" y="626"/>
                  </a:lnTo>
                  <a:lnTo>
                    <a:pt x="446" y="644"/>
                  </a:lnTo>
                  <a:lnTo>
                    <a:pt x="442" y="664"/>
                  </a:lnTo>
                  <a:lnTo>
                    <a:pt x="202" y="664"/>
                  </a:lnTo>
                  <a:lnTo>
                    <a:pt x="194" y="664"/>
                  </a:lnTo>
                  <a:lnTo>
                    <a:pt x="192" y="662"/>
                  </a:lnTo>
                  <a:lnTo>
                    <a:pt x="190" y="652"/>
                  </a:lnTo>
                  <a:lnTo>
                    <a:pt x="188" y="652"/>
                  </a:lnTo>
                  <a:lnTo>
                    <a:pt x="186" y="656"/>
                  </a:lnTo>
                  <a:lnTo>
                    <a:pt x="184" y="658"/>
                  </a:lnTo>
                  <a:lnTo>
                    <a:pt x="186" y="662"/>
                  </a:lnTo>
                  <a:lnTo>
                    <a:pt x="184" y="666"/>
                  </a:lnTo>
                  <a:lnTo>
                    <a:pt x="176" y="668"/>
                  </a:lnTo>
                  <a:lnTo>
                    <a:pt x="164" y="670"/>
                  </a:lnTo>
                  <a:lnTo>
                    <a:pt x="152" y="672"/>
                  </a:lnTo>
                  <a:lnTo>
                    <a:pt x="140" y="672"/>
                  </a:lnTo>
                  <a:lnTo>
                    <a:pt x="136" y="670"/>
                  </a:lnTo>
                  <a:lnTo>
                    <a:pt x="132" y="670"/>
                  </a:lnTo>
                  <a:lnTo>
                    <a:pt x="122" y="668"/>
                  </a:lnTo>
                  <a:lnTo>
                    <a:pt x="116" y="668"/>
                  </a:lnTo>
                  <a:lnTo>
                    <a:pt x="110" y="668"/>
                  </a:lnTo>
                  <a:lnTo>
                    <a:pt x="102" y="670"/>
                  </a:lnTo>
                  <a:lnTo>
                    <a:pt x="100" y="670"/>
                  </a:lnTo>
                  <a:lnTo>
                    <a:pt x="96" y="678"/>
                  </a:lnTo>
                  <a:lnTo>
                    <a:pt x="90" y="688"/>
                  </a:lnTo>
                  <a:lnTo>
                    <a:pt x="86" y="688"/>
                  </a:lnTo>
                  <a:lnTo>
                    <a:pt x="82" y="682"/>
                  </a:lnTo>
                  <a:lnTo>
                    <a:pt x="72" y="674"/>
                  </a:lnTo>
                  <a:lnTo>
                    <a:pt x="58" y="662"/>
                  </a:lnTo>
                  <a:lnTo>
                    <a:pt x="54" y="656"/>
                  </a:lnTo>
                  <a:lnTo>
                    <a:pt x="50" y="654"/>
                  </a:lnTo>
                  <a:lnTo>
                    <a:pt x="44" y="658"/>
                  </a:lnTo>
                  <a:lnTo>
                    <a:pt x="38" y="662"/>
                  </a:lnTo>
                  <a:lnTo>
                    <a:pt x="34" y="668"/>
                  </a:lnTo>
                  <a:lnTo>
                    <a:pt x="30" y="674"/>
                  </a:lnTo>
                  <a:lnTo>
                    <a:pt x="28" y="682"/>
                  </a:lnTo>
                  <a:lnTo>
                    <a:pt x="28" y="688"/>
                  </a:lnTo>
                  <a:lnTo>
                    <a:pt x="26" y="698"/>
                  </a:lnTo>
                  <a:lnTo>
                    <a:pt x="22" y="706"/>
                  </a:lnTo>
                  <a:lnTo>
                    <a:pt x="16" y="710"/>
                  </a:lnTo>
                  <a:lnTo>
                    <a:pt x="12" y="714"/>
                  </a:lnTo>
                  <a:lnTo>
                    <a:pt x="10" y="716"/>
                  </a:lnTo>
                  <a:lnTo>
                    <a:pt x="0" y="710"/>
                  </a:lnTo>
                  <a:lnTo>
                    <a:pt x="6" y="722"/>
                  </a:lnTo>
                  <a:lnTo>
                    <a:pt x="4" y="726"/>
                  </a:lnTo>
                  <a:lnTo>
                    <a:pt x="2" y="734"/>
                  </a:lnTo>
                  <a:lnTo>
                    <a:pt x="6" y="740"/>
                  </a:lnTo>
                  <a:lnTo>
                    <a:pt x="10" y="744"/>
                  </a:lnTo>
                  <a:lnTo>
                    <a:pt x="14" y="748"/>
                  </a:lnTo>
                  <a:lnTo>
                    <a:pt x="16" y="752"/>
                  </a:lnTo>
                  <a:lnTo>
                    <a:pt x="16" y="760"/>
                  </a:lnTo>
                  <a:lnTo>
                    <a:pt x="16" y="768"/>
                  </a:lnTo>
                  <a:lnTo>
                    <a:pt x="18" y="770"/>
                  </a:lnTo>
                  <a:lnTo>
                    <a:pt x="20" y="774"/>
                  </a:lnTo>
                  <a:lnTo>
                    <a:pt x="20" y="776"/>
                  </a:lnTo>
                  <a:lnTo>
                    <a:pt x="18" y="780"/>
                  </a:lnTo>
                  <a:lnTo>
                    <a:pt x="14" y="784"/>
                  </a:lnTo>
                  <a:lnTo>
                    <a:pt x="14" y="790"/>
                  </a:lnTo>
                  <a:lnTo>
                    <a:pt x="20" y="798"/>
                  </a:lnTo>
                  <a:lnTo>
                    <a:pt x="24" y="802"/>
                  </a:lnTo>
                  <a:lnTo>
                    <a:pt x="24" y="806"/>
                  </a:lnTo>
                  <a:lnTo>
                    <a:pt x="26" y="808"/>
                  </a:lnTo>
                  <a:lnTo>
                    <a:pt x="28" y="812"/>
                  </a:lnTo>
                  <a:lnTo>
                    <a:pt x="30" y="810"/>
                  </a:lnTo>
                  <a:lnTo>
                    <a:pt x="32" y="808"/>
                  </a:lnTo>
                  <a:lnTo>
                    <a:pt x="34" y="806"/>
                  </a:lnTo>
                  <a:lnTo>
                    <a:pt x="38" y="808"/>
                  </a:lnTo>
                  <a:lnTo>
                    <a:pt x="42" y="808"/>
                  </a:lnTo>
                  <a:lnTo>
                    <a:pt x="44" y="814"/>
                  </a:lnTo>
                  <a:lnTo>
                    <a:pt x="46" y="816"/>
                  </a:lnTo>
                  <a:lnTo>
                    <a:pt x="48" y="822"/>
                  </a:lnTo>
                  <a:lnTo>
                    <a:pt x="50" y="826"/>
                  </a:lnTo>
                  <a:lnTo>
                    <a:pt x="54" y="832"/>
                  </a:lnTo>
                  <a:lnTo>
                    <a:pt x="54" y="834"/>
                  </a:lnTo>
                  <a:lnTo>
                    <a:pt x="58" y="836"/>
                  </a:lnTo>
                  <a:lnTo>
                    <a:pt x="56" y="844"/>
                  </a:lnTo>
                  <a:lnTo>
                    <a:pt x="56" y="848"/>
                  </a:lnTo>
                  <a:lnTo>
                    <a:pt x="54" y="858"/>
                  </a:lnTo>
                  <a:lnTo>
                    <a:pt x="54" y="862"/>
                  </a:lnTo>
                  <a:lnTo>
                    <a:pt x="54" y="864"/>
                  </a:lnTo>
                  <a:lnTo>
                    <a:pt x="58" y="868"/>
                  </a:lnTo>
                  <a:lnTo>
                    <a:pt x="58" y="872"/>
                  </a:lnTo>
                  <a:lnTo>
                    <a:pt x="56" y="874"/>
                  </a:lnTo>
                  <a:lnTo>
                    <a:pt x="54" y="878"/>
                  </a:lnTo>
                  <a:lnTo>
                    <a:pt x="52" y="884"/>
                  </a:lnTo>
                  <a:lnTo>
                    <a:pt x="50" y="886"/>
                  </a:lnTo>
                  <a:lnTo>
                    <a:pt x="50" y="888"/>
                  </a:lnTo>
                  <a:lnTo>
                    <a:pt x="56" y="892"/>
                  </a:lnTo>
                  <a:lnTo>
                    <a:pt x="64" y="898"/>
                  </a:lnTo>
                  <a:lnTo>
                    <a:pt x="66" y="900"/>
                  </a:lnTo>
                  <a:lnTo>
                    <a:pt x="70" y="898"/>
                  </a:lnTo>
                  <a:lnTo>
                    <a:pt x="74" y="894"/>
                  </a:lnTo>
                  <a:lnTo>
                    <a:pt x="78" y="888"/>
                  </a:lnTo>
                  <a:lnTo>
                    <a:pt x="82" y="886"/>
                  </a:lnTo>
                  <a:lnTo>
                    <a:pt x="88" y="886"/>
                  </a:lnTo>
                  <a:lnTo>
                    <a:pt x="92" y="890"/>
                  </a:lnTo>
                  <a:lnTo>
                    <a:pt x="96" y="898"/>
                  </a:lnTo>
                  <a:lnTo>
                    <a:pt x="100" y="904"/>
                  </a:lnTo>
                  <a:lnTo>
                    <a:pt x="100" y="906"/>
                  </a:lnTo>
                  <a:lnTo>
                    <a:pt x="102" y="906"/>
                  </a:lnTo>
                  <a:lnTo>
                    <a:pt x="104" y="906"/>
                  </a:lnTo>
                  <a:lnTo>
                    <a:pt x="106" y="906"/>
                  </a:lnTo>
                  <a:lnTo>
                    <a:pt x="108" y="904"/>
                  </a:lnTo>
                  <a:lnTo>
                    <a:pt x="110" y="900"/>
                  </a:lnTo>
                  <a:lnTo>
                    <a:pt x="118" y="890"/>
                  </a:lnTo>
                  <a:lnTo>
                    <a:pt x="124" y="888"/>
                  </a:lnTo>
                  <a:lnTo>
                    <a:pt x="126" y="888"/>
                  </a:lnTo>
                  <a:lnTo>
                    <a:pt x="130" y="886"/>
                  </a:lnTo>
                  <a:lnTo>
                    <a:pt x="138" y="888"/>
                  </a:lnTo>
                  <a:lnTo>
                    <a:pt x="148" y="892"/>
                  </a:lnTo>
                  <a:lnTo>
                    <a:pt x="160" y="898"/>
                  </a:lnTo>
                  <a:lnTo>
                    <a:pt x="164" y="898"/>
                  </a:lnTo>
                  <a:lnTo>
                    <a:pt x="168" y="898"/>
                  </a:lnTo>
                  <a:lnTo>
                    <a:pt x="170" y="890"/>
                  </a:lnTo>
                  <a:lnTo>
                    <a:pt x="176" y="888"/>
                  </a:lnTo>
                  <a:lnTo>
                    <a:pt x="182" y="884"/>
                  </a:lnTo>
                  <a:lnTo>
                    <a:pt x="188" y="884"/>
                  </a:lnTo>
                  <a:lnTo>
                    <a:pt x="190" y="882"/>
                  </a:lnTo>
                  <a:lnTo>
                    <a:pt x="192" y="882"/>
                  </a:lnTo>
                  <a:lnTo>
                    <a:pt x="192" y="878"/>
                  </a:lnTo>
                  <a:lnTo>
                    <a:pt x="192" y="876"/>
                  </a:lnTo>
                  <a:lnTo>
                    <a:pt x="188" y="870"/>
                  </a:lnTo>
                  <a:lnTo>
                    <a:pt x="188" y="868"/>
                  </a:lnTo>
                  <a:lnTo>
                    <a:pt x="190" y="868"/>
                  </a:lnTo>
                  <a:lnTo>
                    <a:pt x="194" y="868"/>
                  </a:lnTo>
                  <a:lnTo>
                    <a:pt x="200" y="868"/>
                  </a:lnTo>
                  <a:lnTo>
                    <a:pt x="206" y="870"/>
                  </a:lnTo>
                  <a:lnTo>
                    <a:pt x="212" y="874"/>
                  </a:lnTo>
                  <a:lnTo>
                    <a:pt x="214" y="876"/>
                  </a:lnTo>
                  <a:lnTo>
                    <a:pt x="218" y="884"/>
                  </a:lnTo>
                  <a:lnTo>
                    <a:pt x="220" y="892"/>
                  </a:lnTo>
                  <a:lnTo>
                    <a:pt x="226" y="906"/>
                  </a:lnTo>
                  <a:lnTo>
                    <a:pt x="226" y="922"/>
                  </a:lnTo>
                  <a:lnTo>
                    <a:pt x="228" y="924"/>
                  </a:lnTo>
                  <a:lnTo>
                    <a:pt x="232" y="924"/>
                  </a:lnTo>
                  <a:lnTo>
                    <a:pt x="232" y="926"/>
                  </a:lnTo>
                  <a:lnTo>
                    <a:pt x="236" y="932"/>
                  </a:lnTo>
                  <a:lnTo>
                    <a:pt x="238" y="934"/>
                  </a:lnTo>
                  <a:lnTo>
                    <a:pt x="242" y="934"/>
                  </a:lnTo>
                  <a:lnTo>
                    <a:pt x="248" y="940"/>
                  </a:lnTo>
                  <a:lnTo>
                    <a:pt x="252" y="942"/>
                  </a:lnTo>
                  <a:lnTo>
                    <a:pt x="254" y="942"/>
                  </a:lnTo>
                  <a:lnTo>
                    <a:pt x="254" y="944"/>
                  </a:lnTo>
                  <a:lnTo>
                    <a:pt x="252" y="946"/>
                  </a:lnTo>
                  <a:lnTo>
                    <a:pt x="250" y="948"/>
                  </a:lnTo>
                  <a:lnTo>
                    <a:pt x="246" y="952"/>
                  </a:lnTo>
                  <a:lnTo>
                    <a:pt x="242" y="956"/>
                  </a:lnTo>
                  <a:lnTo>
                    <a:pt x="236" y="964"/>
                  </a:lnTo>
                  <a:lnTo>
                    <a:pt x="236" y="966"/>
                  </a:lnTo>
                  <a:lnTo>
                    <a:pt x="238" y="968"/>
                  </a:lnTo>
                  <a:lnTo>
                    <a:pt x="240" y="968"/>
                  </a:lnTo>
                  <a:lnTo>
                    <a:pt x="242" y="968"/>
                  </a:lnTo>
                  <a:lnTo>
                    <a:pt x="248" y="964"/>
                  </a:lnTo>
                  <a:lnTo>
                    <a:pt x="254" y="964"/>
                  </a:lnTo>
                  <a:lnTo>
                    <a:pt x="258" y="968"/>
                  </a:lnTo>
                  <a:lnTo>
                    <a:pt x="260" y="970"/>
                  </a:lnTo>
                  <a:lnTo>
                    <a:pt x="260" y="974"/>
                  </a:lnTo>
                  <a:lnTo>
                    <a:pt x="258" y="978"/>
                  </a:lnTo>
                  <a:lnTo>
                    <a:pt x="258" y="984"/>
                  </a:lnTo>
                  <a:lnTo>
                    <a:pt x="260" y="992"/>
                  </a:lnTo>
                  <a:lnTo>
                    <a:pt x="262" y="1002"/>
                  </a:lnTo>
                  <a:lnTo>
                    <a:pt x="264" y="1004"/>
                  </a:lnTo>
                  <a:lnTo>
                    <a:pt x="280" y="1012"/>
                  </a:lnTo>
                  <a:lnTo>
                    <a:pt x="280" y="1016"/>
                  </a:lnTo>
                  <a:lnTo>
                    <a:pt x="282" y="1018"/>
                  </a:lnTo>
                  <a:lnTo>
                    <a:pt x="280" y="1022"/>
                  </a:lnTo>
                  <a:lnTo>
                    <a:pt x="282" y="1022"/>
                  </a:lnTo>
                  <a:lnTo>
                    <a:pt x="288" y="1022"/>
                  </a:lnTo>
                  <a:lnTo>
                    <a:pt x="292" y="1018"/>
                  </a:lnTo>
                  <a:lnTo>
                    <a:pt x="296" y="1010"/>
                  </a:lnTo>
                  <a:lnTo>
                    <a:pt x="302" y="1006"/>
                  </a:lnTo>
                  <a:lnTo>
                    <a:pt x="308" y="1006"/>
                  </a:lnTo>
                  <a:lnTo>
                    <a:pt x="310" y="1004"/>
                  </a:lnTo>
                  <a:lnTo>
                    <a:pt x="312" y="1004"/>
                  </a:lnTo>
                  <a:lnTo>
                    <a:pt x="316" y="1008"/>
                  </a:lnTo>
                  <a:lnTo>
                    <a:pt x="318" y="1010"/>
                  </a:lnTo>
                  <a:lnTo>
                    <a:pt x="320" y="1012"/>
                  </a:lnTo>
                  <a:lnTo>
                    <a:pt x="322" y="1016"/>
                  </a:lnTo>
                  <a:lnTo>
                    <a:pt x="334" y="1018"/>
                  </a:lnTo>
                  <a:lnTo>
                    <a:pt x="338" y="1020"/>
                  </a:lnTo>
                  <a:lnTo>
                    <a:pt x="342" y="1024"/>
                  </a:lnTo>
                  <a:lnTo>
                    <a:pt x="344" y="1024"/>
                  </a:lnTo>
                  <a:lnTo>
                    <a:pt x="346" y="1024"/>
                  </a:lnTo>
                  <a:lnTo>
                    <a:pt x="348" y="1022"/>
                  </a:lnTo>
                  <a:lnTo>
                    <a:pt x="348" y="1020"/>
                  </a:lnTo>
                  <a:lnTo>
                    <a:pt x="346" y="1016"/>
                  </a:lnTo>
                  <a:lnTo>
                    <a:pt x="346" y="1014"/>
                  </a:lnTo>
                  <a:lnTo>
                    <a:pt x="348" y="1010"/>
                  </a:lnTo>
                  <a:lnTo>
                    <a:pt x="352" y="1010"/>
                  </a:lnTo>
                  <a:lnTo>
                    <a:pt x="356" y="1010"/>
                  </a:lnTo>
                  <a:lnTo>
                    <a:pt x="362" y="1010"/>
                  </a:lnTo>
                  <a:lnTo>
                    <a:pt x="366" y="1010"/>
                  </a:lnTo>
                  <a:lnTo>
                    <a:pt x="366" y="1008"/>
                  </a:lnTo>
                  <a:lnTo>
                    <a:pt x="366" y="1000"/>
                  </a:lnTo>
                  <a:lnTo>
                    <a:pt x="366" y="996"/>
                  </a:lnTo>
                  <a:lnTo>
                    <a:pt x="366" y="992"/>
                  </a:lnTo>
                  <a:lnTo>
                    <a:pt x="368" y="990"/>
                  </a:lnTo>
                  <a:lnTo>
                    <a:pt x="374" y="994"/>
                  </a:lnTo>
                  <a:lnTo>
                    <a:pt x="380" y="996"/>
                  </a:lnTo>
                  <a:lnTo>
                    <a:pt x="384" y="996"/>
                  </a:lnTo>
                  <a:lnTo>
                    <a:pt x="384" y="996"/>
                  </a:lnTo>
                  <a:lnTo>
                    <a:pt x="382" y="990"/>
                  </a:lnTo>
                  <a:lnTo>
                    <a:pt x="382" y="988"/>
                  </a:lnTo>
                  <a:lnTo>
                    <a:pt x="384" y="988"/>
                  </a:lnTo>
                  <a:lnTo>
                    <a:pt x="386" y="988"/>
                  </a:lnTo>
                  <a:lnTo>
                    <a:pt x="394" y="986"/>
                  </a:lnTo>
                  <a:lnTo>
                    <a:pt x="394" y="986"/>
                  </a:lnTo>
                  <a:lnTo>
                    <a:pt x="396" y="994"/>
                  </a:lnTo>
                  <a:lnTo>
                    <a:pt x="394" y="996"/>
                  </a:lnTo>
                  <a:lnTo>
                    <a:pt x="396" y="1002"/>
                  </a:lnTo>
                  <a:lnTo>
                    <a:pt x="398" y="1006"/>
                  </a:lnTo>
                  <a:lnTo>
                    <a:pt x="398" y="1008"/>
                  </a:lnTo>
                  <a:lnTo>
                    <a:pt x="396" y="1012"/>
                  </a:lnTo>
                  <a:lnTo>
                    <a:pt x="394" y="1014"/>
                  </a:lnTo>
                  <a:lnTo>
                    <a:pt x="396" y="1016"/>
                  </a:lnTo>
                  <a:lnTo>
                    <a:pt x="398" y="1018"/>
                  </a:lnTo>
                  <a:lnTo>
                    <a:pt x="404" y="1020"/>
                  </a:lnTo>
                  <a:lnTo>
                    <a:pt x="408" y="1020"/>
                  </a:lnTo>
                  <a:lnTo>
                    <a:pt x="412" y="1018"/>
                  </a:lnTo>
                  <a:lnTo>
                    <a:pt x="414" y="1016"/>
                  </a:lnTo>
                  <a:lnTo>
                    <a:pt x="416" y="1014"/>
                  </a:lnTo>
                  <a:lnTo>
                    <a:pt x="418" y="1010"/>
                  </a:lnTo>
                  <a:lnTo>
                    <a:pt x="420" y="1008"/>
                  </a:lnTo>
                  <a:lnTo>
                    <a:pt x="430" y="1004"/>
                  </a:lnTo>
                  <a:lnTo>
                    <a:pt x="440" y="1004"/>
                  </a:lnTo>
                  <a:lnTo>
                    <a:pt x="442" y="1006"/>
                  </a:lnTo>
                  <a:lnTo>
                    <a:pt x="444" y="1002"/>
                  </a:lnTo>
                  <a:lnTo>
                    <a:pt x="444" y="996"/>
                  </a:lnTo>
                  <a:lnTo>
                    <a:pt x="446" y="990"/>
                  </a:lnTo>
                  <a:lnTo>
                    <a:pt x="446" y="982"/>
                  </a:lnTo>
                  <a:lnTo>
                    <a:pt x="446" y="972"/>
                  </a:lnTo>
                  <a:lnTo>
                    <a:pt x="444" y="964"/>
                  </a:lnTo>
                  <a:lnTo>
                    <a:pt x="448" y="962"/>
                  </a:lnTo>
                  <a:lnTo>
                    <a:pt x="454" y="958"/>
                  </a:lnTo>
                  <a:lnTo>
                    <a:pt x="456" y="952"/>
                  </a:lnTo>
                  <a:lnTo>
                    <a:pt x="460" y="942"/>
                  </a:lnTo>
                  <a:lnTo>
                    <a:pt x="462" y="932"/>
                  </a:lnTo>
                  <a:lnTo>
                    <a:pt x="460" y="928"/>
                  </a:lnTo>
                  <a:lnTo>
                    <a:pt x="458" y="926"/>
                  </a:lnTo>
                  <a:lnTo>
                    <a:pt x="458" y="922"/>
                  </a:lnTo>
                  <a:lnTo>
                    <a:pt x="456" y="916"/>
                  </a:lnTo>
                  <a:lnTo>
                    <a:pt x="458" y="912"/>
                  </a:lnTo>
                  <a:lnTo>
                    <a:pt x="462" y="908"/>
                  </a:lnTo>
                  <a:lnTo>
                    <a:pt x="466" y="904"/>
                  </a:lnTo>
                  <a:lnTo>
                    <a:pt x="470" y="902"/>
                  </a:lnTo>
                  <a:lnTo>
                    <a:pt x="478" y="900"/>
                  </a:lnTo>
                  <a:lnTo>
                    <a:pt x="490" y="898"/>
                  </a:lnTo>
                  <a:lnTo>
                    <a:pt x="496" y="896"/>
                  </a:lnTo>
                  <a:lnTo>
                    <a:pt x="500" y="892"/>
                  </a:lnTo>
                  <a:lnTo>
                    <a:pt x="504" y="890"/>
                  </a:lnTo>
                  <a:lnTo>
                    <a:pt x="506" y="884"/>
                  </a:lnTo>
                  <a:lnTo>
                    <a:pt x="510" y="882"/>
                  </a:lnTo>
                  <a:lnTo>
                    <a:pt x="514" y="878"/>
                  </a:lnTo>
                  <a:lnTo>
                    <a:pt x="514" y="866"/>
                  </a:lnTo>
                  <a:lnTo>
                    <a:pt x="514" y="860"/>
                  </a:lnTo>
                  <a:lnTo>
                    <a:pt x="512" y="858"/>
                  </a:lnTo>
                  <a:lnTo>
                    <a:pt x="510" y="856"/>
                  </a:lnTo>
                  <a:lnTo>
                    <a:pt x="526" y="846"/>
                  </a:lnTo>
                  <a:lnTo>
                    <a:pt x="528" y="842"/>
                  </a:lnTo>
                  <a:lnTo>
                    <a:pt x="524" y="834"/>
                  </a:lnTo>
                  <a:lnTo>
                    <a:pt x="522" y="830"/>
                  </a:lnTo>
                  <a:lnTo>
                    <a:pt x="520" y="824"/>
                  </a:lnTo>
                  <a:lnTo>
                    <a:pt x="524" y="820"/>
                  </a:lnTo>
                  <a:lnTo>
                    <a:pt x="528" y="816"/>
                  </a:lnTo>
                  <a:lnTo>
                    <a:pt x="532" y="812"/>
                  </a:lnTo>
                  <a:lnTo>
                    <a:pt x="538" y="808"/>
                  </a:lnTo>
                  <a:lnTo>
                    <a:pt x="546" y="806"/>
                  </a:lnTo>
                  <a:lnTo>
                    <a:pt x="552" y="808"/>
                  </a:lnTo>
                  <a:lnTo>
                    <a:pt x="570" y="820"/>
                  </a:lnTo>
                  <a:lnTo>
                    <a:pt x="572" y="820"/>
                  </a:lnTo>
                  <a:lnTo>
                    <a:pt x="576" y="820"/>
                  </a:lnTo>
                  <a:lnTo>
                    <a:pt x="582" y="816"/>
                  </a:lnTo>
                  <a:lnTo>
                    <a:pt x="588" y="814"/>
                  </a:lnTo>
                  <a:lnTo>
                    <a:pt x="590" y="806"/>
                  </a:lnTo>
                  <a:lnTo>
                    <a:pt x="590" y="794"/>
                  </a:lnTo>
                  <a:lnTo>
                    <a:pt x="592" y="788"/>
                  </a:lnTo>
                  <a:lnTo>
                    <a:pt x="594" y="788"/>
                  </a:lnTo>
                  <a:lnTo>
                    <a:pt x="604" y="790"/>
                  </a:lnTo>
                  <a:lnTo>
                    <a:pt x="608" y="790"/>
                  </a:lnTo>
                  <a:lnTo>
                    <a:pt x="610" y="790"/>
                  </a:lnTo>
                  <a:lnTo>
                    <a:pt x="612" y="786"/>
                  </a:lnTo>
                  <a:lnTo>
                    <a:pt x="612" y="784"/>
                  </a:lnTo>
                  <a:lnTo>
                    <a:pt x="612" y="780"/>
                  </a:lnTo>
                  <a:lnTo>
                    <a:pt x="616" y="768"/>
                  </a:lnTo>
                  <a:lnTo>
                    <a:pt x="622" y="760"/>
                  </a:lnTo>
                  <a:lnTo>
                    <a:pt x="634" y="750"/>
                  </a:lnTo>
                  <a:lnTo>
                    <a:pt x="638" y="748"/>
                  </a:lnTo>
                  <a:lnTo>
                    <a:pt x="642" y="748"/>
                  </a:lnTo>
                  <a:lnTo>
                    <a:pt x="666" y="754"/>
                  </a:lnTo>
                  <a:lnTo>
                    <a:pt x="670" y="752"/>
                  </a:lnTo>
                  <a:lnTo>
                    <a:pt x="674" y="734"/>
                  </a:lnTo>
                  <a:lnTo>
                    <a:pt x="680" y="732"/>
                  </a:lnTo>
                  <a:lnTo>
                    <a:pt x="688" y="732"/>
                  </a:lnTo>
                  <a:lnTo>
                    <a:pt x="692" y="732"/>
                  </a:lnTo>
                  <a:lnTo>
                    <a:pt x="696" y="730"/>
                  </a:lnTo>
                  <a:lnTo>
                    <a:pt x="706" y="724"/>
                  </a:lnTo>
                  <a:lnTo>
                    <a:pt x="724" y="714"/>
                  </a:lnTo>
                  <a:lnTo>
                    <a:pt x="736" y="710"/>
                  </a:lnTo>
                  <a:lnTo>
                    <a:pt x="738" y="708"/>
                  </a:lnTo>
                  <a:lnTo>
                    <a:pt x="744" y="702"/>
                  </a:lnTo>
                  <a:lnTo>
                    <a:pt x="754" y="694"/>
                  </a:lnTo>
                  <a:lnTo>
                    <a:pt x="760" y="694"/>
                  </a:lnTo>
                  <a:lnTo>
                    <a:pt x="768" y="692"/>
                  </a:lnTo>
                  <a:lnTo>
                    <a:pt x="774" y="694"/>
                  </a:lnTo>
                  <a:lnTo>
                    <a:pt x="776" y="696"/>
                  </a:lnTo>
                  <a:lnTo>
                    <a:pt x="778" y="696"/>
                  </a:lnTo>
                  <a:lnTo>
                    <a:pt x="788" y="694"/>
                  </a:lnTo>
                  <a:lnTo>
                    <a:pt x="804" y="698"/>
                  </a:lnTo>
                  <a:lnTo>
                    <a:pt x="818" y="704"/>
                  </a:lnTo>
                  <a:lnTo>
                    <a:pt x="820" y="700"/>
                  </a:lnTo>
                  <a:lnTo>
                    <a:pt x="822" y="700"/>
                  </a:lnTo>
                  <a:lnTo>
                    <a:pt x="832" y="700"/>
                  </a:lnTo>
                  <a:lnTo>
                    <a:pt x="852" y="700"/>
                  </a:lnTo>
                  <a:lnTo>
                    <a:pt x="866" y="700"/>
                  </a:lnTo>
                  <a:lnTo>
                    <a:pt x="868" y="698"/>
                  </a:lnTo>
                  <a:lnTo>
                    <a:pt x="878" y="690"/>
                  </a:lnTo>
                  <a:lnTo>
                    <a:pt x="890" y="680"/>
                  </a:lnTo>
                  <a:lnTo>
                    <a:pt x="908" y="678"/>
                  </a:lnTo>
                  <a:lnTo>
                    <a:pt x="926" y="678"/>
                  </a:lnTo>
                  <a:lnTo>
                    <a:pt x="942" y="676"/>
                  </a:lnTo>
                  <a:lnTo>
                    <a:pt x="962" y="676"/>
                  </a:lnTo>
                  <a:lnTo>
                    <a:pt x="980" y="676"/>
                  </a:lnTo>
                  <a:lnTo>
                    <a:pt x="1000" y="674"/>
                  </a:lnTo>
                  <a:lnTo>
                    <a:pt x="1002" y="670"/>
                  </a:lnTo>
                  <a:lnTo>
                    <a:pt x="1002" y="668"/>
                  </a:lnTo>
                  <a:lnTo>
                    <a:pt x="1004" y="668"/>
                  </a:lnTo>
                  <a:lnTo>
                    <a:pt x="1020" y="672"/>
                  </a:lnTo>
                  <a:lnTo>
                    <a:pt x="1034" y="674"/>
                  </a:lnTo>
                  <a:lnTo>
                    <a:pt x="1034" y="666"/>
                  </a:lnTo>
                  <a:lnTo>
                    <a:pt x="1048" y="654"/>
                  </a:lnTo>
                  <a:lnTo>
                    <a:pt x="1054" y="652"/>
                  </a:lnTo>
                  <a:lnTo>
                    <a:pt x="1056" y="650"/>
                  </a:lnTo>
                  <a:lnTo>
                    <a:pt x="1058" y="646"/>
                  </a:lnTo>
                  <a:lnTo>
                    <a:pt x="1060" y="640"/>
                  </a:lnTo>
                  <a:lnTo>
                    <a:pt x="1060" y="636"/>
                  </a:lnTo>
                  <a:lnTo>
                    <a:pt x="1062" y="634"/>
                  </a:lnTo>
                  <a:lnTo>
                    <a:pt x="1064" y="628"/>
                  </a:lnTo>
                  <a:lnTo>
                    <a:pt x="1068" y="616"/>
                  </a:lnTo>
                  <a:lnTo>
                    <a:pt x="1074" y="606"/>
                  </a:lnTo>
                  <a:lnTo>
                    <a:pt x="1078" y="590"/>
                  </a:lnTo>
                  <a:lnTo>
                    <a:pt x="1078" y="576"/>
                  </a:lnTo>
                  <a:lnTo>
                    <a:pt x="1080" y="564"/>
                  </a:lnTo>
                  <a:lnTo>
                    <a:pt x="1082" y="562"/>
                  </a:lnTo>
                  <a:lnTo>
                    <a:pt x="1082" y="504"/>
                  </a:lnTo>
                  <a:lnTo>
                    <a:pt x="1082" y="482"/>
                  </a:lnTo>
                  <a:lnTo>
                    <a:pt x="1082" y="4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67" name="Google Shape;4734;p64">
              <a:extLst>
                <a:ext uri="{FF2B5EF4-FFF2-40B4-BE49-F238E27FC236}">
                  <a16:creationId xmlns:a16="http://schemas.microsoft.com/office/drawing/2014/main" id="{69BB5927-EE70-1A30-A432-5FB64D5E4D75}"/>
                </a:ext>
              </a:extLst>
            </p:cNvPr>
            <p:cNvCxnSpPr/>
            <p:nvPr/>
          </p:nvCxnSpPr>
          <p:spPr>
            <a:xfrm>
              <a:off x="4616194" y="4570064"/>
              <a:ext cx="0" cy="0"/>
            </a:xfrm>
            <a:prstGeom prst="straightConnector1">
              <a:avLst/>
            </a:prstGeom>
            <a:grpFill/>
            <a:ln w="9525" cap="flat" cmpd="sng">
              <a:solidFill>
                <a:schemeClr val="bg2"/>
              </a:solidFill>
              <a:prstDash val="solid"/>
              <a:round/>
              <a:headEnd type="none" w="med" len="med"/>
              <a:tailEnd type="none" w="med" len="med"/>
            </a:ln>
          </p:spPr>
        </p:cxnSp>
        <p:cxnSp>
          <p:nvCxnSpPr>
            <p:cNvPr id="268" name="Google Shape;4735;p64">
              <a:extLst>
                <a:ext uri="{FF2B5EF4-FFF2-40B4-BE49-F238E27FC236}">
                  <a16:creationId xmlns:a16="http://schemas.microsoft.com/office/drawing/2014/main" id="{4C003EB7-CEB2-5D42-4455-3B73C1794981}"/>
                </a:ext>
              </a:extLst>
            </p:cNvPr>
            <p:cNvCxnSpPr/>
            <p:nvPr/>
          </p:nvCxnSpPr>
          <p:spPr>
            <a:xfrm>
              <a:off x="4616194" y="4570064"/>
              <a:ext cx="0" cy="0"/>
            </a:xfrm>
            <a:prstGeom prst="straightConnector1">
              <a:avLst/>
            </a:prstGeom>
            <a:grpFill/>
            <a:ln w="9525" cap="flat" cmpd="sng">
              <a:solidFill>
                <a:schemeClr val="bg2"/>
              </a:solidFill>
              <a:prstDash val="solid"/>
              <a:round/>
              <a:headEnd type="none" w="med" len="med"/>
              <a:tailEnd type="none" w="med" len="med"/>
            </a:ln>
          </p:spPr>
        </p:cxnSp>
        <p:sp>
          <p:nvSpPr>
            <p:cNvPr id="269" name="Google Shape;4736;p64">
              <a:extLst>
                <a:ext uri="{FF2B5EF4-FFF2-40B4-BE49-F238E27FC236}">
                  <a16:creationId xmlns:a16="http://schemas.microsoft.com/office/drawing/2014/main" id="{594758FC-EBA8-429F-1AB2-F109502CD7D0}"/>
                </a:ext>
              </a:extLst>
            </p:cNvPr>
            <p:cNvSpPr/>
            <p:nvPr/>
          </p:nvSpPr>
          <p:spPr>
            <a:xfrm>
              <a:off x="4830153" y="4156587"/>
              <a:ext cx="7875" cy="6563"/>
            </a:xfrm>
            <a:custGeom>
              <a:avLst/>
              <a:gdLst/>
              <a:ahLst/>
              <a:cxnLst/>
              <a:rect l="l" t="t" r="r" b="b"/>
              <a:pathLst>
                <a:path w="57180" h="47652" extrusionOk="0">
                  <a:moveTo>
                    <a:pt x="28590" y="19060"/>
                  </a:moveTo>
                  <a:lnTo>
                    <a:pt x="42886" y="23826"/>
                  </a:lnTo>
                  <a:lnTo>
                    <a:pt x="57180" y="33356"/>
                  </a:lnTo>
                  <a:lnTo>
                    <a:pt x="57180" y="42886"/>
                  </a:lnTo>
                  <a:lnTo>
                    <a:pt x="52416" y="47652"/>
                  </a:lnTo>
                  <a:lnTo>
                    <a:pt x="38120" y="47652"/>
                  </a:lnTo>
                  <a:lnTo>
                    <a:pt x="28590" y="38120"/>
                  </a:lnTo>
                  <a:close/>
                  <a:moveTo>
                    <a:pt x="14294" y="0"/>
                  </a:moveTo>
                  <a:lnTo>
                    <a:pt x="19060" y="0"/>
                  </a:lnTo>
                  <a:lnTo>
                    <a:pt x="19060" y="4764"/>
                  </a:lnTo>
                  <a:lnTo>
                    <a:pt x="19060" y="9528"/>
                  </a:lnTo>
                  <a:lnTo>
                    <a:pt x="9530" y="9528"/>
                  </a:lnTo>
                  <a:lnTo>
                    <a:pt x="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0" name="Google Shape;4737;p64">
              <a:extLst>
                <a:ext uri="{FF2B5EF4-FFF2-40B4-BE49-F238E27FC236}">
                  <a16:creationId xmlns:a16="http://schemas.microsoft.com/office/drawing/2014/main" id="{DE7777D2-87A8-5C72-94B4-240C79210291}"/>
                </a:ext>
              </a:extLst>
            </p:cNvPr>
            <p:cNvSpPr/>
            <p:nvPr/>
          </p:nvSpPr>
          <p:spPr>
            <a:xfrm>
              <a:off x="4921381" y="3947222"/>
              <a:ext cx="41347" cy="48567"/>
            </a:xfrm>
            <a:custGeom>
              <a:avLst/>
              <a:gdLst/>
              <a:ahLst/>
              <a:cxnLst/>
              <a:rect l="l" t="t" r="r" b="b"/>
              <a:pathLst>
                <a:path w="126" h="148" extrusionOk="0">
                  <a:moveTo>
                    <a:pt x="50" y="0"/>
                  </a:moveTo>
                  <a:lnTo>
                    <a:pt x="48" y="0"/>
                  </a:lnTo>
                  <a:lnTo>
                    <a:pt x="44" y="0"/>
                  </a:lnTo>
                  <a:lnTo>
                    <a:pt x="42" y="2"/>
                  </a:lnTo>
                  <a:lnTo>
                    <a:pt x="40" y="0"/>
                  </a:lnTo>
                  <a:lnTo>
                    <a:pt x="36" y="0"/>
                  </a:lnTo>
                  <a:lnTo>
                    <a:pt x="34" y="0"/>
                  </a:lnTo>
                  <a:lnTo>
                    <a:pt x="34" y="4"/>
                  </a:lnTo>
                  <a:lnTo>
                    <a:pt x="36" y="8"/>
                  </a:lnTo>
                  <a:lnTo>
                    <a:pt x="40" y="16"/>
                  </a:lnTo>
                  <a:lnTo>
                    <a:pt x="40" y="22"/>
                  </a:lnTo>
                  <a:lnTo>
                    <a:pt x="36" y="22"/>
                  </a:lnTo>
                  <a:lnTo>
                    <a:pt x="34" y="18"/>
                  </a:lnTo>
                  <a:lnTo>
                    <a:pt x="30" y="16"/>
                  </a:lnTo>
                  <a:lnTo>
                    <a:pt x="28" y="18"/>
                  </a:lnTo>
                  <a:lnTo>
                    <a:pt x="22" y="22"/>
                  </a:lnTo>
                  <a:lnTo>
                    <a:pt x="16" y="28"/>
                  </a:lnTo>
                  <a:lnTo>
                    <a:pt x="16" y="30"/>
                  </a:lnTo>
                  <a:lnTo>
                    <a:pt x="14" y="34"/>
                  </a:lnTo>
                  <a:lnTo>
                    <a:pt x="12" y="36"/>
                  </a:lnTo>
                  <a:lnTo>
                    <a:pt x="14" y="46"/>
                  </a:lnTo>
                  <a:lnTo>
                    <a:pt x="4" y="48"/>
                  </a:lnTo>
                  <a:lnTo>
                    <a:pt x="2" y="48"/>
                  </a:lnTo>
                  <a:lnTo>
                    <a:pt x="2" y="52"/>
                  </a:lnTo>
                  <a:lnTo>
                    <a:pt x="2" y="62"/>
                  </a:lnTo>
                  <a:lnTo>
                    <a:pt x="2" y="68"/>
                  </a:lnTo>
                  <a:lnTo>
                    <a:pt x="8" y="78"/>
                  </a:lnTo>
                  <a:lnTo>
                    <a:pt x="8" y="80"/>
                  </a:lnTo>
                  <a:lnTo>
                    <a:pt x="8" y="82"/>
                  </a:lnTo>
                  <a:lnTo>
                    <a:pt x="4" y="86"/>
                  </a:lnTo>
                  <a:lnTo>
                    <a:pt x="2" y="88"/>
                  </a:lnTo>
                  <a:lnTo>
                    <a:pt x="0" y="88"/>
                  </a:lnTo>
                  <a:lnTo>
                    <a:pt x="0" y="90"/>
                  </a:lnTo>
                  <a:lnTo>
                    <a:pt x="4" y="94"/>
                  </a:lnTo>
                  <a:lnTo>
                    <a:pt x="6" y="98"/>
                  </a:lnTo>
                  <a:lnTo>
                    <a:pt x="8" y="100"/>
                  </a:lnTo>
                  <a:lnTo>
                    <a:pt x="10" y="98"/>
                  </a:lnTo>
                  <a:lnTo>
                    <a:pt x="14" y="98"/>
                  </a:lnTo>
                  <a:lnTo>
                    <a:pt x="14" y="100"/>
                  </a:lnTo>
                  <a:lnTo>
                    <a:pt x="12" y="102"/>
                  </a:lnTo>
                  <a:lnTo>
                    <a:pt x="14" y="104"/>
                  </a:lnTo>
                  <a:lnTo>
                    <a:pt x="30" y="116"/>
                  </a:lnTo>
                  <a:lnTo>
                    <a:pt x="46" y="132"/>
                  </a:lnTo>
                  <a:lnTo>
                    <a:pt x="50" y="142"/>
                  </a:lnTo>
                  <a:lnTo>
                    <a:pt x="60" y="148"/>
                  </a:lnTo>
                  <a:lnTo>
                    <a:pt x="60" y="144"/>
                  </a:lnTo>
                  <a:lnTo>
                    <a:pt x="62" y="138"/>
                  </a:lnTo>
                  <a:lnTo>
                    <a:pt x="60" y="134"/>
                  </a:lnTo>
                  <a:lnTo>
                    <a:pt x="62" y="132"/>
                  </a:lnTo>
                  <a:lnTo>
                    <a:pt x="60" y="128"/>
                  </a:lnTo>
                  <a:lnTo>
                    <a:pt x="52" y="124"/>
                  </a:lnTo>
                  <a:lnTo>
                    <a:pt x="44" y="112"/>
                  </a:lnTo>
                  <a:lnTo>
                    <a:pt x="50" y="112"/>
                  </a:lnTo>
                  <a:lnTo>
                    <a:pt x="56" y="114"/>
                  </a:lnTo>
                  <a:lnTo>
                    <a:pt x="62" y="112"/>
                  </a:lnTo>
                  <a:lnTo>
                    <a:pt x="64" y="106"/>
                  </a:lnTo>
                  <a:lnTo>
                    <a:pt x="68" y="100"/>
                  </a:lnTo>
                  <a:lnTo>
                    <a:pt x="74" y="94"/>
                  </a:lnTo>
                  <a:lnTo>
                    <a:pt x="76" y="86"/>
                  </a:lnTo>
                  <a:lnTo>
                    <a:pt x="80" y="82"/>
                  </a:lnTo>
                  <a:lnTo>
                    <a:pt x="84" y="80"/>
                  </a:lnTo>
                  <a:lnTo>
                    <a:pt x="86" y="82"/>
                  </a:lnTo>
                  <a:lnTo>
                    <a:pt x="86" y="84"/>
                  </a:lnTo>
                  <a:lnTo>
                    <a:pt x="86" y="90"/>
                  </a:lnTo>
                  <a:lnTo>
                    <a:pt x="88" y="94"/>
                  </a:lnTo>
                  <a:lnTo>
                    <a:pt x="90" y="94"/>
                  </a:lnTo>
                  <a:lnTo>
                    <a:pt x="94" y="94"/>
                  </a:lnTo>
                  <a:lnTo>
                    <a:pt x="100" y="92"/>
                  </a:lnTo>
                  <a:lnTo>
                    <a:pt x="106" y="88"/>
                  </a:lnTo>
                  <a:lnTo>
                    <a:pt x="108" y="88"/>
                  </a:lnTo>
                  <a:lnTo>
                    <a:pt x="108" y="88"/>
                  </a:lnTo>
                  <a:lnTo>
                    <a:pt x="108" y="82"/>
                  </a:lnTo>
                  <a:lnTo>
                    <a:pt x="108" y="76"/>
                  </a:lnTo>
                  <a:lnTo>
                    <a:pt x="106" y="72"/>
                  </a:lnTo>
                  <a:lnTo>
                    <a:pt x="106" y="70"/>
                  </a:lnTo>
                  <a:lnTo>
                    <a:pt x="112" y="70"/>
                  </a:lnTo>
                  <a:lnTo>
                    <a:pt x="116" y="70"/>
                  </a:lnTo>
                  <a:lnTo>
                    <a:pt x="118" y="66"/>
                  </a:lnTo>
                  <a:lnTo>
                    <a:pt x="126" y="64"/>
                  </a:lnTo>
                  <a:lnTo>
                    <a:pt x="126" y="62"/>
                  </a:lnTo>
                  <a:lnTo>
                    <a:pt x="126" y="58"/>
                  </a:lnTo>
                  <a:lnTo>
                    <a:pt x="120" y="54"/>
                  </a:lnTo>
                  <a:lnTo>
                    <a:pt x="114" y="52"/>
                  </a:lnTo>
                  <a:lnTo>
                    <a:pt x="100" y="40"/>
                  </a:lnTo>
                  <a:lnTo>
                    <a:pt x="94" y="40"/>
                  </a:lnTo>
                  <a:lnTo>
                    <a:pt x="88" y="38"/>
                  </a:lnTo>
                  <a:lnTo>
                    <a:pt x="82" y="34"/>
                  </a:lnTo>
                  <a:lnTo>
                    <a:pt x="78" y="32"/>
                  </a:lnTo>
                  <a:lnTo>
                    <a:pt x="74" y="30"/>
                  </a:lnTo>
                  <a:lnTo>
                    <a:pt x="64" y="18"/>
                  </a:lnTo>
                  <a:lnTo>
                    <a:pt x="58" y="10"/>
                  </a:lnTo>
                  <a:lnTo>
                    <a:pt x="52" y="8"/>
                  </a:lnTo>
                  <a:lnTo>
                    <a:pt x="50" y="4"/>
                  </a:lnTo>
                  <a:lnTo>
                    <a:pt x="50" y="2"/>
                  </a:lnTo>
                  <a:lnTo>
                    <a:pt x="5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1" name="Google Shape;4738;p64">
              <a:extLst>
                <a:ext uri="{FF2B5EF4-FFF2-40B4-BE49-F238E27FC236}">
                  <a16:creationId xmlns:a16="http://schemas.microsoft.com/office/drawing/2014/main" id="{AF30B2A9-B023-9E51-D00B-A240A7C24383}"/>
                </a:ext>
              </a:extLst>
            </p:cNvPr>
            <p:cNvSpPr/>
            <p:nvPr/>
          </p:nvSpPr>
          <p:spPr>
            <a:xfrm>
              <a:off x="6412528" y="3671570"/>
              <a:ext cx="691427" cy="332095"/>
            </a:xfrm>
            <a:custGeom>
              <a:avLst/>
              <a:gdLst/>
              <a:ahLst/>
              <a:cxnLst/>
              <a:rect l="l" t="t" r="r" b="b"/>
              <a:pathLst>
                <a:path w="2107" h="1012" extrusionOk="0">
                  <a:moveTo>
                    <a:pt x="1897" y="238"/>
                  </a:moveTo>
                  <a:lnTo>
                    <a:pt x="1893" y="232"/>
                  </a:lnTo>
                  <a:lnTo>
                    <a:pt x="1887" y="228"/>
                  </a:lnTo>
                  <a:lnTo>
                    <a:pt x="1875" y="222"/>
                  </a:lnTo>
                  <a:lnTo>
                    <a:pt x="1865" y="220"/>
                  </a:lnTo>
                  <a:lnTo>
                    <a:pt x="1861" y="220"/>
                  </a:lnTo>
                  <a:lnTo>
                    <a:pt x="1847" y="226"/>
                  </a:lnTo>
                  <a:lnTo>
                    <a:pt x="1839" y="230"/>
                  </a:lnTo>
                  <a:lnTo>
                    <a:pt x="1833" y="232"/>
                  </a:lnTo>
                  <a:lnTo>
                    <a:pt x="1825" y="232"/>
                  </a:lnTo>
                  <a:lnTo>
                    <a:pt x="1815" y="230"/>
                  </a:lnTo>
                  <a:lnTo>
                    <a:pt x="1811" y="230"/>
                  </a:lnTo>
                  <a:lnTo>
                    <a:pt x="1805" y="226"/>
                  </a:lnTo>
                  <a:lnTo>
                    <a:pt x="1793" y="214"/>
                  </a:lnTo>
                  <a:lnTo>
                    <a:pt x="1787" y="206"/>
                  </a:lnTo>
                  <a:lnTo>
                    <a:pt x="1779" y="202"/>
                  </a:lnTo>
                  <a:lnTo>
                    <a:pt x="1769" y="196"/>
                  </a:lnTo>
                  <a:lnTo>
                    <a:pt x="1765" y="196"/>
                  </a:lnTo>
                  <a:lnTo>
                    <a:pt x="1757" y="196"/>
                  </a:lnTo>
                  <a:lnTo>
                    <a:pt x="1745" y="194"/>
                  </a:lnTo>
                  <a:lnTo>
                    <a:pt x="1739" y="192"/>
                  </a:lnTo>
                  <a:lnTo>
                    <a:pt x="1735" y="194"/>
                  </a:lnTo>
                  <a:lnTo>
                    <a:pt x="1725" y="200"/>
                  </a:lnTo>
                  <a:lnTo>
                    <a:pt x="1713" y="210"/>
                  </a:lnTo>
                  <a:lnTo>
                    <a:pt x="1703" y="214"/>
                  </a:lnTo>
                  <a:lnTo>
                    <a:pt x="1693" y="220"/>
                  </a:lnTo>
                  <a:lnTo>
                    <a:pt x="1677" y="234"/>
                  </a:lnTo>
                  <a:lnTo>
                    <a:pt x="1665" y="240"/>
                  </a:lnTo>
                  <a:lnTo>
                    <a:pt x="1661" y="252"/>
                  </a:lnTo>
                  <a:lnTo>
                    <a:pt x="1659" y="260"/>
                  </a:lnTo>
                  <a:lnTo>
                    <a:pt x="1649" y="264"/>
                  </a:lnTo>
                  <a:lnTo>
                    <a:pt x="1643" y="268"/>
                  </a:lnTo>
                  <a:lnTo>
                    <a:pt x="1635" y="270"/>
                  </a:lnTo>
                  <a:lnTo>
                    <a:pt x="1621" y="268"/>
                  </a:lnTo>
                  <a:lnTo>
                    <a:pt x="1615" y="270"/>
                  </a:lnTo>
                  <a:lnTo>
                    <a:pt x="1595" y="278"/>
                  </a:lnTo>
                  <a:lnTo>
                    <a:pt x="1585" y="280"/>
                  </a:lnTo>
                  <a:lnTo>
                    <a:pt x="1579" y="280"/>
                  </a:lnTo>
                  <a:lnTo>
                    <a:pt x="1573" y="282"/>
                  </a:lnTo>
                  <a:lnTo>
                    <a:pt x="1561" y="284"/>
                  </a:lnTo>
                  <a:lnTo>
                    <a:pt x="1557" y="284"/>
                  </a:lnTo>
                  <a:lnTo>
                    <a:pt x="1553" y="286"/>
                  </a:lnTo>
                  <a:lnTo>
                    <a:pt x="1547" y="286"/>
                  </a:lnTo>
                  <a:lnTo>
                    <a:pt x="1537" y="290"/>
                  </a:lnTo>
                  <a:lnTo>
                    <a:pt x="1513" y="304"/>
                  </a:lnTo>
                  <a:lnTo>
                    <a:pt x="1505" y="306"/>
                  </a:lnTo>
                  <a:lnTo>
                    <a:pt x="1499" y="308"/>
                  </a:lnTo>
                  <a:lnTo>
                    <a:pt x="1493" y="302"/>
                  </a:lnTo>
                  <a:lnTo>
                    <a:pt x="1487" y="300"/>
                  </a:lnTo>
                  <a:lnTo>
                    <a:pt x="1479" y="300"/>
                  </a:lnTo>
                  <a:lnTo>
                    <a:pt x="1471" y="304"/>
                  </a:lnTo>
                  <a:lnTo>
                    <a:pt x="1457" y="300"/>
                  </a:lnTo>
                  <a:lnTo>
                    <a:pt x="1441" y="298"/>
                  </a:lnTo>
                  <a:lnTo>
                    <a:pt x="1427" y="294"/>
                  </a:lnTo>
                  <a:lnTo>
                    <a:pt x="1423" y="292"/>
                  </a:lnTo>
                  <a:lnTo>
                    <a:pt x="1409" y="288"/>
                  </a:lnTo>
                  <a:lnTo>
                    <a:pt x="1375" y="288"/>
                  </a:lnTo>
                  <a:lnTo>
                    <a:pt x="1367" y="288"/>
                  </a:lnTo>
                  <a:lnTo>
                    <a:pt x="1361" y="286"/>
                  </a:lnTo>
                  <a:lnTo>
                    <a:pt x="1353" y="282"/>
                  </a:lnTo>
                  <a:lnTo>
                    <a:pt x="1341" y="268"/>
                  </a:lnTo>
                  <a:lnTo>
                    <a:pt x="1333" y="264"/>
                  </a:lnTo>
                  <a:lnTo>
                    <a:pt x="1329" y="262"/>
                  </a:lnTo>
                  <a:lnTo>
                    <a:pt x="1327" y="256"/>
                  </a:lnTo>
                  <a:lnTo>
                    <a:pt x="1325" y="256"/>
                  </a:lnTo>
                  <a:lnTo>
                    <a:pt x="1323" y="252"/>
                  </a:lnTo>
                  <a:lnTo>
                    <a:pt x="1323" y="246"/>
                  </a:lnTo>
                  <a:lnTo>
                    <a:pt x="1323" y="236"/>
                  </a:lnTo>
                  <a:lnTo>
                    <a:pt x="1323" y="228"/>
                  </a:lnTo>
                  <a:lnTo>
                    <a:pt x="1321" y="226"/>
                  </a:lnTo>
                  <a:lnTo>
                    <a:pt x="1313" y="224"/>
                  </a:lnTo>
                  <a:lnTo>
                    <a:pt x="1303" y="222"/>
                  </a:lnTo>
                  <a:lnTo>
                    <a:pt x="1285" y="222"/>
                  </a:lnTo>
                  <a:lnTo>
                    <a:pt x="1277" y="222"/>
                  </a:lnTo>
                  <a:lnTo>
                    <a:pt x="1271" y="216"/>
                  </a:lnTo>
                  <a:lnTo>
                    <a:pt x="1265" y="212"/>
                  </a:lnTo>
                  <a:lnTo>
                    <a:pt x="1257" y="200"/>
                  </a:lnTo>
                  <a:lnTo>
                    <a:pt x="1253" y="194"/>
                  </a:lnTo>
                  <a:lnTo>
                    <a:pt x="1243" y="188"/>
                  </a:lnTo>
                  <a:lnTo>
                    <a:pt x="1233" y="186"/>
                  </a:lnTo>
                  <a:lnTo>
                    <a:pt x="1221" y="188"/>
                  </a:lnTo>
                  <a:lnTo>
                    <a:pt x="1211" y="188"/>
                  </a:lnTo>
                  <a:lnTo>
                    <a:pt x="1201" y="186"/>
                  </a:lnTo>
                  <a:lnTo>
                    <a:pt x="1195" y="182"/>
                  </a:lnTo>
                  <a:lnTo>
                    <a:pt x="1187" y="178"/>
                  </a:lnTo>
                  <a:lnTo>
                    <a:pt x="1177" y="178"/>
                  </a:lnTo>
                  <a:lnTo>
                    <a:pt x="1167" y="176"/>
                  </a:lnTo>
                  <a:lnTo>
                    <a:pt x="1155" y="172"/>
                  </a:lnTo>
                  <a:lnTo>
                    <a:pt x="1149" y="172"/>
                  </a:lnTo>
                  <a:lnTo>
                    <a:pt x="1143" y="176"/>
                  </a:lnTo>
                  <a:lnTo>
                    <a:pt x="1137" y="180"/>
                  </a:lnTo>
                  <a:lnTo>
                    <a:pt x="1129" y="182"/>
                  </a:lnTo>
                  <a:lnTo>
                    <a:pt x="1111" y="186"/>
                  </a:lnTo>
                  <a:lnTo>
                    <a:pt x="1105" y="188"/>
                  </a:lnTo>
                  <a:lnTo>
                    <a:pt x="1095" y="188"/>
                  </a:lnTo>
                  <a:lnTo>
                    <a:pt x="1089" y="192"/>
                  </a:lnTo>
                  <a:lnTo>
                    <a:pt x="1083" y="198"/>
                  </a:lnTo>
                  <a:lnTo>
                    <a:pt x="1077" y="202"/>
                  </a:lnTo>
                  <a:lnTo>
                    <a:pt x="1071" y="204"/>
                  </a:lnTo>
                  <a:lnTo>
                    <a:pt x="1063" y="204"/>
                  </a:lnTo>
                  <a:lnTo>
                    <a:pt x="1055" y="202"/>
                  </a:lnTo>
                  <a:lnTo>
                    <a:pt x="1053" y="202"/>
                  </a:lnTo>
                  <a:lnTo>
                    <a:pt x="1047" y="204"/>
                  </a:lnTo>
                  <a:lnTo>
                    <a:pt x="1041" y="206"/>
                  </a:lnTo>
                  <a:lnTo>
                    <a:pt x="1031" y="204"/>
                  </a:lnTo>
                  <a:lnTo>
                    <a:pt x="1027" y="202"/>
                  </a:lnTo>
                  <a:lnTo>
                    <a:pt x="1019" y="200"/>
                  </a:lnTo>
                  <a:lnTo>
                    <a:pt x="1015" y="194"/>
                  </a:lnTo>
                  <a:lnTo>
                    <a:pt x="1011" y="190"/>
                  </a:lnTo>
                  <a:lnTo>
                    <a:pt x="1003" y="190"/>
                  </a:lnTo>
                  <a:lnTo>
                    <a:pt x="991" y="186"/>
                  </a:lnTo>
                  <a:lnTo>
                    <a:pt x="985" y="182"/>
                  </a:lnTo>
                  <a:lnTo>
                    <a:pt x="979" y="180"/>
                  </a:lnTo>
                  <a:lnTo>
                    <a:pt x="969" y="172"/>
                  </a:lnTo>
                  <a:lnTo>
                    <a:pt x="965" y="166"/>
                  </a:lnTo>
                  <a:lnTo>
                    <a:pt x="961" y="166"/>
                  </a:lnTo>
                  <a:lnTo>
                    <a:pt x="955" y="164"/>
                  </a:lnTo>
                  <a:lnTo>
                    <a:pt x="953" y="160"/>
                  </a:lnTo>
                  <a:lnTo>
                    <a:pt x="953" y="154"/>
                  </a:lnTo>
                  <a:lnTo>
                    <a:pt x="953" y="152"/>
                  </a:lnTo>
                  <a:lnTo>
                    <a:pt x="955" y="146"/>
                  </a:lnTo>
                  <a:lnTo>
                    <a:pt x="953" y="142"/>
                  </a:lnTo>
                  <a:lnTo>
                    <a:pt x="949" y="138"/>
                  </a:lnTo>
                  <a:lnTo>
                    <a:pt x="947" y="134"/>
                  </a:lnTo>
                  <a:lnTo>
                    <a:pt x="949" y="128"/>
                  </a:lnTo>
                  <a:lnTo>
                    <a:pt x="947" y="120"/>
                  </a:lnTo>
                  <a:lnTo>
                    <a:pt x="947" y="112"/>
                  </a:lnTo>
                  <a:lnTo>
                    <a:pt x="943" y="106"/>
                  </a:lnTo>
                  <a:lnTo>
                    <a:pt x="943" y="94"/>
                  </a:lnTo>
                  <a:lnTo>
                    <a:pt x="945" y="90"/>
                  </a:lnTo>
                  <a:lnTo>
                    <a:pt x="945" y="84"/>
                  </a:lnTo>
                  <a:lnTo>
                    <a:pt x="941" y="80"/>
                  </a:lnTo>
                  <a:lnTo>
                    <a:pt x="933" y="78"/>
                  </a:lnTo>
                  <a:lnTo>
                    <a:pt x="923" y="74"/>
                  </a:lnTo>
                  <a:lnTo>
                    <a:pt x="905" y="68"/>
                  </a:lnTo>
                  <a:lnTo>
                    <a:pt x="899" y="68"/>
                  </a:lnTo>
                  <a:lnTo>
                    <a:pt x="893" y="70"/>
                  </a:lnTo>
                  <a:lnTo>
                    <a:pt x="889" y="68"/>
                  </a:lnTo>
                  <a:lnTo>
                    <a:pt x="883" y="64"/>
                  </a:lnTo>
                  <a:lnTo>
                    <a:pt x="873" y="60"/>
                  </a:lnTo>
                  <a:lnTo>
                    <a:pt x="863" y="54"/>
                  </a:lnTo>
                  <a:lnTo>
                    <a:pt x="849" y="48"/>
                  </a:lnTo>
                  <a:lnTo>
                    <a:pt x="839" y="42"/>
                  </a:lnTo>
                  <a:lnTo>
                    <a:pt x="833" y="40"/>
                  </a:lnTo>
                  <a:lnTo>
                    <a:pt x="817" y="40"/>
                  </a:lnTo>
                  <a:lnTo>
                    <a:pt x="805" y="40"/>
                  </a:lnTo>
                  <a:lnTo>
                    <a:pt x="797" y="38"/>
                  </a:lnTo>
                  <a:lnTo>
                    <a:pt x="789" y="30"/>
                  </a:lnTo>
                  <a:lnTo>
                    <a:pt x="785" y="26"/>
                  </a:lnTo>
                  <a:lnTo>
                    <a:pt x="777" y="24"/>
                  </a:lnTo>
                  <a:lnTo>
                    <a:pt x="773" y="22"/>
                  </a:lnTo>
                  <a:lnTo>
                    <a:pt x="765" y="20"/>
                  </a:lnTo>
                  <a:lnTo>
                    <a:pt x="749" y="12"/>
                  </a:lnTo>
                  <a:lnTo>
                    <a:pt x="743" y="8"/>
                  </a:lnTo>
                  <a:lnTo>
                    <a:pt x="739" y="8"/>
                  </a:lnTo>
                  <a:lnTo>
                    <a:pt x="735" y="2"/>
                  </a:lnTo>
                  <a:lnTo>
                    <a:pt x="731" y="0"/>
                  </a:lnTo>
                  <a:lnTo>
                    <a:pt x="727" y="4"/>
                  </a:lnTo>
                  <a:lnTo>
                    <a:pt x="725" y="16"/>
                  </a:lnTo>
                  <a:lnTo>
                    <a:pt x="721" y="22"/>
                  </a:lnTo>
                  <a:lnTo>
                    <a:pt x="713" y="34"/>
                  </a:lnTo>
                  <a:lnTo>
                    <a:pt x="695" y="42"/>
                  </a:lnTo>
                  <a:lnTo>
                    <a:pt x="691" y="46"/>
                  </a:lnTo>
                  <a:lnTo>
                    <a:pt x="687" y="56"/>
                  </a:lnTo>
                  <a:lnTo>
                    <a:pt x="687" y="64"/>
                  </a:lnTo>
                  <a:lnTo>
                    <a:pt x="683" y="66"/>
                  </a:lnTo>
                  <a:lnTo>
                    <a:pt x="680" y="66"/>
                  </a:lnTo>
                  <a:lnTo>
                    <a:pt x="676" y="70"/>
                  </a:lnTo>
                  <a:lnTo>
                    <a:pt x="672" y="78"/>
                  </a:lnTo>
                  <a:lnTo>
                    <a:pt x="670" y="80"/>
                  </a:lnTo>
                  <a:lnTo>
                    <a:pt x="668" y="88"/>
                  </a:lnTo>
                  <a:lnTo>
                    <a:pt x="668" y="90"/>
                  </a:lnTo>
                  <a:lnTo>
                    <a:pt x="668" y="94"/>
                  </a:lnTo>
                  <a:lnTo>
                    <a:pt x="666" y="100"/>
                  </a:lnTo>
                  <a:lnTo>
                    <a:pt x="662" y="112"/>
                  </a:lnTo>
                  <a:lnTo>
                    <a:pt x="662" y="118"/>
                  </a:lnTo>
                  <a:lnTo>
                    <a:pt x="664" y="122"/>
                  </a:lnTo>
                  <a:lnTo>
                    <a:pt x="668" y="128"/>
                  </a:lnTo>
                  <a:lnTo>
                    <a:pt x="670" y="132"/>
                  </a:lnTo>
                  <a:lnTo>
                    <a:pt x="670" y="136"/>
                  </a:lnTo>
                  <a:lnTo>
                    <a:pt x="670" y="142"/>
                  </a:lnTo>
                  <a:lnTo>
                    <a:pt x="672" y="148"/>
                  </a:lnTo>
                  <a:lnTo>
                    <a:pt x="674" y="154"/>
                  </a:lnTo>
                  <a:lnTo>
                    <a:pt x="678" y="158"/>
                  </a:lnTo>
                  <a:lnTo>
                    <a:pt x="682" y="162"/>
                  </a:lnTo>
                  <a:lnTo>
                    <a:pt x="687" y="162"/>
                  </a:lnTo>
                  <a:lnTo>
                    <a:pt x="691" y="166"/>
                  </a:lnTo>
                  <a:lnTo>
                    <a:pt x="691" y="170"/>
                  </a:lnTo>
                  <a:lnTo>
                    <a:pt x="689" y="176"/>
                  </a:lnTo>
                  <a:lnTo>
                    <a:pt x="687" y="190"/>
                  </a:lnTo>
                  <a:lnTo>
                    <a:pt x="685" y="198"/>
                  </a:lnTo>
                  <a:lnTo>
                    <a:pt x="683" y="202"/>
                  </a:lnTo>
                  <a:lnTo>
                    <a:pt x="680" y="210"/>
                  </a:lnTo>
                  <a:lnTo>
                    <a:pt x="680" y="212"/>
                  </a:lnTo>
                  <a:lnTo>
                    <a:pt x="672" y="218"/>
                  </a:lnTo>
                  <a:lnTo>
                    <a:pt x="668" y="220"/>
                  </a:lnTo>
                  <a:lnTo>
                    <a:pt x="664" y="226"/>
                  </a:lnTo>
                  <a:lnTo>
                    <a:pt x="658" y="226"/>
                  </a:lnTo>
                  <a:lnTo>
                    <a:pt x="654" y="226"/>
                  </a:lnTo>
                  <a:lnTo>
                    <a:pt x="650" y="226"/>
                  </a:lnTo>
                  <a:lnTo>
                    <a:pt x="646" y="230"/>
                  </a:lnTo>
                  <a:lnTo>
                    <a:pt x="642" y="236"/>
                  </a:lnTo>
                  <a:lnTo>
                    <a:pt x="634" y="244"/>
                  </a:lnTo>
                  <a:lnTo>
                    <a:pt x="630" y="246"/>
                  </a:lnTo>
                  <a:lnTo>
                    <a:pt x="620" y="248"/>
                  </a:lnTo>
                  <a:lnTo>
                    <a:pt x="616" y="244"/>
                  </a:lnTo>
                  <a:lnTo>
                    <a:pt x="614" y="240"/>
                  </a:lnTo>
                  <a:lnTo>
                    <a:pt x="610" y="238"/>
                  </a:lnTo>
                  <a:lnTo>
                    <a:pt x="606" y="232"/>
                  </a:lnTo>
                  <a:lnTo>
                    <a:pt x="588" y="230"/>
                  </a:lnTo>
                  <a:lnTo>
                    <a:pt x="584" y="230"/>
                  </a:lnTo>
                  <a:lnTo>
                    <a:pt x="580" y="232"/>
                  </a:lnTo>
                  <a:lnTo>
                    <a:pt x="578" y="232"/>
                  </a:lnTo>
                  <a:lnTo>
                    <a:pt x="574" y="228"/>
                  </a:lnTo>
                  <a:lnTo>
                    <a:pt x="572" y="230"/>
                  </a:lnTo>
                  <a:lnTo>
                    <a:pt x="566" y="230"/>
                  </a:lnTo>
                  <a:lnTo>
                    <a:pt x="562" y="230"/>
                  </a:lnTo>
                  <a:lnTo>
                    <a:pt x="556" y="224"/>
                  </a:lnTo>
                  <a:lnTo>
                    <a:pt x="548" y="222"/>
                  </a:lnTo>
                  <a:lnTo>
                    <a:pt x="546" y="220"/>
                  </a:lnTo>
                  <a:lnTo>
                    <a:pt x="542" y="220"/>
                  </a:lnTo>
                  <a:lnTo>
                    <a:pt x="540" y="224"/>
                  </a:lnTo>
                  <a:lnTo>
                    <a:pt x="538" y="224"/>
                  </a:lnTo>
                  <a:lnTo>
                    <a:pt x="536" y="222"/>
                  </a:lnTo>
                  <a:lnTo>
                    <a:pt x="532" y="218"/>
                  </a:lnTo>
                  <a:lnTo>
                    <a:pt x="528" y="218"/>
                  </a:lnTo>
                  <a:lnTo>
                    <a:pt x="522" y="224"/>
                  </a:lnTo>
                  <a:lnTo>
                    <a:pt x="514" y="226"/>
                  </a:lnTo>
                  <a:lnTo>
                    <a:pt x="510" y="230"/>
                  </a:lnTo>
                  <a:lnTo>
                    <a:pt x="504" y="228"/>
                  </a:lnTo>
                  <a:lnTo>
                    <a:pt x="502" y="226"/>
                  </a:lnTo>
                  <a:lnTo>
                    <a:pt x="498" y="226"/>
                  </a:lnTo>
                  <a:lnTo>
                    <a:pt x="486" y="226"/>
                  </a:lnTo>
                  <a:lnTo>
                    <a:pt x="484" y="226"/>
                  </a:lnTo>
                  <a:lnTo>
                    <a:pt x="478" y="224"/>
                  </a:lnTo>
                  <a:lnTo>
                    <a:pt x="476" y="220"/>
                  </a:lnTo>
                  <a:lnTo>
                    <a:pt x="472" y="216"/>
                  </a:lnTo>
                  <a:lnTo>
                    <a:pt x="464" y="216"/>
                  </a:lnTo>
                  <a:lnTo>
                    <a:pt x="458" y="216"/>
                  </a:lnTo>
                  <a:lnTo>
                    <a:pt x="454" y="218"/>
                  </a:lnTo>
                  <a:lnTo>
                    <a:pt x="450" y="218"/>
                  </a:lnTo>
                  <a:lnTo>
                    <a:pt x="448" y="212"/>
                  </a:lnTo>
                  <a:lnTo>
                    <a:pt x="442" y="206"/>
                  </a:lnTo>
                  <a:lnTo>
                    <a:pt x="440" y="204"/>
                  </a:lnTo>
                  <a:lnTo>
                    <a:pt x="436" y="202"/>
                  </a:lnTo>
                  <a:lnTo>
                    <a:pt x="434" y="198"/>
                  </a:lnTo>
                  <a:lnTo>
                    <a:pt x="434" y="190"/>
                  </a:lnTo>
                  <a:lnTo>
                    <a:pt x="432" y="178"/>
                  </a:lnTo>
                  <a:lnTo>
                    <a:pt x="430" y="168"/>
                  </a:lnTo>
                  <a:lnTo>
                    <a:pt x="426" y="164"/>
                  </a:lnTo>
                  <a:lnTo>
                    <a:pt x="416" y="162"/>
                  </a:lnTo>
                  <a:lnTo>
                    <a:pt x="410" y="162"/>
                  </a:lnTo>
                  <a:lnTo>
                    <a:pt x="398" y="160"/>
                  </a:lnTo>
                  <a:lnTo>
                    <a:pt x="388" y="160"/>
                  </a:lnTo>
                  <a:lnTo>
                    <a:pt x="386" y="160"/>
                  </a:lnTo>
                  <a:lnTo>
                    <a:pt x="378" y="158"/>
                  </a:lnTo>
                  <a:lnTo>
                    <a:pt x="370" y="158"/>
                  </a:lnTo>
                  <a:lnTo>
                    <a:pt x="362" y="156"/>
                  </a:lnTo>
                  <a:lnTo>
                    <a:pt x="360" y="158"/>
                  </a:lnTo>
                  <a:lnTo>
                    <a:pt x="352" y="158"/>
                  </a:lnTo>
                  <a:lnTo>
                    <a:pt x="346" y="154"/>
                  </a:lnTo>
                  <a:lnTo>
                    <a:pt x="342" y="146"/>
                  </a:lnTo>
                  <a:lnTo>
                    <a:pt x="342" y="144"/>
                  </a:lnTo>
                  <a:lnTo>
                    <a:pt x="342" y="140"/>
                  </a:lnTo>
                  <a:lnTo>
                    <a:pt x="336" y="138"/>
                  </a:lnTo>
                  <a:lnTo>
                    <a:pt x="330" y="140"/>
                  </a:lnTo>
                  <a:lnTo>
                    <a:pt x="328" y="148"/>
                  </a:lnTo>
                  <a:lnTo>
                    <a:pt x="324" y="150"/>
                  </a:lnTo>
                  <a:lnTo>
                    <a:pt x="320" y="150"/>
                  </a:lnTo>
                  <a:lnTo>
                    <a:pt x="318" y="146"/>
                  </a:lnTo>
                  <a:lnTo>
                    <a:pt x="312" y="142"/>
                  </a:lnTo>
                  <a:lnTo>
                    <a:pt x="308" y="138"/>
                  </a:lnTo>
                  <a:lnTo>
                    <a:pt x="302" y="132"/>
                  </a:lnTo>
                  <a:lnTo>
                    <a:pt x="298" y="132"/>
                  </a:lnTo>
                  <a:lnTo>
                    <a:pt x="298" y="136"/>
                  </a:lnTo>
                  <a:lnTo>
                    <a:pt x="296" y="140"/>
                  </a:lnTo>
                  <a:lnTo>
                    <a:pt x="292" y="148"/>
                  </a:lnTo>
                  <a:lnTo>
                    <a:pt x="286" y="150"/>
                  </a:lnTo>
                  <a:lnTo>
                    <a:pt x="276" y="148"/>
                  </a:lnTo>
                  <a:lnTo>
                    <a:pt x="266" y="150"/>
                  </a:lnTo>
                  <a:lnTo>
                    <a:pt x="260" y="152"/>
                  </a:lnTo>
                  <a:lnTo>
                    <a:pt x="256" y="156"/>
                  </a:lnTo>
                  <a:lnTo>
                    <a:pt x="252" y="162"/>
                  </a:lnTo>
                  <a:lnTo>
                    <a:pt x="248" y="162"/>
                  </a:lnTo>
                  <a:lnTo>
                    <a:pt x="244" y="166"/>
                  </a:lnTo>
                  <a:lnTo>
                    <a:pt x="242" y="172"/>
                  </a:lnTo>
                  <a:lnTo>
                    <a:pt x="236" y="172"/>
                  </a:lnTo>
                  <a:lnTo>
                    <a:pt x="234" y="172"/>
                  </a:lnTo>
                  <a:lnTo>
                    <a:pt x="228" y="174"/>
                  </a:lnTo>
                  <a:lnTo>
                    <a:pt x="218" y="176"/>
                  </a:lnTo>
                  <a:lnTo>
                    <a:pt x="216" y="178"/>
                  </a:lnTo>
                  <a:lnTo>
                    <a:pt x="208" y="184"/>
                  </a:lnTo>
                  <a:lnTo>
                    <a:pt x="204" y="188"/>
                  </a:lnTo>
                  <a:lnTo>
                    <a:pt x="198" y="188"/>
                  </a:lnTo>
                  <a:lnTo>
                    <a:pt x="194" y="194"/>
                  </a:lnTo>
                  <a:lnTo>
                    <a:pt x="192" y="198"/>
                  </a:lnTo>
                  <a:lnTo>
                    <a:pt x="182" y="198"/>
                  </a:lnTo>
                  <a:lnTo>
                    <a:pt x="172" y="204"/>
                  </a:lnTo>
                  <a:lnTo>
                    <a:pt x="168" y="204"/>
                  </a:lnTo>
                  <a:lnTo>
                    <a:pt x="162" y="208"/>
                  </a:lnTo>
                  <a:lnTo>
                    <a:pt x="156" y="210"/>
                  </a:lnTo>
                  <a:lnTo>
                    <a:pt x="152" y="210"/>
                  </a:lnTo>
                  <a:lnTo>
                    <a:pt x="148" y="214"/>
                  </a:lnTo>
                  <a:lnTo>
                    <a:pt x="146" y="222"/>
                  </a:lnTo>
                  <a:lnTo>
                    <a:pt x="140" y="226"/>
                  </a:lnTo>
                  <a:lnTo>
                    <a:pt x="132" y="226"/>
                  </a:lnTo>
                  <a:lnTo>
                    <a:pt x="124" y="230"/>
                  </a:lnTo>
                  <a:lnTo>
                    <a:pt x="124" y="238"/>
                  </a:lnTo>
                  <a:lnTo>
                    <a:pt x="126" y="246"/>
                  </a:lnTo>
                  <a:lnTo>
                    <a:pt x="126" y="250"/>
                  </a:lnTo>
                  <a:lnTo>
                    <a:pt x="120" y="250"/>
                  </a:lnTo>
                  <a:lnTo>
                    <a:pt x="114" y="254"/>
                  </a:lnTo>
                  <a:lnTo>
                    <a:pt x="108" y="260"/>
                  </a:lnTo>
                  <a:lnTo>
                    <a:pt x="102" y="260"/>
                  </a:lnTo>
                  <a:lnTo>
                    <a:pt x="98" y="258"/>
                  </a:lnTo>
                  <a:lnTo>
                    <a:pt x="96" y="262"/>
                  </a:lnTo>
                  <a:lnTo>
                    <a:pt x="94" y="268"/>
                  </a:lnTo>
                  <a:lnTo>
                    <a:pt x="90" y="270"/>
                  </a:lnTo>
                  <a:lnTo>
                    <a:pt x="84" y="274"/>
                  </a:lnTo>
                  <a:lnTo>
                    <a:pt x="80" y="272"/>
                  </a:lnTo>
                  <a:lnTo>
                    <a:pt x="80" y="270"/>
                  </a:lnTo>
                  <a:lnTo>
                    <a:pt x="76" y="266"/>
                  </a:lnTo>
                  <a:lnTo>
                    <a:pt x="74" y="268"/>
                  </a:lnTo>
                  <a:lnTo>
                    <a:pt x="74" y="272"/>
                  </a:lnTo>
                  <a:lnTo>
                    <a:pt x="72" y="276"/>
                  </a:lnTo>
                  <a:lnTo>
                    <a:pt x="66" y="276"/>
                  </a:lnTo>
                  <a:lnTo>
                    <a:pt x="62" y="274"/>
                  </a:lnTo>
                  <a:lnTo>
                    <a:pt x="58" y="272"/>
                  </a:lnTo>
                  <a:lnTo>
                    <a:pt x="52" y="272"/>
                  </a:lnTo>
                  <a:lnTo>
                    <a:pt x="46" y="274"/>
                  </a:lnTo>
                  <a:lnTo>
                    <a:pt x="42" y="272"/>
                  </a:lnTo>
                  <a:lnTo>
                    <a:pt x="40" y="274"/>
                  </a:lnTo>
                  <a:lnTo>
                    <a:pt x="30" y="276"/>
                  </a:lnTo>
                  <a:lnTo>
                    <a:pt x="26" y="282"/>
                  </a:lnTo>
                  <a:lnTo>
                    <a:pt x="26" y="292"/>
                  </a:lnTo>
                  <a:lnTo>
                    <a:pt x="24" y="296"/>
                  </a:lnTo>
                  <a:lnTo>
                    <a:pt x="20" y="300"/>
                  </a:lnTo>
                  <a:lnTo>
                    <a:pt x="16" y="302"/>
                  </a:lnTo>
                  <a:lnTo>
                    <a:pt x="12" y="304"/>
                  </a:lnTo>
                  <a:lnTo>
                    <a:pt x="6" y="306"/>
                  </a:lnTo>
                  <a:lnTo>
                    <a:pt x="4" y="306"/>
                  </a:lnTo>
                  <a:lnTo>
                    <a:pt x="6" y="310"/>
                  </a:lnTo>
                  <a:lnTo>
                    <a:pt x="6" y="314"/>
                  </a:lnTo>
                  <a:lnTo>
                    <a:pt x="6" y="318"/>
                  </a:lnTo>
                  <a:lnTo>
                    <a:pt x="8" y="322"/>
                  </a:lnTo>
                  <a:lnTo>
                    <a:pt x="8" y="324"/>
                  </a:lnTo>
                  <a:lnTo>
                    <a:pt x="4" y="326"/>
                  </a:lnTo>
                  <a:lnTo>
                    <a:pt x="2" y="330"/>
                  </a:lnTo>
                  <a:lnTo>
                    <a:pt x="0" y="334"/>
                  </a:lnTo>
                  <a:lnTo>
                    <a:pt x="4" y="338"/>
                  </a:lnTo>
                  <a:lnTo>
                    <a:pt x="6" y="342"/>
                  </a:lnTo>
                  <a:lnTo>
                    <a:pt x="14" y="344"/>
                  </a:lnTo>
                  <a:lnTo>
                    <a:pt x="20" y="348"/>
                  </a:lnTo>
                  <a:lnTo>
                    <a:pt x="22" y="350"/>
                  </a:lnTo>
                  <a:lnTo>
                    <a:pt x="20" y="354"/>
                  </a:lnTo>
                  <a:lnTo>
                    <a:pt x="18" y="358"/>
                  </a:lnTo>
                  <a:lnTo>
                    <a:pt x="16" y="360"/>
                  </a:lnTo>
                  <a:lnTo>
                    <a:pt x="14" y="362"/>
                  </a:lnTo>
                  <a:lnTo>
                    <a:pt x="16" y="366"/>
                  </a:lnTo>
                  <a:lnTo>
                    <a:pt x="22" y="368"/>
                  </a:lnTo>
                  <a:lnTo>
                    <a:pt x="28" y="370"/>
                  </a:lnTo>
                  <a:lnTo>
                    <a:pt x="38" y="374"/>
                  </a:lnTo>
                  <a:lnTo>
                    <a:pt x="44" y="380"/>
                  </a:lnTo>
                  <a:lnTo>
                    <a:pt x="52" y="382"/>
                  </a:lnTo>
                  <a:lnTo>
                    <a:pt x="54" y="388"/>
                  </a:lnTo>
                  <a:lnTo>
                    <a:pt x="54" y="398"/>
                  </a:lnTo>
                  <a:lnTo>
                    <a:pt x="62" y="404"/>
                  </a:lnTo>
                  <a:lnTo>
                    <a:pt x="72" y="410"/>
                  </a:lnTo>
                  <a:lnTo>
                    <a:pt x="78" y="412"/>
                  </a:lnTo>
                  <a:lnTo>
                    <a:pt x="80" y="416"/>
                  </a:lnTo>
                  <a:lnTo>
                    <a:pt x="86" y="420"/>
                  </a:lnTo>
                  <a:lnTo>
                    <a:pt x="90" y="422"/>
                  </a:lnTo>
                  <a:lnTo>
                    <a:pt x="96" y="422"/>
                  </a:lnTo>
                  <a:lnTo>
                    <a:pt x="104" y="418"/>
                  </a:lnTo>
                  <a:lnTo>
                    <a:pt x="114" y="418"/>
                  </a:lnTo>
                  <a:lnTo>
                    <a:pt x="120" y="420"/>
                  </a:lnTo>
                  <a:lnTo>
                    <a:pt x="124" y="430"/>
                  </a:lnTo>
                  <a:lnTo>
                    <a:pt x="128" y="432"/>
                  </a:lnTo>
                  <a:lnTo>
                    <a:pt x="130" y="434"/>
                  </a:lnTo>
                  <a:lnTo>
                    <a:pt x="134" y="438"/>
                  </a:lnTo>
                  <a:lnTo>
                    <a:pt x="138" y="438"/>
                  </a:lnTo>
                  <a:lnTo>
                    <a:pt x="142" y="436"/>
                  </a:lnTo>
                  <a:lnTo>
                    <a:pt x="146" y="432"/>
                  </a:lnTo>
                  <a:lnTo>
                    <a:pt x="150" y="432"/>
                  </a:lnTo>
                  <a:lnTo>
                    <a:pt x="152" y="434"/>
                  </a:lnTo>
                  <a:lnTo>
                    <a:pt x="152" y="440"/>
                  </a:lnTo>
                  <a:lnTo>
                    <a:pt x="156" y="446"/>
                  </a:lnTo>
                  <a:lnTo>
                    <a:pt x="160" y="450"/>
                  </a:lnTo>
                  <a:lnTo>
                    <a:pt x="168" y="452"/>
                  </a:lnTo>
                  <a:lnTo>
                    <a:pt x="170" y="454"/>
                  </a:lnTo>
                  <a:lnTo>
                    <a:pt x="170" y="460"/>
                  </a:lnTo>
                  <a:lnTo>
                    <a:pt x="174" y="464"/>
                  </a:lnTo>
                  <a:lnTo>
                    <a:pt x="176" y="468"/>
                  </a:lnTo>
                  <a:lnTo>
                    <a:pt x="178" y="478"/>
                  </a:lnTo>
                  <a:lnTo>
                    <a:pt x="180" y="486"/>
                  </a:lnTo>
                  <a:lnTo>
                    <a:pt x="180" y="490"/>
                  </a:lnTo>
                  <a:lnTo>
                    <a:pt x="184" y="496"/>
                  </a:lnTo>
                  <a:lnTo>
                    <a:pt x="190" y="508"/>
                  </a:lnTo>
                  <a:lnTo>
                    <a:pt x="196" y="516"/>
                  </a:lnTo>
                  <a:lnTo>
                    <a:pt x="200" y="518"/>
                  </a:lnTo>
                  <a:lnTo>
                    <a:pt x="206" y="522"/>
                  </a:lnTo>
                  <a:lnTo>
                    <a:pt x="208" y="528"/>
                  </a:lnTo>
                  <a:lnTo>
                    <a:pt x="212" y="542"/>
                  </a:lnTo>
                  <a:lnTo>
                    <a:pt x="214" y="550"/>
                  </a:lnTo>
                  <a:lnTo>
                    <a:pt x="214" y="556"/>
                  </a:lnTo>
                  <a:lnTo>
                    <a:pt x="216" y="558"/>
                  </a:lnTo>
                  <a:lnTo>
                    <a:pt x="216" y="562"/>
                  </a:lnTo>
                  <a:lnTo>
                    <a:pt x="212" y="576"/>
                  </a:lnTo>
                  <a:lnTo>
                    <a:pt x="208" y="582"/>
                  </a:lnTo>
                  <a:lnTo>
                    <a:pt x="208" y="586"/>
                  </a:lnTo>
                  <a:lnTo>
                    <a:pt x="210" y="596"/>
                  </a:lnTo>
                  <a:lnTo>
                    <a:pt x="214" y="602"/>
                  </a:lnTo>
                  <a:lnTo>
                    <a:pt x="214" y="610"/>
                  </a:lnTo>
                  <a:lnTo>
                    <a:pt x="212" y="614"/>
                  </a:lnTo>
                  <a:lnTo>
                    <a:pt x="206" y="620"/>
                  </a:lnTo>
                  <a:lnTo>
                    <a:pt x="204" y="624"/>
                  </a:lnTo>
                  <a:lnTo>
                    <a:pt x="200" y="626"/>
                  </a:lnTo>
                  <a:lnTo>
                    <a:pt x="194" y="638"/>
                  </a:lnTo>
                  <a:lnTo>
                    <a:pt x="192" y="650"/>
                  </a:lnTo>
                  <a:lnTo>
                    <a:pt x="192" y="656"/>
                  </a:lnTo>
                  <a:lnTo>
                    <a:pt x="194" y="662"/>
                  </a:lnTo>
                  <a:lnTo>
                    <a:pt x="198" y="668"/>
                  </a:lnTo>
                  <a:lnTo>
                    <a:pt x="198" y="672"/>
                  </a:lnTo>
                  <a:lnTo>
                    <a:pt x="204" y="682"/>
                  </a:lnTo>
                  <a:lnTo>
                    <a:pt x="206" y="688"/>
                  </a:lnTo>
                  <a:lnTo>
                    <a:pt x="208" y="688"/>
                  </a:lnTo>
                  <a:lnTo>
                    <a:pt x="210" y="686"/>
                  </a:lnTo>
                  <a:lnTo>
                    <a:pt x="218" y="686"/>
                  </a:lnTo>
                  <a:lnTo>
                    <a:pt x="222" y="688"/>
                  </a:lnTo>
                  <a:lnTo>
                    <a:pt x="228" y="692"/>
                  </a:lnTo>
                  <a:lnTo>
                    <a:pt x="234" y="694"/>
                  </a:lnTo>
                  <a:lnTo>
                    <a:pt x="242" y="694"/>
                  </a:lnTo>
                  <a:lnTo>
                    <a:pt x="248" y="696"/>
                  </a:lnTo>
                  <a:lnTo>
                    <a:pt x="252" y="698"/>
                  </a:lnTo>
                  <a:lnTo>
                    <a:pt x="262" y="700"/>
                  </a:lnTo>
                  <a:lnTo>
                    <a:pt x="282" y="700"/>
                  </a:lnTo>
                  <a:lnTo>
                    <a:pt x="290" y="702"/>
                  </a:lnTo>
                  <a:lnTo>
                    <a:pt x="308" y="706"/>
                  </a:lnTo>
                  <a:lnTo>
                    <a:pt x="318" y="704"/>
                  </a:lnTo>
                  <a:lnTo>
                    <a:pt x="332" y="702"/>
                  </a:lnTo>
                  <a:lnTo>
                    <a:pt x="340" y="704"/>
                  </a:lnTo>
                  <a:lnTo>
                    <a:pt x="364" y="708"/>
                  </a:lnTo>
                  <a:lnTo>
                    <a:pt x="378" y="712"/>
                  </a:lnTo>
                  <a:lnTo>
                    <a:pt x="388" y="716"/>
                  </a:lnTo>
                  <a:lnTo>
                    <a:pt x="394" y="722"/>
                  </a:lnTo>
                  <a:lnTo>
                    <a:pt x="402" y="732"/>
                  </a:lnTo>
                  <a:lnTo>
                    <a:pt x="408" y="736"/>
                  </a:lnTo>
                  <a:lnTo>
                    <a:pt x="424" y="738"/>
                  </a:lnTo>
                  <a:lnTo>
                    <a:pt x="434" y="750"/>
                  </a:lnTo>
                  <a:lnTo>
                    <a:pt x="442" y="754"/>
                  </a:lnTo>
                  <a:lnTo>
                    <a:pt x="458" y="766"/>
                  </a:lnTo>
                  <a:lnTo>
                    <a:pt x="468" y="770"/>
                  </a:lnTo>
                  <a:lnTo>
                    <a:pt x="480" y="774"/>
                  </a:lnTo>
                  <a:lnTo>
                    <a:pt x="498" y="772"/>
                  </a:lnTo>
                  <a:lnTo>
                    <a:pt x="500" y="774"/>
                  </a:lnTo>
                  <a:lnTo>
                    <a:pt x="498" y="780"/>
                  </a:lnTo>
                  <a:lnTo>
                    <a:pt x="498" y="788"/>
                  </a:lnTo>
                  <a:lnTo>
                    <a:pt x="498" y="794"/>
                  </a:lnTo>
                  <a:lnTo>
                    <a:pt x="500" y="798"/>
                  </a:lnTo>
                  <a:lnTo>
                    <a:pt x="506" y="800"/>
                  </a:lnTo>
                  <a:lnTo>
                    <a:pt x="510" y="802"/>
                  </a:lnTo>
                  <a:lnTo>
                    <a:pt x="514" y="808"/>
                  </a:lnTo>
                  <a:lnTo>
                    <a:pt x="514" y="812"/>
                  </a:lnTo>
                  <a:lnTo>
                    <a:pt x="522" y="828"/>
                  </a:lnTo>
                  <a:lnTo>
                    <a:pt x="532" y="854"/>
                  </a:lnTo>
                  <a:lnTo>
                    <a:pt x="532" y="864"/>
                  </a:lnTo>
                  <a:lnTo>
                    <a:pt x="536" y="870"/>
                  </a:lnTo>
                  <a:lnTo>
                    <a:pt x="546" y="880"/>
                  </a:lnTo>
                  <a:lnTo>
                    <a:pt x="552" y="886"/>
                  </a:lnTo>
                  <a:lnTo>
                    <a:pt x="562" y="894"/>
                  </a:lnTo>
                  <a:lnTo>
                    <a:pt x="564" y="902"/>
                  </a:lnTo>
                  <a:lnTo>
                    <a:pt x="564" y="912"/>
                  </a:lnTo>
                  <a:lnTo>
                    <a:pt x="566" y="914"/>
                  </a:lnTo>
                  <a:lnTo>
                    <a:pt x="582" y="912"/>
                  </a:lnTo>
                  <a:lnTo>
                    <a:pt x="596" y="910"/>
                  </a:lnTo>
                  <a:lnTo>
                    <a:pt x="620" y="908"/>
                  </a:lnTo>
                  <a:lnTo>
                    <a:pt x="654" y="912"/>
                  </a:lnTo>
                  <a:lnTo>
                    <a:pt x="687" y="916"/>
                  </a:lnTo>
                  <a:lnTo>
                    <a:pt x="719" y="920"/>
                  </a:lnTo>
                  <a:lnTo>
                    <a:pt x="733" y="922"/>
                  </a:lnTo>
                  <a:lnTo>
                    <a:pt x="767" y="926"/>
                  </a:lnTo>
                  <a:lnTo>
                    <a:pt x="787" y="922"/>
                  </a:lnTo>
                  <a:lnTo>
                    <a:pt x="801" y="918"/>
                  </a:lnTo>
                  <a:lnTo>
                    <a:pt x="809" y="918"/>
                  </a:lnTo>
                  <a:lnTo>
                    <a:pt x="837" y="922"/>
                  </a:lnTo>
                  <a:lnTo>
                    <a:pt x="853" y="926"/>
                  </a:lnTo>
                  <a:lnTo>
                    <a:pt x="875" y="928"/>
                  </a:lnTo>
                  <a:lnTo>
                    <a:pt x="889" y="930"/>
                  </a:lnTo>
                  <a:lnTo>
                    <a:pt x="901" y="930"/>
                  </a:lnTo>
                  <a:lnTo>
                    <a:pt x="907" y="930"/>
                  </a:lnTo>
                  <a:lnTo>
                    <a:pt x="911" y="932"/>
                  </a:lnTo>
                  <a:lnTo>
                    <a:pt x="915" y="936"/>
                  </a:lnTo>
                  <a:lnTo>
                    <a:pt x="925" y="952"/>
                  </a:lnTo>
                  <a:lnTo>
                    <a:pt x="933" y="958"/>
                  </a:lnTo>
                  <a:lnTo>
                    <a:pt x="945" y="964"/>
                  </a:lnTo>
                  <a:lnTo>
                    <a:pt x="971" y="968"/>
                  </a:lnTo>
                  <a:lnTo>
                    <a:pt x="987" y="972"/>
                  </a:lnTo>
                  <a:lnTo>
                    <a:pt x="1005" y="976"/>
                  </a:lnTo>
                  <a:lnTo>
                    <a:pt x="1015" y="982"/>
                  </a:lnTo>
                  <a:lnTo>
                    <a:pt x="1029" y="990"/>
                  </a:lnTo>
                  <a:lnTo>
                    <a:pt x="1047" y="1000"/>
                  </a:lnTo>
                  <a:lnTo>
                    <a:pt x="1065" y="996"/>
                  </a:lnTo>
                  <a:lnTo>
                    <a:pt x="1085" y="990"/>
                  </a:lnTo>
                  <a:lnTo>
                    <a:pt x="1097" y="988"/>
                  </a:lnTo>
                  <a:lnTo>
                    <a:pt x="1097" y="1008"/>
                  </a:lnTo>
                  <a:lnTo>
                    <a:pt x="1115" y="1008"/>
                  </a:lnTo>
                  <a:lnTo>
                    <a:pt x="1121" y="1008"/>
                  </a:lnTo>
                  <a:lnTo>
                    <a:pt x="1129" y="1012"/>
                  </a:lnTo>
                  <a:lnTo>
                    <a:pt x="1133" y="1012"/>
                  </a:lnTo>
                  <a:lnTo>
                    <a:pt x="1139" y="1006"/>
                  </a:lnTo>
                  <a:lnTo>
                    <a:pt x="1143" y="1000"/>
                  </a:lnTo>
                  <a:lnTo>
                    <a:pt x="1151" y="998"/>
                  </a:lnTo>
                  <a:lnTo>
                    <a:pt x="1165" y="990"/>
                  </a:lnTo>
                  <a:lnTo>
                    <a:pt x="1187" y="978"/>
                  </a:lnTo>
                  <a:lnTo>
                    <a:pt x="1217" y="964"/>
                  </a:lnTo>
                  <a:lnTo>
                    <a:pt x="1231" y="958"/>
                  </a:lnTo>
                  <a:lnTo>
                    <a:pt x="1235" y="958"/>
                  </a:lnTo>
                  <a:lnTo>
                    <a:pt x="1241" y="954"/>
                  </a:lnTo>
                  <a:lnTo>
                    <a:pt x="1247" y="952"/>
                  </a:lnTo>
                  <a:lnTo>
                    <a:pt x="1255" y="950"/>
                  </a:lnTo>
                  <a:lnTo>
                    <a:pt x="1267" y="948"/>
                  </a:lnTo>
                  <a:lnTo>
                    <a:pt x="1281" y="946"/>
                  </a:lnTo>
                  <a:lnTo>
                    <a:pt x="1311" y="942"/>
                  </a:lnTo>
                  <a:lnTo>
                    <a:pt x="1315" y="942"/>
                  </a:lnTo>
                  <a:lnTo>
                    <a:pt x="1331" y="940"/>
                  </a:lnTo>
                  <a:lnTo>
                    <a:pt x="1339" y="938"/>
                  </a:lnTo>
                  <a:lnTo>
                    <a:pt x="1349" y="938"/>
                  </a:lnTo>
                  <a:lnTo>
                    <a:pt x="1363" y="940"/>
                  </a:lnTo>
                  <a:lnTo>
                    <a:pt x="1373" y="940"/>
                  </a:lnTo>
                  <a:lnTo>
                    <a:pt x="1385" y="940"/>
                  </a:lnTo>
                  <a:lnTo>
                    <a:pt x="1401" y="938"/>
                  </a:lnTo>
                  <a:lnTo>
                    <a:pt x="1415" y="938"/>
                  </a:lnTo>
                  <a:lnTo>
                    <a:pt x="1421" y="936"/>
                  </a:lnTo>
                  <a:lnTo>
                    <a:pt x="1431" y="932"/>
                  </a:lnTo>
                  <a:lnTo>
                    <a:pt x="1439" y="928"/>
                  </a:lnTo>
                  <a:lnTo>
                    <a:pt x="1449" y="924"/>
                  </a:lnTo>
                  <a:lnTo>
                    <a:pt x="1463" y="918"/>
                  </a:lnTo>
                  <a:lnTo>
                    <a:pt x="1471" y="914"/>
                  </a:lnTo>
                  <a:lnTo>
                    <a:pt x="1477" y="912"/>
                  </a:lnTo>
                  <a:lnTo>
                    <a:pt x="1485" y="908"/>
                  </a:lnTo>
                  <a:lnTo>
                    <a:pt x="1487" y="906"/>
                  </a:lnTo>
                  <a:lnTo>
                    <a:pt x="1489" y="902"/>
                  </a:lnTo>
                  <a:lnTo>
                    <a:pt x="1493" y="898"/>
                  </a:lnTo>
                  <a:lnTo>
                    <a:pt x="1499" y="890"/>
                  </a:lnTo>
                  <a:lnTo>
                    <a:pt x="1505" y="882"/>
                  </a:lnTo>
                  <a:lnTo>
                    <a:pt x="1507" y="878"/>
                  </a:lnTo>
                  <a:lnTo>
                    <a:pt x="1513" y="870"/>
                  </a:lnTo>
                  <a:lnTo>
                    <a:pt x="1519" y="866"/>
                  </a:lnTo>
                  <a:lnTo>
                    <a:pt x="1525" y="858"/>
                  </a:lnTo>
                  <a:lnTo>
                    <a:pt x="1529" y="856"/>
                  </a:lnTo>
                  <a:lnTo>
                    <a:pt x="1537" y="852"/>
                  </a:lnTo>
                  <a:lnTo>
                    <a:pt x="1553" y="846"/>
                  </a:lnTo>
                  <a:lnTo>
                    <a:pt x="1557" y="844"/>
                  </a:lnTo>
                  <a:lnTo>
                    <a:pt x="1559" y="844"/>
                  </a:lnTo>
                  <a:lnTo>
                    <a:pt x="1565" y="838"/>
                  </a:lnTo>
                  <a:lnTo>
                    <a:pt x="1571" y="832"/>
                  </a:lnTo>
                  <a:lnTo>
                    <a:pt x="1575" y="828"/>
                  </a:lnTo>
                  <a:lnTo>
                    <a:pt x="1581" y="826"/>
                  </a:lnTo>
                  <a:lnTo>
                    <a:pt x="1585" y="824"/>
                  </a:lnTo>
                  <a:lnTo>
                    <a:pt x="1585" y="820"/>
                  </a:lnTo>
                  <a:lnTo>
                    <a:pt x="1585" y="814"/>
                  </a:lnTo>
                  <a:lnTo>
                    <a:pt x="1581" y="808"/>
                  </a:lnTo>
                  <a:lnTo>
                    <a:pt x="1579" y="804"/>
                  </a:lnTo>
                  <a:lnTo>
                    <a:pt x="1569" y="794"/>
                  </a:lnTo>
                  <a:lnTo>
                    <a:pt x="1563" y="788"/>
                  </a:lnTo>
                  <a:lnTo>
                    <a:pt x="1557" y="780"/>
                  </a:lnTo>
                  <a:lnTo>
                    <a:pt x="1555" y="774"/>
                  </a:lnTo>
                  <a:lnTo>
                    <a:pt x="1553" y="768"/>
                  </a:lnTo>
                  <a:lnTo>
                    <a:pt x="1551" y="764"/>
                  </a:lnTo>
                  <a:lnTo>
                    <a:pt x="1551" y="760"/>
                  </a:lnTo>
                  <a:lnTo>
                    <a:pt x="1555" y="752"/>
                  </a:lnTo>
                  <a:lnTo>
                    <a:pt x="1557" y="746"/>
                  </a:lnTo>
                  <a:lnTo>
                    <a:pt x="1559" y="736"/>
                  </a:lnTo>
                  <a:lnTo>
                    <a:pt x="1565" y="722"/>
                  </a:lnTo>
                  <a:lnTo>
                    <a:pt x="1569" y="716"/>
                  </a:lnTo>
                  <a:lnTo>
                    <a:pt x="1573" y="708"/>
                  </a:lnTo>
                  <a:lnTo>
                    <a:pt x="1583" y="700"/>
                  </a:lnTo>
                  <a:lnTo>
                    <a:pt x="1591" y="698"/>
                  </a:lnTo>
                  <a:lnTo>
                    <a:pt x="1597" y="700"/>
                  </a:lnTo>
                  <a:lnTo>
                    <a:pt x="1609" y="700"/>
                  </a:lnTo>
                  <a:lnTo>
                    <a:pt x="1617" y="700"/>
                  </a:lnTo>
                  <a:lnTo>
                    <a:pt x="1623" y="704"/>
                  </a:lnTo>
                  <a:lnTo>
                    <a:pt x="1629" y="714"/>
                  </a:lnTo>
                  <a:lnTo>
                    <a:pt x="1635" y="716"/>
                  </a:lnTo>
                  <a:lnTo>
                    <a:pt x="1659" y="724"/>
                  </a:lnTo>
                  <a:lnTo>
                    <a:pt x="1667" y="726"/>
                  </a:lnTo>
                  <a:lnTo>
                    <a:pt x="1675" y="726"/>
                  </a:lnTo>
                  <a:lnTo>
                    <a:pt x="1685" y="728"/>
                  </a:lnTo>
                  <a:lnTo>
                    <a:pt x="1689" y="728"/>
                  </a:lnTo>
                  <a:lnTo>
                    <a:pt x="1693" y="730"/>
                  </a:lnTo>
                  <a:lnTo>
                    <a:pt x="1699" y="728"/>
                  </a:lnTo>
                  <a:lnTo>
                    <a:pt x="1705" y="722"/>
                  </a:lnTo>
                  <a:lnTo>
                    <a:pt x="1713" y="716"/>
                  </a:lnTo>
                  <a:lnTo>
                    <a:pt x="1717" y="714"/>
                  </a:lnTo>
                  <a:lnTo>
                    <a:pt x="1723" y="712"/>
                  </a:lnTo>
                  <a:lnTo>
                    <a:pt x="1725" y="708"/>
                  </a:lnTo>
                  <a:lnTo>
                    <a:pt x="1731" y="702"/>
                  </a:lnTo>
                  <a:lnTo>
                    <a:pt x="1739" y="696"/>
                  </a:lnTo>
                  <a:lnTo>
                    <a:pt x="1749" y="688"/>
                  </a:lnTo>
                  <a:lnTo>
                    <a:pt x="1753" y="680"/>
                  </a:lnTo>
                  <a:lnTo>
                    <a:pt x="1753" y="676"/>
                  </a:lnTo>
                  <a:lnTo>
                    <a:pt x="1755" y="672"/>
                  </a:lnTo>
                  <a:lnTo>
                    <a:pt x="1757" y="670"/>
                  </a:lnTo>
                  <a:lnTo>
                    <a:pt x="1763" y="668"/>
                  </a:lnTo>
                  <a:lnTo>
                    <a:pt x="1769" y="666"/>
                  </a:lnTo>
                  <a:lnTo>
                    <a:pt x="1781" y="670"/>
                  </a:lnTo>
                  <a:lnTo>
                    <a:pt x="1797" y="670"/>
                  </a:lnTo>
                  <a:lnTo>
                    <a:pt x="1801" y="670"/>
                  </a:lnTo>
                  <a:lnTo>
                    <a:pt x="1815" y="666"/>
                  </a:lnTo>
                  <a:lnTo>
                    <a:pt x="1821" y="666"/>
                  </a:lnTo>
                  <a:lnTo>
                    <a:pt x="1831" y="664"/>
                  </a:lnTo>
                  <a:lnTo>
                    <a:pt x="1837" y="656"/>
                  </a:lnTo>
                  <a:lnTo>
                    <a:pt x="1847" y="648"/>
                  </a:lnTo>
                  <a:lnTo>
                    <a:pt x="1855" y="642"/>
                  </a:lnTo>
                  <a:lnTo>
                    <a:pt x="1859" y="642"/>
                  </a:lnTo>
                  <a:lnTo>
                    <a:pt x="1865" y="636"/>
                  </a:lnTo>
                  <a:lnTo>
                    <a:pt x="1867" y="632"/>
                  </a:lnTo>
                  <a:lnTo>
                    <a:pt x="1867" y="628"/>
                  </a:lnTo>
                  <a:lnTo>
                    <a:pt x="1865" y="622"/>
                  </a:lnTo>
                  <a:lnTo>
                    <a:pt x="1869" y="616"/>
                  </a:lnTo>
                  <a:lnTo>
                    <a:pt x="1875" y="604"/>
                  </a:lnTo>
                  <a:lnTo>
                    <a:pt x="1881" y="598"/>
                  </a:lnTo>
                  <a:lnTo>
                    <a:pt x="1885" y="592"/>
                  </a:lnTo>
                  <a:lnTo>
                    <a:pt x="1889" y="586"/>
                  </a:lnTo>
                  <a:lnTo>
                    <a:pt x="1893" y="582"/>
                  </a:lnTo>
                  <a:lnTo>
                    <a:pt x="1897" y="582"/>
                  </a:lnTo>
                  <a:lnTo>
                    <a:pt x="1903" y="576"/>
                  </a:lnTo>
                  <a:lnTo>
                    <a:pt x="1909" y="576"/>
                  </a:lnTo>
                  <a:lnTo>
                    <a:pt x="1915" y="578"/>
                  </a:lnTo>
                  <a:lnTo>
                    <a:pt x="1927" y="578"/>
                  </a:lnTo>
                  <a:lnTo>
                    <a:pt x="1935" y="580"/>
                  </a:lnTo>
                  <a:lnTo>
                    <a:pt x="1939" y="578"/>
                  </a:lnTo>
                  <a:lnTo>
                    <a:pt x="1941" y="576"/>
                  </a:lnTo>
                  <a:lnTo>
                    <a:pt x="1941" y="572"/>
                  </a:lnTo>
                  <a:lnTo>
                    <a:pt x="1943" y="562"/>
                  </a:lnTo>
                  <a:lnTo>
                    <a:pt x="1943" y="558"/>
                  </a:lnTo>
                  <a:lnTo>
                    <a:pt x="1947" y="556"/>
                  </a:lnTo>
                  <a:lnTo>
                    <a:pt x="1953" y="556"/>
                  </a:lnTo>
                  <a:lnTo>
                    <a:pt x="1957" y="560"/>
                  </a:lnTo>
                  <a:lnTo>
                    <a:pt x="1961" y="562"/>
                  </a:lnTo>
                  <a:lnTo>
                    <a:pt x="1965" y="564"/>
                  </a:lnTo>
                  <a:lnTo>
                    <a:pt x="1971" y="562"/>
                  </a:lnTo>
                  <a:lnTo>
                    <a:pt x="1977" y="554"/>
                  </a:lnTo>
                  <a:lnTo>
                    <a:pt x="1987" y="550"/>
                  </a:lnTo>
                  <a:lnTo>
                    <a:pt x="1993" y="548"/>
                  </a:lnTo>
                  <a:lnTo>
                    <a:pt x="2003" y="544"/>
                  </a:lnTo>
                  <a:lnTo>
                    <a:pt x="2009" y="546"/>
                  </a:lnTo>
                  <a:lnTo>
                    <a:pt x="2021" y="546"/>
                  </a:lnTo>
                  <a:lnTo>
                    <a:pt x="2025" y="546"/>
                  </a:lnTo>
                  <a:lnTo>
                    <a:pt x="2031" y="546"/>
                  </a:lnTo>
                  <a:lnTo>
                    <a:pt x="2035" y="542"/>
                  </a:lnTo>
                  <a:lnTo>
                    <a:pt x="2039" y="540"/>
                  </a:lnTo>
                  <a:lnTo>
                    <a:pt x="2045" y="542"/>
                  </a:lnTo>
                  <a:lnTo>
                    <a:pt x="2051" y="546"/>
                  </a:lnTo>
                  <a:lnTo>
                    <a:pt x="2059" y="552"/>
                  </a:lnTo>
                  <a:lnTo>
                    <a:pt x="2071" y="554"/>
                  </a:lnTo>
                  <a:lnTo>
                    <a:pt x="2079" y="552"/>
                  </a:lnTo>
                  <a:lnTo>
                    <a:pt x="2089" y="556"/>
                  </a:lnTo>
                  <a:lnTo>
                    <a:pt x="2095" y="554"/>
                  </a:lnTo>
                  <a:lnTo>
                    <a:pt x="2097" y="552"/>
                  </a:lnTo>
                  <a:lnTo>
                    <a:pt x="2105" y="548"/>
                  </a:lnTo>
                  <a:lnTo>
                    <a:pt x="2107" y="542"/>
                  </a:lnTo>
                  <a:lnTo>
                    <a:pt x="2107" y="538"/>
                  </a:lnTo>
                  <a:lnTo>
                    <a:pt x="2107" y="530"/>
                  </a:lnTo>
                  <a:lnTo>
                    <a:pt x="2105" y="526"/>
                  </a:lnTo>
                  <a:lnTo>
                    <a:pt x="2099" y="520"/>
                  </a:lnTo>
                  <a:lnTo>
                    <a:pt x="2099" y="514"/>
                  </a:lnTo>
                  <a:lnTo>
                    <a:pt x="2097" y="508"/>
                  </a:lnTo>
                  <a:lnTo>
                    <a:pt x="2095" y="502"/>
                  </a:lnTo>
                  <a:lnTo>
                    <a:pt x="2087" y="496"/>
                  </a:lnTo>
                  <a:lnTo>
                    <a:pt x="2083" y="492"/>
                  </a:lnTo>
                  <a:lnTo>
                    <a:pt x="2073" y="480"/>
                  </a:lnTo>
                  <a:lnTo>
                    <a:pt x="2069" y="478"/>
                  </a:lnTo>
                  <a:lnTo>
                    <a:pt x="2069" y="476"/>
                  </a:lnTo>
                  <a:lnTo>
                    <a:pt x="2067" y="472"/>
                  </a:lnTo>
                  <a:lnTo>
                    <a:pt x="2063" y="470"/>
                  </a:lnTo>
                  <a:lnTo>
                    <a:pt x="2059" y="466"/>
                  </a:lnTo>
                  <a:lnTo>
                    <a:pt x="2057" y="464"/>
                  </a:lnTo>
                  <a:lnTo>
                    <a:pt x="2055" y="458"/>
                  </a:lnTo>
                  <a:lnTo>
                    <a:pt x="2053" y="454"/>
                  </a:lnTo>
                  <a:lnTo>
                    <a:pt x="2049" y="450"/>
                  </a:lnTo>
                  <a:lnTo>
                    <a:pt x="2045" y="450"/>
                  </a:lnTo>
                  <a:lnTo>
                    <a:pt x="2041" y="448"/>
                  </a:lnTo>
                  <a:lnTo>
                    <a:pt x="2033" y="444"/>
                  </a:lnTo>
                  <a:lnTo>
                    <a:pt x="2029" y="438"/>
                  </a:lnTo>
                  <a:lnTo>
                    <a:pt x="2021" y="426"/>
                  </a:lnTo>
                  <a:lnTo>
                    <a:pt x="2015" y="422"/>
                  </a:lnTo>
                  <a:lnTo>
                    <a:pt x="1999" y="420"/>
                  </a:lnTo>
                  <a:lnTo>
                    <a:pt x="1993" y="418"/>
                  </a:lnTo>
                  <a:lnTo>
                    <a:pt x="1985" y="418"/>
                  </a:lnTo>
                  <a:lnTo>
                    <a:pt x="1981" y="420"/>
                  </a:lnTo>
                  <a:lnTo>
                    <a:pt x="1973" y="420"/>
                  </a:lnTo>
                  <a:lnTo>
                    <a:pt x="1967" y="422"/>
                  </a:lnTo>
                  <a:lnTo>
                    <a:pt x="1961" y="430"/>
                  </a:lnTo>
                  <a:lnTo>
                    <a:pt x="1953" y="440"/>
                  </a:lnTo>
                  <a:lnTo>
                    <a:pt x="1947" y="446"/>
                  </a:lnTo>
                  <a:lnTo>
                    <a:pt x="1943" y="452"/>
                  </a:lnTo>
                  <a:lnTo>
                    <a:pt x="1941" y="454"/>
                  </a:lnTo>
                  <a:lnTo>
                    <a:pt x="1935" y="452"/>
                  </a:lnTo>
                  <a:lnTo>
                    <a:pt x="1931" y="446"/>
                  </a:lnTo>
                  <a:lnTo>
                    <a:pt x="1921" y="440"/>
                  </a:lnTo>
                  <a:lnTo>
                    <a:pt x="1915" y="436"/>
                  </a:lnTo>
                  <a:lnTo>
                    <a:pt x="1911" y="434"/>
                  </a:lnTo>
                  <a:lnTo>
                    <a:pt x="1901" y="432"/>
                  </a:lnTo>
                  <a:lnTo>
                    <a:pt x="1895" y="434"/>
                  </a:lnTo>
                  <a:lnTo>
                    <a:pt x="1885" y="436"/>
                  </a:lnTo>
                  <a:lnTo>
                    <a:pt x="1877" y="436"/>
                  </a:lnTo>
                  <a:lnTo>
                    <a:pt x="1873" y="434"/>
                  </a:lnTo>
                  <a:lnTo>
                    <a:pt x="1867" y="434"/>
                  </a:lnTo>
                  <a:lnTo>
                    <a:pt x="1857" y="440"/>
                  </a:lnTo>
                  <a:lnTo>
                    <a:pt x="1851" y="448"/>
                  </a:lnTo>
                  <a:lnTo>
                    <a:pt x="1845" y="450"/>
                  </a:lnTo>
                  <a:lnTo>
                    <a:pt x="1839" y="446"/>
                  </a:lnTo>
                  <a:lnTo>
                    <a:pt x="1833" y="440"/>
                  </a:lnTo>
                  <a:lnTo>
                    <a:pt x="1827" y="432"/>
                  </a:lnTo>
                  <a:lnTo>
                    <a:pt x="1823" y="426"/>
                  </a:lnTo>
                  <a:lnTo>
                    <a:pt x="1821" y="408"/>
                  </a:lnTo>
                  <a:lnTo>
                    <a:pt x="1829" y="402"/>
                  </a:lnTo>
                  <a:lnTo>
                    <a:pt x="1837" y="396"/>
                  </a:lnTo>
                  <a:lnTo>
                    <a:pt x="1839" y="386"/>
                  </a:lnTo>
                  <a:lnTo>
                    <a:pt x="1837" y="376"/>
                  </a:lnTo>
                  <a:lnTo>
                    <a:pt x="1841" y="364"/>
                  </a:lnTo>
                  <a:lnTo>
                    <a:pt x="1849" y="352"/>
                  </a:lnTo>
                  <a:lnTo>
                    <a:pt x="1853" y="342"/>
                  </a:lnTo>
                  <a:lnTo>
                    <a:pt x="1853" y="338"/>
                  </a:lnTo>
                  <a:lnTo>
                    <a:pt x="1859" y="328"/>
                  </a:lnTo>
                  <a:lnTo>
                    <a:pt x="1863" y="318"/>
                  </a:lnTo>
                  <a:lnTo>
                    <a:pt x="1867" y="304"/>
                  </a:lnTo>
                  <a:lnTo>
                    <a:pt x="1877" y="280"/>
                  </a:lnTo>
                  <a:lnTo>
                    <a:pt x="1891" y="252"/>
                  </a:lnTo>
                  <a:lnTo>
                    <a:pt x="1897" y="23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2" name="Google Shape;4739;p64">
              <a:extLst>
                <a:ext uri="{FF2B5EF4-FFF2-40B4-BE49-F238E27FC236}">
                  <a16:creationId xmlns:a16="http://schemas.microsoft.com/office/drawing/2014/main" id="{7675F882-B29D-63FE-FC6E-7B99D69EDC30}"/>
                </a:ext>
              </a:extLst>
            </p:cNvPr>
            <p:cNvSpPr/>
            <p:nvPr/>
          </p:nvSpPr>
          <p:spPr>
            <a:xfrm>
              <a:off x="6412528" y="3671570"/>
              <a:ext cx="691427" cy="332095"/>
            </a:xfrm>
            <a:custGeom>
              <a:avLst/>
              <a:gdLst/>
              <a:ahLst/>
              <a:cxnLst/>
              <a:rect l="l" t="t" r="r" b="b"/>
              <a:pathLst>
                <a:path w="2107" h="1012" extrusionOk="0">
                  <a:moveTo>
                    <a:pt x="1897" y="238"/>
                  </a:moveTo>
                  <a:lnTo>
                    <a:pt x="1893" y="232"/>
                  </a:lnTo>
                  <a:lnTo>
                    <a:pt x="1887" y="228"/>
                  </a:lnTo>
                  <a:lnTo>
                    <a:pt x="1875" y="222"/>
                  </a:lnTo>
                  <a:lnTo>
                    <a:pt x="1865" y="220"/>
                  </a:lnTo>
                  <a:lnTo>
                    <a:pt x="1861" y="220"/>
                  </a:lnTo>
                  <a:lnTo>
                    <a:pt x="1847" y="226"/>
                  </a:lnTo>
                  <a:lnTo>
                    <a:pt x="1839" y="230"/>
                  </a:lnTo>
                  <a:lnTo>
                    <a:pt x="1833" y="232"/>
                  </a:lnTo>
                  <a:lnTo>
                    <a:pt x="1825" y="232"/>
                  </a:lnTo>
                  <a:lnTo>
                    <a:pt x="1815" y="230"/>
                  </a:lnTo>
                  <a:lnTo>
                    <a:pt x="1811" y="230"/>
                  </a:lnTo>
                  <a:lnTo>
                    <a:pt x="1805" y="226"/>
                  </a:lnTo>
                  <a:lnTo>
                    <a:pt x="1793" y="214"/>
                  </a:lnTo>
                  <a:lnTo>
                    <a:pt x="1787" y="206"/>
                  </a:lnTo>
                  <a:lnTo>
                    <a:pt x="1779" y="202"/>
                  </a:lnTo>
                  <a:lnTo>
                    <a:pt x="1769" y="196"/>
                  </a:lnTo>
                  <a:lnTo>
                    <a:pt x="1765" y="196"/>
                  </a:lnTo>
                  <a:lnTo>
                    <a:pt x="1757" y="196"/>
                  </a:lnTo>
                  <a:lnTo>
                    <a:pt x="1745" y="194"/>
                  </a:lnTo>
                  <a:lnTo>
                    <a:pt x="1739" y="192"/>
                  </a:lnTo>
                  <a:lnTo>
                    <a:pt x="1735" y="194"/>
                  </a:lnTo>
                  <a:lnTo>
                    <a:pt x="1725" y="200"/>
                  </a:lnTo>
                  <a:lnTo>
                    <a:pt x="1713" y="210"/>
                  </a:lnTo>
                  <a:lnTo>
                    <a:pt x="1703" y="214"/>
                  </a:lnTo>
                  <a:lnTo>
                    <a:pt x="1693" y="220"/>
                  </a:lnTo>
                  <a:lnTo>
                    <a:pt x="1677" y="234"/>
                  </a:lnTo>
                  <a:lnTo>
                    <a:pt x="1665" y="240"/>
                  </a:lnTo>
                  <a:lnTo>
                    <a:pt x="1661" y="252"/>
                  </a:lnTo>
                  <a:lnTo>
                    <a:pt x="1659" y="260"/>
                  </a:lnTo>
                  <a:lnTo>
                    <a:pt x="1649" y="264"/>
                  </a:lnTo>
                  <a:lnTo>
                    <a:pt x="1643" y="268"/>
                  </a:lnTo>
                  <a:lnTo>
                    <a:pt x="1635" y="270"/>
                  </a:lnTo>
                  <a:lnTo>
                    <a:pt x="1621" y="268"/>
                  </a:lnTo>
                  <a:lnTo>
                    <a:pt x="1615" y="270"/>
                  </a:lnTo>
                  <a:lnTo>
                    <a:pt x="1595" y="278"/>
                  </a:lnTo>
                  <a:lnTo>
                    <a:pt x="1585" y="280"/>
                  </a:lnTo>
                  <a:lnTo>
                    <a:pt x="1579" y="280"/>
                  </a:lnTo>
                  <a:lnTo>
                    <a:pt x="1573" y="282"/>
                  </a:lnTo>
                  <a:lnTo>
                    <a:pt x="1561" y="284"/>
                  </a:lnTo>
                  <a:lnTo>
                    <a:pt x="1557" y="284"/>
                  </a:lnTo>
                  <a:lnTo>
                    <a:pt x="1553" y="286"/>
                  </a:lnTo>
                  <a:lnTo>
                    <a:pt x="1547" y="286"/>
                  </a:lnTo>
                  <a:lnTo>
                    <a:pt x="1537" y="290"/>
                  </a:lnTo>
                  <a:lnTo>
                    <a:pt x="1513" y="304"/>
                  </a:lnTo>
                  <a:lnTo>
                    <a:pt x="1505" y="306"/>
                  </a:lnTo>
                  <a:lnTo>
                    <a:pt x="1499" y="308"/>
                  </a:lnTo>
                  <a:lnTo>
                    <a:pt x="1493" y="302"/>
                  </a:lnTo>
                  <a:lnTo>
                    <a:pt x="1487" y="300"/>
                  </a:lnTo>
                  <a:lnTo>
                    <a:pt x="1479" y="300"/>
                  </a:lnTo>
                  <a:lnTo>
                    <a:pt x="1471" y="304"/>
                  </a:lnTo>
                  <a:lnTo>
                    <a:pt x="1457" y="300"/>
                  </a:lnTo>
                  <a:lnTo>
                    <a:pt x="1441" y="298"/>
                  </a:lnTo>
                  <a:lnTo>
                    <a:pt x="1427" y="294"/>
                  </a:lnTo>
                  <a:lnTo>
                    <a:pt x="1423" y="292"/>
                  </a:lnTo>
                  <a:lnTo>
                    <a:pt x="1409" y="288"/>
                  </a:lnTo>
                  <a:lnTo>
                    <a:pt x="1375" y="288"/>
                  </a:lnTo>
                  <a:lnTo>
                    <a:pt x="1367" y="288"/>
                  </a:lnTo>
                  <a:lnTo>
                    <a:pt x="1361" y="286"/>
                  </a:lnTo>
                  <a:lnTo>
                    <a:pt x="1353" y="282"/>
                  </a:lnTo>
                  <a:lnTo>
                    <a:pt x="1341" y="268"/>
                  </a:lnTo>
                  <a:lnTo>
                    <a:pt x="1333" y="264"/>
                  </a:lnTo>
                  <a:lnTo>
                    <a:pt x="1329" y="262"/>
                  </a:lnTo>
                  <a:lnTo>
                    <a:pt x="1327" y="256"/>
                  </a:lnTo>
                  <a:lnTo>
                    <a:pt x="1325" y="256"/>
                  </a:lnTo>
                  <a:lnTo>
                    <a:pt x="1323" y="252"/>
                  </a:lnTo>
                  <a:lnTo>
                    <a:pt x="1323" y="246"/>
                  </a:lnTo>
                  <a:lnTo>
                    <a:pt x="1323" y="236"/>
                  </a:lnTo>
                  <a:lnTo>
                    <a:pt x="1323" y="228"/>
                  </a:lnTo>
                  <a:lnTo>
                    <a:pt x="1321" y="226"/>
                  </a:lnTo>
                  <a:lnTo>
                    <a:pt x="1313" y="224"/>
                  </a:lnTo>
                  <a:lnTo>
                    <a:pt x="1303" y="222"/>
                  </a:lnTo>
                  <a:lnTo>
                    <a:pt x="1285" y="222"/>
                  </a:lnTo>
                  <a:lnTo>
                    <a:pt x="1277" y="222"/>
                  </a:lnTo>
                  <a:lnTo>
                    <a:pt x="1271" y="216"/>
                  </a:lnTo>
                  <a:lnTo>
                    <a:pt x="1265" y="212"/>
                  </a:lnTo>
                  <a:lnTo>
                    <a:pt x="1257" y="200"/>
                  </a:lnTo>
                  <a:lnTo>
                    <a:pt x="1253" y="194"/>
                  </a:lnTo>
                  <a:lnTo>
                    <a:pt x="1243" y="188"/>
                  </a:lnTo>
                  <a:lnTo>
                    <a:pt x="1233" y="186"/>
                  </a:lnTo>
                  <a:lnTo>
                    <a:pt x="1221" y="188"/>
                  </a:lnTo>
                  <a:lnTo>
                    <a:pt x="1211" y="188"/>
                  </a:lnTo>
                  <a:lnTo>
                    <a:pt x="1201" y="186"/>
                  </a:lnTo>
                  <a:lnTo>
                    <a:pt x="1195" y="182"/>
                  </a:lnTo>
                  <a:lnTo>
                    <a:pt x="1187" y="178"/>
                  </a:lnTo>
                  <a:lnTo>
                    <a:pt x="1177" y="178"/>
                  </a:lnTo>
                  <a:lnTo>
                    <a:pt x="1167" y="176"/>
                  </a:lnTo>
                  <a:lnTo>
                    <a:pt x="1155" y="172"/>
                  </a:lnTo>
                  <a:lnTo>
                    <a:pt x="1149" y="174"/>
                  </a:lnTo>
                  <a:lnTo>
                    <a:pt x="1143" y="176"/>
                  </a:lnTo>
                  <a:lnTo>
                    <a:pt x="1137" y="180"/>
                  </a:lnTo>
                  <a:lnTo>
                    <a:pt x="1129" y="182"/>
                  </a:lnTo>
                  <a:lnTo>
                    <a:pt x="1111" y="186"/>
                  </a:lnTo>
                  <a:lnTo>
                    <a:pt x="1105" y="188"/>
                  </a:lnTo>
                  <a:lnTo>
                    <a:pt x="1095" y="188"/>
                  </a:lnTo>
                  <a:lnTo>
                    <a:pt x="1089" y="192"/>
                  </a:lnTo>
                  <a:lnTo>
                    <a:pt x="1083" y="198"/>
                  </a:lnTo>
                  <a:lnTo>
                    <a:pt x="1077" y="202"/>
                  </a:lnTo>
                  <a:lnTo>
                    <a:pt x="1071" y="204"/>
                  </a:lnTo>
                  <a:lnTo>
                    <a:pt x="1063" y="204"/>
                  </a:lnTo>
                  <a:lnTo>
                    <a:pt x="1055" y="202"/>
                  </a:lnTo>
                  <a:lnTo>
                    <a:pt x="1053" y="202"/>
                  </a:lnTo>
                  <a:lnTo>
                    <a:pt x="1047" y="204"/>
                  </a:lnTo>
                  <a:lnTo>
                    <a:pt x="1041" y="206"/>
                  </a:lnTo>
                  <a:lnTo>
                    <a:pt x="1031" y="204"/>
                  </a:lnTo>
                  <a:lnTo>
                    <a:pt x="1027" y="202"/>
                  </a:lnTo>
                  <a:lnTo>
                    <a:pt x="1019" y="200"/>
                  </a:lnTo>
                  <a:lnTo>
                    <a:pt x="1015" y="194"/>
                  </a:lnTo>
                  <a:lnTo>
                    <a:pt x="1011" y="190"/>
                  </a:lnTo>
                  <a:lnTo>
                    <a:pt x="1003" y="190"/>
                  </a:lnTo>
                  <a:lnTo>
                    <a:pt x="991" y="186"/>
                  </a:lnTo>
                  <a:lnTo>
                    <a:pt x="985" y="182"/>
                  </a:lnTo>
                  <a:lnTo>
                    <a:pt x="979" y="180"/>
                  </a:lnTo>
                  <a:lnTo>
                    <a:pt x="969" y="174"/>
                  </a:lnTo>
                  <a:lnTo>
                    <a:pt x="965" y="166"/>
                  </a:lnTo>
                  <a:lnTo>
                    <a:pt x="961" y="166"/>
                  </a:lnTo>
                  <a:lnTo>
                    <a:pt x="955" y="164"/>
                  </a:lnTo>
                  <a:lnTo>
                    <a:pt x="953" y="160"/>
                  </a:lnTo>
                  <a:lnTo>
                    <a:pt x="953" y="154"/>
                  </a:lnTo>
                  <a:lnTo>
                    <a:pt x="953" y="152"/>
                  </a:lnTo>
                  <a:lnTo>
                    <a:pt x="955" y="146"/>
                  </a:lnTo>
                  <a:lnTo>
                    <a:pt x="953" y="142"/>
                  </a:lnTo>
                  <a:lnTo>
                    <a:pt x="949" y="138"/>
                  </a:lnTo>
                  <a:lnTo>
                    <a:pt x="947" y="134"/>
                  </a:lnTo>
                  <a:lnTo>
                    <a:pt x="949" y="128"/>
                  </a:lnTo>
                  <a:lnTo>
                    <a:pt x="947" y="120"/>
                  </a:lnTo>
                  <a:lnTo>
                    <a:pt x="947" y="112"/>
                  </a:lnTo>
                  <a:lnTo>
                    <a:pt x="943" y="106"/>
                  </a:lnTo>
                  <a:lnTo>
                    <a:pt x="943" y="94"/>
                  </a:lnTo>
                  <a:lnTo>
                    <a:pt x="945" y="90"/>
                  </a:lnTo>
                  <a:lnTo>
                    <a:pt x="945" y="84"/>
                  </a:lnTo>
                  <a:lnTo>
                    <a:pt x="941" y="80"/>
                  </a:lnTo>
                  <a:lnTo>
                    <a:pt x="933" y="78"/>
                  </a:lnTo>
                  <a:lnTo>
                    <a:pt x="923" y="74"/>
                  </a:lnTo>
                  <a:lnTo>
                    <a:pt x="905" y="68"/>
                  </a:lnTo>
                  <a:lnTo>
                    <a:pt x="899" y="68"/>
                  </a:lnTo>
                  <a:lnTo>
                    <a:pt x="893" y="70"/>
                  </a:lnTo>
                  <a:lnTo>
                    <a:pt x="889" y="68"/>
                  </a:lnTo>
                  <a:lnTo>
                    <a:pt x="883" y="64"/>
                  </a:lnTo>
                  <a:lnTo>
                    <a:pt x="873" y="60"/>
                  </a:lnTo>
                  <a:lnTo>
                    <a:pt x="863" y="54"/>
                  </a:lnTo>
                  <a:lnTo>
                    <a:pt x="849" y="48"/>
                  </a:lnTo>
                  <a:lnTo>
                    <a:pt x="839" y="42"/>
                  </a:lnTo>
                  <a:lnTo>
                    <a:pt x="833" y="40"/>
                  </a:lnTo>
                  <a:lnTo>
                    <a:pt x="817" y="40"/>
                  </a:lnTo>
                  <a:lnTo>
                    <a:pt x="805" y="40"/>
                  </a:lnTo>
                  <a:lnTo>
                    <a:pt x="797" y="38"/>
                  </a:lnTo>
                  <a:lnTo>
                    <a:pt x="789" y="30"/>
                  </a:lnTo>
                  <a:lnTo>
                    <a:pt x="785" y="26"/>
                  </a:lnTo>
                  <a:lnTo>
                    <a:pt x="777" y="24"/>
                  </a:lnTo>
                  <a:lnTo>
                    <a:pt x="773" y="22"/>
                  </a:lnTo>
                  <a:lnTo>
                    <a:pt x="765" y="20"/>
                  </a:lnTo>
                  <a:lnTo>
                    <a:pt x="749" y="12"/>
                  </a:lnTo>
                  <a:lnTo>
                    <a:pt x="743" y="8"/>
                  </a:lnTo>
                  <a:lnTo>
                    <a:pt x="739" y="8"/>
                  </a:lnTo>
                  <a:lnTo>
                    <a:pt x="735" y="2"/>
                  </a:lnTo>
                  <a:lnTo>
                    <a:pt x="731" y="0"/>
                  </a:lnTo>
                  <a:lnTo>
                    <a:pt x="727" y="4"/>
                  </a:lnTo>
                  <a:lnTo>
                    <a:pt x="725" y="16"/>
                  </a:lnTo>
                  <a:lnTo>
                    <a:pt x="721" y="22"/>
                  </a:lnTo>
                  <a:lnTo>
                    <a:pt x="713" y="34"/>
                  </a:lnTo>
                  <a:lnTo>
                    <a:pt x="695" y="42"/>
                  </a:lnTo>
                  <a:lnTo>
                    <a:pt x="691" y="46"/>
                  </a:lnTo>
                  <a:lnTo>
                    <a:pt x="687" y="56"/>
                  </a:lnTo>
                  <a:lnTo>
                    <a:pt x="687" y="64"/>
                  </a:lnTo>
                  <a:lnTo>
                    <a:pt x="683" y="66"/>
                  </a:lnTo>
                  <a:lnTo>
                    <a:pt x="680" y="66"/>
                  </a:lnTo>
                  <a:lnTo>
                    <a:pt x="676" y="70"/>
                  </a:lnTo>
                  <a:lnTo>
                    <a:pt x="672" y="78"/>
                  </a:lnTo>
                  <a:lnTo>
                    <a:pt x="670" y="80"/>
                  </a:lnTo>
                  <a:lnTo>
                    <a:pt x="668" y="88"/>
                  </a:lnTo>
                  <a:lnTo>
                    <a:pt x="668" y="92"/>
                  </a:lnTo>
                  <a:lnTo>
                    <a:pt x="668" y="94"/>
                  </a:lnTo>
                  <a:lnTo>
                    <a:pt x="666" y="100"/>
                  </a:lnTo>
                  <a:lnTo>
                    <a:pt x="662" y="112"/>
                  </a:lnTo>
                  <a:lnTo>
                    <a:pt x="662" y="118"/>
                  </a:lnTo>
                  <a:lnTo>
                    <a:pt x="664" y="122"/>
                  </a:lnTo>
                  <a:lnTo>
                    <a:pt x="668" y="128"/>
                  </a:lnTo>
                  <a:lnTo>
                    <a:pt x="670" y="132"/>
                  </a:lnTo>
                  <a:lnTo>
                    <a:pt x="670" y="136"/>
                  </a:lnTo>
                  <a:lnTo>
                    <a:pt x="670" y="142"/>
                  </a:lnTo>
                  <a:lnTo>
                    <a:pt x="672" y="148"/>
                  </a:lnTo>
                  <a:lnTo>
                    <a:pt x="674" y="154"/>
                  </a:lnTo>
                  <a:lnTo>
                    <a:pt x="678" y="158"/>
                  </a:lnTo>
                  <a:lnTo>
                    <a:pt x="682" y="162"/>
                  </a:lnTo>
                  <a:lnTo>
                    <a:pt x="687" y="162"/>
                  </a:lnTo>
                  <a:lnTo>
                    <a:pt x="691" y="166"/>
                  </a:lnTo>
                  <a:lnTo>
                    <a:pt x="691" y="170"/>
                  </a:lnTo>
                  <a:lnTo>
                    <a:pt x="689" y="176"/>
                  </a:lnTo>
                  <a:lnTo>
                    <a:pt x="687" y="190"/>
                  </a:lnTo>
                  <a:lnTo>
                    <a:pt x="685" y="196"/>
                  </a:lnTo>
                  <a:lnTo>
                    <a:pt x="683" y="202"/>
                  </a:lnTo>
                  <a:lnTo>
                    <a:pt x="680" y="210"/>
                  </a:lnTo>
                  <a:lnTo>
                    <a:pt x="680" y="212"/>
                  </a:lnTo>
                  <a:lnTo>
                    <a:pt x="672" y="218"/>
                  </a:lnTo>
                  <a:lnTo>
                    <a:pt x="668" y="220"/>
                  </a:lnTo>
                  <a:lnTo>
                    <a:pt x="664" y="226"/>
                  </a:lnTo>
                  <a:lnTo>
                    <a:pt x="658" y="226"/>
                  </a:lnTo>
                  <a:lnTo>
                    <a:pt x="654" y="226"/>
                  </a:lnTo>
                  <a:lnTo>
                    <a:pt x="650" y="226"/>
                  </a:lnTo>
                  <a:lnTo>
                    <a:pt x="646" y="230"/>
                  </a:lnTo>
                  <a:lnTo>
                    <a:pt x="642" y="236"/>
                  </a:lnTo>
                  <a:lnTo>
                    <a:pt x="634" y="244"/>
                  </a:lnTo>
                  <a:lnTo>
                    <a:pt x="630" y="246"/>
                  </a:lnTo>
                  <a:lnTo>
                    <a:pt x="620" y="248"/>
                  </a:lnTo>
                  <a:lnTo>
                    <a:pt x="616" y="244"/>
                  </a:lnTo>
                  <a:lnTo>
                    <a:pt x="614" y="240"/>
                  </a:lnTo>
                  <a:lnTo>
                    <a:pt x="610" y="238"/>
                  </a:lnTo>
                  <a:lnTo>
                    <a:pt x="606" y="232"/>
                  </a:lnTo>
                  <a:lnTo>
                    <a:pt x="588" y="230"/>
                  </a:lnTo>
                  <a:lnTo>
                    <a:pt x="584" y="230"/>
                  </a:lnTo>
                  <a:lnTo>
                    <a:pt x="580" y="232"/>
                  </a:lnTo>
                  <a:lnTo>
                    <a:pt x="578" y="232"/>
                  </a:lnTo>
                  <a:lnTo>
                    <a:pt x="574" y="228"/>
                  </a:lnTo>
                  <a:lnTo>
                    <a:pt x="572" y="230"/>
                  </a:lnTo>
                  <a:lnTo>
                    <a:pt x="566" y="230"/>
                  </a:lnTo>
                  <a:lnTo>
                    <a:pt x="562" y="230"/>
                  </a:lnTo>
                  <a:lnTo>
                    <a:pt x="556" y="224"/>
                  </a:lnTo>
                  <a:lnTo>
                    <a:pt x="548" y="222"/>
                  </a:lnTo>
                  <a:lnTo>
                    <a:pt x="546" y="220"/>
                  </a:lnTo>
                  <a:lnTo>
                    <a:pt x="542" y="220"/>
                  </a:lnTo>
                  <a:lnTo>
                    <a:pt x="540" y="224"/>
                  </a:lnTo>
                  <a:lnTo>
                    <a:pt x="538" y="224"/>
                  </a:lnTo>
                  <a:lnTo>
                    <a:pt x="536" y="222"/>
                  </a:lnTo>
                  <a:lnTo>
                    <a:pt x="532" y="218"/>
                  </a:lnTo>
                  <a:lnTo>
                    <a:pt x="528" y="218"/>
                  </a:lnTo>
                  <a:lnTo>
                    <a:pt x="522" y="224"/>
                  </a:lnTo>
                  <a:lnTo>
                    <a:pt x="514" y="226"/>
                  </a:lnTo>
                  <a:lnTo>
                    <a:pt x="510" y="230"/>
                  </a:lnTo>
                  <a:lnTo>
                    <a:pt x="504" y="228"/>
                  </a:lnTo>
                  <a:lnTo>
                    <a:pt x="502" y="226"/>
                  </a:lnTo>
                  <a:lnTo>
                    <a:pt x="498" y="226"/>
                  </a:lnTo>
                  <a:lnTo>
                    <a:pt x="486" y="226"/>
                  </a:lnTo>
                  <a:lnTo>
                    <a:pt x="484" y="226"/>
                  </a:lnTo>
                  <a:lnTo>
                    <a:pt x="478" y="224"/>
                  </a:lnTo>
                  <a:lnTo>
                    <a:pt x="476" y="220"/>
                  </a:lnTo>
                  <a:lnTo>
                    <a:pt x="472" y="216"/>
                  </a:lnTo>
                  <a:lnTo>
                    <a:pt x="464" y="216"/>
                  </a:lnTo>
                  <a:lnTo>
                    <a:pt x="458" y="216"/>
                  </a:lnTo>
                  <a:lnTo>
                    <a:pt x="454" y="218"/>
                  </a:lnTo>
                  <a:lnTo>
                    <a:pt x="450" y="218"/>
                  </a:lnTo>
                  <a:lnTo>
                    <a:pt x="448" y="212"/>
                  </a:lnTo>
                  <a:lnTo>
                    <a:pt x="442" y="206"/>
                  </a:lnTo>
                  <a:lnTo>
                    <a:pt x="440" y="204"/>
                  </a:lnTo>
                  <a:lnTo>
                    <a:pt x="436" y="202"/>
                  </a:lnTo>
                  <a:lnTo>
                    <a:pt x="434" y="198"/>
                  </a:lnTo>
                  <a:lnTo>
                    <a:pt x="434" y="190"/>
                  </a:lnTo>
                  <a:lnTo>
                    <a:pt x="432" y="178"/>
                  </a:lnTo>
                  <a:lnTo>
                    <a:pt x="430" y="168"/>
                  </a:lnTo>
                  <a:lnTo>
                    <a:pt x="426" y="164"/>
                  </a:lnTo>
                  <a:lnTo>
                    <a:pt x="416" y="162"/>
                  </a:lnTo>
                  <a:lnTo>
                    <a:pt x="410" y="162"/>
                  </a:lnTo>
                  <a:lnTo>
                    <a:pt x="398" y="160"/>
                  </a:lnTo>
                  <a:lnTo>
                    <a:pt x="388" y="160"/>
                  </a:lnTo>
                  <a:lnTo>
                    <a:pt x="386" y="160"/>
                  </a:lnTo>
                  <a:lnTo>
                    <a:pt x="378" y="158"/>
                  </a:lnTo>
                  <a:lnTo>
                    <a:pt x="370" y="158"/>
                  </a:lnTo>
                  <a:lnTo>
                    <a:pt x="362" y="158"/>
                  </a:lnTo>
                  <a:lnTo>
                    <a:pt x="360" y="158"/>
                  </a:lnTo>
                  <a:lnTo>
                    <a:pt x="352" y="158"/>
                  </a:lnTo>
                  <a:lnTo>
                    <a:pt x="346" y="154"/>
                  </a:lnTo>
                  <a:lnTo>
                    <a:pt x="342" y="146"/>
                  </a:lnTo>
                  <a:lnTo>
                    <a:pt x="342" y="144"/>
                  </a:lnTo>
                  <a:lnTo>
                    <a:pt x="342" y="140"/>
                  </a:lnTo>
                  <a:lnTo>
                    <a:pt x="336" y="138"/>
                  </a:lnTo>
                  <a:lnTo>
                    <a:pt x="330" y="140"/>
                  </a:lnTo>
                  <a:lnTo>
                    <a:pt x="328" y="148"/>
                  </a:lnTo>
                  <a:lnTo>
                    <a:pt x="324" y="150"/>
                  </a:lnTo>
                  <a:lnTo>
                    <a:pt x="320" y="150"/>
                  </a:lnTo>
                  <a:lnTo>
                    <a:pt x="318" y="146"/>
                  </a:lnTo>
                  <a:lnTo>
                    <a:pt x="312" y="142"/>
                  </a:lnTo>
                  <a:lnTo>
                    <a:pt x="308" y="138"/>
                  </a:lnTo>
                  <a:lnTo>
                    <a:pt x="302" y="132"/>
                  </a:lnTo>
                  <a:lnTo>
                    <a:pt x="298" y="132"/>
                  </a:lnTo>
                  <a:lnTo>
                    <a:pt x="298" y="136"/>
                  </a:lnTo>
                  <a:lnTo>
                    <a:pt x="296" y="140"/>
                  </a:lnTo>
                  <a:lnTo>
                    <a:pt x="292" y="148"/>
                  </a:lnTo>
                  <a:lnTo>
                    <a:pt x="286" y="150"/>
                  </a:lnTo>
                  <a:lnTo>
                    <a:pt x="276" y="148"/>
                  </a:lnTo>
                  <a:lnTo>
                    <a:pt x="266" y="150"/>
                  </a:lnTo>
                  <a:lnTo>
                    <a:pt x="260" y="152"/>
                  </a:lnTo>
                  <a:lnTo>
                    <a:pt x="256" y="158"/>
                  </a:lnTo>
                  <a:lnTo>
                    <a:pt x="252" y="162"/>
                  </a:lnTo>
                  <a:lnTo>
                    <a:pt x="248" y="162"/>
                  </a:lnTo>
                  <a:lnTo>
                    <a:pt x="244" y="166"/>
                  </a:lnTo>
                  <a:lnTo>
                    <a:pt x="242" y="172"/>
                  </a:lnTo>
                  <a:lnTo>
                    <a:pt x="236" y="172"/>
                  </a:lnTo>
                  <a:lnTo>
                    <a:pt x="234" y="172"/>
                  </a:lnTo>
                  <a:lnTo>
                    <a:pt x="228" y="174"/>
                  </a:lnTo>
                  <a:lnTo>
                    <a:pt x="218" y="176"/>
                  </a:lnTo>
                  <a:lnTo>
                    <a:pt x="216" y="178"/>
                  </a:lnTo>
                  <a:lnTo>
                    <a:pt x="208" y="184"/>
                  </a:lnTo>
                  <a:lnTo>
                    <a:pt x="204" y="188"/>
                  </a:lnTo>
                  <a:lnTo>
                    <a:pt x="198" y="188"/>
                  </a:lnTo>
                  <a:lnTo>
                    <a:pt x="194" y="194"/>
                  </a:lnTo>
                  <a:lnTo>
                    <a:pt x="192" y="198"/>
                  </a:lnTo>
                  <a:lnTo>
                    <a:pt x="182" y="198"/>
                  </a:lnTo>
                  <a:lnTo>
                    <a:pt x="172" y="204"/>
                  </a:lnTo>
                  <a:lnTo>
                    <a:pt x="168" y="204"/>
                  </a:lnTo>
                  <a:lnTo>
                    <a:pt x="162" y="208"/>
                  </a:lnTo>
                  <a:lnTo>
                    <a:pt x="156" y="210"/>
                  </a:lnTo>
                  <a:lnTo>
                    <a:pt x="152" y="210"/>
                  </a:lnTo>
                  <a:lnTo>
                    <a:pt x="148" y="214"/>
                  </a:lnTo>
                  <a:lnTo>
                    <a:pt x="146" y="222"/>
                  </a:lnTo>
                  <a:lnTo>
                    <a:pt x="140" y="226"/>
                  </a:lnTo>
                  <a:lnTo>
                    <a:pt x="132" y="226"/>
                  </a:lnTo>
                  <a:lnTo>
                    <a:pt x="124" y="230"/>
                  </a:lnTo>
                  <a:lnTo>
                    <a:pt x="124" y="238"/>
                  </a:lnTo>
                  <a:lnTo>
                    <a:pt x="126" y="246"/>
                  </a:lnTo>
                  <a:lnTo>
                    <a:pt x="126" y="250"/>
                  </a:lnTo>
                  <a:lnTo>
                    <a:pt x="120" y="250"/>
                  </a:lnTo>
                  <a:lnTo>
                    <a:pt x="114" y="254"/>
                  </a:lnTo>
                  <a:lnTo>
                    <a:pt x="108" y="260"/>
                  </a:lnTo>
                  <a:lnTo>
                    <a:pt x="102" y="260"/>
                  </a:lnTo>
                  <a:lnTo>
                    <a:pt x="98" y="258"/>
                  </a:lnTo>
                  <a:lnTo>
                    <a:pt x="96" y="262"/>
                  </a:lnTo>
                  <a:lnTo>
                    <a:pt x="94" y="268"/>
                  </a:lnTo>
                  <a:lnTo>
                    <a:pt x="90" y="270"/>
                  </a:lnTo>
                  <a:lnTo>
                    <a:pt x="84" y="274"/>
                  </a:lnTo>
                  <a:lnTo>
                    <a:pt x="80" y="272"/>
                  </a:lnTo>
                  <a:lnTo>
                    <a:pt x="80" y="270"/>
                  </a:lnTo>
                  <a:lnTo>
                    <a:pt x="76" y="266"/>
                  </a:lnTo>
                  <a:lnTo>
                    <a:pt x="74" y="268"/>
                  </a:lnTo>
                  <a:lnTo>
                    <a:pt x="74" y="272"/>
                  </a:lnTo>
                  <a:lnTo>
                    <a:pt x="72" y="276"/>
                  </a:lnTo>
                  <a:lnTo>
                    <a:pt x="66" y="276"/>
                  </a:lnTo>
                  <a:lnTo>
                    <a:pt x="62" y="274"/>
                  </a:lnTo>
                  <a:lnTo>
                    <a:pt x="58" y="272"/>
                  </a:lnTo>
                  <a:lnTo>
                    <a:pt x="52" y="272"/>
                  </a:lnTo>
                  <a:lnTo>
                    <a:pt x="46" y="274"/>
                  </a:lnTo>
                  <a:lnTo>
                    <a:pt x="42" y="272"/>
                  </a:lnTo>
                  <a:lnTo>
                    <a:pt x="40" y="274"/>
                  </a:lnTo>
                  <a:lnTo>
                    <a:pt x="30" y="276"/>
                  </a:lnTo>
                  <a:lnTo>
                    <a:pt x="26" y="282"/>
                  </a:lnTo>
                  <a:lnTo>
                    <a:pt x="26" y="292"/>
                  </a:lnTo>
                  <a:lnTo>
                    <a:pt x="24" y="296"/>
                  </a:lnTo>
                  <a:lnTo>
                    <a:pt x="20" y="300"/>
                  </a:lnTo>
                  <a:lnTo>
                    <a:pt x="16" y="302"/>
                  </a:lnTo>
                  <a:lnTo>
                    <a:pt x="12" y="304"/>
                  </a:lnTo>
                  <a:lnTo>
                    <a:pt x="6" y="306"/>
                  </a:lnTo>
                  <a:lnTo>
                    <a:pt x="4" y="306"/>
                  </a:lnTo>
                  <a:lnTo>
                    <a:pt x="6" y="310"/>
                  </a:lnTo>
                  <a:lnTo>
                    <a:pt x="6" y="314"/>
                  </a:lnTo>
                  <a:lnTo>
                    <a:pt x="6" y="318"/>
                  </a:lnTo>
                  <a:lnTo>
                    <a:pt x="8" y="322"/>
                  </a:lnTo>
                  <a:lnTo>
                    <a:pt x="8" y="324"/>
                  </a:lnTo>
                  <a:lnTo>
                    <a:pt x="4" y="326"/>
                  </a:lnTo>
                  <a:lnTo>
                    <a:pt x="2" y="330"/>
                  </a:lnTo>
                  <a:lnTo>
                    <a:pt x="0" y="334"/>
                  </a:lnTo>
                  <a:lnTo>
                    <a:pt x="4" y="338"/>
                  </a:lnTo>
                  <a:lnTo>
                    <a:pt x="6" y="342"/>
                  </a:lnTo>
                  <a:lnTo>
                    <a:pt x="14" y="344"/>
                  </a:lnTo>
                  <a:lnTo>
                    <a:pt x="20" y="348"/>
                  </a:lnTo>
                  <a:lnTo>
                    <a:pt x="22" y="350"/>
                  </a:lnTo>
                  <a:lnTo>
                    <a:pt x="20" y="354"/>
                  </a:lnTo>
                  <a:lnTo>
                    <a:pt x="18" y="358"/>
                  </a:lnTo>
                  <a:lnTo>
                    <a:pt x="16" y="360"/>
                  </a:lnTo>
                  <a:lnTo>
                    <a:pt x="14" y="362"/>
                  </a:lnTo>
                  <a:lnTo>
                    <a:pt x="16" y="366"/>
                  </a:lnTo>
                  <a:lnTo>
                    <a:pt x="22" y="368"/>
                  </a:lnTo>
                  <a:lnTo>
                    <a:pt x="28" y="370"/>
                  </a:lnTo>
                  <a:lnTo>
                    <a:pt x="38" y="374"/>
                  </a:lnTo>
                  <a:lnTo>
                    <a:pt x="44" y="380"/>
                  </a:lnTo>
                  <a:lnTo>
                    <a:pt x="52" y="382"/>
                  </a:lnTo>
                  <a:lnTo>
                    <a:pt x="54" y="388"/>
                  </a:lnTo>
                  <a:lnTo>
                    <a:pt x="54" y="398"/>
                  </a:lnTo>
                  <a:lnTo>
                    <a:pt x="62" y="404"/>
                  </a:lnTo>
                  <a:lnTo>
                    <a:pt x="72" y="410"/>
                  </a:lnTo>
                  <a:lnTo>
                    <a:pt x="78" y="412"/>
                  </a:lnTo>
                  <a:lnTo>
                    <a:pt x="80" y="416"/>
                  </a:lnTo>
                  <a:lnTo>
                    <a:pt x="86" y="420"/>
                  </a:lnTo>
                  <a:lnTo>
                    <a:pt x="90" y="422"/>
                  </a:lnTo>
                  <a:lnTo>
                    <a:pt x="96" y="422"/>
                  </a:lnTo>
                  <a:lnTo>
                    <a:pt x="104" y="418"/>
                  </a:lnTo>
                  <a:lnTo>
                    <a:pt x="114" y="418"/>
                  </a:lnTo>
                  <a:lnTo>
                    <a:pt x="120" y="420"/>
                  </a:lnTo>
                  <a:lnTo>
                    <a:pt x="124" y="430"/>
                  </a:lnTo>
                  <a:lnTo>
                    <a:pt x="128" y="432"/>
                  </a:lnTo>
                  <a:lnTo>
                    <a:pt x="130" y="434"/>
                  </a:lnTo>
                  <a:lnTo>
                    <a:pt x="134" y="438"/>
                  </a:lnTo>
                  <a:lnTo>
                    <a:pt x="138" y="438"/>
                  </a:lnTo>
                  <a:lnTo>
                    <a:pt x="142" y="436"/>
                  </a:lnTo>
                  <a:lnTo>
                    <a:pt x="146" y="432"/>
                  </a:lnTo>
                  <a:lnTo>
                    <a:pt x="150" y="432"/>
                  </a:lnTo>
                  <a:lnTo>
                    <a:pt x="152" y="434"/>
                  </a:lnTo>
                  <a:lnTo>
                    <a:pt x="152" y="440"/>
                  </a:lnTo>
                  <a:lnTo>
                    <a:pt x="156" y="446"/>
                  </a:lnTo>
                  <a:lnTo>
                    <a:pt x="160" y="450"/>
                  </a:lnTo>
                  <a:lnTo>
                    <a:pt x="168" y="452"/>
                  </a:lnTo>
                  <a:lnTo>
                    <a:pt x="170" y="454"/>
                  </a:lnTo>
                  <a:lnTo>
                    <a:pt x="170" y="460"/>
                  </a:lnTo>
                  <a:lnTo>
                    <a:pt x="174" y="464"/>
                  </a:lnTo>
                  <a:lnTo>
                    <a:pt x="176" y="468"/>
                  </a:lnTo>
                  <a:lnTo>
                    <a:pt x="178" y="478"/>
                  </a:lnTo>
                  <a:lnTo>
                    <a:pt x="180" y="486"/>
                  </a:lnTo>
                  <a:lnTo>
                    <a:pt x="180" y="490"/>
                  </a:lnTo>
                  <a:lnTo>
                    <a:pt x="184" y="496"/>
                  </a:lnTo>
                  <a:lnTo>
                    <a:pt x="190" y="508"/>
                  </a:lnTo>
                  <a:lnTo>
                    <a:pt x="196" y="516"/>
                  </a:lnTo>
                  <a:lnTo>
                    <a:pt x="200" y="518"/>
                  </a:lnTo>
                  <a:lnTo>
                    <a:pt x="206" y="522"/>
                  </a:lnTo>
                  <a:lnTo>
                    <a:pt x="208" y="528"/>
                  </a:lnTo>
                  <a:lnTo>
                    <a:pt x="212" y="542"/>
                  </a:lnTo>
                  <a:lnTo>
                    <a:pt x="214" y="550"/>
                  </a:lnTo>
                  <a:lnTo>
                    <a:pt x="214" y="556"/>
                  </a:lnTo>
                  <a:lnTo>
                    <a:pt x="216" y="558"/>
                  </a:lnTo>
                  <a:lnTo>
                    <a:pt x="216" y="562"/>
                  </a:lnTo>
                  <a:lnTo>
                    <a:pt x="212" y="576"/>
                  </a:lnTo>
                  <a:lnTo>
                    <a:pt x="208" y="582"/>
                  </a:lnTo>
                  <a:lnTo>
                    <a:pt x="208" y="586"/>
                  </a:lnTo>
                  <a:lnTo>
                    <a:pt x="210" y="596"/>
                  </a:lnTo>
                  <a:lnTo>
                    <a:pt x="214" y="602"/>
                  </a:lnTo>
                  <a:lnTo>
                    <a:pt x="214" y="610"/>
                  </a:lnTo>
                  <a:lnTo>
                    <a:pt x="212" y="614"/>
                  </a:lnTo>
                  <a:lnTo>
                    <a:pt x="206" y="620"/>
                  </a:lnTo>
                  <a:lnTo>
                    <a:pt x="204" y="624"/>
                  </a:lnTo>
                  <a:lnTo>
                    <a:pt x="200" y="626"/>
                  </a:lnTo>
                  <a:lnTo>
                    <a:pt x="194" y="638"/>
                  </a:lnTo>
                  <a:lnTo>
                    <a:pt x="192" y="650"/>
                  </a:lnTo>
                  <a:lnTo>
                    <a:pt x="192" y="656"/>
                  </a:lnTo>
                  <a:lnTo>
                    <a:pt x="194" y="662"/>
                  </a:lnTo>
                  <a:lnTo>
                    <a:pt x="198" y="668"/>
                  </a:lnTo>
                  <a:lnTo>
                    <a:pt x="198" y="672"/>
                  </a:lnTo>
                  <a:lnTo>
                    <a:pt x="204" y="682"/>
                  </a:lnTo>
                  <a:lnTo>
                    <a:pt x="206" y="688"/>
                  </a:lnTo>
                  <a:lnTo>
                    <a:pt x="208" y="688"/>
                  </a:lnTo>
                  <a:lnTo>
                    <a:pt x="210" y="686"/>
                  </a:lnTo>
                  <a:lnTo>
                    <a:pt x="218" y="686"/>
                  </a:lnTo>
                  <a:lnTo>
                    <a:pt x="222" y="688"/>
                  </a:lnTo>
                  <a:lnTo>
                    <a:pt x="228" y="692"/>
                  </a:lnTo>
                  <a:lnTo>
                    <a:pt x="234" y="694"/>
                  </a:lnTo>
                  <a:lnTo>
                    <a:pt x="242" y="694"/>
                  </a:lnTo>
                  <a:lnTo>
                    <a:pt x="248" y="696"/>
                  </a:lnTo>
                  <a:lnTo>
                    <a:pt x="252" y="698"/>
                  </a:lnTo>
                  <a:lnTo>
                    <a:pt x="262" y="700"/>
                  </a:lnTo>
                  <a:lnTo>
                    <a:pt x="282" y="700"/>
                  </a:lnTo>
                  <a:lnTo>
                    <a:pt x="290" y="702"/>
                  </a:lnTo>
                  <a:lnTo>
                    <a:pt x="308" y="706"/>
                  </a:lnTo>
                  <a:lnTo>
                    <a:pt x="318" y="704"/>
                  </a:lnTo>
                  <a:lnTo>
                    <a:pt x="332" y="702"/>
                  </a:lnTo>
                  <a:lnTo>
                    <a:pt x="340" y="704"/>
                  </a:lnTo>
                  <a:lnTo>
                    <a:pt x="364" y="708"/>
                  </a:lnTo>
                  <a:lnTo>
                    <a:pt x="378" y="712"/>
                  </a:lnTo>
                  <a:lnTo>
                    <a:pt x="388" y="716"/>
                  </a:lnTo>
                  <a:lnTo>
                    <a:pt x="394" y="722"/>
                  </a:lnTo>
                  <a:lnTo>
                    <a:pt x="402" y="732"/>
                  </a:lnTo>
                  <a:lnTo>
                    <a:pt x="408" y="736"/>
                  </a:lnTo>
                  <a:lnTo>
                    <a:pt x="424" y="738"/>
                  </a:lnTo>
                  <a:lnTo>
                    <a:pt x="434" y="750"/>
                  </a:lnTo>
                  <a:lnTo>
                    <a:pt x="442" y="754"/>
                  </a:lnTo>
                  <a:lnTo>
                    <a:pt x="458" y="766"/>
                  </a:lnTo>
                  <a:lnTo>
                    <a:pt x="468" y="770"/>
                  </a:lnTo>
                  <a:lnTo>
                    <a:pt x="480" y="774"/>
                  </a:lnTo>
                  <a:lnTo>
                    <a:pt x="498" y="772"/>
                  </a:lnTo>
                  <a:lnTo>
                    <a:pt x="500" y="774"/>
                  </a:lnTo>
                  <a:lnTo>
                    <a:pt x="498" y="780"/>
                  </a:lnTo>
                  <a:lnTo>
                    <a:pt x="498" y="788"/>
                  </a:lnTo>
                  <a:lnTo>
                    <a:pt x="498" y="794"/>
                  </a:lnTo>
                  <a:lnTo>
                    <a:pt x="500" y="798"/>
                  </a:lnTo>
                  <a:lnTo>
                    <a:pt x="506" y="800"/>
                  </a:lnTo>
                  <a:lnTo>
                    <a:pt x="510" y="802"/>
                  </a:lnTo>
                  <a:lnTo>
                    <a:pt x="514" y="808"/>
                  </a:lnTo>
                  <a:lnTo>
                    <a:pt x="514" y="812"/>
                  </a:lnTo>
                  <a:lnTo>
                    <a:pt x="522" y="828"/>
                  </a:lnTo>
                  <a:lnTo>
                    <a:pt x="532" y="854"/>
                  </a:lnTo>
                  <a:lnTo>
                    <a:pt x="532" y="864"/>
                  </a:lnTo>
                  <a:lnTo>
                    <a:pt x="536" y="870"/>
                  </a:lnTo>
                  <a:lnTo>
                    <a:pt x="546" y="880"/>
                  </a:lnTo>
                  <a:lnTo>
                    <a:pt x="552" y="886"/>
                  </a:lnTo>
                  <a:lnTo>
                    <a:pt x="562" y="894"/>
                  </a:lnTo>
                  <a:lnTo>
                    <a:pt x="564" y="902"/>
                  </a:lnTo>
                  <a:lnTo>
                    <a:pt x="564" y="910"/>
                  </a:lnTo>
                  <a:lnTo>
                    <a:pt x="566" y="914"/>
                  </a:lnTo>
                  <a:lnTo>
                    <a:pt x="582" y="912"/>
                  </a:lnTo>
                  <a:lnTo>
                    <a:pt x="596" y="910"/>
                  </a:lnTo>
                  <a:lnTo>
                    <a:pt x="620" y="908"/>
                  </a:lnTo>
                  <a:lnTo>
                    <a:pt x="654" y="912"/>
                  </a:lnTo>
                  <a:lnTo>
                    <a:pt x="687" y="916"/>
                  </a:lnTo>
                  <a:lnTo>
                    <a:pt x="719" y="920"/>
                  </a:lnTo>
                  <a:lnTo>
                    <a:pt x="733" y="922"/>
                  </a:lnTo>
                  <a:lnTo>
                    <a:pt x="767" y="926"/>
                  </a:lnTo>
                  <a:lnTo>
                    <a:pt x="787" y="922"/>
                  </a:lnTo>
                  <a:lnTo>
                    <a:pt x="801" y="918"/>
                  </a:lnTo>
                  <a:lnTo>
                    <a:pt x="809" y="918"/>
                  </a:lnTo>
                  <a:lnTo>
                    <a:pt x="837" y="922"/>
                  </a:lnTo>
                  <a:lnTo>
                    <a:pt x="853" y="926"/>
                  </a:lnTo>
                  <a:lnTo>
                    <a:pt x="875" y="928"/>
                  </a:lnTo>
                  <a:lnTo>
                    <a:pt x="889" y="930"/>
                  </a:lnTo>
                  <a:lnTo>
                    <a:pt x="901" y="930"/>
                  </a:lnTo>
                  <a:lnTo>
                    <a:pt x="907" y="930"/>
                  </a:lnTo>
                  <a:lnTo>
                    <a:pt x="911" y="932"/>
                  </a:lnTo>
                  <a:lnTo>
                    <a:pt x="915" y="936"/>
                  </a:lnTo>
                  <a:lnTo>
                    <a:pt x="925" y="952"/>
                  </a:lnTo>
                  <a:lnTo>
                    <a:pt x="933" y="958"/>
                  </a:lnTo>
                  <a:lnTo>
                    <a:pt x="945" y="964"/>
                  </a:lnTo>
                  <a:lnTo>
                    <a:pt x="971" y="968"/>
                  </a:lnTo>
                  <a:lnTo>
                    <a:pt x="987" y="972"/>
                  </a:lnTo>
                  <a:lnTo>
                    <a:pt x="1005" y="976"/>
                  </a:lnTo>
                  <a:lnTo>
                    <a:pt x="1015" y="982"/>
                  </a:lnTo>
                  <a:lnTo>
                    <a:pt x="1029" y="990"/>
                  </a:lnTo>
                  <a:lnTo>
                    <a:pt x="1047" y="1000"/>
                  </a:lnTo>
                  <a:lnTo>
                    <a:pt x="1065" y="996"/>
                  </a:lnTo>
                  <a:lnTo>
                    <a:pt x="1085" y="990"/>
                  </a:lnTo>
                  <a:lnTo>
                    <a:pt x="1097" y="988"/>
                  </a:lnTo>
                  <a:lnTo>
                    <a:pt x="1097" y="1008"/>
                  </a:lnTo>
                  <a:lnTo>
                    <a:pt x="1115" y="1008"/>
                  </a:lnTo>
                  <a:lnTo>
                    <a:pt x="1121" y="1008"/>
                  </a:lnTo>
                  <a:lnTo>
                    <a:pt x="1129" y="1012"/>
                  </a:lnTo>
                  <a:lnTo>
                    <a:pt x="1133" y="1012"/>
                  </a:lnTo>
                  <a:lnTo>
                    <a:pt x="1139" y="1006"/>
                  </a:lnTo>
                  <a:lnTo>
                    <a:pt x="1143" y="1000"/>
                  </a:lnTo>
                  <a:lnTo>
                    <a:pt x="1151" y="998"/>
                  </a:lnTo>
                  <a:lnTo>
                    <a:pt x="1165" y="990"/>
                  </a:lnTo>
                  <a:lnTo>
                    <a:pt x="1187" y="978"/>
                  </a:lnTo>
                  <a:lnTo>
                    <a:pt x="1217" y="964"/>
                  </a:lnTo>
                  <a:lnTo>
                    <a:pt x="1231" y="958"/>
                  </a:lnTo>
                  <a:lnTo>
                    <a:pt x="1235" y="958"/>
                  </a:lnTo>
                  <a:lnTo>
                    <a:pt x="1241" y="954"/>
                  </a:lnTo>
                  <a:lnTo>
                    <a:pt x="1247" y="952"/>
                  </a:lnTo>
                  <a:lnTo>
                    <a:pt x="1255" y="950"/>
                  </a:lnTo>
                  <a:lnTo>
                    <a:pt x="1267" y="948"/>
                  </a:lnTo>
                  <a:lnTo>
                    <a:pt x="1281" y="946"/>
                  </a:lnTo>
                  <a:lnTo>
                    <a:pt x="1311" y="942"/>
                  </a:lnTo>
                  <a:lnTo>
                    <a:pt x="1315" y="942"/>
                  </a:lnTo>
                  <a:lnTo>
                    <a:pt x="1331" y="940"/>
                  </a:lnTo>
                  <a:lnTo>
                    <a:pt x="1339" y="938"/>
                  </a:lnTo>
                  <a:lnTo>
                    <a:pt x="1349" y="938"/>
                  </a:lnTo>
                  <a:lnTo>
                    <a:pt x="1363" y="940"/>
                  </a:lnTo>
                  <a:lnTo>
                    <a:pt x="1373" y="940"/>
                  </a:lnTo>
                  <a:lnTo>
                    <a:pt x="1385" y="940"/>
                  </a:lnTo>
                  <a:lnTo>
                    <a:pt x="1401" y="938"/>
                  </a:lnTo>
                  <a:lnTo>
                    <a:pt x="1415" y="938"/>
                  </a:lnTo>
                  <a:lnTo>
                    <a:pt x="1421" y="936"/>
                  </a:lnTo>
                  <a:lnTo>
                    <a:pt x="1431" y="932"/>
                  </a:lnTo>
                  <a:lnTo>
                    <a:pt x="1439" y="928"/>
                  </a:lnTo>
                  <a:lnTo>
                    <a:pt x="1449" y="924"/>
                  </a:lnTo>
                  <a:lnTo>
                    <a:pt x="1463" y="918"/>
                  </a:lnTo>
                  <a:lnTo>
                    <a:pt x="1471" y="914"/>
                  </a:lnTo>
                  <a:lnTo>
                    <a:pt x="1477" y="912"/>
                  </a:lnTo>
                  <a:lnTo>
                    <a:pt x="1485" y="908"/>
                  </a:lnTo>
                  <a:lnTo>
                    <a:pt x="1487" y="906"/>
                  </a:lnTo>
                  <a:lnTo>
                    <a:pt x="1489" y="902"/>
                  </a:lnTo>
                  <a:lnTo>
                    <a:pt x="1493" y="898"/>
                  </a:lnTo>
                  <a:lnTo>
                    <a:pt x="1499" y="890"/>
                  </a:lnTo>
                  <a:lnTo>
                    <a:pt x="1505" y="882"/>
                  </a:lnTo>
                  <a:lnTo>
                    <a:pt x="1507" y="878"/>
                  </a:lnTo>
                  <a:lnTo>
                    <a:pt x="1513" y="870"/>
                  </a:lnTo>
                  <a:lnTo>
                    <a:pt x="1519" y="866"/>
                  </a:lnTo>
                  <a:lnTo>
                    <a:pt x="1525" y="858"/>
                  </a:lnTo>
                  <a:lnTo>
                    <a:pt x="1529" y="856"/>
                  </a:lnTo>
                  <a:lnTo>
                    <a:pt x="1537" y="852"/>
                  </a:lnTo>
                  <a:lnTo>
                    <a:pt x="1553" y="846"/>
                  </a:lnTo>
                  <a:lnTo>
                    <a:pt x="1557" y="844"/>
                  </a:lnTo>
                  <a:lnTo>
                    <a:pt x="1559" y="844"/>
                  </a:lnTo>
                  <a:lnTo>
                    <a:pt x="1565" y="838"/>
                  </a:lnTo>
                  <a:lnTo>
                    <a:pt x="1571" y="832"/>
                  </a:lnTo>
                  <a:lnTo>
                    <a:pt x="1575" y="828"/>
                  </a:lnTo>
                  <a:lnTo>
                    <a:pt x="1581" y="826"/>
                  </a:lnTo>
                  <a:lnTo>
                    <a:pt x="1585" y="824"/>
                  </a:lnTo>
                  <a:lnTo>
                    <a:pt x="1585" y="820"/>
                  </a:lnTo>
                  <a:lnTo>
                    <a:pt x="1585" y="814"/>
                  </a:lnTo>
                  <a:lnTo>
                    <a:pt x="1581" y="808"/>
                  </a:lnTo>
                  <a:lnTo>
                    <a:pt x="1579" y="804"/>
                  </a:lnTo>
                  <a:lnTo>
                    <a:pt x="1569" y="794"/>
                  </a:lnTo>
                  <a:lnTo>
                    <a:pt x="1563" y="788"/>
                  </a:lnTo>
                  <a:lnTo>
                    <a:pt x="1557" y="780"/>
                  </a:lnTo>
                  <a:lnTo>
                    <a:pt x="1555" y="774"/>
                  </a:lnTo>
                  <a:lnTo>
                    <a:pt x="1553" y="768"/>
                  </a:lnTo>
                  <a:lnTo>
                    <a:pt x="1551" y="764"/>
                  </a:lnTo>
                  <a:lnTo>
                    <a:pt x="1551" y="760"/>
                  </a:lnTo>
                  <a:lnTo>
                    <a:pt x="1555" y="752"/>
                  </a:lnTo>
                  <a:lnTo>
                    <a:pt x="1557" y="746"/>
                  </a:lnTo>
                  <a:lnTo>
                    <a:pt x="1559" y="736"/>
                  </a:lnTo>
                  <a:lnTo>
                    <a:pt x="1565" y="722"/>
                  </a:lnTo>
                  <a:lnTo>
                    <a:pt x="1569" y="716"/>
                  </a:lnTo>
                  <a:lnTo>
                    <a:pt x="1573" y="708"/>
                  </a:lnTo>
                  <a:lnTo>
                    <a:pt x="1583" y="700"/>
                  </a:lnTo>
                  <a:lnTo>
                    <a:pt x="1591" y="698"/>
                  </a:lnTo>
                  <a:lnTo>
                    <a:pt x="1597" y="700"/>
                  </a:lnTo>
                  <a:lnTo>
                    <a:pt x="1609" y="700"/>
                  </a:lnTo>
                  <a:lnTo>
                    <a:pt x="1617" y="700"/>
                  </a:lnTo>
                  <a:lnTo>
                    <a:pt x="1623" y="704"/>
                  </a:lnTo>
                  <a:lnTo>
                    <a:pt x="1629" y="714"/>
                  </a:lnTo>
                  <a:lnTo>
                    <a:pt x="1635" y="716"/>
                  </a:lnTo>
                  <a:lnTo>
                    <a:pt x="1659" y="724"/>
                  </a:lnTo>
                  <a:lnTo>
                    <a:pt x="1667" y="726"/>
                  </a:lnTo>
                  <a:lnTo>
                    <a:pt x="1675" y="726"/>
                  </a:lnTo>
                  <a:lnTo>
                    <a:pt x="1685" y="728"/>
                  </a:lnTo>
                  <a:lnTo>
                    <a:pt x="1689" y="728"/>
                  </a:lnTo>
                  <a:lnTo>
                    <a:pt x="1693" y="730"/>
                  </a:lnTo>
                  <a:lnTo>
                    <a:pt x="1699" y="728"/>
                  </a:lnTo>
                  <a:lnTo>
                    <a:pt x="1705" y="722"/>
                  </a:lnTo>
                  <a:lnTo>
                    <a:pt x="1713" y="716"/>
                  </a:lnTo>
                  <a:lnTo>
                    <a:pt x="1717" y="714"/>
                  </a:lnTo>
                  <a:lnTo>
                    <a:pt x="1723" y="712"/>
                  </a:lnTo>
                  <a:lnTo>
                    <a:pt x="1725" y="708"/>
                  </a:lnTo>
                  <a:lnTo>
                    <a:pt x="1731" y="702"/>
                  </a:lnTo>
                  <a:lnTo>
                    <a:pt x="1739" y="696"/>
                  </a:lnTo>
                  <a:lnTo>
                    <a:pt x="1749" y="688"/>
                  </a:lnTo>
                  <a:lnTo>
                    <a:pt x="1753" y="680"/>
                  </a:lnTo>
                  <a:lnTo>
                    <a:pt x="1753" y="676"/>
                  </a:lnTo>
                  <a:lnTo>
                    <a:pt x="1755" y="672"/>
                  </a:lnTo>
                  <a:lnTo>
                    <a:pt x="1757" y="670"/>
                  </a:lnTo>
                  <a:lnTo>
                    <a:pt x="1763" y="668"/>
                  </a:lnTo>
                  <a:lnTo>
                    <a:pt x="1769" y="666"/>
                  </a:lnTo>
                  <a:lnTo>
                    <a:pt x="1781" y="670"/>
                  </a:lnTo>
                  <a:lnTo>
                    <a:pt x="1797" y="670"/>
                  </a:lnTo>
                  <a:lnTo>
                    <a:pt x="1801" y="670"/>
                  </a:lnTo>
                  <a:lnTo>
                    <a:pt x="1815" y="666"/>
                  </a:lnTo>
                  <a:lnTo>
                    <a:pt x="1821" y="666"/>
                  </a:lnTo>
                  <a:lnTo>
                    <a:pt x="1831" y="664"/>
                  </a:lnTo>
                  <a:lnTo>
                    <a:pt x="1837" y="656"/>
                  </a:lnTo>
                  <a:lnTo>
                    <a:pt x="1847" y="648"/>
                  </a:lnTo>
                  <a:lnTo>
                    <a:pt x="1855" y="642"/>
                  </a:lnTo>
                  <a:lnTo>
                    <a:pt x="1859" y="642"/>
                  </a:lnTo>
                  <a:lnTo>
                    <a:pt x="1865" y="636"/>
                  </a:lnTo>
                  <a:lnTo>
                    <a:pt x="1867" y="632"/>
                  </a:lnTo>
                  <a:lnTo>
                    <a:pt x="1867" y="628"/>
                  </a:lnTo>
                  <a:lnTo>
                    <a:pt x="1865" y="622"/>
                  </a:lnTo>
                  <a:lnTo>
                    <a:pt x="1869" y="616"/>
                  </a:lnTo>
                  <a:lnTo>
                    <a:pt x="1875" y="604"/>
                  </a:lnTo>
                  <a:lnTo>
                    <a:pt x="1881" y="598"/>
                  </a:lnTo>
                  <a:lnTo>
                    <a:pt x="1885" y="592"/>
                  </a:lnTo>
                  <a:lnTo>
                    <a:pt x="1889" y="586"/>
                  </a:lnTo>
                  <a:lnTo>
                    <a:pt x="1893" y="582"/>
                  </a:lnTo>
                  <a:lnTo>
                    <a:pt x="1897" y="582"/>
                  </a:lnTo>
                  <a:lnTo>
                    <a:pt x="1903" y="576"/>
                  </a:lnTo>
                  <a:lnTo>
                    <a:pt x="1909" y="576"/>
                  </a:lnTo>
                  <a:lnTo>
                    <a:pt x="1915" y="578"/>
                  </a:lnTo>
                  <a:lnTo>
                    <a:pt x="1927" y="578"/>
                  </a:lnTo>
                  <a:lnTo>
                    <a:pt x="1935" y="580"/>
                  </a:lnTo>
                  <a:lnTo>
                    <a:pt x="1939" y="578"/>
                  </a:lnTo>
                  <a:lnTo>
                    <a:pt x="1941" y="576"/>
                  </a:lnTo>
                  <a:lnTo>
                    <a:pt x="1941" y="572"/>
                  </a:lnTo>
                  <a:lnTo>
                    <a:pt x="1943" y="562"/>
                  </a:lnTo>
                  <a:lnTo>
                    <a:pt x="1943" y="558"/>
                  </a:lnTo>
                  <a:lnTo>
                    <a:pt x="1947" y="556"/>
                  </a:lnTo>
                  <a:lnTo>
                    <a:pt x="1953" y="556"/>
                  </a:lnTo>
                  <a:lnTo>
                    <a:pt x="1957" y="560"/>
                  </a:lnTo>
                  <a:lnTo>
                    <a:pt x="1961" y="562"/>
                  </a:lnTo>
                  <a:lnTo>
                    <a:pt x="1965" y="564"/>
                  </a:lnTo>
                  <a:lnTo>
                    <a:pt x="1971" y="562"/>
                  </a:lnTo>
                  <a:lnTo>
                    <a:pt x="1977" y="554"/>
                  </a:lnTo>
                  <a:lnTo>
                    <a:pt x="1987" y="550"/>
                  </a:lnTo>
                  <a:lnTo>
                    <a:pt x="1993" y="548"/>
                  </a:lnTo>
                  <a:lnTo>
                    <a:pt x="2003" y="544"/>
                  </a:lnTo>
                  <a:lnTo>
                    <a:pt x="2009" y="546"/>
                  </a:lnTo>
                  <a:lnTo>
                    <a:pt x="2021" y="546"/>
                  </a:lnTo>
                  <a:lnTo>
                    <a:pt x="2025" y="546"/>
                  </a:lnTo>
                  <a:lnTo>
                    <a:pt x="2031" y="546"/>
                  </a:lnTo>
                  <a:lnTo>
                    <a:pt x="2035" y="542"/>
                  </a:lnTo>
                  <a:lnTo>
                    <a:pt x="2039" y="540"/>
                  </a:lnTo>
                  <a:lnTo>
                    <a:pt x="2045" y="542"/>
                  </a:lnTo>
                  <a:lnTo>
                    <a:pt x="2051" y="546"/>
                  </a:lnTo>
                  <a:lnTo>
                    <a:pt x="2059" y="552"/>
                  </a:lnTo>
                  <a:lnTo>
                    <a:pt x="2071" y="554"/>
                  </a:lnTo>
                  <a:lnTo>
                    <a:pt x="2079" y="552"/>
                  </a:lnTo>
                  <a:lnTo>
                    <a:pt x="2089" y="556"/>
                  </a:lnTo>
                  <a:lnTo>
                    <a:pt x="2095" y="554"/>
                  </a:lnTo>
                  <a:lnTo>
                    <a:pt x="2097" y="552"/>
                  </a:lnTo>
                  <a:lnTo>
                    <a:pt x="2105" y="548"/>
                  </a:lnTo>
                  <a:lnTo>
                    <a:pt x="2107" y="542"/>
                  </a:lnTo>
                  <a:lnTo>
                    <a:pt x="2107" y="538"/>
                  </a:lnTo>
                  <a:lnTo>
                    <a:pt x="2107" y="530"/>
                  </a:lnTo>
                  <a:lnTo>
                    <a:pt x="2105" y="526"/>
                  </a:lnTo>
                  <a:lnTo>
                    <a:pt x="2099" y="520"/>
                  </a:lnTo>
                  <a:lnTo>
                    <a:pt x="2099" y="514"/>
                  </a:lnTo>
                  <a:lnTo>
                    <a:pt x="2097" y="508"/>
                  </a:lnTo>
                  <a:lnTo>
                    <a:pt x="2095" y="502"/>
                  </a:lnTo>
                  <a:lnTo>
                    <a:pt x="2087" y="496"/>
                  </a:lnTo>
                  <a:lnTo>
                    <a:pt x="2083" y="492"/>
                  </a:lnTo>
                  <a:lnTo>
                    <a:pt x="2073" y="480"/>
                  </a:lnTo>
                  <a:lnTo>
                    <a:pt x="2069" y="478"/>
                  </a:lnTo>
                  <a:lnTo>
                    <a:pt x="2069" y="476"/>
                  </a:lnTo>
                  <a:lnTo>
                    <a:pt x="2067" y="472"/>
                  </a:lnTo>
                  <a:lnTo>
                    <a:pt x="2063" y="470"/>
                  </a:lnTo>
                  <a:lnTo>
                    <a:pt x="2059" y="466"/>
                  </a:lnTo>
                  <a:lnTo>
                    <a:pt x="2057" y="464"/>
                  </a:lnTo>
                  <a:lnTo>
                    <a:pt x="2055" y="458"/>
                  </a:lnTo>
                  <a:lnTo>
                    <a:pt x="2053" y="454"/>
                  </a:lnTo>
                  <a:lnTo>
                    <a:pt x="2049" y="452"/>
                  </a:lnTo>
                  <a:lnTo>
                    <a:pt x="2045" y="450"/>
                  </a:lnTo>
                  <a:lnTo>
                    <a:pt x="2041" y="448"/>
                  </a:lnTo>
                  <a:lnTo>
                    <a:pt x="2033" y="444"/>
                  </a:lnTo>
                  <a:lnTo>
                    <a:pt x="2029" y="438"/>
                  </a:lnTo>
                  <a:lnTo>
                    <a:pt x="2021" y="426"/>
                  </a:lnTo>
                  <a:lnTo>
                    <a:pt x="2015" y="422"/>
                  </a:lnTo>
                  <a:lnTo>
                    <a:pt x="1999" y="420"/>
                  </a:lnTo>
                  <a:lnTo>
                    <a:pt x="1993" y="418"/>
                  </a:lnTo>
                  <a:lnTo>
                    <a:pt x="1985" y="418"/>
                  </a:lnTo>
                  <a:lnTo>
                    <a:pt x="1981" y="420"/>
                  </a:lnTo>
                  <a:lnTo>
                    <a:pt x="1973" y="420"/>
                  </a:lnTo>
                  <a:lnTo>
                    <a:pt x="1967" y="422"/>
                  </a:lnTo>
                  <a:lnTo>
                    <a:pt x="1961" y="430"/>
                  </a:lnTo>
                  <a:lnTo>
                    <a:pt x="1953" y="440"/>
                  </a:lnTo>
                  <a:lnTo>
                    <a:pt x="1947" y="446"/>
                  </a:lnTo>
                  <a:lnTo>
                    <a:pt x="1943" y="452"/>
                  </a:lnTo>
                  <a:lnTo>
                    <a:pt x="1941" y="454"/>
                  </a:lnTo>
                  <a:lnTo>
                    <a:pt x="1935" y="452"/>
                  </a:lnTo>
                  <a:lnTo>
                    <a:pt x="1931" y="446"/>
                  </a:lnTo>
                  <a:lnTo>
                    <a:pt x="1921" y="440"/>
                  </a:lnTo>
                  <a:lnTo>
                    <a:pt x="1915" y="436"/>
                  </a:lnTo>
                  <a:lnTo>
                    <a:pt x="1911" y="434"/>
                  </a:lnTo>
                  <a:lnTo>
                    <a:pt x="1901" y="432"/>
                  </a:lnTo>
                  <a:lnTo>
                    <a:pt x="1895" y="434"/>
                  </a:lnTo>
                  <a:lnTo>
                    <a:pt x="1885" y="436"/>
                  </a:lnTo>
                  <a:lnTo>
                    <a:pt x="1877" y="436"/>
                  </a:lnTo>
                  <a:lnTo>
                    <a:pt x="1873" y="434"/>
                  </a:lnTo>
                  <a:lnTo>
                    <a:pt x="1867" y="434"/>
                  </a:lnTo>
                  <a:lnTo>
                    <a:pt x="1857" y="440"/>
                  </a:lnTo>
                  <a:lnTo>
                    <a:pt x="1851" y="448"/>
                  </a:lnTo>
                  <a:lnTo>
                    <a:pt x="1845" y="450"/>
                  </a:lnTo>
                  <a:lnTo>
                    <a:pt x="1839" y="446"/>
                  </a:lnTo>
                  <a:lnTo>
                    <a:pt x="1833" y="440"/>
                  </a:lnTo>
                  <a:lnTo>
                    <a:pt x="1827" y="432"/>
                  </a:lnTo>
                  <a:lnTo>
                    <a:pt x="1823" y="426"/>
                  </a:lnTo>
                  <a:lnTo>
                    <a:pt x="1821" y="408"/>
                  </a:lnTo>
                  <a:lnTo>
                    <a:pt x="1829" y="402"/>
                  </a:lnTo>
                  <a:lnTo>
                    <a:pt x="1837" y="396"/>
                  </a:lnTo>
                  <a:lnTo>
                    <a:pt x="1839" y="386"/>
                  </a:lnTo>
                  <a:lnTo>
                    <a:pt x="1837" y="376"/>
                  </a:lnTo>
                  <a:lnTo>
                    <a:pt x="1841" y="364"/>
                  </a:lnTo>
                  <a:lnTo>
                    <a:pt x="1849" y="352"/>
                  </a:lnTo>
                  <a:lnTo>
                    <a:pt x="1853" y="342"/>
                  </a:lnTo>
                  <a:lnTo>
                    <a:pt x="1853" y="338"/>
                  </a:lnTo>
                  <a:lnTo>
                    <a:pt x="1859" y="328"/>
                  </a:lnTo>
                  <a:lnTo>
                    <a:pt x="1863" y="318"/>
                  </a:lnTo>
                  <a:lnTo>
                    <a:pt x="1867" y="304"/>
                  </a:lnTo>
                  <a:lnTo>
                    <a:pt x="1877" y="280"/>
                  </a:lnTo>
                  <a:lnTo>
                    <a:pt x="1891" y="252"/>
                  </a:lnTo>
                  <a:lnTo>
                    <a:pt x="1897" y="23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3" name="Google Shape;4740;p64">
              <a:extLst>
                <a:ext uri="{FF2B5EF4-FFF2-40B4-BE49-F238E27FC236}">
                  <a16:creationId xmlns:a16="http://schemas.microsoft.com/office/drawing/2014/main" id="{F17A1840-1E7E-9A0F-C3A0-C4CEC12EB21E}"/>
                </a:ext>
              </a:extLst>
            </p:cNvPr>
            <p:cNvSpPr/>
            <p:nvPr/>
          </p:nvSpPr>
          <p:spPr>
            <a:xfrm>
              <a:off x="7647383" y="4680982"/>
              <a:ext cx="2625" cy="1969"/>
            </a:xfrm>
            <a:custGeom>
              <a:avLst/>
              <a:gdLst/>
              <a:ahLst/>
              <a:cxnLst/>
              <a:rect l="l" t="t" r="r" b="b"/>
              <a:pathLst>
                <a:path w="8" h="6" extrusionOk="0">
                  <a:moveTo>
                    <a:pt x="8" y="2"/>
                  </a:moveTo>
                  <a:lnTo>
                    <a:pt x="8" y="2"/>
                  </a:lnTo>
                  <a:lnTo>
                    <a:pt x="6" y="0"/>
                  </a:lnTo>
                  <a:lnTo>
                    <a:pt x="0" y="2"/>
                  </a:lnTo>
                  <a:lnTo>
                    <a:pt x="0" y="4"/>
                  </a:lnTo>
                  <a:lnTo>
                    <a:pt x="2" y="6"/>
                  </a:lnTo>
                  <a:lnTo>
                    <a:pt x="4" y="6"/>
                  </a:lnTo>
                  <a:lnTo>
                    <a:pt x="8"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4" name="Google Shape;4741;p64">
              <a:extLst>
                <a:ext uri="{FF2B5EF4-FFF2-40B4-BE49-F238E27FC236}">
                  <a16:creationId xmlns:a16="http://schemas.microsoft.com/office/drawing/2014/main" id="{26E5750D-8B20-C6DA-EAF9-68BCBDF8D08D}"/>
                </a:ext>
              </a:extLst>
            </p:cNvPr>
            <p:cNvSpPr/>
            <p:nvPr/>
          </p:nvSpPr>
          <p:spPr>
            <a:xfrm>
              <a:off x="7656572" y="4661948"/>
              <a:ext cx="1969" cy="3281"/>
            </a:xfrm>
            <a:custGeom>
              <a:avLst/>
              <a:gdLst/>
              <a:ahLst/>
              <a:cxnLst/>
              <a:rect l="l" t="t" r="r" b="b"/>
              <a:pathLst>
                <a:path w="6" h="10" extrusionOk="0">
                  <a:moveTo>
                    <a:pt x="6" y="6"/>
                  </a:moveTo>
                  <a:lnTo>
                    <a:pt x="4" y="0"/>
                  </a:lnTo>
                  <a:lnTo>
                    <a:pt x="2" y="0"/>
                  </a:lnTo>
                  <a:lnTo>
                    <a:pt x="0" y="2"/>
                  </a:lnTo>
                  <a:lnTo>
                    <a:pt x="0" y="4"/>
                  </a:lnTo>
                  <a:lnTo>
                    <a:pt x="2" y="10"/>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5" name="Google Shape;4742;p64">
              <a:extLst>
                <a:ext uri="{FF2B5EF4-FFF2-40B4-BE49-F238E27FC236}">
                  <a16:creationId xmlns:a16="http://schemas.microsoft.com/office/drawing/2014/main" id="{A2FB2E0A-66D0-91C6-1211-B8E35BDAA397}"/>
                </a:ext>
              </a:extLst>
            </p:cNvPr>
            <p:cNvSpPr/>
            <p:nvPr/>
          </p:nvSpPr>
          <p:spPr>
            <a:xfrm>
              <a:off x="7658541" y="4657355"/>
              <a:ext cx="3281" cy="3281"/>
            </a:xfrm>
            <a:custGeom>
              <a:avLst/>
              <a:gdLst/>
              <a:ahLst/>
              <a:cxnLst/>
              <a:rect l="l" t="t" r="r" b="b"/>
              <a:pathLst>
                <a:path w="10" h="10" extrusionOk="0">
                  <a:moveTo>
                    <a:pt x="6" y="8"/>
                  </a:moveTo>
                  <a:lnTo>
                    <a:pt x="8" y="6"/>
                  </a:lnTo>
                  <a:lnTo>
                    <a:pt x="8" y="2"/>
                  </a:lnTo>
                  <a:lnTo>
                    <a:pt x="10" y="0"/>
                  </a:lnTo>
                  <a:lnTo>
                    <a:pt x="8" y="0"/>
                  </a:lnTo>
                  <a:lnTo>
                    <a:pt x="2" y="4"/>
                  </a:lnTo>
                  <a:lnTo>
                    <a:pt x="0" y="10"/>
                  </a:lnTo>
                  <a:lnTo>
                    <a:pt x="2" y="10"/>
                  </a:lnTo>
                  <a:lnTo>
                    <a:pt x="6" y="10"/>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6" name="Google Shape;4743;p64">
              <a:extLst>
                <a:ext uri="{FF2B5EF4-FFF2-40B4-BE49-F238E27FC236}">
                  <a16:creationId xmlns:a16="http://schemas.microsoft.com/office/drawing/2014/main" id="{8101C9AB-C5EC-FB5B-5925-02D6AB06BC66}"/>
                </a:ext>
              </a:extLst>
            </p:cNvPr>
            <p:cNvSpPr/>
            <p:nvPr/>
          </p:nvSpPr>
          <p:spPr>
            <a:xfrm>
              <a:off x="7657884" y="4632415"/>
              <a:ext cx="1313" cy="657"/>
            </a:xfrm>
            <a:custGeom>
              <a:avLst/>
              <a:gdLst/>
              <a:ahLst/>
              <a:cxnLst/>
              <a:rect l="l" t="t" r="r" b="b"/>
              <a:pathLst>
                <a:path w="4" h="2" extrusionOk="0">
                  <a:moveTo>
                    <a:pt x="4" y="2"/>
                  </a:moveTo>
                  <a:lnTo>
                    <a:pt x="4" y="2"/>
                  </a:lnTo>
                  <a:lnTo>
                    <a:pt x="4" y="0"/>
                  </a:lnTo>
                  <a:lnTo>
                    <a:pt x="0" y="0"/>
                  </a:lnTo>
                  <a:lnTo>
                    <a:pt x="0" y="2"/>
                  </a:lnTo>
                  <a:lnTo>
                    <a:pt x="2" y="2"/>
                  </a:lnTo>
                  <a:lnTo>
                    <a:pt x="4" y="2"/>
                  </a:lnTo>
                  <a:lnTo>
                    <a:pt x="4"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7" name="Google Shape;4744;p64">
              <a:extLst>
                <a:ext uri="{FF2B5EF4-FFF2-40B4-BE49-F238E27FC236}">
                  <a16:creationId xmlns:a16="http://schemas.microsoft.com/office/drawing/2014/main" id="{1EB80E6F-A755-94AB-7C65-6FFB0C6ACDD4}"/>
                </a:ext>
              </a:extLst>
            </p:cNvPr>
            <p:cNvSpPr/>
            <p:nvPr/>
          </p:nvSpPr>
          <p:spPr>
            <a:xfrm>
              <a:off x="7659854" y="4591723"/>
              <a:ext cx="1969" cy="2625"/>
            </a:xfrm>
            <a:custGeom>
              <a:avLst/>
              <a:gdLst/>
              <a:ahLst/>
              <a:cxnLst/>
              <a:rect l="l" t="t" r="r" b="b"/>
              <a:pathLst>
                <a:path w="6" h="8" extrusionOk="0">
                  <a:moveTo>
                    <a:pt x="2" y="8"/>
                  </a:moveTo>
                  <a:lnTo>
                    <a:pt x="6" y="4"/>
                  </a:lnTo>
                  <a:lnTo>
                    <a:pt x="4" y="0"/>
                  </a:lnTo>
                  <a:lnTo>
                    <a:pt x="4" y="2"/>
                  </a:lnTo>
                  <a:lnTo>
                    <a:pt x="0" y="8"/>
                  </a:lnTo>
                  <a:lnTo>
                    <a:pt x="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78" name="Google Shape;4745;p64">
              <a:extLst>
                <a:ext uri="{FF2B5EF4-FFF2-40B4-BE49-F238E27FC236}">
                  <a16:creationId xmlns:a16="http://schemas.microsoft.com/office/drawing/2014/main" id="{D8658D7F-0B0C-E278-5EBE-9DD916F98A59}"/>
                </a:ext>
              </a:extLst>
            </p:cNvPr>
            <p:cNvSpPr/>
            <p:nvPr/>
          </p:nvSpPr>
          <p:spPr>
            <a:xfrm>
              <a:off x="7657884" y="4577284"/>
              <a:ext cx="1313" cy="1969"/>
            </a:xfrm>
            <a:custGeom>
              <a:avLst/>
              <a:gdLst/>
              <a:ahLst/>
              <a:cxnLst/>
              <a:rect l="l" t="t" r="r" b="b"/>
              <a:pathLst>
                <a:path w="4" h="6" extrusionOk="0">
                  <a:moveTo>
                    <a:pt x="4" y="4"/>
                  </a:moveTo>
                  <a:lnTo>
                    <a:pt x="4" y="2"/>
                  </a:lnTo>
                  <a:lnTo>
                    <a:pt x="4" y="2"/>
                  </a:lnTo>
                  <a:lnTo>
                    <a:pt x="0" y="0"/>
                  </a:lnTo>
                  <a:lnTo>
                    <a:pt x="0" y="4"/>
                  </a:lnTo>
                  <a:lnTo>
                    <a:pt x="2" y="6"/>
                  </a:lnTo>
                  <a:lnTo>
                    <a:pt x="4"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79" name="Google Shape;4746;p64">
              <a:extLst>
                <a:ext uri="{FF2B5EF4-FFF2-40B4-BE49-F238E27FC236}">
                  <a16:creationId xmlns:a16="http://schemas.microsoft.com/office/drawing/2014/main" id="{D620AE46-2F1B-F7B8-162C-EB66E90AAA83}"/>
                </a:ext>
              </a:extLst>
            </p:cNvPr>
            <p:cNvCxnSpPr/>
            <p:nvPr/>
          </p:nvCxnSpPr>
          <p:spPr>
            <a:xfrm>
              <a:off x="7659197" y="4578597"/>
              <a:ext cx="0" cy="0"/>
            </a:xfrm>
            <a:prstGeom prst="straightConnector1">
              <a:avLst/>
            </a:prstGeom>
            <a:grpFill/>
            <a:ln w="9525" cap="flat" cmpd="sng">
              <a:solidFill>
                <a:schemeClr val="bg2"/>
              </a:solidFill>
              <a:prstDash val="solid"/>
              <a:round/>
              <a:headEnd type="none" w="med" len="med"/>
              <a:tailEnd type="none" w="med" len="med"/>
            </a:ln>
          </p:spPr>
        </p:cxnSp>
        <p:cxnSp>
          <p:nvCxnSpPr>
            <p:cNvPr id="280" name="Google Shape;4747;p64">
              <a:extLst>
                <a:ext uri="{FF2B5EF4-FFF2-40B4-BE49-F238E27FC236}">
                  <a16:creationId xmlns:a16="http://schemas.microsoft.com/office/drawing/2014/main" id="{08329394-AFED-603E-CBEC-B7FECD7D5CB0}"/>
                </a:ext>
              </a:extLst>
            </p:cNvPr>
            <p:cNvCxnSpPr/>
            <p:nvPr/>
          </p:nvCxnSpPr>
          <p:spPr>
            <a:xfrm>
              <a:off x="7659197" y="4578597"/>
              <a:ext cx="0" cy="0"/>
            </a:xfrm>
            <a:prstGeom prst="straightConnector1">
              <a:avLst/>
            </a:prstGeom>
            <a:grpFill/>
            <a:ln w="9525" cap="flat" cmpd="sng">
              <a:solidFill>
                <a:schemeClr val="bg2"/>
              </a:solidFill>
              <a:prstDash val="solid"/>
              <a:round/>
              <a:headEnd type="none" w="med" len="med"/>
              <a:tailEnd type="none" w="med" len="med"/>
            </a:ln>
          </p:spPr>
        </p:cxnSp>
        <p:sp>
          <p:nvSpPr>
            <p:cNvPr id="281" name="Google Shape;4748;p64">
              <a:extLst>
                <a:ext uri="{FF2B5EF4-FFF2-40B4-BE49-F238E27FC236}">
                  <a16:creationId xmlns:a16="http://schemas.microsoft.com/office/drawing/2014/main" id="{2DECE645-7228-2D24-B070-C26D634C55CC}"/>
                </a:ext>
              </a:extLst>
            </p:cNvPr>
            <p:cNvSpPr/>
            <p:nvPr/>
          </p:nvSpPr>
          <p:spPr>
            <a:xfrm>
              <a:off x="5175374" y="5215878"/>
              <a:ext cx="228398" cy="373771"/>
            </a:xfrm>
            <a:custGeom>
              <a:avLst/>
              <a:gdLst/>
              <a:ahLst/>
              <a:cxnLst/>
              <a:rect l="l" t="t" r="r" b="b"/>
              <a:pathLst>
                <a:path w="696" h="1139" extrusionOk="0">
                  <a:moveTo>
                    <a:pt x="174" y="1137"/>
                  </a:moveTo>
                  <a:lnTo>
                    <a:pt x="174" y="1137"/>
                  </a:lnTo>
                  <a:lnTo>
                    <a:pt x="178" y="1095"/>
                  </a:lnTo>
                  <a:lnTo>
                    <a:pt x="178" y="1081"/>
                  </a:lnTo>
                  <a:lnTo>
                    <a:pt x="176" y="1083"/>
                  </a:lnTo>
                  <a:lnTo>
                    <a:pt x="174" y="1085"/>
                  </a:lnTo>
                  <a:lnTo>
                    <a:pt x="172" y="1095"/>
                  </a:lnTo>
                  <a:lnTo>
                    <a:pt x="168" y="1093"/>
                  </a:lnTo>
                  <a:lnTo>
                    <a:pt x="166" y="1091"/>
                  </a:lnTo>
                  <a:lnTo>
                    <a:pt x="162" y="1087"/>
                  </a:lnTo>
                  <a:lnTo>
                    <a:pt x="158" y="1083"/>
                  </a:lnTo>
                  <a:lnTo>
                    <a:pt x="154" y="1077"/>
                  </a:lnTo>
                  <a:lnTo>
                    <a:pt x="158" y="1069"/>
                  </a:lnTo>
                  <a:lnTo>
                    <a:pt x="164" y="1063"/>
                  </a:lnTo>
                  <a:lnTo>
                    <a:pt x="168" y="1049"/>
                  </a:lnTo>
                  <a:lnTo>
                    <a:pt x="178" y="1039"/>
                  </a:lnTo>
                  <a:lnTo>
                    <a:pt x="204" y="1021"/>
                  </a:lnTo>
                  <a:lnTo>
                    <a:pt x="216" y="1017"/>
                  </a:lnTo>
                  <a:lnTo>
                    <a:pt x="236" y="1007"/>
                  </a:lnTo>
                  <a:lnTo>
                    <a:pt x="286" y="991"/>
                  </a:lnTo>
                  <a:lnTo>
                    <a:pt x="312" y="977"/>
                  </a:lnTo>
                  <a:lnTo>
                    <a:pt x="322" y="971"/>
                  </a:lnTo>
                  <a:lnTo>
                    <a:pt x="330" y="963"/>
                  </a:lnTo>
                  <a:lnTo>
                    <a:pt x="342" y="943"/>
                  </a:lnTo>
                  <a:lnTo>
                    <a:pt x="344" y="935"/>
                  </a:lnTo>
                  <a:lnTo>
                    <a:pt x="348" y="919"/>
                  </a:lnTo>
                  <a:lnTo>
                    <a:pt x="346" y="915"/>
                  </a:lnTo>
                  <a:lnTo>
                    <a:pt x="344" y="915"/>
                  </a:lnTo>
                  <a:lnTo>
                    <a:pt x="342" y="921"/>
                  </a:lnTo>
                  <a:lnTo>
                    <a:pt x="338" y="919"/>
                  </a:lnTo>
                  <a:lnTo>
                    <a:pt x="336" y="917"/>
                  </a:lnTo>
                  <a:lnTo>
                    <a:pt x="338" y="909"/>
                  </a:lnTo>
                  <a:lnTo>
                    <a:pt x="344" y="873"/>
                  </a:lnTo>
                  <a:lnTo>
                    <a:pt x="350" y="857"/>
                  </a:lnTo>
                  <a:lnTo>
                    <a:pt x="346" y="843"/>
                  </a:lnTo>
                  <a:lnTo>
                    <a:pt x="344" y="835"/>
                  </a:lnTo>
                  <a:lnTo>
                    <a:pt x="348" y="815"/>
                  </a:lnTo>
                  <a:lnTo>
                    <a:pt x="348" y="809"/>
                  </a:lnTo>
                  <a:lnTo>
                    <a:pt x="348" y="807"/>
                  </a:lnTo>
                  <a:lnTo>
                    <a:pt x="346" y="801"/>
                  </a:lnTo>
                  <a:lnTo>
                    <a:pt x="344" y="797"/>
                  </a:lnTo>
                  <a:lnTo>
                    <a:pt x="342" y="797"/>
                  </a:lnTo>
                  <a:lnTo>
                    <a:pt x="340" y="801"/>
                  </a:lnTo>
                  <a:lnTo>
                    <a:pt x="338" y="811"/>
                  </a:lnTo>
                  <a:lnTo>
                    <a:pt x="340" y="817"/>
                  </a:lnTo>
                  <a:lnTo>
                    <a:pt x="338" y="821"/>
                  </a:lnTo>
                  <a:lnTo>
                    <a:pt x="334" y="817"/>
                  </a:lnTo>
                  <a:lnTo>
                    <a:pt x="334" y="807"/>
                  </a:lnTo>
                  <a:lnTo>
                    <a:pt x="334" y="791"/>
                  </a:lnTo>
                  <a:lnTo>
                    <a:pt x="330" y="771"/>
                  </a:lnTo>
                  <a:lnTo>
                    <a:pt x="330" y="765"/>
                  </a:lnTo>
                  <a:lnTo>
                    <a:pt x="322" y="747"/>
                  </a:lnTo>
                  <a:lnTo>
                    <a:pt x="320" y="731"/>
                  </a:lnTo>
                  <a:lnTo>
                    <a:pt x="312" y="705"/>
                  </a:lnTo>
                  <a:lnTo>
                    <a:pt x="304" y="695"/>
                  </a:lnTo>
                  <a:lnTo>
                    <a:pt x="298" y="687"/>
                  </a:lnTo>
                  <a:lnTo>
                    <a:pt x="294" y="681"/>
                  </a:lnTo>
                  <a:lnTo>
                    <a:pt x="292" y="677"/>
                  </a:lnTo>
                  <a:lnTo>
                    <a:pt x="296" y="655"/>
                  </a:lnTo>
                  <a:lnTo>
                    <a:pt x="296" y="643"/>
                  </a:lnTo>
                  <a:lnTo>
                    <a:pt x="296" y="635"/>
                  </a:lnTo>
                  <a:lnTo>
                    <a:pt x="294" y="631"/>
                  </a:lnTo>
                  <a:lnTo>
                    <a:pt x="290" y="627"/>
                  </a:lnTo>
                  <a:lnTo>
                    <a:pt x="294" y="627"/>
                  </a:lnTo>
                  <a:lnTo>
                    <a:pt x="302" y="635"/>
                  </a:lnTo>
                  <a:lnTo>
                    <a:pt x="306" y="635"/>
                  </a:lnTo>
                  <a:lnTo>
                    <a:pt x="310" y="635"/>
                  </a:lnTo>
                  <a:lnTo>
                    <a:pt x="336" y="613"/>
                  </a:lnTo>
                  <a:lnTo>
                    <a:pt x="356" y="591"/>
                  </a:lnTo>
                  <a:lnTo>
                    <a:pt x="368" y="579"/>
                  </a:lnTo>
                  <a:lnTo>
                    <a:pt x="376" y="573"/>
                  </a:lnTo>
                  <a:lnTo>
                    <a:pt x="386" y="567"/>
                  </a:lnTo>
                  <a:lnTo>
                    <a:pt x="390" y="569"/>
                  </a:lnTo>
                  <a:lnTo>
                    <a:pt x="394" y="569"/>
                  </a:lnTo>
                  <a:lnTo>
                    <a:pt x="396" y="559"/>
                  </a:lnTo>
                  <a:lnTo>
                    <a:pt x="400" y="565"/>
                  </a:lnTo>
                  <a:lnTo>
                    <a:pt x="404" y="563"/>
                  </a:lnTo>
                  <a:lnTo>
                    <a:pt x="406" y="557"/>
                  </a:lnTo>
                  <a:lnTo>
                    <a:pt x="410" y="549"/>
                  </a:lnTo>
                  <a:lnTo>
                    <a:pt x="414" y="545"/>
                  </a:lnTo>
                  <a:lnTo>
                    <a:pt x="428" y="531"/>
                  </a:lnTo>
                  <a:lnTo>
                    <a:pt x="438" y="519"/>
                  </a:lnTo>
                  <a:lnTo>
                    <a:pt x="438" y="515"/>
                  </a:lnTo>
                  <a:lnTo>
                    <a:pt x="440" y="509"/>
                  </a:lnTo>
                  <a:lnTo>
                    <a:pt x="444" y="505"/>
                  </a:lnTo>
                  <a:lnTo>
                    <a:pt x="448" y="503"/>
                  </a:lnTo>
                  <a:lnTo>
                    <a:pt x="460" y="491"/>
                  </a:lnTo>
                  <a:lnTo>
                    <a:pt x="478" y="479"/>
                  </a:lnTo>
                  <a:lnTo>
                    <a:pt x="498" y="467"/>
                  </a:lnTo>
                  <a:lnTo>
                    <a:pt x="512" y="463"/>
                  </a:lnTo>
                  <a:lnTo>
                    <a:pt x="514" y="459"/>
                  </a:lnTo>
                  <a:lnTo>
                    <a:pt x="518" y="457"/>
                  </a:lnTo>
                  <a:lnTo>
                    <a:pt x="534" y="453"/>
                  </a:lnTo>
                  <a:lnTo>
                    <a:pt x="550" y="447"/>
                  </a:lnTo>
                  <a:lnTo>
                    <a:pt x="554" y="445"/>
                  </a:lnTo>
                  <a:lnTo>
                    <a:pt x="556" y="443"/>
                  </a:lnTo>
                  <a:lnTo>
                    <a:pt x="560" y="445"/>
                  </a:lnTo>
                  <a:lnTo>
                    <a:pt x="568" y="443"/>
                  </a:lnTo>
                  <a:lnTo>
                    <a:pt x="572" y="441"/>
                  </a:lnTo>
                  <a:lnTo>
                    <a:pt x="580" y="439"/>
                  </a:lnTo>
                  <a:lnTo>
                    <a:pt x="586" y="429"/>
                  </a:lnTo>
                  <a:lnTo>
                    <a:pt x="590" y="427"/>
                  </a:lnTo>
                  <a:lnTo>
                    <a:pt x="616" y="411"/>
                  </a:lnTo>
                  <a:lnTo>
                    <a:pt x="626" y="405"/>
                  </a:lnTo>
                  <a:lnTo>
                    <a:pt x="630" y="403"/>
                  </a:lnTo>
                  <a:lnTo>
                    <a:pt x="626" y="393"/>
                  </a:lnTo>
                  <a:lnTo>
                    <a:pt x="632" y="389"/>
                  </a:lnTo>
                  <a:lnTo>
                    <a:pt x="640" y="387"/>
                  </a:lnTo>
                  <a:lnTo>
                    <a:pt x="646" y="377"/>
                  </a:lnTo>
                  <a:lnTo>
                    <a:pt x="648" y="373"/>
                  </a:lnTo>
                  <a:lnTo>
                    <a:pt x="648" y="371"/>
                  </a:lnTo>
                  <a:lnTo>
                    <a:pt x="654" y="363"/>
                  </a:lnTo>
                  <a:lnTo>
                    <a:pt x="660" y="357"/>
                  </a:lnTo>
                  <a:lnTo>
                    <a:pt x="678" y="337"/>
                  </a:lnTo>
                  <a:lnTo>
                    <a:pt x="684" y="323"/>
                  </a:lnTo>
                  <a:lnTo>
                    <a:pt x="684" y="317"/>
                  </a:lnTo>
                  <a:lnTo>
                    <a:pt x="680" y="313"/>
                  </a:lnTo>
                  <a:lnTo>
                    <a:pt x="682" y="309"/>
                  </a:lnTo>
                  <a:lnTo>
                    <a:pt x="686" y="309"/>
                  </a:lnTo>
                  <a:lnTo>
                    <a:pt x="686" y="305"/>
                  </a:lnTo>
                  <a:lnTo>
                    <a:pt x="686" y="299"/>
                  </a:lnTo>
                  <a:lnTo>
                    <a:pt x="692" y="293"/>
                  </a:lnTo>
                  <a:lnTo>
                    <a:pt x="696" y="291"/>
                  </a:lnTo>
                  <a:lnTo>
                    <a:pt x="696" y="285"/>
                  </a:lnTo>
                  <a:lnTo>
                    <a:pt x="694" y="279"/>
                  </a:lnTo>
                  <a:lnTo>
                    <a:pt x="694" y="275"/>
                  </a:lnTo>
                  <a:lnTo>
                    <a:pt x="694" y="273"/>
                  </a:lnTo>
                  <a:lnTo>
                    <a:pt x="694" y="269"/>
                  </a:lnTo>
                  <a:lnTo>
                    <a:pt x="692" y="265"/>
                  </a:lnTo>
                  <a:lnTo>
                    <a:pt x="688" y="265"/>
                  </a:lnTo>
                  <a:lnTo>
                    <a:pt x="682" y="273"/>
                  </a:lnTo>
                  <a:lnTo>
                    <a:pt x="682" y="267"/>
                  </a:lnTo>
                  <a:lnTo>
                    <a:pt x="682" y="263"/>
                  </a:lnTo>
                  <a:lnTo>
                    <a:pt x="688" y="257"/>
                  </a:lnTo>
                  <a:lnTo>
                    <a:pt x="688" y="251"/>
                  </a:lnTo>
                  <a:lnTo>
                    <a:pt x="684" y="249"/>
                  </a:lnTo>
                  <a:lnTo>
                    <a:pt x="680" y="247"/>
                  </a:lnTo>
                  <a:lnTo>
                    <a:pt x="680" y="245"/>
                  </a:lnTo>
                  <a:lnTo>
                    <a:pt x="680" y="227"/>
                  </a:lnTo>
                  <a:lnTo>
                    <a:pt x="678" y="211"/>
                  </a:lnTo>
                  <a:lnTo>
                    <a:pt x="678" y="205"/>
                  </a:lnTo>
                  <a:lnTo>
                    <a:pt x="676" y="201"/>
                  </a:lnTo>
                  <a:lnTo>
                    <a:pt x="678" y="195"/>
                  </a:lnTo>
                  <a:lnTo>
                    <a:pt x="676" y="189"/>
                  </a:lnTo>
                  <a:lnTo>
                    <a:pt x="678" y="185"/>
                  </a:lnTo>
                  <a:lnTo>
                    <a:pt x="678" y="177"/>
                  </a:lnTo>
                  <a:lnTo>
                    <a:pt x="678" y="173"/>
                  </a:lnTo>
                  <a:lnTo>
                    <a:pt x="678" y="169"/>
                  </a:lnTo>
                  <a:lnTo>
                    <a:pt x="670" y="168"/>
                  </a:lnTo>
                  <a:lnTo>
                    <a:pt x="668" y="166"/>
                  </a:lnTo>
                  <a:lnTo>
                    <a:pt x="670" y="164"/>
                  </a:lnTo>
                  <a:lnTo>
                    <a:pt x="676" y="158"/>
                  </a:lnTo>
                  <a:lnTo>
                    <a:pt x="678" y="154"/>
                  </a:lnTo>
                  <a:lnTo>
                    <a:pt x="678" y="146"/>
                  </a:lnTo>
                  <a:lnTo>
                    <a:pt x="676" y="138"/>
                  </a:lnTo>
                  <a:lnTo>
                    <a:pt x="672" y="136"/>
                  </a:lnTo>
                  <a:lnTo>
                    <a:pt x="674" y="130"/>
                  </a:lnTo>
                  <a:lnTo>
                    <a:pt x="674" y="124"/>
                  </a:lnTo>
                  <a:lnTo>
                    <a:pt x="674" y="110"/>
                  </a:lnTo>
                  <a:lnTo>
                    <a:pt x="676" y="104"/>
                  </a:lnTo>
                  <a:lnTo>
                    <a:pt x="674" y="100"/>
                  </a:lnTo>
                  <a:lnTo>
                    <a:pt x="672" y="92"/>
                  </a:lnTo>
                  <a:lnTo>
                    <a:pt x="668" y="80"/>
                  </a:lnTo>
                  <a:lnTo>
                    <a:pt x="670" y="66"/>
                  </a:lnTo>
                  <a:lnTo>
                    <a:pt x="666" y="58"/>
                  </a:lnTo>
                  <a:lnTo>
                    <a:pt x="668" y="54"/>
                  </a:lnTo>
                  <a:lnTo>
                    <a:pt x="672" y="48"/>
                  </a:lnTo>
                  <a:lnTo>
                    <a:pt x="676" y="40"/>
                  </a:lnTo>
                  <a:lnTo>
                    <a:pt x="676" y="38"/>
                  </a:lnTo>
                  <a:lnTo>
                    <a:pt x="674" y="36"/>
                  </a:lnTo>
                  <a:lnTo>
                    <a:pt x="674" y="32"/>
                  </a:lnTo>
                  <a:lnTo>
                    <a:pt x="680" y="24"/>
                  </a:lnTo>
                  <a:lnTo>
                    <a:pt x="672" y="20"/>
                  </a:lnTo>
                  <a:lnTo>
                    <a:pt x="676" y="18"/>
                  </a:lnTo>
                  <a:lnTo>
                    <a:pt x="680" y="14"/>
                  </a:lnTo>
                  <a:lnTo>
                    <a:pt x="674" y="8"/>
                  </a:lnTo>
                  <a:lnTo>
                    <a:pt x="670" y="0"/>
                  </a:lnTo>
                  <a:lnTo>
                    <a:pt x="664" y="6"/>
                  </a:lnTo>
                  <a:lnTo>
                    <a:pt x="652" y="16"/>
                  </a:lnTo>
                  <a:lnTo>
                    <a:pt x="640" y="24"/>
                  </a:lnTo>
                  <a:lnTo>
                    <a:pt x="628" y="30"/>
                  </a:lnTo>
                  <a:lnTo>
                    <a:pt x="620" y="34"/>
                  </a:lnTo>
                  <a:lnTo>
                    <a:pt x="612" y="34"/>
                  </a:lnTo>
                  <a:lnTo>
                    <a:pt x="604" y="38"/>
                  </a:lnTo>
                  <a:lnTo>
                    <a:pt x="596" y="44"/>
                  </a:lnTo>
                  <a:lnTo>
                    <a:pt x="586" y="48"/>
                  </a:lnTo>
                  <a:lnTo>
                    <a:pt x="574" y="48"/>
                  </a:lnTo>
                  <a:lnTo>
                    <a:pt x="562" y="52"/>
                  </a:lnTo>
                  <a:lnTo>
                    <a:pt x="548" y="60"/>
                  </a:lnTo>
                  <a:lnTo>
                    <a:pt x="542" y="64"/>
                  </a:lnTo>
                  <a:lnTo>
                    <a:pt x="530" y="58"/>
                  </a:lnTo>
                  <a:lnTo>
                    <a:pt x="520" y="54"/>
                  </a:lnTo>
                  <a:lnTo>
                    <a:pt x="510" y="54"/>
                  </a:lnTo>
                  <a:lnTo>
                    <a:pt x="504" y="56"/>
                  </a:lnTo>
                  <a:lnTo>
                    <a:pt x="502" y="58"/>
                  </a:lnTo>
                  <a:lnTo>
                    <a:pt x="500" y="62"/>
                  </a:lnTo>
                  <a:lnTo>
                    <a:pt x="498" y="68"/>
                  </a:lnTo>
                  <a:lnTo>
                    <a:pt x="492" y="76"/>
                  </a:lnTo>
                  <a:lnTo>
                    <a:pt x="480" y="82"/>
                  </a:lnTo>
                  <a:lnTo>
                    <a:pt x="468" y="84"/>
                  </a:lnTo>
                  <a:lnTo>
                    <a:pt x="458" y="82"/>
                  </a:lnTo>
                  <a:lnTo>
                    <a:pt x="452" y="80"/>
                  </a:lnTo>
                  <a:lnTo>
                    <a:pt x="448" y="76"/>
                  </a:lnTo>
                  <a:lnTo>
                    <a:pt x="442" y="74"/>
                  </a:lnTo>
                  <a:lnTo>
                    <a:pt x="436" y="74"/>
                  </a:lnTo>
                  <a:lnTo>
                    <a:pt x="428" y="76"/>
                  </a:lnTo>
                  <a:lnTo>
                    <a:pt x="422" y="82"/>
                  </a:lnTo>
                  <a:lnTo>
                    <a:pt x="412" y="84"/>
                  </a:lnTo>
                  <a:lnTo>
                    <a:pt x="398" y="84"/>
                  </a:lnTo>
                  <a:lnTo>
                    <a:pt x="390" y="80"/>
                  </a:lnTo>
                  <a:lnTo>
                    <a:pt x="390" y="76"/>
                  </a:lnTo>
                  <a:lnTo>
                    <a:pt x="384" y="72"/>
                  </a:lnTo>
                  <a:lnTo>
                    <a:pt x="372" y="66"/>
                  </a:lnTo>
                  <a:lnTo>
                    <a:pt x="364" y="66"/>
                  </a:lnTo>
                  <a:lnTo>
                    <a:pt x="358" y="72"/>
                  </a:lnTo>
                  <a:lnTo>
                    <a:pt x="354" y="76"/>
                  </a:lnTo>
                  <a:lnTo>
                    <a:pt x="350" y="76"/>
                  </a:lnTo>
                  <a:lnTo>
                    <a:pt x="346" y="76"/>
                  </a:lnTo>
                  <a:lnTo>
                    <a:pt x="342" y="76"/>
                  </a:lnTo>
                  <a:lnTo>
                    <a:pt x="340" y="76"/>
                  </a:lnTo>
                  <a:lnTo>
                    <a:pt x="324" y="74"/>
                  </a:lnTo>
                  <a:lnTo>
                    <a:pt x="310" y="74"/>
                  </a:lnTo>
                  <a:lnTo>
                    <a:pt x="310" y="86"/>
                  </a:lnTo>
                  <a:lnTo>
                    <a:pt x="308" y="94"/>
                  </a:lnTo>
                  <a:lnTo>
                    <a:pt x="306" y="102"/>
                  </a:lnTo>
                  <a:lnTo>
                    <a:pt x="304" y="106"/>
                  </a:lnTo>
                  <a:lnTo>
                    <a:pt x="302" y="108"/>
                  </a:lnTo>
                  <a:lnTo>
                    <a:pt x="298" y="110"/>
                  </a:lnTo>
                  <a:lnTo>
                    <a:pt x="294" y="114"/>
                  </a:lnTo>
                  <a:lnTo>
                    <a:pt x="292" y="116"/>
                  </a:lnTo>
                  <a:lnTo>
                    <a:pt x="294" y="118"/>
                  </a:lnTo>
                  <a:lnTo>
                    <a:pt x="294" y="128"/>
                  </a:lnTo>
                  <a:lnTo>
                    <a:pt x="294" y="130"/>
                  </a:lnTo>
                  <a:lnTo>
                    <a:pt x="292" y="132"/>
                  </a:lnTo>
                  <a:lnTo>
                    <a:pt x="298" y="146"/>
                  </a:lnTo>
                  <a:lnTo>
                    <a:pt x="300" y="154"/>
                  </a:lnTo>
                  <a:lnTo>
                    <a:pt x="298" y="162"/>
                  </a:lnTo>
                  <a:lnTo>
                    <a:pt x="298" y="168"/>
                  </a:lnTo>
                  <a:lnTo>
                    <a:pt x="300" y="173"/>
                  </a:lnTo>
                  <a:lnTo>
                    <a:pt x="300" y="179"/>
                  </a:lnTo>
                  <a:lnTo>
                    <a:pt x="300" y="187"/>
                  </a:lnTo>
                  <a:lnTo>
                    <a:pt x="300" y="191"/>
                  </a:lnTo>
                  <a:lnTo>
                    <a:pt x="302" y="193"/>
                  </a:lnTo>
                  <a:lnTo>
                    <a:pt x="304" y="201"/>
                  </a:lnTo>
                  <a:lnTo>
                    <a:pt x="304" y="205"/>
                  </a:lnTo>
                  <a:lnTo>
                    <a:pt x="306" y="207"/>
                  </a:lnTo>
                  <a:lnTo>
                    <a:pt x="314" y="213"/>
                  </a:lnTo>
                  <a:lnTo>
                    <a:pt x="328" y="229"/>
                  </a:lnTo>
                  <a:lnTo>
                    <a:pt x="338" y="241"/>
                  </a:lnTo>
                  <a:lnTo>
                    <a:pt x="344" y="251"/>
                  </a:lnTo>
                  <a:lnTo>
                    <a:pt x="358" y="267"/>
                  </a:lnTo>
                  <a:lnTo>
                    <a:pt x="368" y="281"/>
                  </a:lnTo>
                  <a:lnTo>
                    <a:pt x="370" y="295"/>
                  </a:lnTo>
                  <a:lnTo>
                    <a:pt x="372" y="297"/>
                  </a:lnTo>
                  <a:lnTo>
                    <a:pt x="368" y="307"/>
                  </a:lnTo>
                  <a:lnTo>
                    <a:pt x="366" y="323"/>
                  </a:lnTo>
                  <a:lnTo>
                    <a:pt x="366" y="333"/>
                  </a:lnTo>
                  <a:lnTo>
                    <a:pt x="366" y="351"/>
                  </a:lnTo>
                  <a:lnTo>
                    <a:pt x="364" y="369"/>
                  </a:lnTo>
                  <a:lnTo>
                    <a:pt x="362" y="377"/>
                  </a:lnTo>
                  <a:lnTo>
                    <a:pt x="360" y="379"/>
                  </a:lnTo>
                  <a:lnTo>
                    <a:pt x="352" y="381"/>
                  </a:lnTo>
                  <a:lnTo>
                    <a:pt x="336" y="383"/>
                  </a:lnTo>
                  <a:lnTo>
                    <a:pt x="334" y="385"/>
                  </a:lnTo>
                  <a:lnTo>
                    <a:pt x="332" y="389"/>
                  </a:lnTo>
                  <a:lnTo>
                    <a:pt x="328" y="397"/>
                  </a:lnTo>
                  <a:lnTo>
                    <a:pt x="324" y="407"/>
                  </a:lnTo>
                  <a:lnTo>
                    <a:pt x="324" y="411"/>
                  </a:lnTo>
                  <a:lnTo>
                    <a:pt x="324" y="411"/>
                  </a:lnTo>
                  <a:lnTo>
                    <a:pt x="328" y="415"/>
                  </a:lnTo>
                  <a:lnTo>
                    <a:pt x="332" y="427"/>
                  </a:lnTo>
                  <a:lnTo>
                    <a:pt x="332" y="447"/>
                  </a:lnTo>
                  <a:lnTo>
                    <a:pt x="330" y="449"/>
                  </a:lnTo>
                  <a:lnTo>
                    <a:pt x="326" y="449"/>
                  </a:lnTo>
                  <a:lnTo>
                    <a:pt x="320" y="449"/>
                  </a:lnTo>
                  <a:lnTo>
                    <a:pt x="318" y="449"/>
                  </a:lnTo>
                  <a:lnTo>
                    <a:pt x="316" y="447"/>
                  </a:lnTo>
                  <a:lnTo>
                    <a:pt x="316" y="441"/>
                  </a:lnTo>
                  <a:lnTo>
                    <a:pt x="318" y="439"/>
                  </a:lnTo>
                  <a:lnTo>
                    <a:pt x="320" y="433"/>
                  </a:lnTo>
                  <a:lnTo>
                    <a:pt x="318" y="429"/>
                  </a:lnTo>
                  <a:lnTo>
                    <a:pt x="314" y="429"/>
                  </a:lnTo>
                  <a:lnTo>
                    <a:pt x="308" y="425"/>
                  </a:lnTo>
                  <a:lnTo>
                    <a:pt x="296" y="411"/>
                  </a:lnTo>
                  <a:lnTo>
                    <a:pt x="288" y="401"/>
                  </a:lnTo>
                  <a:lnTo>
                    <a:pt x="282" y="395"/>
                  </a:lnTo>
                  <a:lnTo>
                    <a:pt x="276" y="391"/>
                  </a:lnTo>
                  <a:lnTo>
                    <a:pt x="274" y="389"/>
                  </a:lnTo>
                  <a:lnTo>
                    <a:pt x="274" y="387"/>
                  </a:lnTo>
                  <a:lnTo>
                    <a:pt x="274" y="381"/>
                  </a:lnTo>
                  <a:lnTo>
                    <a:pt x="274" y="377"/>
                  </a:lnTo>
                  <a:lnTo>
                    <a:pt x="272" y="373"/>
                  </a:lnTo>
                  <a:lnTo>
                    <a:pt x="266" y="369"/>
                  </a:lnTo>
                  <a:lnTo>
                    <a:pt x="264" y="365"/>
                  </a:lnTo>
                  <a:lnTo>
                    <a:pt x="264" y="361"/>
                  </a:lnTo>
                  <a:lnTo>
                    <a:pt x="266" y="357"/>
                  </a:lnTo>
                  <a:lnTo>
                    <a:pt x="270" y="353"/>
                  </a:lnTo>
                  <a:lnTo>
                    <a:pt x="274" y="343"/>
                  </a:lnTo>
                  <a:lnTo>
                    <a:pt x="276" y="337"/>
                  </a:lnTo>
                  <a:lnTo>
                    <a:pt x="282" y="325"/>
                  </a:lnTo>
                  <a:lnTo>
                    <a:pt x="284" y="313"/>
                  </a:lnTo>
                  <a:lnTo>
                    <a:pt x="284" y="305"/>
                  </a:lnTo>
                  <a:lnTo>
                    <a:pt x="284" y="299"/>
                  </a:lnTo>
                  <a:lnTo>
                    <a:pt x="282" y="287"/>
                  </a:lnTo>
                  <a:lnTo>
                    <a:pt x="280" y="277"/>
                  </a:lnTo>
                  <a:lnTo>
                    <a:pt x="272" y="265"/>
                  </a:lnTo>
                  <a:lnTo>
                    <a:pt x="268" y="265"/>
                  </a:lnTo>
                  <a:lnTo>
                    <a:pt x="260" y="265"/>
                  </a:lnTo>
                  <a:lnTo>
                    <a:pt x="254" y="267"/>
                  </a:lnTo>
                  <a:lnTo>
                    <a:pt x="250" y="269"/>
                  </a:lnTo>
                  <a:lnTo>
                    <a:pt x="244" y="269"/>
                  </a:lnTo>
                  <a:lnTo>
                    <a:pt x="232" y="271"/>
                  </a:lnTo>
                  <a:lnTo>
                    <a:pt x="228" y="273"/>
                  </a:lnTo>
                  <a:lnTo>
                    <a:pt x="224" y="275"/>
                  </a:lnTo>
                  <a:lnTo>
                    <a:pt x="224" y="275"/>
                  </a:lnTo>
                  <a:lnTo>
                    <a:pt x="214" y="265"/>
                  </a:lnTo>
                  <a:lnTo>
                    <a:pt x="208" y="257"/>
                  </a:lnTo>
                  <a:lnTo>
                    <a:pt x="198" y="239"/>
                  </a:lnTo>
                  <a:lnTo>
                    <a:pt x="194" y="237"/>
                  </a:lnTo>
                  <a:lnTo>
                    <a:pt x="180" y="243"/>
                  </a:lnTo>
                  <a:lnTo>
                    <a:pt x="174" y="245"/>
                  </a:lnTo>
                  <a:lnTo>
                    <a:pt x="152" y="251"/>
                  </a:lnTo>
                  <a:lnTo>
                    <a:pt x="134" y="259"/>
                  </a:lnTo>
                  <a:lnTo>
                    <a:pt x="128" y="259"/>
                  </a:lnTo>
                  <a:lnTo>
                    <a:pt x="120" y="263"/>
                  </a:lnTo>
                  <a:lnTo>
                    <a:pt x="114" y="265"/>
                  </a:lnTo>
                  <a:lnTo>
                    <a:pt x="98" y="271"/>
                  </a:lnTo>
                  <a:lnTo>
                    <a:pt x="92" y="273"/>
                  </a:lnTo>
                  <a:lnTo>
                    <a:pt x="86" y="275"/>
                  </a:lnTo>
                  <a:lnTo>
                    <a:pt x="72" y="279"/>
                  </a:lnTo>
                  <a:lnTo>
                    <a:pt x="60" y="283"/>
                  </a:lnTo>
                  <a:lnTo>
                    <a:pt x="44" y="287"/>
                  </a:lnTo>
                  <a:lnTo>
                    <a:pt x="28" y="291"/>
                  </a:lnTo>
                  <a:lnTo>
                    <a:pt x="20" y="295"/>
                  </a:lnTo>
                  <a:lnTo>
                    <a:pt x="14" y="299"/>
                  </a:lnTo>
                  <a:lnTo>
                    <a:pt x="0" y="303"/>
                  </a:lnTo>
                  <a:lnTo>
                    <a:pt x="0" y="305"/>
                  </a:lnTo>
                  <a:lnTo>
                    <a:pt x="0" y="309"/>
                  </a:lnTo>
                  <a:lnTo>
                    <a:pt x="2" y="317"/>
                  </a:lnTo>
                  <a:lnTo>
                    <a:pt x="4" y="323"/>
                  </a:lnTo>
                  <a:lnTo>
                    <a:pt x="8" y="329"/>
                  </a:lnTo>
                  <a:lnTo>
                    <a:pt x="10" y="339"/>
                  </a:lnTo>
                  <a:lnTo>
                    <a:pt x="10" y="347"/>
                  </a:lnTo>
                  <a:lnTo>
                    <a:pt x="10" y="359"/>
                  </a:lnTo>
                  <a:lnTo>
                    <a:pt x="12" y="371"/>
                  </a:lnTo>
                  <a:lnTo>
                    <a:pt x="14" y="373"/>
                  </a:lnTo>
                  <a:lnTo>
                    <a:pt x="26" y="373"/>
                  </a:lnTo>
                  <a:lnTo>
                    <a:pt x="46" y="373"/>
                  </a:lnTo>
                  <a:lnTo>
                    <a:pt x="66" y="373"/>
                  </a:lnTo>
                  <a:lnTo>
                    <a:pt x="78" y="383"/>
                  </a:lnTo>
                  <a:lnTo>
                    <a:pt x="82" y="385"/>
                  </a:lnTo>
                  <a:lnTo>
                    <a:pt x="96" y="387"/>
                  </a:lnTo>
                  <a:lnTo>
                    <a:pt x="112" y="401"/>
                  </a:lnTo>
                  <a:lnTo>
                    <a:pt x="132" y="403"/>
                  </a:lnTo>
                  <a:lnTo>
                    <a:pt x="146" y="407"/>
                  </a:lnTo>
                  <a:lnTo>
                    <a:pt x="158" y="413"/>
                  </a:lnTo>
                  <a:lnTo>
                    <a:pt x="164" y="419"/>
                  </a:lnTo>
                  <a:lnTo>
                    <a:pt x="170" y="421"/>
                  </a:lnTo>
                  <a:lnTo>
                    <a:pt x="176" y="421"/>
                  </a:lnTo>
                  <a:lnTo>
                    <a:pt x="178" y="421"/>
                  </a:lnTo>
                  <a:lnTo>
                    <a:pt x="178" y="425"/>
                  </a:lnTo>
                  <a:lnTo>
                    <a:pt x="174" y="433"/>
                  </a:lnTo>
                  <a:lnTo>
                    <a:pt x="174" y="443"/>
                  </a:lnTo>
                  <a:lnTo>
                    <a:pt x="180" y="457"/>
                  </a:lnTo>
                  <a:lnTo>
                    <a:pt x="180" y="471"/>
                  </a:lnTo>
                  <a:lnTo>
                    <a:pt x="178" y="493"/>
                  </a:lnTo>
                  <a:lnTo>
                    <a:pt x="178" y="515"/>
                  </a:lnTo>
                  <a:lnTo>
                    <a:pt x="180" y="523"/>
                  </a:lnTo>
                  <a:lnTo>
                    <a:pt x="180" y="529"/>
                  </a:lnTo>
                  <a:lnTo>
                    <a:pt x="182" y="531"/>
                  </a:lnTo>
                  <a:lnTo>
                    <a:pt x="180" y="535"/>
                  </a:lnTo>
                  <a:lnTo>
                    <a:pt x="178" y="543"/>
                  </a:lnTo>
                  <a:lnTo>
                    <a:pt x="176" y="553"/>
                  </a:lnTo>
                  <a:lnTo>
                    <a:pt x="176" y="557"/>
                  </a:lnTo>
                  <a:lnTo>
                    <a:pt x="174" y="559"/>
                  </a:lnTo>
                  <a:lnTo>
                    <a:pt x="172" y="563"/>
                  </a:lnTo>
                  <a:lnTo>
                    <a:pt x="164" y="567"/>
                  </a:lnTo>
                  <a:lnTo>
                    <a:pt x="162" y="569"/>
                  </a:lnTo>
                  <a:lnTo>
                    <a:pt x="162" y="575"/>
                  </a:lnTo>
                  <a:lnTo>
                    <a:pt x="162" y="579"/>
                  </a:lnTo>
                  <a:lnTo>
                    <a:pt x="166" y="581"/>
                  </a:lnTo>
                  <a:lnTo>
                    <a:pt x="170" y="583"/>
                  </a:lnTo>
                  <a:lnTo>
                    <a:pt x="172" y="585"/>
                  </a:lnTo>
                  <a:lnTo>
                    <a:pt x="172" y="589"/>
                  </a:lnTo>
                  <a:lnTo>
                    <a:pt x="170" y="595"/>
                  </a:lnTo>
                  <a:lnTo>
                    <a:pt x="166" y="605"/>
                  </a:lnTo>
                  <a:lnTo>
                    <a:pt x="170" y="617"/>
                  </a:lnTo>
                  <a:lnTo>
                    <a:pt x="174" y="625"/>
                  </a:lnTo>
                  <a:lnTo>
                    <a:pt x="180" y="633"/>
                  </a:lnTo>
                  <a:lnTo>
                    <a:pt x="182" y="639"/>
                  </a:lnTo>
                  <a:lnTo>
                    <a:pt x="182" y="643"/>
                  </a:lnTo>
                  <a:lnTo>
                    <a:pt x="180" y="647"/>
                  </a:lnTo>
                  <a:lnTo>
                    <a:pt x="174" y="663"/>
                  </a:lnTo>
                  <a:lnTo>
                    <a:pt x="168" y="673"/>
                  </a:lnTo>
                  <a:lnTo>
                    <a:pt x="160" y="685"/>
                  </a:lnTo>
                  <a:lnTo>
                    <a:pt x="150" y="691"/>
                  </a:lnTo>
                  <a:lnTo>
                    <a:pt x="148" y="695"/>
                  </a:lnTo>
                  <a:lnTo>
                    <a:pt x="148" y="699"/>
                  </a:lnTo>
                  <a:lnTo>
                    <a:pt x="148" y="707"/>
                  </a:lnTo>
                  <a:lnTo>
                    <a:pt x="148" y="715"/>
                  </a:lnTo>
                  <a:lnTo>
                    <a:pt x="140" y="727"/>
                  </a:lnTo>
                  <a:lnTo>
                    <a:pt x="144" y="739"/>
                  </a:lnTo>
                  <a:lnTo>
                    <a:pt x="144" y="741"/>
                  </a:lnTo>
                  <a:lnTo>
                    <a:pt x="140" y="741"/>
                  </a:lnTo>
                  <a:lnTo>
                    <a:pt x="128" y="755"/>
                  </a:lnTo>
                  <a:lnTo>
                    <a:pt x="118" y="767"/>
                  </a:lnTo>
                  <a:lnTo>
                    <a:pt x="108" y="777"/>
                  </a:lnTo>
                  <a:lnTo>
                    <a:pt x="98" y="787"/>
                  </a:lnTo>
                  <a:lnTo>
                    <a:pt x="88" y="799"/>
                  </a:lnTo>
                  <a:lnTo>
                    <a:pt x="78" y="809"/>
                  </a:lnTo>
                  <a:lnTo>
                    <a:pt x="70" y="817"/>
                  </a:lnTo>
                  <a:lnTo>
                    <a:pt x="70" y="821"/>
                  </a:lnTo>
                  <a:lnTo>
                    <a:pt x="70" y="823"/>
                  </a:lnTo>
                  <a:lnTo>
                    <a:pt x="74" y="833"/>
                  </a:lnTo>
                  <a:lnTo>
                    <a:pt x="78" y="847"/>
                  </a:lnTo>
                  <a:lnTo>
                    <a:pt x="80" y="861"/>
                  </a:lnTo>
                  <a:lnTo>
                    <a:pt x="86" y="879"/>
                  </a:lnTo>
                  <a:lnTo>
                    <a:pt x="86" y="889"/>
                  </a:lnTo>
                  <a:lnTo>
                    <a:pt x="86" y="895"/>
                  </a:lnTo>
                  <a:lnTo>
                    <a:pt x="90" y="899"/>
                  </a:lnTo>
                  <a:lnTo>
                    <a:pt x="94" y="907"/>
                  </a:lnTo>
                  <a:lnTo>
                    <a:pt x="96" y="913"/>
                  </a:lnTo>
                  <a:lnTo>
                    <a:pt x="98" y="917"/>
                  </a:lnTo>
                  <a:lnTo>
                    <a:pt x="102" y="923"/>
                  </a:lnTo>
                  <a:lnTo>
                    <a:pt x="106" y="935"/>
                  </a:lnTo>
                  <a:lnTo>
                    <a:pt x="110" y="947"/>
                  </a:lnTo>
                  <a:lnTo>
                    <a:pt x="112" y="955"/>
                  </a:lnTo>
                  <a:lnTo>
                    <a:pt x="114" y="957"/>
                  </a:lnTo>
                  <a:lnTo>
                    <a:pt x="114" y="965"/>
                  </a:lnTo>
                  <a:lnTo>
                    <a:pt x="114" y="977"/>
                  </a:lnTo>
                  <a:lnTo>
                    <a:pt x="114" y="991"/>
                  </a:lnTo>
                  <a:lnTo>
                    <a:pt x="114" y="1023"/>
                  </a:lnTo>
                  <a:lnTo>
                    <a:pt x="114" y="1029"/>
                  </a:lnTo>
                  <a:lnTo>
                    <a:pt x="114" y="1049"/>
                  </a:lnTo>
                  <a:lnTo>
                    <a:pt x="110" y="1059"/>
                  </a:lnTo>
                  <a:lnTo>
                    <a:pt x="112" y="1067"/>
                  </a:lnTo>
                  <a:lnTo>
                    <a:pt x="112" y="1073"/>
                  </a:lnTo>
                  <a:lnTo>
                    <a:pt x="114" y="1073"/>
                  </a:lnTo>
                  <a:lnTo>
                    <a:pt x="120" y="1077"/>
                  </a:lnTo>
                  <a:lnTo>
                    <a:pt x="120" y="1083"/>
                  </a:lnTo>
                  <a:lnTo>
                    <a:pt x="120" y="1091"/>
                  </a:lnTo>
                  <a:lnTo>
                    <a:pt x="118" y="1097"/>
                  </a:lnTo>
                  <a:lnTo>
                    <a:pt x="120" y="1101"/>
                  </a:lnTo>
                  <a:lnTo>
                    <a:pt x="120" y="1109"/>
                  </a:lnTo>
                  <a:lnTo>
                    <a:pt x="122" y="1113"/>
                  </a:lnTo>
                  <a:lnTo>
                    <a:pt x="124" y="1137"/>
                  </a:lnTo>
                  <a:lnTo>
                    <a:pt x="128" y="1137"/>
                  </a:lnTo>
                  <a:lnTo>
                    <a:pt x="140" y="1139"/>
                  </a:lnTo>
                  <a:lnTo>
                    <a:pt x="148" y="1139"/>
                  </a:lnTo>
                  <a:lnTo>
                    <a:pt x="154" y="1139"/>
                  </a:lnTo>
                  <a:lnTo>
                    <a:pt x="166" y="1137"/>
                  </a:lnTo>
                  <a:lnTo>
                    <a:pt x="174" y="1137"/>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82" name="Google Shape;4749;p64">
              <a:extLst>
                <a:ext uri="{FF2B5EF4-FFF2-40B4-BE49-F238E27FC236}">
                  <a16:creationId xmlns:a16="http://schemas.microsoft.com/office/drawing/2014/main" id="{8F779A49-4F57-7A15-F96B-AA8726C48A69}"/>
                </a:ext>
              </a:extLst>
            </p:cNvPr>
            <p:cNvSpPr/>
            <p:nvPr/>
          </p:nvSpPr>
          <p:spPr>
            <a:xfrm>
              <a:off x="4170557" y="4553657"/>
              <a:ext cx="2625" cy="5907"/>
            </a:xfrm>
            <a:custGeom>
              <a:avLst/>
              <a:gdLst/>
              <a:ahLst/>
              <a:cxnLst/>
              <a:rect l="l" t="t" r="r" b="b"/>
              <a:pathLst>
                <a:path w="8" h="18" extrusionOk="0">
                  <a:moveTo>
                    <a:pt x="6" y="10"/>
                  </a:moveTo>
                  <a:lnTo>
                    <a:pt x="8" y="0"/>
                  </a:lnTo>
                  <a:lnTo>
                    <a:pt x="6" y="0"/>
                  </a:lnTo>
                  <a:lnTo>
                    <a:pt x="4" y="4"/>
                  </a:lnTo>
                  <a:lnTo>
                    <a:pt x="0" y="10"/>
                  </a:lnTo>
                  <a:lnTo>
                    <a:pt x="0" y="14"/>
                  </a:lnTo>
                  <a:lnTo>
                    <a:pt x="2" y="18"/>
                  </a:lnTo>
                  <a:lnTo>
                    <a:pt x="6"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83" name="Google Shape;4750;p64">
              <a:extLst>
                <a:ext uri="{FF2B5EF4-FFF2-40B4-BE49-F238E27FC236}">
                  <a16:creationId xmlns:a16="http://schemas.microsoft.com/office/drawing/2014/main" id="{DBABFA68-2612-6608-9D63-3512DFCB9E2B}"/>
                </a:ext>
              </a:extLst>
            </p:cNvPr>
            <p:cNvSpPr/>
            <p:nvPr/>
          </p:nvSpPr>
          <p:spPr>
            <a:xfrm>
              <a:off x="4158086" y="4379077"/>
              <a:ext cx="263183" cy="290090"/>
            </a:xfrm>
            <a:custGeom>
              <a:avLst/>
              <a:gdLst/>
              <a:ahLst/>
              <a:cxnLst/>
              <a:rect l="l" t="t" r="r" b="b"/>
              <a:pathLst>
                <a:path w="802" h="884" extrusionOk="0">
                  <a:moveTo>
                    <a:pt x="714" y="432"/>
                  </a:moveTo>
                  <a:lnTo>
                    <a:pt x="712" y="414"/>
                  </a:lnTo>
                  <a:lnTo>
                    <a:pt x="710" y="396"/>
                  </a:lnTo>
                  <a:lnTo>
                    <a:pt x="708" y="380"/>
                  </a:lnTo>
                  <a:lnTo>
                    <a:pt x="706" y="362"/>
                  </a:lnTo>
                  <a:lnTo>
                    <a:pt x="704" y="344"/>
                  </a:lnTo>
                  <a:lnTo>
                    <a:pt x="702" y="326"/>
                  </a:lnTo>
                  <a:lnTo>
                    <a:pt x="700" y="308"/>
                  </a:lnTo>
                  <a:lnTo>
                    <a:pt x="698" y="290"/>
                  </a:lnTo>
                  <a:lnTo>
                    <a:pt x="696" y="274"/>
                  </a:lnTo>
                  <a:lnTo>
                    <a:pt x="694" y="256"/>
                  </a:lnTo>
                  <a:lnTo>
                    <a:pt x="694" y="238"/>
                  </a:lnTo>
                  <a:lnTo>
                    <a:pt x="692" y="220"/>
                  </a:lnTo>
                  <a:lnTo>
                    <a:pt x="690" y="202"/>
                  </a:lnTo>
                  <a:lnTo>
                    <a:pt x="688" y="184"/>
                  </a:lnTo>
                  <a:lnTo>
                    <a:pt x="686" y="168"/>
                  </a:lnTo>
                  <a:lnTo>
                    <a:pt x="802" y="168"/>
                  </a:lnTo>
                  <a:lnTo>
                    <a:pt x="772" y="148"/>
                  </a:lnTo>
                  <a:lnTo>
                    <a:pt x="756" y="136"/>
                  </a:lnTo>
                  <a:lnTo>
                    <a:pt x="746" y="130"/>
                  </a:lnTo>
                  <a:lnTo>
                    <a:pt x="734" y="122"/>
                  </a:lnTo>
                  <a:lnTo>
                    <a:pt x="722" y="114"/>
                  </a:lnTo>
                  <a:lnTo>
                    <a:pt x="710" y="106"/>
                  </a:lnTo>
                  <a:lnTo>
                    <a:pt x="684" y="90"/>
                  </a:lnTo>
                  <a:lnTo>
                    <a:pt x="672" y="82"/>
                  </a:lnTo>
                  <a:lnTo>
                    <a:pt x="648" y="66"/>
                  </a:lnTo>
                  <a:lnTo>
                    <a:pt x="636" y="56"/>
                  </a:lnTo>
                  <a:lnTo>
                    <a:pt x="622" y="48"/>
                  </a:lnTo>
                  <a:lnTo>
                    <a:pt x="610" y="40"/>
                  </a:lnTo>
                  <a:lnTo>
                    <a:pt x="598" y="32"/>
                  </a:lnTo>
                  <a:lnTo>
                    <a:pt x="586" y="24"/>
                  </a:lnTo>
                  <a:lnTo>
                    <a:pt x="574" y="16"/>
                  </a:lnTo>
                  <a:lnTo>
                    <a:pt x="562" y="8"/>
                  </a:lnTo>
                  <a:lnTo>
                    <a:pt x="548" y="0"/>
                  </a:lnTo>
                  <a:lnTo>
                    <a:pt x="548" y="94"/>
                  </a:lnTo>
                  <a:lnTo>
                    <a:pt x="330" y="94"/>
                  </a:lnTo>
                  <a:lnTo>
                    <a:pt x="330" y="270"/>
                  </a:lnTo>
                  <a:lnTo>
                    <a:pt x="330" y="278"/>
                  </a:lnTo>
                  <a:lnTo>
                    <a:pt x="326" y="280"/>
                  </a:lnTo>
                  <a:lnTo>
                    <a:pt x="316" y="284"/>
                  </a:lnTo>
                  <a:lnTo>
                    <a:pt x="306" y="288"/>
                  </a:lnTo>
                  <a:lnTo>
                    <a:pt x="294" y="290"/>
                  </a:lnTo>
                  <a:lnTo>
                    <a:pt x="290" y="292"/>
                  </a:lnTo>
                  <a:lnTo>
                    <a:pt x="282" y="296"/>
                  </a:lnTo>
                  <a:lnTo>
                    <a:pt x="272" y="304"/>
                  </a:lnTo>
                  <a:lnTo>
                    <a:pt x="264" y="310"/>
                  </a:lnTo>
                  <a:lnTo>
                    <a:pt x="258" y="318"/>
                  </a:lnTo>
                  <a:lnTo>
                    <a:pt x="256" y="324"/>
                  </a:lnTo>
                  <a:lnTo>
                    <a:pt x="254" y="328"/>
                  </a:lnTo>
                  <a:lnTo>
                    <a:pt x="256" y="332"/>
                  </a:lnTo>
                  <a:lnTo>
                    <a:pt x="258" y="342"/>
                  </a:lnTo>
                  <a:lnTo>
                    <a:pt x="260" y="346"/>
                  </a:lnTo>
                  <a:lnTo>
                    <a:pt x="260" y="354"/>
                  </a:lnTo>
                  <a:lnTo>
                    <a:pt x="260" y="362"/>
                  </a:lnTo>
                  <a:lnTo>
                    <a:pt x="262" y="382"/>
                  </a:lnTo>
                  <a:lnTo>
                    <a:pt x="262" y="392"/>
                  </a:lnTo>
                  <a:lnTo>
                    <a:pt x="264" y="412"/>
                  </a:lnTo>
                  <a:lnTo>
                    <a:pt x="264" y="420"/>
                  </a:lnTo>
                  <a:lnTo>
                    <a:pt x="264" y="428"/>
                  </a:lnTo>
                  <a:lnTo>
                    <a:pt x="240" y="428"/>
                  </a:lnTo>
                  <a:lnTo>
                    <a:pt x="224" y="428"/>
                  </a:lnTo>
                  <a:lnTo>
                    <a:pt x="6" y="428"/>
                  </a:lnTo>
                  <a:lnTo>
                    <a:pt x="4" y="442"/>
                  </a:lnTo>
                  <a:lnTo>
                    <a:pt x="0" y="452"/>
                  </a:lnTo>
                  <a:lnTo>
                    <a:pt x="0" y="460"/>
                  </a:lnTo>
                  <a:lnTo>
                    <a:pt x="0" y="466"/>
                  </a:lnTo>
                  <a:lnTo>
                    <a:pt x="4" y="450"/>
                  </a:lnTo>
                  <a:lnTo>
                    <a:pt x="6" y="446"/>
                  </a:lnTo>
                  <a:lnTo>
                    <a:pt x="8" y="444"/>
                  </a:lnTo>
                  <a:lnTo>
                    <a:pt x="12" y="446"/>
                  </a:lnTo>
                  <a:lnTo>
                    <a:pt x="22" y="466"/>
                  </a:lnTo>
                  <a:lnTo>
                    <a:pt x="28" y="478"/>
                  </a:lnTo>
                  <a:lnTo>
                    <a:pt x="32" y="480"/>
                  </a:lnTo>
                  <a:lnTo>
                    <a:pt x="34" y="476"/>
                  </a:lnTo>
                  <a:lnTo>
                    <a:pt x="34" y="472"/>
                  </a:lnTo>
                  <a:lnTo>
                    <a:pt x="38" y="474"/>
                  </a:lnTo>
                  <a:lnTo>
                    <a:pt x="42" y="476"/>
                  </a:lnTo>
                  <a:lnTo>
                    <a:pt x="48" y="492"/>
                  </a:lnTo>
                  <a:lnTo>
                    <a:pt x="56" y="506"/>
                  </a:lnTo>
                  <a:lnTo>
                    <a:pt x="54" y="512"/>
                  </a:lnTo>
                  <a:lnTo>
                    <a:pt x="54" y="522"/>
                  </a:lnTo>
                  <a:lnTo>
                    <a:pt x="50" y="536"/>
                  </a:lnTo>
                  <a:lnTo>
                    <a:pt x="40" y="558"/>
                  </a:lnTo>
                  <a:lnTo>
                    <a:pt x="50" y="556"/>
                  </a:lnTo>
                  <a:lnTo>
                    <a:pt x="44" y="564"/>
                  </a:lnTo>
                  <a:lnTo>
                    <a:pt x="38" y="564"/>
                  </a:lnTo>
                  <a:lnTo>
                    <a:pt x="36" y="566"/>
                  </a:lnTo>
                  <a:lnTo>
                    <a:pt x="38" y="572"/>
                  </a:lnTo>
                  <a:lnTo>
                    <a:pt x="50" y="580"/>
                  </a:lnTo>
                  <a:lnTo>
                    <a:pt x="56" y="592"/>
                  </a:lnTo>
                  <a:lnTo>
                    <a:pt x="60" y="610"/>
                  </a:lnTo>
                  <a:lnTo>
                    <a:pt x="64" y="624"/>
                  </a:lnTo>
                  <a:lnTo>
                    <a:pt x="66" y="646"/>
                  </a:lnTo>
                  <a:lnTo>
                    <a:pt x="68" y="668"/>
                  </a:lnTo>
                  <a:lnTo>
                    <a:pt x="64" y="692"/>
                  </a:lnTo>
                  <a:lnTo>
                    <a:pt x="56" y="716"/>
                  </a:lnTo>
                  <a:lnTo>
                    <a:pt x="46" y="734"/>
                  </a:lnTo>
                  <a:lnTo>
                    <a:pt x="38" y="756"/>
                  </a:lnTo>
                  <a:lnTo>
                    <a:pt x="38" y="766"/>
                  </a:lnTo>
                  <a:lnTo>
                    <a:pt x="34" y="778"/>
                  </a:lnTo>
                  <a:lnTo>
                    <a:pt x="34" y="808"/>
                  </a:lnTo>
                  <a:lnTo>
                    <a:pt x="36" y="804"/>
                  </a:lnTo>
                  <a:lnTo>
                    <a:pt x="38" y="790"/>
                  </a:lnTo>
                  <a:lnTo>
                    <a:pt x="40" y="784"/>
                  </a:lnTo>
                  <a:lnTo>
                    <a:pt x="42" y="782"/>
                  </a:lnTo>
                  <a:lnTo>
                    <a:pt x="46" y="776"/>
                  </a:lnTo>
                  <a:lnTo>
                    <a:pt x="50" y="766"/>
                  </a:lnTo>
                  <a:lnTo>
                    <a:pt x="54" y="762"/>
                  </a:lnTo>
                  <a:lnTo>
                    <a:pt x="58" y="760"/>
                  </a:lnTo>
                  <a:lnTo>
                    <a:pt x="62" y="760"/>
                  </a:lnTo>
                  <a:lnTo>
                    <a:pt x="64" y="762"/>
                  </a:lnTo>
                  <a:lnTo>
                    <a:pt x="72" y="764"/>
                  </a:lnTo>
                  <a:lnTo>
                    <a:pt x="84" y="764"/>
                  </a:lnTo>
                  <a:lnTo>
                    <a:pt x="94" y="764"/>
                  </a:lnTo>
                  <a:lnTo>
                    <a:pt x="100" y="760"/>
                  </a:lnTo>
                  <a:lnTo>
                    <a:pt x="110" y="758"/>
                  </a:lnTo>
                  <a:lnTo>
                    <a:pt x="122" y="758"/>
                  </a:lnTo>
                  <a:lnTo>
                    <a:pt x="126" y="756"/>
                  </a:lnTo>
                  <a:lnTo>
                    <a:pt x="128" y="754"/>
                  </a:lnTo>
                  <a:lnTo>
                    <a:pt x="128" y="752"/>
                  </a:lnTo>
                  <a:lnTo>
                    <a:pt x="132" y="754"/>
                  </a:lnTo>
                  <a:lnTo>
                    <a:pt x="134" y="754"/>
                  </a:lnTo>
                  <a:lnTo>
                    <a:pt x="136" y="752"/>
                  </a:lnTo>
                  <a:lnTo>
                    <a:pt x="138" y="752"/>
                  </a:lnTo>
                  <a:lnTo>
                    <a:pt x="140" y="754"/>
                  </a:lnTo>
                  <a:lnTo>
                    <a:pt x="148" y="754"/>
                  </a:lnTo>
                  <a:lnTo>
                    <a:pt x="166" y="752"/>
                  </a:lnTo>
                  <a:lnTo>
                    <a:pt x="180" y="758"/>
                  </a:lnTo>
                  <a:lnTo>
                    <a:pt x="194" y="770"/>
                  </a:lnTo>
                  <a:lnTo>
                    <a:pt x="202" y="776"/>
                  </a:lnTo>
                  <a:lnTo>
                    <a:pt x="202" y="780"/>
                  </a:lnTo>
                  <a:lnTo>
                    <a:pt x="204" y="784"/>
                  </a:lnTo>
                  <a:lnTo>
                    <a:pt x="208" y="788"/>
                  </a:lnTo>
                  <a:lnTo>
                    <a:pt x="212" y="788"/>
                  </a:lnTo>
                  <a:lnTo>
                    <a:pt x="216" y="786"/>
                  </a:lnTo>
                  <a:lnTo>
                    <a:pt x="220" y="786"/>
                  </a:lnTo>
                  <a:lnTo>
                    <a:pt x="222" y="790"/>
                  </a:lnTo>
                  <a:lnTo>
                    <a:pt x="224" y="790"/>
                  </a:lnTo>
                  <a:lnTo>
                    <a:pt x="230" y="788"/>
                  </a:lnTo>
                  <a:lnTo>
                    <a:pt x="232" y="788"/>
                  </a:lnTo>
                  <a:lnTo>
                    <a:pt x="234" y="790"/>
                  </a:lnTo>
                  <a:lnTo>
                    <a:pt x="234" y="790"/>
                  </a:lnTo>
                  <a:lnTo>
                    <a:pt x="236" y="792"/>
                  </a:lnTo>
                  <a:lnTo>
                    <a:pt x="240" y="794"/>
                  </a:lnTo>
                  <a:lnTo>
                    <a:pt x="242" y="800"/>
                  </a:lnTo>
                  <a:lnTo>
                    <a:pt x="246" y="808"/>
                  </a:lnTo>
                  <a:lnTo>
                    <a:pt x="248" y="818"/>
                  </a:lnTo>
                  <a:lnTo>
                    <a:pt x="252" y="824"/>
                  </a:lnTo>
                  <a:lnTo>
                    <a:pt x="256" y="824"/>
                  </a:lnTo>
                  <a:lnTo>
                    <a:pt x="258" y="826"/>
                  </a:lnTo>
                  <a:lnTo>
                    <a:pt x="260" y="830"/>
                  </a:lnTo>
                  <a:lnTo>
                    <a:pt x="260" y="830"/>
                  </a:lnTo>
                  <a:lnTo>
                    <a:pt x="262" y="832"/>
                  </a:lnTo>
                  <a:lnTo>
                    <a:pt x="266" y="832"/>
                  </a:lnTo>
                  <a:lnTo>
                    <a:pt x="270" y="836"/>
                  </a:lnTo>
                  <a:lnTo>
                    <a:pt x="274" y="842"/>
                  </a:lnTo>
                  <a:lnTo>
                    <a:pt x="276" y="846"/>
                  </a:lnTo>
                  <a:lnTo>
                    <a:pt x="274" y="848"/>
                  </a:lnTo>
                  <a:lnTo>
                    <a:pt x="276" y="850"/>
                  </a:lnTo>
                  <a:lnTo>
                    <a:pt x="278" y="850"/>
                  </a:lnTo>
                  <a:lnTo>
                    <a:pt x="280" y="854"/>
                  </a:lnTo>
                  <a:lnTo>
                    <a:pt x="284" y="856"/>
                  </a:lnTo>
                  <a:lnTo>
                    <a:pt x="288" y="860"/>
                  </a:lnTo>
                  <a:lnTo>
                    <a:pt x="296" y="864"/>
                  </a:lnTo>
                  <a:lnTo>
                    <a:pt x="302" y="868"/>
                  </a:lnTo>
                  <a:lnTo>
                    <a:pt x="304" y="874"/>
                  </a:lnTo>
                  <a:lnTo>
                    <a:pt x="312" y="878"/>
                  </a:lnTo>
                  <a:lnTo>
                    <a:pt x="314" y="878"/>
                  </a:lnTo>
                  <a:lnTo>
                    <a:pt x="324" y="884"/>
                  </a:lnTo>
                  <a:lnTo>
                    <a:pt x="326" y="882"/>
                  </a:lnTo>
                  <a:lnTo>
                    <a:pt x="330" y="878"/>
                  </a:lnTo>
                  <a:lnTo>
                    <a:pt x="336" y="874"/>
                  </a:lnTo>
                  <a:lnTo>
                    <a:pt x="340" y="866"/>
                  </a:lnTo>
                  <a:lnTo>
                    <a:pt x="342" y="856"/>
                  </a:lnTo>
                  <a:lnTo>
                    <a:pt x="342" y="850"/>
                  </a:lnTo>
                  <a:lnTo>
                    <a:pt x="344" y="842"/>
                  </a:lnTo>
                  <a:lnTo>
                    <a:pt x="348" y="836"/>
                  </a:lnTo>
                  <a:lnTo>
                    <a:pt x="352" y="830"/>
                  </a:lnTo>
                  <a:lnTo>
                    <a:pt x="358" y="826"/>
                  </a:lnTo>
                  <a:lnTo>
                    <a:pt x="364" y="822"/>
                  </a:lnTo>
                  <a:lnTo>
                    <a:pt x="368" y="824"/>
                  </a:lnTo>
                  <a:lnTo>
                    <a:pt x="372" y="830"/>
                  </a:lnTo>
                  <a:lnTo>
                    <a:pt x="386" y="842"/>
                  </a:lnTo>
                  <a:lnTo>
                    <a:pt x="396" y="850"/>
                  </a:lnTo>
                  <a:lnTo>
                    <a:pt x="400" y="856"/>
                  </a:lnTo>
                  <a:lnTo>
                    <a:pt x="404" y="856"/>
                  </a:lnTo>
                  <a:lnTo>
                    <a:pt x="410" y="846"/>
                  </a:lnTo>
                  <a:lnTo>
                    <a:pt x="414" y="838"/>
                  </a:lnTo>
                  <a:lnTo>
                    <a:pt x="416" y="838"/>
                  </a:lnTo>
                  <a:lnTo>
                    <a:pt x="424" y="836"/>
                  </a:lnTo>
                  <a:lnTo>
                    <a:pt x="430" y="836"/>
                  </a:lnTo>
                  <a:lnTo>
                    <a:pt x="436" y="836"/>
                  </a:lnTo>
                  <a:lnTo>
                    <a:pt x="446" y="838"/>
                  </a:lnTo>
                  <a:lnTo>
                    <a:pt x="450" y="838"/>
                  </a:lnTo>
                  <a:lnTo>
                    <a:pt x="454" y="840"/>
                  </a:lnTo>
                  <a:lnTo>
                    <a:pt x="466" y="840"/>
                  </a:lnTo>
                  <a:lnTo>
                    <a:pt x="478" y="838"/>
                  </a:lnTo>
                  <a:lnTo>
                    <a:pt x="490" y="836"/>
                  </a:lnTo>
                  <a:lnTo>
                    <a:pt x="498" y="834"/>
                  </a:lnTo>
                  <a:lnTo>
                    <a:pt x="500" y="830"/>
                  </a:lnTo>
                  <a:lnTo>
                    <a:pt x="498" y="826"/>
                  </a:lnTo>
                  <a:lnTo>
                    <a:pt x="500" y="824"/>
                  </a:lnTo>
                  <a:lnTo>
                    <a:pt x="502" y="820"/>
                  </a:lnTo>
                  <a:lnTo>
                    <a:pt x="504" y="820"/>
                  </a:lnTo>
                  <a:lnTo>
                    <a:pt x="506" y="830"/>
                  </a:lnTo>
                  <a:lnTo>
                    <a:pt x="508" y="832"/>
                  </a:lnTo>
                  <a:lnTo>
                    <a:pt x="516" y="832"/>
                  </a:lnTo>
                  <a:lnTo>
                    <a:pt x="756" y="832"/>
                  </a:lnTo>
                  <a:lnTo>
                    <a:pt x="760" y="812"/>
                  </a:lnTo>
                  <a:lnTo>
                    <a:pt x="764" y="794"/>
                  </a:lnTo>
                  <a:lnTo>
                    <a:pt x="766" y="778"/>
                  </a:lnTo>
                  <a:lnTo>
                    <a:pt x="756" y="768"/>
                  </a:lnTo>
                  <a:lnTo>
                    <a:pt x="750" y="758"/>
                  </a:lnTo>
                  <a:lnTo>
                    <a:pt x="748" y="742"/>
                  </a:lnTo>
                  <a:lnTo>
                    <a:pt x="746" y="726"/>
                  </a:lnTo>
                  <a:lnTo>
                    <a:pt x="744" y="708"/>
                  </a:lnTo>
                  <a:lnTo>
                    <a:pt x="742" y="692"/>
                  </a:lnTo>
                  <a:lnTo>
                    <a:pt x="740" y="674"/>
                  </a:lnTo>
                  <a:lnTo>
                    <a:pt x="736" y="640"/>
                  </a:lnTo>
                  <a:lnTo>
                    <a:pt x="734" y="622"/>
                  </a:lnTo>
                  <a:lnTo>
                    <a:pt x="728" y="572"/>
                  </a:lnTo>
                  <a:lnTo>
                    <a:pt x="726" y="554"/>
                  </a:lnTo>
                  <a:lnTo>
                    <a:pt x="724" y="536"/>
                  </a:lnTo>
                  <a:lnTo>
                    <a:pt x="724" y="518"/>
                  </a:lnTo>
                  <a:lnTo>
                    <a:pt x="722" y="502"/>
                  </a:lnTo>
                  <a:lnTo>
                    <a:pt x="720" y="484"/>
                  </a:lnTo>
                  <a:lnTo>
                    <a:pt x="718" y="466"/>
                  </a:lnTo>
                  <a:lnTo>
                    <a:pt x="716" y="450"/>
                  </a:lnTo>
                  <a:lnTo>
                    <a:pt x="714" y="43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84" name="Google Shape;4751;p64">
              <a:extLst>
                <a:ext uri="{FF2B5EF4-FFF2-40B4-BE49-F238E27FC236}">
                  <a16:creationId xmlns:a16="http://schemas.microsoft.com/office/drawing/2014/main" id="{3683B3C3-4EE6-B003-3B43-DE7E23C45B7A}"/>
                </a:ext>
              </a:extLst>
            </p:cNvPr>
            <p:cNvCxnSpPr/>
            <p:nvPr/>
          </p:nvCxnSpPr>
          <p:spPr>
            <a:xfrm>
              <a:off x="4392391" y="4520841"/>
              <a:ext cx="0" cy="0"/>
            </a:xfrm>
            <a:prstGeom prst="straightConnector1">
              <a:avLst/>
            </a:prstGeom>
            <a:grpFill/>
            <a:ln w="9525" cap="flat" cmpd="sng">
              <a:solidFill>
                <a:schemeClr val="bg2"/>
              </a:solidFill>
              <a:prstDash val="solid"/>
              <a:round/>
              <a:headEnd type="none" w="med" len="med"/>
              <a:tailEnd type="none" w="med" len="med"/>
            </a:ln>
          </p:spPr>
        </p:cxnSp>
        <p:cxnSp>
          <p:nvCxnSpPr>
            <p:cNvPr id="285" name="Google Shape;4752;p64">
              <a:extLst>
                <a:ext uri="{FF2B5EF4-FFF2-40B4-BE49-F238E27FC236}">
                  <a16:creationId xmlns:a16="http://schemas.microsoft.com/office/drawing/2014/main" id="{5F12F06C-EC72-CE1A-F006-03B18F81DA9E}"/>
                </a:ext>
              </a:extLst>
            </p:cNvPr>
            <p:cNvCxnSpPr/>
            <p:nvPr/>
          </p:nvCxnSpPr>
          <p:spPr>
            <a:xfrm>
              <a:off x="4392391" y="4520841"/>
              <a:ext cx="0" cy="0"/>
            </a:xfrm>
            <a:prstGeom prst="straightConnector1">
              <a:avLst/>
            </a:prstGeom>
            <a:grpFill/>
            <a:ln w="9525" cap="flat" cmpd="sng">
              <a:solidFill>
                <a:schemeClr val="bg2"/>
              </a:solidFill>
              <a:prstDash val="solid"/>
              <a:round/>
              <a:headEnd type="none" w="med" len="med"/>
              <a:tailEnd type="none" w="med" len="med"/>
            </a:ln>
          </p:spPr>
        </p:cxnSp>
        <p:sp>
          <p:nvSpPr>
            <p:cNvPr id="286" name="Google Shape;4753;p64">
              <a:extLst>
                <a:ext uri="{FF2B5EF4-FFF2-40B4-BE49-F238E27FC236}">
                  <a16:creationId xmlns:a16="http://schemas.microsoft.com/office/drawing/2014/main" id="{F5EEF4B9-746D-0EC1-71DA-6A892A0FBC1C}"/>
                </a:ext>
              </a:extLst>
            </p:cNvPr>
            <p:cNvSpPr/>
            <p:nvPr/>
          </p:nvSpPr>
          <p:spPr>
            <a:xfrm>
              <a:off x="3186085" y="4622570"/>
              <a:ext cx="1969" cy="3281"/>
            </a:xfrm>
            <a:custGeom>
              <a:avLst/>
              <a:gdLst/>
              <a:ahLst/>
              <a:cxnLst/>
              <a:rect l="l" t="t" r="r" b="b"/>
              <a:pathLst>
                <a:path w="6" h="10" extrusionOk="0">
                  <a:moveTo>
                    <a:pt x="6" y="6"/>
                  </a:moveTo>
                  <a:lnTo>
                    <a:pt x="4" y="0"/>
                  </a:lnTo>
                  <a:lnTo>
                    <a:pt x="4" y="0"/>
                  </a:lnTo>
                  <a:lnTo>
                    <a:pt x="0" y="4"/>
                  </a:lnTo>
                  <a:lnTo>
                    <a:pt x="0" y="8"/>
                  </a:lnTo>
                  <a:lnTo>
                    <a:pt x="6" y="10"/>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87" name="Google Shape;4754;p64">
              <a:extLst>
                <a:ext uri="{FF2B5EF4-FFF2-40B4-BE49-F238E27FC236}">
                  <a16:creationId xmlns:a16="http://schemas.microsoft.com/office/drawing/2014/main" id="{DACC3E68-65D4-4134-9AA5-B321D38E42B6}"/>
                </a:ext>
              </a:extLst>
            </p:cNvPr>
            <p:cNvCxnSpPr/>
            <p:nvPr/>
          </p:nvCxnSpPr>
          <p:spPr>
            <a:xfrm>
              <a:off x="3188053" y="4624539"/>
              <a:ext cx="0" cy="0"/>
            </a:xfrm>
            <a:prstGeom prst="straightConnector1">
              <a:avLst/>
            </a:prstGeom>
            <a:grpFill/>
            <a:ln w="9525" cap="flat" cmpd="sng">
              <a:solidFill>
                <a:schemeClr val="bg2"/>
              </a:solidFill>
              <a:prstDash val="solid"/>
              <a:round/>
              <a:headEnd type="none" w="med" len="med"/>
              <a:tailEnd type="none" w="med" len="med"/>
            </a:ln>
          </p:spPr>
        </p:cxnSp>
        <p:cxnSp>
          <p:nvCxnSpPr>
            <p:cNvPr id="288" name="Google Shape;4755;p64">
              <a:extLst>
                <a:ext uri="{FF2B5EF4-FFF2-40B4-BE49-F238E27FC236}">
                  <a16:creationId xmlns:a16="http://schemas.microsoft.com/office/drawing/2014/main" id="{C9438519-1635-0FEB-4E2A-9706505378B5}"/>
                </a:ext>
              </a:extLst>
            </p:cNvPr>
            <p:cNvCxnSpPr/>
            <p:nvPr/>
          </p:nvCxnSpPr>
          <p:spPr>
            <a:xfrm>
              <a:off x="3188053" y="4624539"/>
              <a:ext cx="0" cy="0"/>
            </a:xfrm>
            <a:prstGeom prst="straightConnector1">
              <a:avLst/>
            </a:prstGeom>
            <a:grpFill/>
            <a:ln w="9525" cap="flat" cmpd="sng">
              <a:solidFill>
                <a:schemeClr val="bg2"/>
              </a:solidFill>
              <a:prstDash val="solid"/>
              <a:round/>
              <a:headEnd type="none" w="med" len="med"/>
              <a:tailEnd type="none" w="med" len="med"/>
            </a:ln>
          </p:spPr>
        </p:cxnSp>
        <p:sp>
          <p:nvSpPr>
            <p:cNvPr id="289" name="Google Shape;4756;p64">
              <a:extLst>
                <a:ext uri="{FF2B5EF4-FFF2-40B4-BE49-F238E27FC236}">
                  <a16:creationId xmlns:a16="http://schemas.microsoft.com/office/drawing/2014/main" id="{6EFF5937-1321-5457-E749-7C2556F380E7}"/>
                </a:ext>
              </a:extLst>
            </p:cNvPr>
            <p:cNvSpPr/>
            <p:nvPr/>
          </p:nvSpPr>
          <p:spPr>
            <a:xfrm>
              <a:off x="5758181" y="5428196"/>
              <a:ext cx="9845" cy="11814"/>
            </a:xfrm>
            <a:custGeom>
              <a:avLst/>
              <a:gdLst/>
              <a:ahLst/>
              <a:cxnLst/>
              <a:rect l="l" t="t" r="r" b="b"/>
              <a:pathLst>
                <a:path w="71480" h="85772" extrusionOk="0">
                  <a:moveTo>
                    <a:pt x="52416" y="0"/>
                  </a:moveTo>
                  <a:lnTo>
                    <a:pt x="66712" y="19060"/>
                  </a:lnTo>
                  <a:lnTo>
                    <a:pt x="71480" y="38120"/>
                  </a:lnTo>
                  <a:lnTo>
                    <a:pt x="71480" y="57182"/>
                  </a:lnTo>
                  <a:lnTo>
                    <a:pt x="61948" y="61946"/>
                  </a:lnTo>
                  <a:lnTo>
                    <a:pt x="61948" y="76242"/>
                  </a:lnTo>
                  <a:lnTo>
                    <a:pt x="52416" y="85772"/>
                  </a:lnTo>
                  <a:lnTo>
                    <a:pt x="33356" y="85772"/>
                  </a:lnTo>
                  <a:lnTo>
                    <a:pt x="9532" y="85772"/>
                  </a:lnTo>
                  <a:lnTo>
                    <a:pt x="0" y="76242"/>
                  </a:lnTo>
                  <a:lnTo>
                    <a:pt x="0" y="71476"/>
                  </a:lnTo>
                  <a:lnTo>
                    <a:pt x="4768" y="71476"/>
                  </a:lnTo>
                  <a:lnTo>
                    <a:pt x="4768" y="57182"/>
                  </a:lnTo>
                  <a:lnTo>
                    <a:pt x="9532" y="42886"/>
                  </a:lnTo>
                  <a:lnTo>
                    <a:pt x="14296" y="33356"/>
                  </a:lnTo>
                  <a:lnTo>
                    <a:pt x="23828" y="28590"/>
                  </a:lnTo>
                  <a:lnTo>
                    <a:pt x="28592" y="14296"/>
                  </a:lnTo>
                  <a:lnTo>
                    <a:pt x="38124"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0" name="Google Shape;4757;p64">
              <a:extLst>
                <a:ext uri="{FF2B5EF4-FFF2-40B4-BE49-F238E27FC236}">
                  <a16:creationId xmlns:a16="http://schemas.microsoft.com/office/drawing/2014/main" id="{ED6CC969-9C44-295F-2D72-D41CEB3D082B}"/>
                </a:ext>
              </a:extLst>
            </p:cNvPr>
            <p:cNvSpPr/>
            <p:nvPr/>
          </p:nvSpPr>
          <p:spPr>
            <a:xfrm>
              <a:off x="5227879" y="5192907"/>
              <a:ext cx="69569" cy="170314"/>
            </a:xfrm>
            <a:custGeom>
              <a:avLst/>
              <a:gdLst/>
              <a:ahLst/>
              <a:cxnLst/>
              <a:rect l="l" t="t" r="r" b="b"/>
              <a:pathLst>
                <a:path w="212" h="519" extrusionOk="0">
                  <a:moveTo>
                    <a:pt x="44" y="8"/>
                  </a:moveTo>
                  <a:lnTo>
                    <a:pt x="36" y="6"/>
                  </a:lnTo>
                  <a:lnTo>
                    <a:pt x="30" y="6"/>
                  </a:lnTo>
                  <a:lnTo>
                    <a:pt x="20" y="0"/>
                  </a:lnTo>
                  <a:lnTo>
                    <a:pt x="18" y="0"/>
                  </a:lnTo>
                  <a:lnTo>
                    <a:pt x="16" y="0"/>
                  </a:lnTo>
                  <a:lnTo>
                    <a:pt x="16" y="2"/>
                  </a:lnTo>
                  <a:lnTo>
                    <a:pt x="18" y="6"/>
                  </a:lnTo>
                  <a:lnTo>
                    <a:pt x="20" y="8"/>
                  </a:lnTo>
                  <a:lnTo>
                    <a:pt x="20" y="10"/>
                  </a:lnTo>
                  <a:lnTo>
                    <a:pt x="22" y="14"/>
                  </a:lnTo>
                  <a:lnTo>
                    <a:pt x="24" y="16"/>
                  </a:lnTo>
                  <a:lnTo>
                    <a:pt x="26" y="16"/>
                  </a:lnTo>
                  <a:lnTo>
                    <a:pt x="28" y="14"/>
                  </a:lnTo>
                  <a:lnTo>
                    <a:pt x="32" y="14"/>
                  </a:lnTo>
                  <a:lnTo>
                    <a:pt x="34" y="14"/>
                  </a:lnTo>
                  <a:lnTo>
                    <a:pt x="36" y="18"/>
                  </a:lnTo>
                  <a:lnTo>
                    <a:pt x="38" y="24"/>
                  </a:lnTo>
                  <a:lnTo>
                    <a:pt x="42" y="26"/>
                  </a:lnTo>
                  <a:lnTo>
                    <a:pt x="44" y="30"/>
                  </a:lnTo>
                  <a:lnTo>
                    <a:pt x="44" y="36"/>
                  </a:lnTo>
                  <a:lnTo>
                    <a:pt x="42" y="42"/>
                  </a:lnTo>
                  <a:lnTo>
                    <a:pt x="48" y="48"/>
                  </a:lnTo>
                  <a:lnTo>
                    <a:pt x="54" y="52"/>
                  </a:lnTo>
                  <a:lnTo>
                    <a:pt x="56" y="56"/>
                  </a:lnTo>
                  <a:lnTo>
                    <a:pt x="56" y="62"/>
                  </a:lnTo>
                  <a:lnTo>
                    <a:pt x="58" y="66"/>
                  </a:lnTo>
                  <a:lnTo>
                    <a:pt x="62" y="72"/>
                  </a:lnTo>
                  <a:lnTo>
                    <a:pt x="64" y="76"/>
                  </a:lnTo>
                  <a:lnTo>
                    <a:pt x="64" y="78"/>
                  </a:lnTo>
                  <a:lnTo>
                    <a:pt x="52" y="92"/>
                  </a:lnTo>
                  <a:lnTo>
                    <a:pt x="48" y="94"/>
                  </a:lnTo>
                  <a:lnTo>
                    <a:pt x="44" y="94"/>
                  </a:lnTo>
                  <a:lnTo>
                    <a:pt x="40" y="96"/>
                  </a:lnTo>
                  <a:lnTo>
                    <a:pt x="38" y="98"/>
                  </a:lnTo>
                  <a:lnTo>
                    <a:pt x="40" y="100"/>
                  </a:lnTo>
                  <a:lnTo>
                    <a:pt x="40" y="104"/>
                  </a:lnTo>
                  <a:lnTo>
                    <a:pt x="44" y="112"/>
                  </a:lnTo>
                  <a:lnTo>
                    <a:pt x="46" y="116"/>
                  </a:lnTo>
                  <a:lnTo>
                    <a:pt x="44" y="122"/>
                  </a:lnTo>
                  <a:lnTo>
                    <a:pt x="40" y="134"/>
                  </a:lnTo>
                  <a:lnTo>
                    <a:pt x="36" y="134"/>
                  </a:lnTo>
                  <a:lnTo>
                    <a:pt x="36" y="142"/>
                  </a:lnTo>
                  <a:lnTo>
                    <a:pt x="38" y="144"/>
                  </a:lnTo>
                  <a:lnTo>
                    <a:pt x="40" y="146"/>
                  </a:lnTo>
                  <a:lnTo>
                    <a:pt x="42" y="152"/>
                  </a:lnTo>
                  <a:lnTo>
                    <a:pt x="42" y="160"/>
                  </a:lnTo>
                  <a:lnTo>
                    <a:pt x="42" y="166"/>
                  </a:lnTo>
                  <a:lnTo>
                    <a:pt x="38" y="180"/>
                  </a:lnTo>
                  <a:lnTo>
                    <a:pt x="44" y="194"/>
                  </a:lnTo>
                  <a:lnTo>
                    <a:pt x="46" y="196"/>
                  </a:lnTo>
                  <a:lnTo>
                    <a:pt x="54" y="196"/>
                  </a:lnTo>
                  <a:lnTo>
                    <a:pt x="56" y="196"/>
                  </a:lnTo>
                  <a:lnTo>
                    <a:pt x="54" y="200"/>
                  </a:lnTo>
                  <a:lnTo>
                    <a:pt x="50" y="204"/>
                  </a:lnTo>
                  <a:lnTo>
                    <a:pt x="48" y="206"/>
                  </a:lnTo>
                  <a:lnTo>
                    <a:pt x="38" y="210"/>
                  </a:lnTo>
                  <a:lnTo>
                    <a:pt x="22" y="216"/>
                  </a:lnTo>
                  <a:lnTo>
                    <a:pt x="20" y="220"/>
                  </a:lnTo>
                  <a:lnTo>
                    <a:pt x="18" y="228"/>
                  </a:lnTo>
                  <a:lnTo>
                    <a:pt x="20" y="232"/>
                  </a:lnTo>
                  <a:lnTo>
                    <a:pt x="22" y="234"/>
                  </a:lnTo>
                  <a:lnTo>
                    <a:pt x="20" y="239"/>
                  </a:lnTo>
                  <a:lnTo>
                    <a:pt x="20" y="245"/>
                  </a:lnTo>
                  <a:lnTo>
                    <a:pt x="20" y="249"/>
                  </a:lnTo>
                  <a:lnTo>
                    <a:pt x="20" y="255"/>
                  </a:lnTo>
                  <a:lnTo>
                    <a:pt x="18" y="257"/>
                  </a:lnTo>
                  <a:lnTo>
                    <a:pt x="14" y="263"/>
                  </a:lnTo>
                  <a:lnTo>
                    <a:pt x="12" y="269"/>
                  </a:lnTo>
                  <a:lnTo>
                    <a:pt x="10" y="273"/>
                  </a:lnTo>
                  <a:lnTo>
                    <a:pt x="6" y="277"/>
                  </a:lnTo>
                  <a:lnTo>
                    <a:pt x="0" y="279"/>
                  </a:lnTo>
                  <a:lnTo>
                    <a:pt x="0" y="281"/>
                  </a:lnTo>
                  <a:lnTo>
                    <a:pt x="6" y="283"/>
                  </a:lnTo>
                  <a:lnTo>
                    <a:pt x="8" y="285"/>
                  </a:lnTo>
                  <a:lnTo>
                    <a:pt x="8" y="287"/>
                  </a:lnTo>
                  <a:lnTo>
                    <a:pt x="8" y="289"/>
                  </a:lnTo>
                  <a:lnTo>
                    <a:pt x="6" y="291"/>
                  </a:lnTo>
                  <a:lnTo>
                    <a:pt x="10" y="293"/>
                  </a:lnTo>
                  <a:lnTo>
                    <a:pt x="12" y="295"/>
                  </a:lnTo>
                  <a:lnTo>
                    <a:pt x="16" y="299"/>
                  </a:lnTo>
                  <a:lnTo>
                    <a:pt x="20" y="305"/>
                  </a:lnTo>
                  <a:lnTo>
                    <a:pt x="20" y="307"/>
                  </a:lnTo>
                  <a:lnTo>
                    <a:pt x="20" y="309"/>
                  </a:lnTo>
                  <a:lnTo>
                    <a:pt x="22" y="309"/>
                  </a:lnTo>
                  <a:lnTo>
                    <a:pt x="24" y="307"/>
                  </a:lnTo>
                  <a:lnTo>
                    <a:pt x="28" y="303"/>
                  </a:lnTo>
                  <a:lnTo>
                    <a:pt x="32" y="303"/>
                  </a:lnTo>
                  <a:lnTo>
                    <a:pt x="34" y="307"/>
                  </a:lnTo>
                  <a:lnTo>
                    <a:pt x="38" y="309"/>
                  </a:lnTo>
                  <a:lnTo>
                    <a:pt x="48" y="327"/>
                  </a:lnTo>
                  <a:lnTo>
                    <a:pt x="54" y="335"/>
                  </a:lnTo>
                  <a:lnTo>
                    <a:pt x="64" y="345"/>
                  </a:lnTo>
                  <a:lnTo>
                    <a:pt x="64" y="345"/>
                  </a:lnTo>
                  <a:lnTo>
                    <a:pt x="68" y="343"/>
                  </a:lnTo>
                  <a:lnTo>
                    <a:pt x="72" y="341"/>
                  </a:lnTo>
                  <a:lnTo>
                    <a:pt x="84" y="339"/>
                  </a:lnTo>
                  <a:lnTo>
                    <a:pt x="90" y="339"/>
                  </a:lnTo>
                  <a:lnTo>
                    <a:pt x="94" y="337"/>
                  </a:lnTo>
                  <a:lnTo>
                    <a:pt x="100" y="335"/>
                  </a:lnTo>
                  <a:lnTo>
                    <a:pt x="108" y="335"/>
                  </a:lnTo>
                  <a:lnTo>
                    <a:pt x="112" y="335"/>
                  </a:lnTo>
                  <a:lnTo>
                    <a:pt x="120" y="347"/>
                  </a:lnTo>
                  <a:lnTo>
                    <a:pt x="122" y="357"/>
                  </a:lnTo>
                  <a:lnTo>
                    <a:pt x="124" y="369"/>
                  </a:lnTo>
                  <a:lnTo>
                    <a:pt x="124" y="375"/>
                  </a:lnTo>
                  <a:lnTo>
                    <a:pt x="124" y="383"/>
                  </a:lnTo>
                  <a:lnTo>
                    <a:pt x="122" y="395"/>
                  </a:lnTo>
                  <a:lnTo>
                    <a:pt x="116" y="407"/>
                  </a:lnTo>
                  <a:lnTo>
                    <a:pt x="114" y="413"/>
                  </a:lnTo>
                  <a:lnTo>
                    <a:pt x="110" y="423"/>
                  </a:lnTo>
                  <a:lnTo>
                    <a:pt x="106" y="427"/>
                  </a:lnTo>
                  <a:lnTo>
                    <a:pt x="104" y="431"/>
                  </a:lnTo>
                  <a:lnTo>
                    <a:pt x="104" y="435"/>
                  </a:lnTo>
                  <a:lnTo>
                    <a:pt x="106" y="439"/>
                  </a:lnTo>
                  <a:lnTo>
                    <a:pt x="112" y="443"/>
                  </a:lnTo>
                  <a:lnTo>
                    <a:pt x="114" y="447"/>
                  </a:lnTo>
                  <a:lnTo>
                    <a:pt x="114" y="451"/>
                  </a:lnTo>
                  <a:lnTo>
                    <a:pt x="114" y="457"/>
                  </a:lnTo>
                  <a:lnTo>
                    <a:pt x="114" y="459"/>
                  </a:lnTo>
                  <a:lnTo>
                    <a:pt x="116" y="461"/>
                  </a:lnTo>
                  <a:lnTo>
                    <a:pt x="122" y="465"/>
                  </a:lnTo>
                  <a:lnTo>
                    <a:pt x="128" y="471"/>
                  </a:lnTo>
                  <a:lnTo>
                    <a:pt x="136" y="481"/>
                  </a:lnTo>
                  <a:lnTo>
                    <a:pt x="148" y="495"/>
                  </a:lnTo>
                  <a:lnTo>
                    <a:pt x="154" y="499"/>
                  </a:lnTo>
                  <a:lnTo>
                    <a:pt x="158" y="499"/>
                  </a:lnTo>
                  <a:lnTo>
                    <a:pt x="160" y="503"/>
                  </a:lnTo>
                  <a:lnTo>
                    <a:pt x="158" y="509"/>
                  </a:lnTo>
                  <a:lnTo>
                    <a:pt x="156" y="511"/>
                  </a:lnTo>
                  <a:lnTo>
                    <a:pt x="156" y="517"/>
                  </a:lnTo>
                  <a:lnTo>
                    <a:pt x="158" y="519"/>
                  </a:lnTo>
                  <a:lnTo>
                    <a:pt x="160" y="519"/>
                  </a:lnTo>
                  <a:lnTo>
                    <a:pt x="166" y="519"/>
                  </a:lnTo>
                  <a:lnTo>
                    <a:pt x="170" y="519"/>
                  </a:lnTo>
                  <a:lnTo>
                    <a:pt x="172" y="517"/>
                  </a:lnTo>
                  <a:lnTo>
                    <a:pt x="172" y="497"/>
                  </a:lnTo>
                  <a:lnTo>
                    <a:pt x="168" y="485"/>
                  </a:lnTo>
                  <a:lnTo>
                    <a:pt x="164" y="481"/>
                  </a:lnTo>
                  <a:lnTo>
                    <a:pt x="164" y="481"/>
                  </a:lnTo>
                  <a:lnTo>
                    <a:pt x="164" y="477"/>
                  </a:lnTo>
                  <a:lnTo>
                    <a:pt x="168" y="467"/>
                  </a:lnTo>
                  <a:lnTo>
                    <a:pt x="172" y="459"/>
                  </a:lnTo>
                  <a:lnTo>
                    <a:pt x="174" y="455"/>
                  </a:lnTo>
                  <a:lnTo>
                    <a:pt x="176" y="453"/>
                  </a:lnTo>
                  <a:lnTo>
                    <a:pt x="192" y="451"/>
                  </a:lnTo>
                  <a:lnTo>
                    <a:pt x="200" y="449"/>
                  </a:lnTo>
                  <a:lnTo>
                    <a:pt x="202" y="447"/>
                  </a:lnTo>
                  <a:lnTo>
                    <a:pt x="204" y="439"/>
                  </a:lnTo>
                  <a:lnTo>
                    <a:pt x="206" y="421"/>
                  </a:lnTo>
                  <a:lnTo>
                    <a:pt x="206" y="403"/>
                  </a:lnTo>
                  <a:lnTo>
                    <a:pt x="206" y="393"/>
                  </a:lnTo>
                  <a:lnTo>
                    <a:pt x="208" y="377"/>
                  </a:lnTo>
                  <a:lnTo>
                    <a:pt x="212" y="367"/>
                  </a:lnTo>
                  <a:lnTo>
                    <a:pt x="210" y="365"/>
                  </a:lnTo>
                  <a:lnTo>
                    <a:pt x="208" y="351"/>
                  </a:lnTo>
                  <a:lnTo>
                    <a:pt x="198" y="337"/>
                  </a:lnTo>
                  <a:lnTo>
                    <a:pt x="184" y="321"/>
                  </a:lnTo>
                  <a:lnTo>
                    <a:pt x="178" y="311"/>
                  </a:lnTo>
                  <a:lnTo>
                    <a:pt x="168" y="299"/>
                  </a:lnTo>
                  <a:lnTo>
                    <a:pt x="154" y="283"/>
                  </a:lnTo>
                  <a:lnTo>
                    <a:pt x="146" y="277"/>
                  </a:lnTo>
                  <a:lnTo>
                    <a:pt x="144" y="275"/>
                  </a:lnTo>
                  <a:lnTo>
                    <a:pt x="144" y="281"/>
                  </a:lnTo>
                  <a:lnTo>
                    <a:pt x="144" y="287"/>
                  </a:lnTo>
                  <a:lnTo>
                    <a:pt x="146" y="287"/>
                  </a:lnTo>
                  <a:lnTo>
                    <a:pt x="154" y="289"/>
                  </a:lnTo>
                  <a:lnTo>
                    <a:pt x="156" y="289"/>
                  </a:lnTo>
                  <a:lnTo>
                    <a:pt x="158" y="295"/>
                  </a:lnTo>
                  <a:lnTo>
                    <a:pt x="164" y="311"/>
                  </a:lnTo>
                  <a:lnTo>
                    <a:pt x="164" y="313"/>
                  </a:lnTo>
                  <a:lnTo>
                    <a:pt x="170" y="325"/>
                  </a:lnTo>
                  <a:lnTo>
                    <a:pt x="172" y="331"/>
                  </a:lnTo>
                  <a:lnTo>
                    <a:pt x="170" y="333"/>
                  </a:lnTo>
                  <a:lnTo>
                    <a:pt x="170" y="333"/>
                  </a:lnTo>
                  <a:lnTo>
                    <a:pt x="168" y="333"/>
                  </a:lnTo>
                  <a:lnTo>
                    <a:pt x="166" y="331"/>
                  </a:lnTo>
                  <a:lnTo>
                    <a:pt x="162" y="327"/>
                  </a:lnTo>
                  <a:lnTo>
                    <a:pt x="156" y="319"/>
                  </a:lnTo>
                  <a:lnTo>
                    <a:pt x="154" y="317"/>
                  </a:lnTo>
                  <a:lnTo>
                    <a:pt x="150" y="317"/>
                  </a:lnTo>
                  <a:lnTo>
                    <a:pt x="150" y="315"/>
                  </a:lnTo>
                  <a:lnTo>
                    <a:pt x="148" y="311"/>
                  </a:lnTo>
                  <a:lnTo>
                    <a:pt x="148" y="309"/>
                  </a:lnTo>
                  <a:lnTo>
                    <a:pt x="146" y="309"/>
                  </a:lnTo>
                  <a:lnTo>
                    <a:pt x="144" y="307"/>
                  </a:lnTo>
                  <a:lnTo>
                    <a:pt x="144" y="307"/>
                  </a:lnTo>
                  <a:lnTo>
                    <a:pt x="142" y="309"/>
                  </a:lnTo>
                  <a:lnTo>
                    <a:pt x="144" y="311"/>
                  </a:lnTo>
                  <a:lnTo>
                    <a:pt x="142" y="315"/>
                  </a:lnTo>
                  <a:lnTo>
                    <a:pt x="142" y="317"/>
                  </a:lnTo>
                  <a:lnTo>
                    <a:pt x="140" y="319"/>
                  </a:lnTo>
                  <a:lnTo>
                    <a:pt x="142" y="319"/>
                  </a:lnTo>
                  <a:lnTo>
                    <a:pt x="140" y="321"/>
                  </a:lnTo>
                  <a:lnTo>
                    <a:pt x="138" y="323"/>
                  </a:lnTo>
                  <a:lnTo>
                    <a:pt x="134" y="325"/>
                  </a:lnTo>
                  <a:lnTo>
                    <a:pt x="134" y="325"/>
                  </a:lnTo>
                  <a:lnTo>
                    <a:pt x="132" y="323"/>
                  </a:lnTo>
                  <a:lnTo>
                    <a:pt x="132" y="321"/>
                  </a:lnTo>
                  <a:lnTo>
                    <a:pt x="128" y="319"/>
                  </a:lnTo>
                  <a:lnTo>
                    <a:pt x="126" y="317"/>
                  </a:lnTo>
                  <a:lnTo>
                    <a:pt x="124" y="313"/>
                  </a:lnTo>
                  <a:lnTo>
                    <a:pt x="122" y="309"/>
                  </a:lnTo>
                  <a:lnTo>
                    <a:pt x="122" y="305"/>
                  </a:lnTo>
                  <a:lnTo>
                    <a:pt x="122" y="303"/>
                  </a:lnTo>
                  <a:lnTo>
                    <a:pt x="124" y="301"/>
                  </a:lnTo>
                  <a:lnTo>
                    <a:pt x="126" y="297"/>
                  </a:lnTo>
                  <a:lnTo>
                    <a:pt x="128" y="289"/>
                  </a:lnTo>
                  <a:lnTo>
                    <a:pt x="126" y="285"/>
                  </a:lnTo>
                  <a:lnTo>
                    <a:pt x="122" y="279"/>
                  </a:lnTo>
                  <a:lnTo>
                    <a:pt x="120" y="277"/>
                  </a:lnTo>
                  <a:lnTo>
                    <a:pt x="118" y="277"/>
                  </a:lnTo>
                  <a:lnTo>
                    <a:pt x="114" y="275"/>
                  </a:lnTo>
                  <a:lnTo>
                    <a:pt x="108" y="265"/>
                  </a:lnTo>
                  <a:lnTo>
                    <a:pt x="108" y="263"/>
                  </a:lnTo>
                  <a:lnTo>
                    <a:pt x="108" y="259"/>
                  </a:lnTo>
                  <a:lnTo>
                    <a:pt x="110" y="257"/>
                  </a:lnTo>
                  <a:lnTo>
                    <a:pt x="110" y="249"/>
                  </a:lnTo>
                  <a:lnTo>
                    <a:pt x="108" y="236"/>
                  </a:lnTo>
                  <a:lnTo>
                    <a:pt x="108" y="234"/>
                  </a:lnTo>
                  <a:lnTo>
                    <a:pt x="106" y="230"/>
                  </a:lnTo>
                  <a:lnTo>
                    <a:pt x="106" y="228"/>
                  </a:lnTo>
                  <a:lnTo>
                    <a:pt x="104" y="226"/>
                  </a:lnTo>
                  <a:lnTo>
                    <a:pt x="106" y="224"/>
                  </a:lnTo>
                  <a:lnTo>
                    <a:pt x="104" y="222"/>
                  </a:lnTo>
                  <a:lnTo>
                    <a:pt x="102" y="220"/>
                  </a:lnTo>
                  <a:lnTo>
                    <a:pt x="102" y="220"/>
                  </a:lnTo>
                  <a:lnTo>
                    <a:pt x="100" y="216"/>
                  </a:lnTo>
                  <a:lnTo>
                    <a:pt x="100" y="206"/>
                  </a:lnTo>
                  <a:lnTo>
                    <a:pt x="98" y="202"/>
                  </a:lnTo>
                  <a:lnTo>
                    <a:pt x="96" y="200"/>
                  </a:lnTo>
                  <a:lnTo>
                    <a:pt x="94" y="198"/>
                  </a:lnTo>
                  <a:lnTo>
                    <a:pt x="92" y="196"/>
                  </a:lnTo>
                  <a:lnTo>
                    <a:pt x="90" y="190"/>
                  </a:lnTo>
                  <a:lnTo>
                    <a:pt x="90" y="188"/>
                  </a:lnTo>
                  <a:lnTo>
                    <a:pt x="90" y="176"/>
                  </a:lnTo>
                  <a:lnTo>
                    <a:pt x="94" y="172"/>
                  </a:lnTo>
                  <a:lnTo>
                    <a:pt x="98" y="168"/>
                  </a:lnTo>
                  <a:lnTo>
                    <a:pt x="100" y="164"/>
                  </a:lnTo>
                  <a:lnTo>
                    <a:pt x="100" y="162"/>
                  </a:lnTo>
                  <a:lnTo>
                    <a:pt x="102" y="160"/>
                  </a:lnTo>
                  <a:lnTo>
                    <a:pt x="108" y="152"/>
                  </a:lnTo>
                  <a:lnTo>
                    <a:pt x="108" y="150"/>
                  </a:lnTo>
                  <a:lnTo>
                    <a:pt x="106" y="134"/>
                  </a:lnTo>
                  <a:lnTo>
                    <a:pt x="104" y="128"/>
                  </a:lnTo>
                  <a:lnTo>
                    <a:pt x="102" y="122"/>
                  </a:lnTo>
                  <a:lnTo>
                    <a:pt x="102" y="118"/>
                  </a:lnTo>
                  <a:lnTo>
                    <a:pt x="102" y="114"/>
                  </a:lnTo>
                  <a:lnTo>
                    <a:pt x="102" y="112"/>
                  </a:lnTo>
                  <a:lnTo>
                    <a:pt x="102" y="112"/>
                  </a:lnTo>
                  <a:lnTo>
                    <a:pt x="100" y="80"/>
                  </a:lnTo>
                  <a:lnTo>
                    <a:pt x="100" y="78"/>
                  </a:lnTo>
                  <a:lnTo>
                    <a:pt x="100" y="78"/>
                  </a:lnTo>
                  <a:lnTo>
                    <a:pt x="102" y="76"/>
                  </a:lnTo>
                  <a:lnTo>
                    <a:pt x="102" y="74"/>
                  </a:lnTo>
                  <a:lnTo>
                    <a:pt x="102" y="72"/>
                  </a:lnTo>
                  <a:lnTo>
                    <a:pt x="102" y="70"/>
                  </a:lnTo>
                  <a:lnTo>
                    <a:pt x="104" y="70"/>
                  </a:lnTo>
                  <a:lnTo>
                    <a:pt x="104" y="66"/>
                  </a:lnTo>
                  <a:lnTo>
                    <a:pt x="100" y="60"/>
                  </a:lnTo>
                  <a:lnTo>
                    <a:pt x="98" y="56"/>
                  </a:lnTo>
                  <a:lnTo>
                    <a:pt x="90" y="50"/>
                  </a:lnTo>
                  <a:lnTo>
                    <a:pt x="88" y="46"/>
                  </a:lnTo>
                  <a:lnTo>
                    <a:pt x="86" y="42"/>
                  </a:lnTo>
                  <a:lnTo>
                    <a:pt x="84" y="32"/>
                  </a:lnTo>
                  <a:lnTo>
                    <a:pt x="82" y="30"/>
                  </a:lnTo>
                  <a:lnTo>
                    <a:pt x="80" y="26"/>
                  </a:lnTo>
                  <a:lnTo>
                    <a:pt x="80" y="22"/>
                  </a:lnTo>
                  <a:lnTo>
                    <a:pt x="82" y="20"/>
                  </a:lnTo>
                  <a:lnTo>
                    <a:pt x="84" y="16"/>
                  </a:lnTo>
                  <a:lnTo>
                    <a:pt x="84" y="18"/>
                  </a:lnTo>
                  <a:lnTo>
                    <a:pt x="80" y="18"/>
                  </a:lnTo>
                  <a:lnTo>
                    <a:pt x="78" y="16"/>
                  </a:lnTo>
                  <a:lnTo>
                    <a:pt x="72" y="14"/>
                  </a:lnTo>
                  <a:lnTo>
                    <a:pt x="68" y="12"/>
                  </a:lnTo>
                  <a:lnTo>
                    <a:pt x="56" y="14"/>
                  </a:lnTo>
                  <a:lnTo>
                    <a:pt x="52" y="14"/>
                  </a:lnTo>
                  <a:lnTo>
                    <a:pt x="50" y="14"/>
                  </a:lnTo>
                  <a:lnTo>
                    <a:pt x="44"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291" name="Google Shape;4758;p64">
              <a:extLst>
                <a:ext uri="{FF2B5EF4-FFF2-40B4-BE49-F238E27FC236}">
                  <a16:creationId xmlns:a16="http://schemas.microsoft.com/office/drawing/2014/main" id="{EEBB4ED1-8E5D-B48F-DD75-29E12760DEC2}"/>
                </a:ext>
              </a:extLst>
            </p:cNvPr>
            <p:cNvGrpSpPr/>
            <p:nvPr/>
          </p:nvGrpSpPr>
          <p:grpSpPr>
            <a:xfrm>
              <a:off x="6668162" y="4831278"/>
              <a:ext cx="422009" cy="139795"/>
              <a:chOff x="44187391" y="25891878"/>
              <a:chExt cx="3063977" cy="1014970"/>
            </a:xfrm>
            <a:grpFill/>
          </p:grpSpPr>
          <p:sp>
            <p:nvSpPr>
              <p:cNvPr id="292" name="Google Shape;4759;p64">
                <a:extLst>
                  <a:ext uri="{FF2B5EF4-FFF2-40B4-BE49-F238E27FC236}">
                    <a16:creationId xmlns:a16="http://schemas.microsoft.com/office/drawing/2014/main" id="{CE0B3ED4-BAF5-F8B9-B056-2F800326E8DB}"/>
                  </a:ext>
                </a:extLst>
              </p:cNvPr>
              <p:cNvSpPr/>
              <p:nvPr/>
            </p:nvSpPr>
            <p:spPr>
              <a:xfrm>
                <a:off x="45736059" y="25891878"/>
                <a:ext cx="1515308" cy="1014970"/>
              </a:xfrm>
              <a:custGeom>
                <a:avLst/>
                <a:gdLst/>
                <a:ahLst/>
                <a:cxnLst/>
                <a:rect l="l" t="t" r="r" b="b"/>
                <a:pathLst>
                  <a:path w="1515308" h="1014970" extrusionOk="0">
                    <a:moveTo>
                      <a:pt x="271612" y="719534"/>
                    </a:moveTo>
                    <a:lnTo>
                      <a:pt x="276376" y="719534"/>
                    </a:lnTo>
                    <a:lnTo>
                      <a:pt x="281140" y="719534"/>
                    </a:lnTo>
                    <a:lnTo>
                      <a:pt x="285908" y="724300"/>
                    </a:lnTo>
                    <a:lnTo>
                      <a:pt x="285908" y="748124"/>
                    </a:lnTo>
                    <a:lnTo>
                      <a:pt x="285908" y="767184"/>
                    </a:lnTo>
                    <a:lnTo>
                      <a:pt x="285908" y="771950"/>
                    </a:lnTo>
                    <a:lnTo>
                      <a:pt x="281140" y="771950"/>
                    </a:lnTo>
                    <a:lnTo>
                      <a:pt x="276376" y="767184"/>
                    </a:lnTo>
                    <a:close/>
                    <a:moveTo>
                      <a:pt x="1272288" y="481278"/>
                    </a:moveTo>
                    <a:lnTo>
                      <a:pt x="1281820" y="486044"/>
                    </a:lnTo>
                    <a:lnTo>
                      <a:pt x="1300880" y="495574"/>
                    </a:lnTo>
                    <a:lnTo>
                      <a:pt x="1281820" y="500338"/>
                    </a:lnTo>
                    <a:lnTo>
                      <a:pt x="1262760" y="495574"/>
                    </a:lnTo>
                    <a:lnTo>
                      <a:pt x="1267524" y="490808"/>
                    </a:lnTo>
                    <a:lnTo>
                      <a:pt x="1267524" y="486044"/>
                    </a:lnTo>
                    <a:close/>
                    <a:moveTo>
                      <a:pt x="1124568" y="57182"/>
                    </a:moveTo>
                    <a:lnTo>
                      <a:pt x="1129336" y="57182"/>
                    </a:lnTo>
                    <a:lnTo>
                      <a:pt x="1138864" y="61946"/>
                    </a:lnTo>
                    <a:lnTo>
                      <a:pt x="1138864" y="81006"/>
                    </a:lnTo>
                    <a:lnTo>
                      <a:pt x="1138864" y="90536"/>
                    </a:lnTo>
                    <a:lnTo>
                      <a:pt x="1134100" y="100068"/>
                    </a:lnTo>
                    <a:lnTo>
                      <a:pt x="1129336" y="114362"/>
                    </a:lnTo>
                    <a:lnTo>
                      <a:pt x="1134100" y="114362"/>
                    </a:lnTo>
                    <a:lnTo>
                      <a:pt x="1148396" y="104832"/>
                    </a:lnTo>
                    <a:lnTo>
                      <a:pt x="1167456" y="85772"/>
                    </a:lnTo>
                    <a:lnTo>
                      <a:pt x="1176988" y="66712"/>
                    </a:lnTo>
                    <a:lnTo>
                      <a:pt x="1181752" y="57182"/>
                    </a:lnTo>
                    <a:lnTo>
                      <a:pt x="1200812" y="61946"/>
                    </a:lnTo>
                    <a:lnTo>
                      <a:pt x="1200812" y="66712"/>
                    </a:lnTo>
                    <a:lnTo>
                      <a:pt x="1200812" y="81006"/>
                    </a:lnTo>
                    <a:lnTo>
                      <a:pt x="1200812" y="85772"/>
                    </a:lnTo>
                    <a:lnTo>
                      <a:pt x="1210340" y="104832"/>
                    </a:lnTo>
                    <a:lnTo>
                      <a:pt x="1224636" y="114362"/>
                    </a:lnTo>
                    <a:lnTo>
                      <a:pt x="1238932" y="119128"/>
                    </a:lnTo>
                    <a:lnTo>
                      <a:pt x="1257992" y="128658"/>
                    </a:lnTo>
                    <a:lnTo>
                      <a:pt x="1262760" y="138188"/>
                    </a:lnTo>
                    <a:lnTo>
                      <a:pt x="1267524" y="142954"/>
                    </a:lnTo>
                    <a:lnTo>
                      <a:pt x="1272288" y="157248"/>
                    </a:lnTo>
                    <a:lnTo>
                      <a:pt x="1272288" y="166778"/>
                    </a:lnTo>
                    <a:lnTo>
                      <a:pt x="1257992" y="181074"/>
                    </a:lnTo>
                    <a:lnTo>
                      <a:pt x="1262760" y="200134"/>
                    </a:lnTo>
                    <a:lnTo>
                      <a:pt x="1262760" y="209664"/>
                    </a:lnTo>
                    <a:lnTo>
                      <a:pt x="1257992" y="219196"/>
                    </a:lnTo>
                    <a:lnTo>
                      <a:pt x="1243696" y="228726"/>
                    </a:lnTo>
                    <a:lnTo>
                      <a:pt x="1291348" y="219196"/>
                    </a:lnTo>
                    <a:lnTo>
                      <a:pt x="1300880" y="214430"/>
                    </a:lnTo>
                    <a:lnTo>
                      <a:pt x="1319940" y="200134"/>
                    </a:lnTo>
                    <a:lnTo>
                      <a:pt x="1329472" y="214430"/>
                    </a:lnTo>
                    <a:lnTo>
                      <a:pt x="1339000" y="233490"/>
                    </a:lnTo>
                    <a:lnTo>
                      <a:pt x="1329472" y="238256"/>
                    </a:lnTo>
                    <a:lnTo>
                      <a:pt x="1310408" y="243020"/>
                    </a:lnTo>
                    <a:lnTo>
                      <a:pt x="1310408" y="247786"/>
                    </a:lnTo>
                    <a:lnTo>
                      <a:pt x="1315176" y="257316"/>
                    </a:lnTo>
                    <a:lnTo>
                      <a:pt x="1324704" y="257316"/>
                    </a:lnTo>
                    <a:lnTo>
                      <a:pt x="1343764" y="247786"/>
                    </a:lnTo>
                    <a:lnTo>
                      <a:pt x="1358060" y="238256"/>
                    </a:lnTo>
                    <a:lnTo>
                      <a:pt x="1367592" y="238256"/>
                    </a:lnTo>
                    <a:lnTo>
                      <a:pt x="1377120" y="243020"/>
                    </a:lnTo>
                    <a:lnTo>
                      <a:pt x="1391416" y="247786"/>
                    </a:lnTo>
                    <a:lnTo>
                      <a:pt x="1400948" y="252552"/>
                    </a:lnTo>
                    <a:lnTo>
                      <a:pt x="1405712" y="262082"/>
                    </a:lnTo>
                    <a:lnTo>
                      <a:pt x="1410476" y="276376"/>
                    </a:lnTo>
                    <a:lnTo>
                      <a:pt x="1429536" y="281142"/>
                    </a:lnTo>
                    <a:lnTo>
                      <a:pt x="1467660" y="300202"/>
                    </a:lnTo>
                    <a:lnTo>
                      <a:pt x="1477188" y="300202"/>
                    </a:lnTo>
                    <a:lnTo>
                      <a:pt x="1481956" y="300202"/>
                    </a:lnTo>
                    <a:lnTo>
                      <a:pt x="1505780" y="300202"/>
                    </a:lnTo>
                    <a:lnTo>
                      <a:pt x="1510544" y="304968"/>
                    </a:lnTo>
                    <a:lnTo>
                      <a:pt x="1515308" y="309732"/>
                    </a:lnTo>
                    <a:lnTo>
                      <a:pt x="1515308" y="319262"/>
                    </a:lnTo>
                    <a:lnTo>
                      <a:pt x="1515308" y="328794"/>
                    </a:lnTo>
                    <a:lnTo>
                      <a:pt x="1515308" y="338324"/>
                    </a:lnTo>
                    <a:lnTo>
                      <a:pt x="1510544" y="343088"/>
                    </a:lnTo>
                    <a:lnTo>
                      <a:pt x="1496248" y="352618"/>
                    </a:lnTo>
                    <a:lnTo>
                      <a:pt x="1462892" y="362148"/>
                    </a:lnTo>
                    <a:lnTo>
                      <a:pt x="1424772" y="371680"/>
                    </a:lnTo>
                    <a:lnTo>
                      <a:pt x="1405712" y="371680"/>
                    </a:lnTo>
                    <a:lnTo>
                      <a:pt x="1377120" y="366914"/>
                    </a:lnTo>
                    <a:lnTo>
                      <a:pt x="1367592" y="366914"/>
                    </a:lnTo>
                    <a:lnTo>
                      <a:pt x="1358060" y="371680"/>
                    </a:lnTo>
                    <a:lnTo>
                      <a:pt x="1348532" y="395504"/>
                    </a:lnTo>
                    <a:lnTo>
                      <a:pt x="1372356" y="419330"/>
                    </a:lnTo>
                    <a:lnTo>
                      <a:pt x="1405712" y="447922"/>
                    </a:lnTo>
                    <a:lnTo>
                      <a:pt x="1410476" y="452686"/>
                    </a:lnTo>
                    <a:lnTo>
                      <a:pt x="1410476" y="462216"/>
                    </a:lnTo>
                    <a:lnTo>
                      <a:pt x="1405712" y="466982"/>
                    </a:lnTo>
                    <a:lnTo>
                      <a:pt x="1396180" y="466982"/>
                    </a:lnTo>
                    <a:lnTo>
                      <a:pt x="1377120" y="471746"/>
                    </a:lnTo>
                    <a:lnTo>
                      <a:pt x="1353296" y="476512"/>
                    </a:lnTo>
                    <a:lnTo>
                      <a:pt x="1339000" y="481278"/>
                    </a:lnTo>
                    <a:lnTo>
                      <a:pt x="1319940" y="486042"/>
                    </a:lnTo>
                    <a:lnTo>
                      <a:pt x="1300880" y="481278"/>
                    </a:lnTo>
                    <a:lnTo>
                      <a:pt x="1277052" y="471746"/>
                    </a:lnTo>
                    <a:lnTo>
                      <a:pt x="1272288" y="471746"/>
                    </a:lnTo>
                    <a:lnTo>
                      <a:pt x="1262760" y="476512"/>
                    </a:lnTo>
                    <a:lnTo>
                      <a:pt x="1257992" y="490808"/>
                    </a:lnTo>
                    <a:lnTo>
                      <a:pt x="1253228" y="495572"/>
                    </a:lnTo>
                    <a:lnTo>
                      <a:pt x="1248464" y="495572"/>
                    </a:lnTo>
                    <a:lnTo>
                      <a:pt x="1234168" y="495572"/>
                    </a:lnTo>
                    <a:lnTo>
                      <a:pt x="1205576" y="476512"/>
                    </a:lnTo>
                    <a:lnTo>
                      <a:pt x="1176988" y="471746"/>
                    </a:lnTo>
                    <a:lnTo>
                      <a:pt x="1138864" y="471746"/>
                    </a:lnTo>
                    <a:lnTo>
                      <a:pt x="1115040" y="466982"/>
                    </a:lnTo>
                    <a:lnTo>
                      <a:pt x="1105508" y="471746"/>
                    </a:lnTo>
                    <a:lnTo>
                      <a:pt x="1100744" y="471746"/>
                    </a:lnTo>
                    <a:lnTo>
                      <a:pt x="1091212" y="466982"/>
                    </a:lnTo>
                    <a:lnTo>
                      <a:pt x="1086448" y="466982"/>
                    </a:lnTo>
                    <a:lnTo>
                      <a:pt x="1072152" y="476512"/>
                    </a:lnTo>
                    <a:lnTo>
                      <a:pt x="1062624" y="471746"/>
                    </a:lnTo>
                    <a:lnTo>
                      <a:pt x="1057856" y="466982"/>
                    </a:lnTo>
                    <a:lnTo>
                      <a:pt x="1043564" y="466982"/>
                    </a:lnTo>
                    <a:lnTo>
                      <a:pt x="1029268" y="466982"/>
                    </a:lnTo>
                    <a:lnTo>
                      <a:pt x="1010208" y="476512"/>
                    </a:lnTo>
                    <a:lnTo>
                      <a:pt x="991148" y="471746"/>
                    </a:lnTo>
                    <a:lnTo>
                      <a:pt x="986380" y="471746"/>
                    </a:lnTo>
                    <a:lnTo>
                      <a:pt x="981616" y="471746"/>
                    </a:lnTo>
                    <a:lnTo>
                      <a:pt x="972084" y="486042"/>
                    </a:lnTo>
                    <a:lnTo>
                      <a:pt x="957792" y="495572"/>
                    </a:lnTo>
                    <a:lnTo>
                      <a:pt x="948260" y="509868"/>
                    </a:lnTo>
                    <a:lnTo>
                      <a:pt x="943496" y="528928"/>
                    </a:lnTo>
                    <a:lnTo>
                      <a:pt x="938728" y="533694"/>
                    </a:lnTo>
                    <a:lnTo>
                      <a:pt x="938728" y="567050"/>
                    </a:lnTo>
                    <a:lnTo>
                      <a:pt x="933964" y="581344"/>
                    </a:lnTo>
                    <a:lnTo>
                      <a:pt x="938728" y="600406"/>
                    </a:lnTo>
                    <a:lnTo>
                      <a:pt x="938728" y="609936"/>
                    </a:lnTo>
                    <a:lnTo>
                      <a:pt x="933964" y="624230"/>
                    </a:lnTo>
                    <a:lnTo>
                      <a:pt x="929200" y="628996"/>
                    </a:lnTo>
                    <a:lnTo>
                      <a:pt x="929200" y="648056"/>
                    </a:lnTo>
                    <a:lnTo>
                      <a:pt x="929200" y="652822"/>
                    </a:lnTo>
                    <a:lnTo>
                      <a:pt x="929200" y="662352"/>
                    </a:lnTo>
                    <a:lnTo>
                      <a:pt x="924436" y="676648"/>
                    </a:lnTo>
                    <a:lnTo>
                      <a:pt x="910140" y="681412"/>
                    </a:lnTo>
                    <a:lnTo>
                      <a:pt x="900608" y="681412"/>
                    </a:lnTo>
                    <a:lnTo>
                      <a:pt x="891080" y="676648"/>
                    </a:lnTo>
                    <a:lnTo>
                      <a:pt x="881548" y="686178"/>
                    </a:lnTo>
                    <a:lnTo>
                      <a:pt x="867252" y="695708"/>
                    </a:lnTo>
                    <a:lnTo>
                      <a:pt x="862488" y="705238"/>
                    </a:lnTo>
                    <a:lnTo>
                      <a:pt x="862488" y="714768"/>
                    </a:lnTo>
                    <a:lnTo>
                      <a:pt x="867252" y="719534"/>
                    </a:lnTo>
                    <a:lnTo>
                      <a:pt x="862488" y="724298"/>
                    </a:lnTo>
                    <a:lnTo>
                      <a:pt x="862488" y="729064"/>
                    </a:lnTo>
                    <a:lnTo>
                      <a:pt x="862488" y="738594"/>
                    </a:lnTo>
                    <a:lnTo>
                      <a:pt x="872020" y="743358"/>
                    </a:lnTo>
                    <a:lnTo>
                      <a:pt x="881548" y="748124"/>
                    </a:lnTo>
                    <a:lnTo>
                      <a:pt x="881548" y="757654"/>
                    </a:lnTo>
                    <a:lnTo>
                      <a:pt x="872020" y="762420"/>
                    </a:lnTo>
                    <a:lnTo>
                      <a:pt x="862488" y="767184"/>
                    </a:lnTo>
                    <a:lnTo>
                      <a:pt x="848192" y="781480"/>
                    </a:lnTo>
                    <a:lnTo>
                      <a:pt x="824368" y="795776"/>
                    </a:lnTo>
                    <a:lnTo>
                      <a:pt x="819600" y="800540"/>
                    </a:lnTo>
                    <a:lnTo>
                      <a:pt x="814836" y="805306"/>
                    </a:lnTo>
                    <a:lnTo>
                      <a:pt x="814836" y="810070"/>
                    </a:lnTo>
                    <a:lnTo>
                      <a:pt x="819600" y="829132"/>
                    </a:lnTo>
                    <a:lnTo>
                      <a:pt x="824368" y="833896"/>
                    </a:lnTo>
                    <a:lnTo>
                      <a:pt x="824368" y="838662"/>
                    </a:lnTo>
                    <a:lnTo>
                      <a:pt x="819600" y="848192"/>
                    </a:lnTo>
                    <a:lnTo>
                      <a:pt x="819600" y="852956"/>
                    </a:lnTo>
                    <a:lnTo>
                      <a:pt x="810072" y="857722"/>
                    </a:lnTo>
                    <a:lnTo>
                      <a:pt x="805308" y="862486"/>
                    </a:lnTo>
                    <a:lnTo>
                      <a:pt x="800540" y="867252"/>
                    </a:lnTo>
                    <a:lnTo>
                      <a:pt x="800540" y="886312"/>
                    </a:lnTo>
                    <a:lnTo>
                      <a:pt x="791012" y="895842"/>
                    </a:lnTo>
                    <a:lnTo>
                      <a:pt x="781480" y="914904"/>
                    </a:lnTo>
                    <a:lnTo>
                      <a:pt x="781480" y="919668"/>
                    </a:lnTo>
                    <a:lnTo>
                      <a:pt x="776716" y="924434"/>
                    </a:lnTo>
                    <a:lnTo>
                      <a:pt x="752888" y="914904"/>
                    </a:lnTo>
                    <a:lnTo>
                      <a:pt x="738596" y="919668"/>
                    </a:lnTo>
                    <a:lnTo>
                      <a:pt x="714768" y="924434"/>
                    </a:lnTo>
                    <a:lnTo>
                      <a:pt x="695708" y="924434"/>
                    </a:lnTo>
                    <a:lnTo>
                      <a:pt x="681412" y="924434"/>
                    </a:lnTo>
                    <a:lnTo>
                      <a:pt x="667116" y="933964"/>
                    </a:lnTo>
                    <a:lnTo>
                      <a:pt x="657588" y="943494"/>
                    </a:lnTo>
                    <a:lnTo>
                      <a:pt x="643292" y="953024"/>
                    </a:lnTo>
                    <a:lnTo>
                      <a:pt x="633760" y="957790"/>
                    </a:lnTo>
                    <a:lnTo>
                      <a:pt x="619468" y="943494"/>
                    </a:lnTo>
                    <a:lnTo>
                      <a:pt x="609936" y="948260"/>
                    </a:lnTo>
                    <a:lnTo>
                      <a:pt x="595640" y="943494"/>
                    </a:lnTo>
                    <a:lnTo>
                      <a:pt x="557520" y="929198"/>
                    </a:lnTo>
                    <a:lnTo>
                      <a:pt x="547988" y="924434"/>
                    </a:lnTo>
                    <a:lnTo>
                      <a:pt x="538460" y="924434"/>
                    </a:lnTo>
                    <a:lnTo>
                      <a:pt x="538460" y="919668"/>
                    </a:lnTo>
                    <a:lnTo>
                      <a:pt x="538460" y="914904"/>
                    </a:lnTo>
                    <a:lnTo>
                      <a:pt x="538460" y="905374"/>
                    </a:lnTo>
                    <a:lnTo>
                      <a:pt x="528928" y="905374"/>
                    </a:lnTo>
                    <a:lnTo>
                      <a:pt x="457452" y="905374"/>
                    </a:lnTo>
                    <a:lnTo>
                      <a:pt x="433628" y="914904"/>
                    </a:lnTo>
                    <a:lnTo>
                      <a:pt x="419332" y="919668"/>
                    </a:lnTo>
                    <a:lnTo>
                      <a:pt x="409800" y="924434"/>
                    </a:lnTo>
                    <a:lnTo>
                      <a:pt x="409800" y="938730"/>
                    </a:lnTo>
                    <a:lnTo>
                      <a:pt x="400272" y="957790"/>
                    </a:lnTo>
                    <a:lnTo>
                      <a:pt x="395504" y="972084"/>
                    </a:lnTo>
                    <a:lnTo>
                      <a:pt x="371680" y="976850"/>
                    </a:lnTo>
                    <a:lnTo>
                      <a:pt x="352620" y="991146"/>
                    </a:lnTo>
                    <a:lnTo>
                      <a:pt x="347856" y="995910"/>
                    </a:lnTo>
                    <a:lnTo>
                      <a:pt x="333560" y="991146"/>
                    </a:lnTo>
                    <a:lnTo>
                      <a:pt x="319264" y="991146"/>
                    </a:lnTo>
                    <a:lnTo>
                      <a:pt x="309732" y="995910"/>
                    </a:lnTo>
                    <a:lnTo>
                      <a:pt x="300204" y="995910"/>
                    </a:lnTo>
                    <a:lnTo>
                      <a:pt x="271612" y="986380"/>
                    </a:lnTo>
                    <a:lnTo>
                      <a:pt x="243020" y="986380"/>
                    </a:lnTo>
                    <a:lnTo>
                      <a:pt x="223960" y="991146"/>
                    </a:lnTo>
                    <a:lnTo>
                      <a:pt x="214432" y="991146"/>
                    </a:lnTo>
                    <a:lnTo>
                      <a:pt x="166780" y="1014970"/>
                    </a:lnTo>
                    <a:lnTo>
                      <a:pt x="147720" y="1014970"/>
                    </a:lnTo>
                    <a:lnTo>
                      <a:pt x="142952" y="1010206"/>
                    </a:lnTo>
                    <a:lnTo>
                      <a:pt x="133424" y="1000676"/>
                    </a:lnTo>
                    <a:lnTo>
                      <a:pt x="119128" y="995910"/>
                    </a:lnTo>
                    <a:lnTo>
                      <a:pt x="85772" y="962554"/>
                    </a:lnTo>
                    <a:lnTo>
                      <a:pt x="76244" y="957790"/>
                    </a:lnTo>
                    <a:lnTo>
                      <a:pt x="66712" y="948260"/>
                    </a:lnTo>
                    <a:lnTo>
                      <a:pt x="61948" y="938730"/>
                    </a:lnTo>
                    <a:lnTo>
                      <a:pt x="52416" y="929198"/>
                    </a:lnTo>
                    <a:lnTo>
                      <a:pt x="42888" y="924434"/>
                    </a:lnTo>
                    <a:lnTo>
                      <a:pt x="28592" y="910138"/>
                    </a:lnTo>
                    <a:lnTo>
                      <a:pt x="14296" y="895842"/>
                    </a:lnTo>
                    <a:lnTo>
                      <a:pt x="14296" y="872018"/>
                    </a:lnTo>
                    <a:lnTo>
                      <a:pt x="4764" y="867252"/>
                    </a:lnTo>
                    <a:lnTo>
                      <a:pt x="0" y="862486"/>
                    </a:lnTo>
                    <a:lnTo>
                      <a:pt x="0" y="852956"/>
                    </a:lnTo>
                    <a:lnTo>
                      <a:pt x="9532" y="833896"/>
                    </a:lnTo>
                    <a:lnTo>
                      <a:pt x="23824" y="852956"/>
                    </a:lnTo>
                    <a:lnTo>
                      <a:pt x="23824" y="857722"/>
                    </a:lnTo>
                    <a:lnTo>
                      <a:pt x="47652" y="872018"/>
                    </a:lnTo>
                    <a:lnTo>
                      <a:pt x="66712" y="881548"/>
                    </a:lnTo>
                    <a:lnTo>
                      <a:pt x="85772" y="886312"/>
                    </a:lnTo>
                    <a:lnTo>
                      <a:pt x="109596" y="886312"/>
                    </a:lnTo>
                    <a:lnTo>
                      <a:pt x="119128" y="881548"/>
                    </a:lnTo>
                    <a:lnTo>
                      <a:pt x="123892" y="881548"/>
                    </a:lnTo>
                    <a:lnTo>
                      <a:pt x="133424" y="886312"/>
                    </a:lnTo>
                    <a:lnTo>
                      <a:pt x="176308" y="905374"/>
                    </a:lnTo>
                    <a:lnTo>
                      <a:pt x="190604" y="910138"/>
                    </a:lnTo>
                    <a:lnTo>
                      <a:pt x="209664" y="910138"/>
                    </a:lnTo>
                    <a:lnTo>
                      <a:pt x="219196" y="914904"/>
                    </a:lnTo>
                    <a:lnTo>
                      <a:pt x="243020" y="929198"/>
                    </a:lnTo>
                    <a:lnTo>
                      <a:pt x="247788" y="933964"/>
                    </a:lnTo>
                    <a:lnTo>
                      <a:pt x="262080" y="929198"/>
                    </a:lnTo>
                    <a:lnTo>
                      <a:pt x="243020" y="924434"/>
                    </a:lnTo>
                    <a:lnTo>
                      <a:pt x="233492" y="919668"/>
                    </a:lnTo>
                    <a:lnTo>
                      <a:pt x="228728" y="905374"/>
                    </a:lnTo>
                    <a:lnTo>
                      <a:pt x="233492" y="895842"/>
                    </a:lnTo>
                    <a:lnTo>
                      <a:pt x="243020" y="886312"/>
                    </a:lnTo>
                    <a:lnTo>
                      <a:pt x="247788" y="876782"/>
                    </a:lnTo>
                    <a:lnTo>
                      <a:pt x="252552" y="852956"/>
                    </a:lnTo>
                    <a:lnTo>
                      <a:pt x="257316" y="838662"/>
                    </a:lnTo>
                    <a:lnTo>
                      <a:pt x="266848" y="829132"/>
                    </a:lnTo>
                    <a:lnTo>
                      <a:pt x="266848" y="814836"/>
                    </a:lnTo>
                    <a:lnTo>
                      <a:pt x="257316" y="805306"/>
                    </a:lnTo>
                    <a:lnTo>
                      <a:pt x="257316" y="791010"/>
                    </a:lnTo>
                    <a:lnTo>
                      <a:pt x="257316" y="776714"/>
                    </a:lnTo>
                    <a:lnTo>
                      <a:pt x="262080" y="767184"/>
                    </a:lnTo>
                    <a:lnTo>
                      <a:pt x="271612" y="776714"/>
                    </a:lnTo>
                    <a:lnTo>
                      <a:pt x="281144" y="781480"/>
                    </a:lnTo>
                    <a:lnTo>
                      <a:pt x="290672" y="781480"/>
                    </a:lnTo>
                    <a:lnTo>
                      <a:pt x="295436" y="776714"/>
                    </a:lnTo>
                    <a:lnTo>
                      <a:pt x="295436" y="771950"/>
                    </a:lnTo>
                    <a:lnTo>
                      <a:pt x="295436" y="757654"/>
                    </a:lnTo>
                    <a:lnTo>
                      <a:pt x="295436" y="738594"/>
                    </a:lnTo>
                    <a:lnTo>
                      <a:pt x="304968" y="719534"/>
                    </a:lnTo>
                    <a:lnTo>
                      <a:pt x="324028" y="710004"/>
                    </a:lnTo>
                    <a:lnTo>
                      <a:pt x="338324" y="705238"/>
                    </a:lnTo>
                    <a:lnTo>
                      <a:pt x="400272" y="695708"/>
                    </a:lnTo>
                    <a:lnTo>
                      <a:pt x="495572" y="671882"/>
                    </a:lnTo>
                    <a:lnTo>
                      <a:pt x="524164" y="662352"/>
                    </a:lnTo>
                    <a:lnTo>
                      <a:pt x="538460" y="657586"/>
                    </a:lnTo>
                    <a:lnTo>
                      <a:pt x="547988" y="648056"/>
                    </a:lnTo>
                    <a:lnTo>
                      <a:pt x="562284" y="628996"/>
                    </a:lnTo>
                    <a:lnTo>
                      <a:pt x="590876" y="590874"/>
                    </a:lnTo>
                    <a:lnTo>
                      <a:pt x="609936" y="567050"/>
                    </a:lnTo>
                    <a:lnTo>
                      <a:pt x="648056" y="524164"/>
                    </a:lnTo>
                    <a:lnTo>
                      <a:pt x="681412" y="486042"/>
                    </a:lnTo>
                    <a:lnTo>
                      <a:pt x="686180" y="481278"/>
                    </a:lnTo>
                    <a:lnTo>
                      <a:pt x="690944" y="457452"/>
                    </a:lnTo>
                    <a:lnTo>
                      <a:pt x="690944" y="447922"/>
                    </a:lnTo>
                    <a:lnTo>
                      <a:pt x="690944" y="438390"/>
                    </a:lnTo>
                    <a:lnTo>
                      <a:pt x="695708" y="433626"/>
                    </a:lnTo>
                    <a:lnTo>
                      <a:pt x="705240" y="433626"/>
                    </a:lnTo>
                    <a:lnTo>
                      <a:pt x="710004" y="433626"/>
                    </a:lnTo>
                    <a:lnTo>
                      <a:pt x="719532" y="443156"/>
                    </a:lnTo>
                    <a:lnTo>
                      <a:pt x="729064" y="447922"/>
                    </a:lnTo>
                    <a:lnTo>
                      <a:pt x="733828" y="457452"/>
                    </a:lnTo>
                    <a:lnTo>
                      <a:pt x="738596" y="466982"/>
                    </a:lnTo>
                    <a:lnTo>
                      <a:pt x="738596" y="476512"/>
                    </a:lnTo>
                    <a:lnTo>
                      <a:pt x="743360" y="481278"/>
                    </a:lnTo>
                    <a:lnTo>
                      <a:pt x="762420" y="486042"/>
                    </a:lnTo>
                    <a:lnTo>
                      <a:pt x="762420" y="490808"/>
                    </a:lnTo>
                    <a:lnTo>
                      <a:pt x="776716" y="505102"/>
                    </a:lnTo>
                    <a:lnTo>
                      <a:pt x="786244" y="514632"/>
                    </a:lnTo>
                    <a:lnTo>
                      <a:pt x="791012" y="519398"/>
                    </a:lnTo>
                    <a:lnTo>
                      <a:pt x="795776" y="519398"/>
                    </a:lnTo>
                    <a:lnTo>
                      <a:pt x="810072" y="509868"/>
                    </a:lnTo>
                    <a:lnTo>
                      <a:pt x="814836" y="495572"/>
                    </a:lnTo>
                    <a:lnTo>
                      <a:pt x="819600" y="481278"/>
                    </a:lnTo>
                    <a:lnTo>
                      <a:pt x="814836" y="481278"/>
                    </a:lnTo>
                    <a:lnTo>
                      <a:pt x="824368" y="466982"/>
                    </a:lnTo>
                    <a:lnTo>
                      <a:pt x="824368" y="462216"/>
                    </a:lnTo>
                    <a:lnTo>
                      <a:pt x="824368" y="457452"/>
                    </a:lnTo>
                    <a:lnTo>
                      <a:pt x="819600" y="452686"/>
                    </a:lnTo>
                    <a:lnTo>
                      <a:pt x="814836" y="438390"/>
                    </a:lnTo>
                    <a:lnTo>
                      <a:pt x="814836" y="419330"/>
                    </a:lnTo>
                    <a:lnTo>
                      <a:pt x="810072" y="409800"/>
                    </a:lnTo>
                    <a:lnTo>
                      <a:pt x="814836" y="405036"/>
                    </a:lnTo>
                    <a:lnTo>
                      <a:pt x="829132" y="400270"/>
                    </a:lnTo>
                    <a:lnTo>
                      <a:pt x="843428" y="390740"/>
                    </a:lnTo>
                    <a:lnTo>
                      <a:pt x="852956" y="381210"/>
                    </a:lnTo>
                    <a:lnTo>
                      <a:pt x="852956" y="414566"/>
                    </a:lnTo>
                    <a:lnTo>
                      <a:pt x="857724" y="433626"/>
                    </a:lnTo>
                    <a:lnTo>
                      <a:pt x="867252" y="462216"/>
                    </a:lnTo>
                    <a:lnTo>
                      <a:pt x="876784" y="466982"/>
                    </a:lnTo>
                    <a:lnTo>
                      <a:pt x="891080" y="471746"/>
                    </a:lnTo>
                    <a:lnTo>
                      <a:pt x="895844" y="466982"/>
                    </a:lnTo>
                    <a:lnTo>
                      <a:pt x="900608" y="466982"/>
                    </a:lnTo>
                    <a:lnTo>
                      <a:pt x="895844" y="452686"/>
                    </a:lnTo>
                    <a:lnTo>
                      <a:pt x="891080" y="424096"/>
                    </a:lnTo>
                    <a:lnTo>
                      <a:pt x="886312" y="405036"/>
                    </a:lnTo>
                    <a:lnTo>
                      <a:pt x="876784" y="390740"/>
                    </a:lnTo>
                    <a:lnTo>
                      <a:pt x="872020" y="381210"/>
                    </a:lnTo>
                    <a:lnTo>
                      <a:pt x="910140" y="376444"/>
                    </a:lnTo>
                    <a:lnTo>
                      <a:pt x="919668" y="371680"/>
                    </a:lnTo>
                    <a:lnTo>
                      <a:pt x="933964" y="362148"/>
                    </a:lnTo>
                    <a:lnTo>
                      <a:pt x="938728" y="352618"/>
                    </a:lnTo>
                    <a:lnTo>
                      <a:pt x="943496" y="338324"/>
                    </a:lnTo>
                    <a:lnTo>
                      <a:pt x="924436" y="328794"/>
                    </a:lnTo>
                    <a:lnTo>
                      <a:pt x="914904" y="314498"/>
                    </a:lnTo>
                    <a:lnTo>
                      <a:pt x="914904" y="304968"/>
                    </a:lnTo>
                    <a:lnTo>
                      <a:pt x="938728" y="276376"/>
                    </a:lnTo>
                    <a:lnTo>
                      <a:pt x="943496" y="271612"/>
                    </a:lnTo>
                    <a:lnTo>
                      <a:pt x="948260" y="281142"/>
                    </a:lnTo>
                    <a:lnTo>
                      <a:pt x="957792" y="281142"/>
                    </a:lnTo>
                    <a:lnTo>
                      <a:pt x="967320" y="285906"/>
                    </a:lnTo>
                    <a:lnTo>
                      <a:pt x="976852" y="281142"/>
                    </a:lnTo>
                    <a:lnTo>
                      <a:pt x="986380" y="271612"/>
                    </a:lnTo>
                    <a:lnTo>
                      <a:pt x="995912" y="252552"/>
                    </a:lnTo>
                    <a:lnTo>
                      <a:pt x="1014972" y="228726"/>
                    </a:lnTo>
                    <a:lnTo>
                      <a:pt x="1024504" y="209664"/>
                    </a:lnTo>
                    <a:lnTo>
                      <a:pt x="1029268" y="190604"/>
                    </a:lnTo>
                    <a:lnTo>
                      <a:pt x="1086448" y="128658"/>
                    </a:lnTo>
                    <a:lnTo>
                      <a:pt x="1091212" y="119128"/>
                    </a:lnTo>
                    <a:close/>
                    <a:moveTo>
                      <a:pt x="1186516" y="0"/>
                    </a:moveTo>
                    <a:lnTo>
                      <a:pt x="1205576" y="0"/>
                    </a:lnTo>
                    <a:lnTo>
                      <a:pt x="1205576" y="9530"/>
                    </a:lnTo>
                    <a:lnTo>
                      <a:pt x="1205576" y="19060"/>
                    </a:lnTo>
                    <a:lnTo>
                      <a:pt x="1200812" y="23826"/>
                    </a:lnTo>
                    <a:lnTo>
                      <a:pt x="1186516" y="28590"/>
                    </a:lnTo>
                    <a:lnTo>
                      <a:pt x="1176988" y="33356"/>
                    </a:lnTo>
                    <a:lnTo>
                      <a:pt x="1172220" y="23826"/>
                    </a:lnTo>
                    <a:lnTo>
                      <a:pt x="1172220" y="1429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3" name="Google Shape;4760;p64">
                <a:extLst>
                  <a:ext uri="{FF2B5EF4-FFF2-40B4-BE49-F238E27FC236}">
                    <a16:creationId xmlns:a16="http://schemas.microsoft.com/office/drawing/2014/main" id="{D1AD6DEA-447F-F342-CE33-0277AC32E1A5}"/>
                  </a:ext>
                </a:extLst>
              </p:cNvPr>
              <p:cNvSpPr/>
              <p:nvPr/>
            </p:nvSpPr>
            <p:spPr>
              <a:xfrm>
                <a:off x="44187391" y="25996706"/>
                <a:ext cx="729064" cy="838664"/>
              </a:xfrm>
              <a:custGeom>
                <a:avLst/>
                <a:gdLst/>
                <a:ahLst/>
                <a:cxnLst/>
                <a:rect l="l" t="t" r="r" b="b"/>
                <a:pathLst>
                  <a:path w="729064" h="838664" extrusionOk="0">
                    <a:moveTo>
                      <a:pt x="710004" y="595644"/>
                    </a:moveTo>
                    <a:lnTo>
                      <a:pt x="714768" y="609936"/>
                    </a:lnTo>
                    <a:lnTo>
                      <a:pt x="714768" y="619468"/>
                    </a:lnTo>
                    <a:lnTo>
                      <a:pt x="710004" y="619468"/>
                    </a:lnTo>
                    <a:lnTo>
                      <a:pt x="705240" y="619468"/>
                    </a:lnTo>
                    <a:lnTo>
                      <a:pt x="700476" y="614704"/>
                    </a:lnTo>
                    <a:lnTo>
                      <a:pt x="710004" y="600408"/>
                    </a:lnTo>
                    <a:close/>
                    <a:moveTo>
                      <a:pt x="262084" y="567052"/>
                    </a:moveTo>
                    <a:lnTo>
                      <a:pt x="262084" y="576584"/>
                    </a:lnTo>
                    <a:lnTo>
                      <a:pt x="257320" y="581348"/>
                    </a:lnTo>
                    <a:lnTo>
                      <a:pt x="252552" y="576584"/>
                    </a:lnTo>
                    <a:lnTo>
                      <a:pt x="257320" y="571816"/>
                    </a:lnTo>
                    <a:close/>
                    <a:moveTo>
                      <a:pt x="90540" y="190608"/>
                    </a:moveTo>
                    <a:lnTo>
                      <a:pt x="95304" y="190608"/>
                    </a:lnTo>
                    <a:lnTo>
                      <a:pt x="104836" y="195372"/>
                    </a:lnTo>
                    <a:lnTo>
                      <a:pt x="109600" y="200136"/>
                    </a:lnTo>
                    <a:lnTo>
                      <a:pt x="100068" y="214432"/>
                    </a:lnTo>
                    <a:lnTo>
                      <a:pt x="100068" y="219200"/>
                    </a:lnTo>
                    <a:lnTo>
                      <a:pt x="85776" y="219200"/>
                    </a:lnTo>
                    <a:close/>
                    <a:moveTo>
                      <a:pt x="33356" y="33358"/>
                    </a:moveTo>
                    <a:lnTo>
                      <a:pt x="42888" y="47654"/>
                    </a:lnTo>
                    <a:lnTo>
                      <a:pt x="38124" y="57184"/>
                    </a:lnTo>
                    <a:lnTo>
                      <a:pt x="33356" y="57184"/>
                    </a:lnTo>
                    <a:lnTo>
                      <a:pt x="28592" y="57184"/>
                    </a:lnTo>
                    <a:lnTo>
                      <a:pt x="23828" y="61948"/>
                    </a:lnTo>
                    <a:lnTo>
                      <a:pt x="14296" y="61948"/>
                    </a:lnTo>
                    <a:lnTo>
                      <a:pt x="9532" y="52418"/>
                    </a:lnTo>
                    <a:lnTo>
                      <a:pt x="4768" y="47654"/>
                    </a:lnTo>
                    <a:lnTo>
                      <a:pt x="0" y="38124"/>
                    </a:lnTo>
                    <a:lnTo>
                      <a:pt x="9532" y="38124"/>
                    </a:lnTo>
                    <a:lnTo>
                      <a:pt x="19064" y="42888"/>
                    </a:lnTo>
                    <a:lnTo>
                      <a:pt x="28592" y="38124"/>
                    </a:lnTo>
                    <a:close/>
                    <a:moveTo>
                      <a:pt x="85776" y="0"/>
                    </a:moveTo>
                    <a:lnTo>
                      <a:pt x="90540" y="0"/>
                    </a:lnTo>
                    <a:lnTo>
                      <a:pt x="100068" y="0"/>
                    </a:lnTo>
                    <a:lnTo>
                      <a:pt x="109600" y="19060"/>
                    </a:lnTo>
                    <a:lnTo>
                      <a:pt x="142956" y="33356"/>
                    </a:lnTo>
                    <a:lnTo>
                      <a:pt x="152484" y="33356"/>
                    </a:lnTo>
                    <a:lnTo>
                      <a:pt x="166780" y="28592"/>
                    </a:lnTo>
                    <a:lnTo>
                      <a:pt x="176312" y="33356"/>
                    </a:lnTo>
                    <a:lnTo>
                      <a:pt x="181076" y="38124"/>
                    </a:lnTo>
                    <a:lnTo>
                      <a:pt x="185840" y="52416"/>
                    </a:lnTo>
                    <a:lnTo>
                      <a:pt x="190608" y="66712"/>
                    </a:lnTo>
                    <a:lnTo>
                      <a:pt x="209668" y="66712"/>
                    </a:lnTo>
                    <a:lnTo>
                      <a:pt x="219196" y="66712"/>
                    </a:lnTo>
                    <a:lnTo>
                      <a:pt x="223964" y="81008"/>
                    </a:lnTo>
                    <a:lnTo>
                      <a:pt x="228728" y="100068"/>
                    </a:lnTo>
                    <a:lnTo>
                      <a:pt x="223964" y="114364"/>
                    </a:lnTo>
                    <a:lnTo>
                      <a:pt x="209668" y="128660"/>
                    </a:lnTo>
                    <a:lnTo>
                      <a:pt x="209668" y="142956"/>
                    </a:lnTo>
                    <a:lnTo>
                      <a:pt x="219196" y="147720"/>
                    </a:lnTo>
                    <a:lnTo>
                      <a:pt x="223964" y="157252"/>
                    </a:lnTo>
                    <a:lnTo>
                      <a:pt x="228728" y="162016"/>
                    </a:lnTo>
                    <a:lnTo>
                      <a:pt x="238260" y="162016"/>
                    </a:lnTo>
                    <a:lnTo>
                      <a:pt x="243024" y="157252"/>
                    </a:lnTo>
                    <a:lnTo>
                      <a:pt x="247788" y="147720"/>
                    </a:lnTo>
                    <a:lnTo>
                      <a:pt x="252552" y="138188"/>
                    </a:lnTo>
                    <a:lnTo>
                      <a:pt x="276380" y="128660"/>
                    </a:lnTo>
                    <a:lnTo>
                      <a:pt x="300204" y="119128"/>
                    </a:lnTo>
                    <a:lnTo>
                      <a:pt x="304968" y="119128"/>
                    </a:lnTo>
                    <a:lnTo>
                      <a:pt x="304968" y="123896"/>
                    </a:lnTo>
                    <a:lnTo>
                      <a:pt x="314500" y="138188"/>
                    </a:lnTo>
                    <a:lnTo>
                      <a:pt x="319264" y="138188"/>
                    </a:lnTo>
                    <a:lnTo>
                      <a:pt x="324032" y="142956"/>
                    </a:lnTo>
                    <a:lnTo>
                      <a:pt x="338324" y="138188"/>
                    </a:lnTo>
                    <a:lnTo>
                      <a:pt x="347856" y="133424"/>
                    </a:lnTo>
                    <a:lnTo>
                      <a:pt x="357388" y="119128"/>
                    </a:lnTo>
                    <a:lnTo>
                      <a:pt x="357388" y="109600"/>
                    </a:lnTo>
                    <a:lnTo>
                      <a:pt x="376448" y="90540"/>
                    </a:lnTo>
                    <a:lnTo>
                      <a:pt x="381212" y="76244"/>
                    </a:lnTo>
                    <a:lnTo>
                      <a:pt x="385976" y="66712"/>
                    </a:lnTo>
                    <a:lnTo>
                      <a:pt x="414568" y="76244"/>
                    </a:lnTo>
                    <a:lnTo>
                      <a:pt x="424100" y="81008"/>
                    </a:lnTo>
                    <a:lnTo>
                      <a:pt x="452688" y="128660"/>
                    </a:lnTo>
                    <a:lnTo>
                      <a:pt x="490808" y="162016"/>
                    </a:lnTo>
                    <a:lnTo>
                      <a:pt x="509872" y="176312"/>
                    </a:lnTo>
                    <a:lnTo>
                      <a:pt x="524164" y="181076"/>
                    </a:lnTo>
                    <a:lnTo>
                      <a:pt x="538460" y="200136"/>
                    </a:lnTo>
                    <a:lnTo>
                      <a:pt x="557520" y="223960"/>
                    </a:lnTo>
                    <a:lnTo>
                      <a:pt x="590876" y="285908"/>
                    </a:lnTo>
                    <a:lnTo>
                      <a:pt x="595644" y="314500"/>
                    </a:lnTo>
                    <a:lnTo>
                      <a:pt x="600408" y="357384"/>
                    </a:lnTo>
                    <a:lnTo>
                      <a:pt x="590876" y="424096"/>
                    </a:lnTo>
                    <a:lnTo>
                      <a:pt x="581348" y="457452"/>
                    </a:lnTo>
                    <a:lnTo>
                      <a:pt x="581348" y="471748"/>
                    </a:lnTo>
                    <a:lnTo>
                      <a:pt x="595644" y="495576"/>
                    </a:lnTo>
                    <a:lnTo>
                      <a:pt x="590876" y="519400"/>
                    </a:lnTo>
                    <a:lnTo>
                      <a:pt x="595644" y="533696"/>
                    </a:lnTo>
                    <a:lnTo>
                      <a:pt x="595644" y="586112"/>
                    </a:lnTo>
                    <a:lnTo>
                      <a:pt x="600408" y="600408"/>
                    </a:lnTo>
                    <a:lnTo>
                      <a:pt x="609936" y="609936"/>
                    </a:lnTo>
                    <a:lnTo>
                      <a:pt x="652824" y="643292"/>
                    </a:lnTo>
                    <a:lnTo>
                      <a:pt x="657588" y="652824"/>
                    </a:lnTo>
                    <a:lnTo>
                      <a:pt x="676648" y="690944"/>
                    </a:lnTo>
                    <a:lnTo>
                      <a:pt x="714772" y="776716"/>
                    </a:lnTo>
                    <a:lnTo>
                      <a:pt x="729064" y="814836"/>
                    </a:lnTo>
                    <a:lnTo>
                      <a:pt x="724300" y="824368"/>
                    </a:lnTo>
                    <a:lnTo>
                      <a:pt x="719536" y="829132"/>
                    </a:lnTo>
                    <a:lnTo>
                      <a:pt x="710004" y="833896"/>
                    </a:lnTo>
                    <a:lnTo>
                      <a:pt x="700476" y="824368"/>
                    </a:lnTo>
                    <a:lnTo>
                      <a:pt x="695712" y="819604"/>
                    </a:lnTo>
                    <a:lnTo>
                      <a:pt x="695712" y="814836"/>
                    </a:lnTo>
                    <a:lnTo>
                      <a:pt x="695712" y="805308"/>
                    </a:lnTo>
                    <a:lnTo>
                      <a:pt x="686180" y="795776"/>
                    </a:lnTo>
                    <a:lnTo>
                      <a:pt x="676648" y="791012"/>
                    </a:lnTo>
                    <a:lnTo>
                      <a:pt x="681416" y="800544"/>
                    </a:lnTo>
                    <a:lnTo>
                      <a:pt x="681416" y="819604"/>
                    </a:lnTo>
                    <a:lnTo>
                      <a:pt x="667120" y="819604"/>
                    </a:lnTo>
                    <a:lnTo>
                      <a:pt x="652824" y="814836"/>
                    </a:lnTo>
                    <a:lnTo>
                      <a:pt x="633764" y="819604"/>
                    </a:lnTo>
                    <a:lnTo>
                      <a:pt x="609936" y="838664"/>
                    </a:lnTo>
                    <a:lnTo>
                      <a:pt x="600408" y="838664"/>
                    </a:lnTo>
                    <a:lnTo>
                      <a:pt x="590876" y="819604"/>
                    </a:lnTo>
                    <a:lnTo>
                      <a:pt x="586112" y="810072"/>
                    </a:lnTo>
                    <a:lnTo>
                      <a:pt x="581348" y="805308"/>
                    </a:lnTo>
                    <a:lnTo>
                      <a:pt x="509872" y="762420"/>
                    </a:lnTo>
                    <a:lnTo>
                      <a:pt x="481280" y="752892"/>
                    </a:lnTo>
                    <a:lnTo>
                      <a:pt x="452688" y="724300"/>
                    </a:lnTo>
                    <a:lnTo>
                      <a:pt x="390744" y="695708"/>
                    </a:lnTo>
                    <a:lnTo>
                      <a:pt x="352620" y="662352"/>
                    </a:lnTo>
                    <a:lnTo>
                      <a:pt x="333560" y="643292"/>
                    </a:lnTo>
                    <a:lnTo>
                      <a:pt x="295440" y="624232"/>
                    </a:lnTo>
                    <a:lnTo>
                      <a:pt x="276380" y="605172"/>
                    </a:lnTo>
                    <a:lnTo>
                      <a:pt x="266848" y="600408"/>
                    </a:lnTo>
                    <a:lnTo>
                      <a:pt x="257320" y="595640"/>
                    </a:lnTo>
                    <a:lnTo>
                      <a:pt x="266848" y="576580"/>
                    </a:lnTo>
                    <a:lnTo>
                      <a:pt x="262084" y="552756"/>
                    </a:lnTo>
                    <a:lnTo>
                      <a:pt x="262084" y="538460"/>
                    </a:lnTo>
                    <a:lnTo>
                      <a:pt x="228728" y="500340"/>
                    </a:lnTo>
                    <a:lnTo>
                      <a:pt x="219196" y="476512"/>
                    </a:lnTo>
                    <a:lnTo>
                      <a:pt x="190608" y="452688"/>
                    </a:lnTo>
                    <a:lnTo>
                      <a:pt x="181076" y="443156"/>
                    </a:lnTo>
                    <a:lnTo>
                      <a:pt x="166780" y="424096"/>
                    </a:lnTo>
                    <a:lnTo>
                      <a:pt x="176312" y="419332"/>
                    </a:lnTo>
                    <a:lnTo>
                      <a:pt x="181076" y="414568"/>
                    </a:lnTo>
                    <a:lnTo>
                      <a:pt x="176312" y="405036"/>
                    </a:lnTo>
                    <a:lnTo>
                      <a:pt x="162016" y="385976"/>
                    </a:lnTo>
                    <a:lnTo>
                      <a:pt x="152484" y="362152"/>
                    </a:lnTo>
                    <a:lnTo>
                      <a:pt x="152484" y="319264"/>
                    </a:lnTo>
                    <a:lnTo>
                      <a:pt x="128660" y="257316"/>
                    </a:lnTo>
                    <a:lnTo>
                      <a:pt x="109600" y="171544"/>
                    </a:lnTo>
                    <a:lnTo>
                      <a:pt x="114364" y="138188"/>
                    </a:lnTo>
                    <a:lnTo>
                      <a:pt x="109600" y="109600"/>
                    </a:lnTo>
                    <a:lnTo>
                      <a:pt x="100068" y="76244"/>
                    </a:lnTo>
                    <a:lnTo>
                      <a:pt x="81008" y="57184"/>
                    </a:lnTo>
                    <a:lnTo>
                      <a:pt x="76244" y="38124"/>
                    </a:lnTo>
                    <a:lnTo>
                      <a:pt x="76244" y="28592"/>
                    </a:lnTo>
                    <a:lnTo>
                      <a:pt x="81008" y="4768"/>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294" name="Google Shape;4761;p64">
              <a:extLst>
                <a:ext uri="{FF2B5EF4-FFF2-40B4-BE49-F238E27FC236}">
                  <a16:creationId xmlns:a16="http://schemas.microsoft.com/office/drawing/2014/main" id="{5428B19F-DB56-9816-5FBE-77276E0FD517}"/>
                </a:ext>
              </a:extLst>
            </p:cNvPr>
            <p:cNvSpPr/>
            <p:nvPr/>
          </p:nvSpPr>
          <p:spPr>
            <a:xfrm>
              <a:off x="4776991" y="5359939"/>
              <a:ext cx="291403" cy="280246"/>
            </a:xfrm>
            <a:custGeom>
              <a:avLst/>
              <a:gdLst/>
              <a:ahLst/>
              <a:cxnLst/>
              <a:rect l="l" t="t" r="r" b="b"/>
              <a:pathLst>
                <a:path w="888" h="854" extrusionOk="0">
                  <a:moveTo>
                    <a:pt x="764" y="46"/>
                  </a:moveTo>
                  <a:lnTo>
                    <a:pt x="744" y="50"/>
                  </a:lnTo>
                  <a:lnTo>
                    <a:pt x="716" y="56"/>
                  </a:lnTo>
                  <a:lnTo>
                    <a:pt x="696" y="60"/>
                  </a:lnTo>
                  <a:lnTo>
                    <a:pt x="672" y="64"/>
                  </a:lnTo>
                  <a:lnTo>
                    <a:pt x="656" y="66"/>
                  </a:lnTo>
                  <a:lnTo>
                    <a:pt x="636" y="70"/>
                  </a:lnTo>
                  <a:lnTo>
                    <a:pt x="634" y="70"/>
                  </a:lnTo>
                  <a:lnTo>
                    <a:pt x="628" y="68"/>
                  </a:lnTo>
                  <a:lnTo>
                    <a:pt x="616" y="68"/>
                  </a:lnTo>
                  <a:lnTo>
                    <a:pt x="602" y="70"/>
                  </a:lnTo>
                  <a:lnTo>
                    <a:pt x="592" y="72"/>
                  </a:lnTo>
                  <a:lnTo>
                    <a:pt x="584" y="70"/>
                  </a:lnTo>
                  <a:lnTo>
                    <a:pt x="576" y="68"/>
                  </a:lnTo>
                  <a:lnTo>
                    <a:pt x="570" y="62"/>
                  </a:lnTo>
                  <a:lnTo>
                    <a:pt x="556" y="62"/>
                  </a:lnTo>
                  <a:lnTo>
                    <a:pt x="538" y="62"/>
                  </a:lnTo>
                  <a:lnTo>
                    <a:pt x="520" y="62"/>
                  </a:lnTo>
                  <a:lnTo>
                    <a:pt x="502" y="58"/>
                  </a:lnTo>
                  <a:lnTo>
                    <a:pt x="490" y="58"/>
                  </a:lnTo>
                  <a:lnTo>
                    <a:pt x="482" y="58"/>
                  </a:lnTo>
                  <a:lnTo>
                    <a:pt x="474" y="56"/>
                  </a:lnTo>
                  <a:lnTo>
                    <a:pt x="466" y="54"/>
                  </a:lnTo>
                  <a:lnTo>
                    <a:pt x="460" y="50"/>
                  </a:lnTo>
                  <a:lnTo>
                    <a:pt x="450" y="40"/>
                  </a:lnTo>
                  <a:lnTo>
                    <a:pt x="444" y="32"/>
                  </a:lnTo>
                  <a:lnTo>
                    <a:pt x="442" y="30"/>
                  </a:lnTo>
                  <a:lnTo>
                    <a:pt x="440" y="30"/>
                  </a:lnTo>
                  <a:lnTo>
                    <a:pt x="438" y="30"/>
                  </a:lnTo>
                  <a:lnTo>
                    <a:pt x="420" y="28"/>
                  </a:lnTo>
                  <a:lnTo>
                    <a:pt x="392" y="28"/>
                  </a:lnTo>
                  <a:lnTo>
                    <a:pt x="366" y="28"/>
                  </a:lnTo>
                  <a:lnTo>
                    <a:pt x="178" y="28"/>
                  </a:lnTo>
                  <a:lnTo>
                    <a:pt x="164" y="30"/>
                  </a:lnTo>
                  <a:lnTo>
                    <a:pt x="152" y="30"/>
                  </a:lnTo>
                  <a:lnTo>
                    <a:pt x="150" y="30"/>
                  </a:lnTo>
                  <a:lnTo>
                    <a:pt x="146" y="28"/>
                  </a:lnTo>
                  <a:lnTo>
                    <a:pt x="144" y="26"/>
                  </a:lnTo>
                  <a:lnTo>
                    <a:pt x="136" y="22"/>
                  </a:lnTo>
                  <a:lnTo>
                    <a:pt x="130" y="18"/>
                  </a:lnTo>
                  <a:lnTo>
                    <a:pt x="122" y="12"/>
                  </a:lnTo>
                  <a:lnTo>
                    <a:pt x="116" y="4"/>
                  </a:lnTo>
                  <a:lnTo>
                    <a:pt x="110" y="2"/>
                  </a:lnTo>
                  <a:lnTo>
                    <a:pt x="102" y="0"/>
                  </a:lnTo>
                  <a:lnTo>
                    <a:pt x="96" y="0"/>
                  </a:lnTo>
                  <a:lnTo>
                    <a:pt x="92" y="0"/>
                  </a:lnTo>
                  <a:lnTo>
                    <a:pt x="82" y="2"/>
                  </a:lnTo>
                  <a:lnTo>
                    <a:pt x="76" y="6"/>
                  </a:lnTo>
                  <a:lnTo>
                    <a:pt x="70" y="10"/>
                  </a:lnTo>
                  <a:lnTo>
                    <a:pt x="62" y="12"/>
                  </a:lnTo>
                  <a:lnTo>
                    <a:pt x="54" y="16"/>
                  </a:lnTo>
                  <a:lnTo>
                    <a:pt x="42" y="16"/>
                  </a:lnTo>
                  <a:lnTo>
                    <a:pt x="40" y="16"/>
                  </a:lnTo>
                  <a:lnTo>
                    <a:pt x="32" y="16"/>
                  </a:lnTo>
                  <a:lnTo>
                    <a:pt x="26" y="14"/>
                  </a:lnTo>
                  <a:lnTo>
                    <a:pt x="20" y="14"/>
                  </a:lnTo>
                  <a:lnTo>
                    <a:pt x="12" y="18"/>
                  </a:lnTo>
                  <a:lnTo>
                    <a:pt x="2" y="18"/>
                  </a:lnTo>
                  <a:lnTo>
                    <a:pt x="0" y="34"/>
                  </a:lnTo>
                  <a:lnTo>
                    <a:pt x="2" y="54"/>
                  </a:lnTo>
                  <a:lnTo>
                    <a:pt x="4" y="70"/>
                  </a:lnTo>
                  <a:lnTo>
                    <a:pt x="16" y="90"/>
                  </a:lnTo>
                  <a:lnTo>
                    <a:pt x="22" y="104"/>
                  </a:lnTo>
                  <a:lnTo>
                    <a:pt x="26" y="108"/>
                  </a:lnTo>
                  <a:lnTo>
                    <a:pt x="40" y="122"/>
                  </a:lnTo>
                  <a:lnTo>
                    <a:pt x="48" y="134"/>
                  </a:lnTo>
                  <a:lnTo>
                    <a:pt x="88" y="212"/>
                  </a:lnTo>
                  <a:lnTo>
                    <a:pt x="96" y="222"/>
                  </a:lnTo>
                  <a:lnTo>
                    <a:pt x="102" y="246"/>
                  </a:lnTo>
                  <a:lnTo>
                    <a:pt x="114" y="274"/>
                  </a:lnTo>
                  <a:lnTo>
                    <a:pt x="140" y="312"/>
                  </a:lnTo>
                  <a:lnTo>
                    <a:pt x="142" y="322"/>
                  </a:lnTo>
                  <a:lnTo>
                    <a:pt x="148" y="334"/>
                  </a:lnTo>
                  <a:lnTo>
                    <a:pt x="170" y="362"/>
                  </a:lnTo>
                  <a:lnTo>
                    <a:pt x="180" y="382"/>
                  </a:lnTo>
                  <a:lnTo>
                    <a:pt x="184" y="400"/>
                  </a:lnTo>
                  <a:lnTo>
                    <a:pt x="184" y="406"/>
                  </a:lnTo>
                  <a:lnTo>
                    <a:pt x="182" y="416"/>
                  </a:lnTo>
                  <a:lnTo>
                    <a:pt x="180" y="414"/>
                  </a:lnTo>
                  <a:lnTo>
                    <a:pt x="178" y="412"/>
                  </a:lnTo>
                  <a:lnTo>
                    <a:pt x="176" y="418"/>
                  </a:lnTo>
                  <a:lnTo>
                    <a:pt x="178" y="426"/>
                  </a:lnTo>
                  <a:lnTo>
                    <a:pt x="182" y="440"/>
                  </a:lnTo>
                  <a:lnTo>
                    <a:pt x="180" y="454"/>
                  </a:lnTo>
                  <a:lnTo>
                    <a:pt x="182" y="466"/>
                  </a:lnTo>
                  <a:lnTo>
                    <a:pt x="182" y="496"/>
                  </a:lnTo>
                  <a:lnTo>
                    <a:pt x="182" y="506"/>
                  </a:lnTo>
                  <a:lnTo>
                    <a:pt x="192" y="532"/>
                  </a:lnTo>
                  <a:lnTo>
                    <a:pt x="200" y="548"/>
                  </a:lnTo>
                  <a:lnTo>
                    <a:pt x="204" y="566"/>
                  </a:lnTo>
                  <a:lnTo>
                    <a:pt x="204" y="582"/>
                  </a:lnTo>
                  <a:lnTo>
                    <a:pt x="204" y="590"/>
                  </a:lnTo>
                  <a:lnTo>
                    <a:pt x="206" y="602"/>
                  </a:lnTo>
                  <a:lnTo>
                    <a:pt x="206" y="616"/>
                  </a:lnTo>
                  <a:lnTo>
                    <a:pt x="210" y="634"/>
                  </a:lnTo>
                  <a:lnTo>
                    <a:pt x="214" y="660"/>
                  </a:lnTo>
                  <a:lnTo>
                    <a:pt x="222" y="668"/>
                  </a:lnTo>
                  <a:lnTo>
                    <a:pt x="224" y="674"/>
                  </a:lnTo>
                  <a:lnTo>
                    <a:pt x="226" y="680"/>
                  </a:lnTo>
                  <a:lnTo>
                    <a:pt x="224" y="686"/>
                  </a:lnTo>
                  <a:lnTo>
                    <a:pt x="224" y="694"/>
                  </a:lnTo>
                  <a:lnTo>
                    <a:pt x="230" y="710"/>
                  </a:lnTo>
                  <a:lnTo>
                    <a:pt x="234" y="730"/>
                  </a:lnTo>
                  <a:lnTo>
                    <a:pt x="238" y="738"/>
                  </a:lnTo>
                  <a:lnTo>
                    <a:pt x="262" y="782"/>
                  </a:lnTo>
                  <a:lnTo>
                    <a:pt x="274" y="796"/>
                  </a:lnTo>
                  <a:lnTo>
                    <a:pt x="282" y="802"/>
                  </a:lnTo>
                  <a:lnTo>
                    <a:pt x="302" y="824"/>
                  </a:lnTo>
                  <a:lnTo>
                    <a:pt x="310" y="830"/>
                  </a:lnTo>
                  <a:lnTo>
                    <a:pt x="314" y="826"/>
                  </a:lnTo>
                  <a:lnTo>
                    <a:pt x="322" y="820"/>
                  </a:lnTo>
                  <a:lnTo>
                    <a:pt x="326" y="818"/>
                  </a:lnTo>
                  <a:lnTo>
                    <a:pt x="328" y="820"/>
                  </a:lnTo>
                  <a:lnTo>
                    <a:pt x="330" y="818"/>
                  </a:lnTo>
                  <a:lnTo>
                    <a:pt x="332" y="814"/>
                  </a:lnTo>
                  <a:lnTo>
                    <a:pt x="334" y="810"/>
                  </a:lnTo>
                  <a:lnTo>
                    <a:pt x="334" y="804"/>
                  </a:lnTo>
                  <a:lnTo>
                    <a:pt x="336" y="800"/>
                  </a:lnTo>
                  <a:lnTo>
                    <a:pt x="338" y="794"/>
                  </a:lnTo>
                  <a:lnTo>
                    <a:pt x="342" y="788"/>
                  </a:lnTo>
                  <a:lnTo>
                    <a:pt x="350" y="786"/>
                  </a:lnTo>
                  <a:lnTo>
                    <a:pt x="356" y="790"/>
                  </a:lnTo>
                  <a:lnTo>
                    <a:pt x="358" y="794"/>
                  </a:lnTo>
                  <a:lnTo>
                    <a:pt x="360" y="798"/>
                  </a:lnTo>
                  <a:lnTo>
                    <a:pt x="362" y="802"/>
                  </a:lnTo>
                  <a:lnTo>
                    <a:pt x="366" y="800"/>
                  </a:lnTo>
                  <a:lnTo>
                    <a:pt x="370" y="804"/>
                  </a:lnTo>
                  <a:lnTo>
                    <a:pt x="372" y="810"/>
                  </a:lnTo>
                  <a:lnTo>
                    <a:pt x="372" y="814"/>
                  </a:lnTo>
                  <a:lnTo>
                    <a:pt x="368" y="818"/>
                  </a:lnTo>
                  <a:lnTo>
                    <a:pt x="370" y="822"/>
                  </a:lnTo>
                  <a:lnTo>
                    <a:pt x="372" y="826"/>
                  </a:lnTo>
                  <a:lnTo>
                    <a:pt x="374" y="830"/>
                  </a:lnTo>
                  <a:lnTo>
                    <a:pt x="376" y="836"/>
                  </a:lnTo>
                  <a:lnTo>
                    <a:pt x="388" y="840"/>
                  </a:lnTo>
                  <a:lnTo>
                    <a:pt x="392" y="842"/>
                  </a:lnTo>
                  <a:lnTo>
                    <a:pt x="402" y="842"/>
                  </a:lnTo>
                  <a:lnTo>
                    <a:pt x="410" y="844"/>
                  </a:lnTo>
                  <a:lnTo>
                    <a:pt x="418" y="848"/>
                  </a:lnTo>
                  <a:lnTo>
                    <a:pt x="432" y="850"/>
                  </a:lnTo>
                  <a:lnTo>
                    <a:pt x="452" y="848"/>
                  </a:lnTo>
                  <a:lnTo>
                    <a:pt x="466" y="848"/>
                  </a:lnTo>
                  <a:lnTo>
                    <a:pt x="480" y="854"/>
                  </a:lnTo>
                  <a:lnTo>
                    <a:pt x="488" y="854"/>
                  </a:lnTo>
                  <a:lnTo>
                    <a:pt x="494" y="852"/>
                  </a:lnTo>
                  <a:lnTo>
                    <a:pt x="496" y="846"/>
                  </a:lnTo>
                  <a:lnTo>
                    <a:pt x="496" y="842"/>
                  </a:lnTo>
                  <a:lnTo>
                    <a:pt x="498" y="838"/>
                  </a:lnTo>
                  <a:lnTo>
                    <a:pt x="504" y="838"/>
                  </a:lnTo>
                  <a:lnTo>
                    <a:pt x="510" y="834"/>
                  </a:lnTo>
                  <a:lnTo>
                    <a:pt x="514" y="826"/>
                  </a:lnTo>
                  <a:lnTo>
                    <a:pt x="522" y="822"/>
                  </a:lnTo>
                  <a:lnTo>
                    <a:pt x="536" y="818"/>
                  </a:lnTo>
                  <a:lnTo>
                    <a:pt x="542" y="818"/>
                  </a:lnTo>
                  <a:lnTo>
                    <a:pt x="542" y="350"/>
                  </a:lnTo>
                  <a:lnTo>
                    <a:pt x="608" y="350"/>
                  </a:lnTo>
                  <a:lnTo>
                    <a:pt x="608" y="348"/>
                  </a:lnTo>
                  <a:lnTo>
                    <a:pt x="608" y="334"/>
                  </a:lnTo>
                  <a:lnTo>
                    <a:pt x="608" y="134"/>
                  </a:lnTo>
                  <a:lnTo>
                    <a:pt x="608" y="106"/>
                  </a:lnTo>
                  <a:lnTo>
                    <a:pt x="608" y="92"/>
                  </a:lnTo>
                  <a:lnTo>
                    <a:pt x="624" y="92"/>
                  </a:lnTo>
                  <a:lnTo>
                    <a:pt x="644" y="88"/>
                  </a:lnTo>
                  <a:lnTo>
                    <a:pt x="676" y="84"/>
                  </a:lnTo>
                  <a:lnTo>
                    <a:pt x="704" y="78"/>
                  </a:lnTo>
                  <a:lnTo>
                    <a:pt x="724" y="74"/>
                  </a:lnTo>
                  <a:lnTo>
                    <a:pt x="746" y="72"/>
                  </a:lnTo>
                  <a:lnTo>
                    <a:pt x="754" y="70"/>
                  </a:lnTo>
                  <a:lnTo>
                    <a:pt x="756" y="72"/>
                  </a:lnTo>
                  <a:lnTo>
                    <a:pt x="760" y="72"/>
                  </a:lnTo>
                  <a:lnTo>
                    <a:pt x="770" y="86"/>
                  </a:lnTo>
                  <a:lnTo>
                    <a:pt x="776" y="98"/>
                  </a:lnTo>
                  <a:lnTo>
                    <a:pt x="778" y="102"/>
                  </a:lnTo>
                  <a:lnTo>
                    <a:pt x="780" y="102"/>
                  </a:lnTo>
                  <a:lnTo>
                    <a:pt x="782" y="102"/>
                  </a:lnTo>
                  <a:lnTo>
                    <a:pt x="786" y="100"/>
                  </a:lnTo>
                  <a:lnTo>
                    <a:pt x="796" y="90"/>
                  </a:lnTo>
                  <a:lnTo>
                    <a:pt x="798" y="86"/>
                  </a:lnTo>
                  <a:lnTo>
                    <a:pt x="806" y="82"/>
                  </a:lnTo>
                  <a:lnTo>
                    <a:pt x="814" y="76"/>
                  </a:lnTo>
                  <a:lnTo>
                    <a:pt x="822" y="72"/>
                  </a:lnTo>
                  <a:lnTo>
                    <a:pt x="830" y="70"/>
                  </a:lnTo>
                  <a:lnTo>
                    <a:pt x="832" y="70"/>
                  </a:lnTo>
                  <a:lnTo>
                    <a:pt x="836" y="72"/>
                  </a:lnTo>
                  <a:lnTo>
                    <a:pt x="840" y="74"/>
                  </a:lnTo>
                  <a:lnTo>
                    <a:pt x="858" y="62"/>
                  </a:lnTo>
                  <a:lnTo>
                    <a:pt x="866" y="58"/>
                  </a:lnTo>
                  <a:lnTo>
                    <a:pt x="886" y="56"/>
                  </a:lnTo>
                  <a:lnTo>
                    <a:pt x="888" y="56"/>
                  </a:lnTo>
                  <a:lnTo>
                    <a:pt x="876" y="46"/>
                  </a:lnTo>
                  <a:lnTo>
                    <a:pt x="872" y="40"/>
                  </a:lnTo>
                  <a:lnTo>
                    <a:pt x="866" y="40"/>
                  </a:lnTo>
                  <a:lnTo>
                    <a:pt x="854" y="38"/>
                  </a:lnTo>
                  <a:lnTo>
                    <a:pt x="824" y="34"/>
                  </a:lnTo>
                  <a:lnTo>
                    <a:pt x="820" y="36"/>
                  </a:lnTo>
                  <a:lnTo>
                    <a:pt x="808" y="38"/>
                  </a:lnTo>
                  <a:lnTo>
                    <a:pt x="792" y="40"/>
                  </a:lnTo>
                  <a:lnTo>
                    <a:pt x="778" y="42"/>
                  </a:lnTo>
                  <a:lnTo>
                    <a:pt x="764" y="4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5" name="Google Shape;4762;p64">
              <a:extLst>
                <a:ext uri="{FF2B5EF4-FFF2-40B4-BE49-F238E27FC236}">
                  <a16:creationId xmlns:a16="http://schemas.microsoft.com/office/drawing/2014/main" id="{EC0AF0D0-6777-DC72-90C6-3AE82B3CB6CB}"/>
                </a:ext>
              </a:extLst>
            </p:cNvPr>
            <p:cNvSpPr/>
            <p:nvPr/>
          </p:nvSpPr>
          <p:spPr>
            <a:xfrm>
              <a:off x="8053641" y="5432134"/>
              <a:ext cx="87946" cy="57756"/>
            </a:xfrm>
            <a:custGeom>
              <a:avLst/>
              <a:gdLst/>
              <a:ahLst/>
              <a:cxnLst/>
              <a:rect l="l" t="t" r="r" b="b"/>
              <a:pathLst>
                <a:path w="638528" h="419330" extrusionOk="0">
                  <a:moveTo>
                    <a:pt x="533696" y="400268"/>
                  </a:moveTo>
                  <a:lnTo>
                    <a:pt x="543224" y="405034"/>
                  </a:lnTo>
                  <a:lnTo>
                    <a:pt x="547992" y="414564"/>
                  </a:lnTo>
                  <a:lnTo>
                    <a:pt x="543224" y="419330"/>
                  </a:lnTo>
                  <a:lnTo>
                    <a:pt x="538460" y="419330"/>
                  </a:lnTo>
                  <a:lnTo>
                    <a:pt x="533696" y="414564"/>
                  </a:lnTo>
                  <a:lnTo>
                    <a:pt x="528928" y="414564"/>
                  </a:lnTo>
                  <a:close/>
                  <a:moveTo>
                    <a:pt x="614704" y="195368"/>
                  </a:moveTo>
                  <a:lnTo>
                    <a:pt x="614704" y="204900"/>
                  </a:lnTo>
                  <a:lnTo>
                    <a:pt x="619468" y="209664"/>
                  </a:lnTo>
                  <a:lnTo>
                    <a:pt x="619468" y="214430"/>
                  </a:lnTo>
                  <a:lnTo>
                    <a:pt x="628996" y="214430"/>
                  </a:lnTo>
                  <a:lnTo>
                    <a:pt x="638528" y="214430"/>
                  </a:lnTo>
                  <a:lnTo>
                    <a:pt x="638528" y="243020"/>
                  </a:lnTo>
                  <a:lnTo>
                    <a:pt x="619468" y="247784"/>
                  </a:lnTo>
                  <a:lnTo>
                    <a:pt x="614704" y="247784"/>
                  </a:lnTo>
                  <a:lnTo>
                    <a:pt x="609936" y="243020"/>
                  </a:lnTo>
                  <a:lnTo>
                    <a:pt x="600408" y="238254"/>
                  </a:lnTo>
                  <a:lnTo>
                    <a:pt x="600408" y="228724"/>
                  </a:lnTo>
                  <a:lnTo>
                    <a:pt x="590876" y="204900"/>
                  </a:lnTo>
                  <a:lnTo>
                    <a:pt x="605172" y="204900"/>
                  </a:lnTo>
                  <a:close/>
                  <a:moveTo>
                    <a:pt x="495576" y="85772"/>
                  </a:moveTo>
                  <a:lnTo>
                    <a:pt x="505104" y="90536"/>
                  </a:lnTo>
                  <a:lnTo>
                    <a:pt x="509872" y="95302"/>
                  </a:lnTo>
                  <a:lnTo>
                    <a:pt x="509872" y="123892"/>
                  </a:lnTo>
                  <a:lnTo>
                    <a:pt x="519400" y="133422"/>
                  </a:lnTo>
                  <a:lnTo>
                    <a:pt x="528932" y="152482"/>
                  </a:lnTo>
                  <a:lnTo>
                    <a:pt x="528932" y="157248"/>
                  </a:lnTo>
                  <a:lnTo>
                    <a:pt x="524164" y="166778"/>
                  </a:lnTo>
                  <a:lnTo>
                    <a:pt x="514636" y="171544"/>
                  </a:lnTo>
                  <a:lnTo>
                    <a:pt x="505104" y="157248"/>
                  </a:lnTo>
                  <a:lnTo>
                    <a:pt x="481280" y="152482"/>
                  </a:lnTo>
                  <a:lnTo>
                    <a:pt x="471748" y="138188"/>
                  </a:lnTo>
                  <a:lnTo>
                    <a:pt x="466984" y="128656"/>
                  </a:lnTo>
                  <a:lnTo>
                    <a:pt x="481280" y="123892"/>
                  </a:lnTo>
                  <a:lnTo>
                    <a:pt x="490808" y="109596"/>
                  </a:lnTo>
                  <a:lnTo>
                    <a:pt x="481280" y="100066"/>
                  </a:lnTo>
                  <a:lnTo>
                    <a:pt x="471748" y="100066"/>
                  </a:lnTo>
                  <a:lnTo>
                    <a:pt x="471748" y="95302"/>
                  </a:lnTo>
                  <a:close/>
                  <a:moveTo>
                    <a:pt x="395508" y="42884"/>
                  </a:moveTo>
                  <a:lnTo>
                    <a:pt x="405036" y="42884"/>
                  </a:lnTo>
                  <a:lnTo>
                    <a:pt x="409800" y="47650"/>
                  </a:lnTo>
                  <a:lnTo>
                    <a:pt x="405036" y="52416"/>
                  </a:lnTo>
                  <a:lnTo>
                    <a:pt x="400272" y="61946"/>
                  </a:lnTo>
                  <a:lnTo>
                    <a:pt x="400272" y="71476"/>
                  </a:lnTo>
                  <a:lnTo>
                    <a:pt x="405036" y="71476"/>
                  </a:lnTo>
                  <a:lnTo>
                    <a:pt x="400272" y="85770"/>
                  </a:lnTo>
                  <a:lnTo>
                    <a:pt x="390740" y="90536"/>
                  </a:lnTo>
                  <a:lnTo>
                    <a:pt x="381212" y="90536"/>
                  </a:lnTo>
                  <a:lnTo>
                    <a:pt x="395508" y="76240"/>
                  </a:lnTo>
                  <a:lnTo>
                    <a:pt x="395508" y="66710"/>
                  </a:lnTo>
                  <a:lnTo>
                    <a:pt x="395508" y="47650"/>
                  </a:lnTo>
                  <a:close/>
                  <a:moveTo>
                    <a:pt x="4768" y="0"/>
                  </a:moveTo>
                  <a:lnTo>
                    <a:pt x="23828" y="14294"/>
                  </a:lnTo>
                  <a:lnTo>
                    <a:pt x="42888" y="23824"/>
                  </a:lnTo>
                  <a:lnTo>
                    <a:pt x="61948" y="19060"/>
                  </a:lnTo>
                  <a:lnTo>
                    <a:pt x="85772" y="38120"/>
                  </a:lnTo>
                  <a:lnTo>
                    <a:pt x="147720" y="85772"/>
                  </a:lnTo>
                  <a:lnTo>
                    <a:pt x="166780" y="100066"/>
                  </a:lnTo>
                  <a:lnTo>
                    <a:pt x="181076" y="100066"/>
                  </a:lnTo>
                  <a:lnTo>
                    <a:pt x="190604" y="109596"/>
                  </a:lnTo>
                  <a:lnTo>
                    <a:pt x="200136" y="123892"/>
                  </a:lnTo>
                  <a:lnTo>
                    <a:pt x="209668" y="128658"/>
                  </a:lnTo>
                  <a:lnTo>
                    <a:pt x="214432" y="138188"/>
                  </a:lnTo>
                  <a:lnTo>
                    <a:pt x="214432" y="147718"/>
                  </a:lnTo>
                  <a:lnTo>
                    <a:pt x="219196" y="152484"/>
                  </a:lnTo>
                  <a:lnTo>
                    <a:pt x="243024" y="171544"/>
                  </a:lnTo>
                  <a:lnTo>
                    <a:pt x="252552" y="185840"/>
                  </a:lnTo>
                  <a:lnTo>
                    <a:pt x="271612" y="195370"/>
                  </a:lnTo>
                  <a:lnTo>
                    <a:pt x="276380" y="200134"/>
                  </a:lnTo>
                  <a:lnTo>
                    <a:pt x="285908" y="204900"/>
                  </a:lnTo>
                  <a:lnTo>
                    <a:pt x="300204" y="214430"/>
                  </a:lnTo>
                  <a:lnTo>
                    <a:pt x="314500" y="223960"/>
                  </a:lnTo>
                  <a:lnTo>
                    <a:pt x="352620" y="247786"/>
                  </a:lnTo>
                  <a:lnTo>
                    <a:pt x="381212" y="271612"/>
                  </a:lnTo>
                  <a:lnTo>
                    <a:pt x="400272" y="285906"/>
                  </a:lnTo>
                  <a:lnTo>
                    <a:pt x="414568" y="300202"/>
                  </a:lnTo>
                  <a:lnTo>
                    <a:pt x="433628" y="309732"/>
                  </a:lnTo>
                  <a:lnTo>
                    <a:pt x="452688" y="324028"/>
                  </a:lnTo>
                  <a:lnTo>
                    <a:pt x="462216" y="352618"/>
                  </a:lnTo>
                  <a:lnTo>
                    <a:pt x="457452" y="362148"/>
                  </a:lnTo>
                  <a:lnTo>
                    <a:pt x="447924" y="366914"/>
                  </a:lnTo>
                  <a:lnTo>
                    <a:pt x="438392" y="366914"/>
                  </a:lnTo>
                  <a:lnTo>
                    <a:pt x="428864" y="371680"/>
                  </a:lnTo>
                  <a:lnTo>
                    <a:pt x="395508" y="352618"/>
                  </a:lnTo>
                  <a:lnTo>
                    <a:pt x="385976" y="352618"/>
                  </a:lnTo>
                  <a:lnTo>
                    <a:pt x="381212" y="352618"/>
                  </a:lnTo>
                  <a:lnTo>
                    <a:pt x="376444" y="347854"/>
                  </a:lnTo>
                  <a:lnTo>
                    <a:pt x="371680" y="343088"/>
                  </a:lnTo>
                  <a:lnTo>
                    <a:pt x="352620" y="333558"/>
                  </a:lnTo>
                  <a:lnTo>
                    <a:pt x="333560" y="324028"/>
                  </a:lnTo>
                  <a:lnTo>
                    <a:pt x="328796" y="314498"/>
                  </a:lnTo>
                  <a:lnTo>
                    <a:pt x="324028" y="304968"/>
                  </a:lnTo>
                  <a:lnTo>
                    <a:pt x="319264" y="300202"/>
                  </a:lnTo>
                  <a:lnTo>
                    <a:pt x="295440" y="295436"/>
                  </a:lnTo>
                  <a:lnTo>
                    <a:pt x="281144" y="285906"/>
                  </a:lnTo>
                  <a:lnTo>
                    <a:pt x="266848" y="271612"/>
                  </a:lnTo>
                  <a:lnTo>
                    <a:pt x="247788" y="262082"/>
                  </a:lnTo>
                  <a:lnTo>
                    <a:pt x="219196" y="243020"/>
                  </a:lnTo>
                  <a:lnTo>
                    <a:pt x="200136" y="238256"/>
                  </a:lnTo>
                  <a:lnTo>
                    <a:pt x="185840" y="228726"/>
                  </a:lnTo>
                  <a:lnTo>
                    <a:pt x="152484" y="195370"/>
                  </a:lnTo>
                  <a:lnTo>
                    <a:pt x="138188" y="190604"/>
                  </a:lnTo>
                  <a:lnTo>
                    <a:pt x="128660" y="176308"/>
                  </a:lnTo>
                  <a:lnTo>
                    <a:pt x="95304" y="138188"/>
                  </a:lnTo>
                  <a:lnTo>
                    <a:pt x="81008" y="123892"/>
                  </a:lnTo>
                  <a:lnTo>
                    <a:pt x="66712" y="114362"/>
                  </a:lnTo>
                  <a:lnTo>
                    <a:pt x="52416" y="95302"/>
                  </a:lnTo>
                  <a:lnTo>
                    <a:pt x="42888" y="81006"/>
                  </a:lnTo>
                  <a:lnTo>
                    <a:pt x="19060" y="52416"/>
                  </a:lnTo>
                  <a:lnTo>
                    <a:pt x="19060" y="42886"/>
                  </a:lnTo>
                  <a:lnTo>
                    <a:pt x="19060" y="33354"/>
                  </a:lnTo>
                  <a:lnTo>
                    <a:pt x="14296" y="23824"/>
                  </a:lnTo>
                  <a:lnTo>
                    <a:pt x="4768" y="19060"/>
                  </a:lnTo>
                  <a:lnTo>
                    <a:pt x="0" y="14294"/>
                  </a:lnTo>
                  <a:lnTo>
                    <a:pt x="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6" name="Google Shape;4763;p64">
              <a:extLst>
                <a:ext uri="{FF2B5EF4-FFF2-40B4-BE49-F238E27FC236}">
                  <a16:creationId xmlns:a16="http://schemas.microsoft.com/office/drawing/2014/main" id="{65A4984C-938B-0E80-C8D6-18C1B34167C6}"/>
                </a:ext>
              </a:extLst>
            </p:cNvPr>
            <p:cNvSpPr/>
            <p:nvPr/>
          </p:nvSpPr>
          <p:spPr>
            <a:xfrm>
              <a:off x="4528248" y="4468992"/>
              <a:ext cx="339971" cy="267120"/>
            </a:xfrm>
            <a:custGeom>
              <a:avLst/>
              <a:gdLst/>
              <a:ahLst/>
              <a:cxnLst/>
              <a:rect l="l" t="t" r="r" b="b"/>
              <a:pathLst>
                <a:path w="1036" h="814" extrusionOk="0">
                  <a:moveTo>
                    <a:pt x="972" y="36"/>
                  </a:moveTo>
                  <a:lnTo>
                    <a:pt x="944" y="52"/>
                  </a:lnTo>
                  <a:lnTo>
                    <a:pt x="924" y="64"/>
                  </a:lnTo>
                  <a:lnTo>
                    <a:pt x="922" y="64"/>
                  </a:lnTo>
                  <a:lnTo>
                    <a:pt x="920" y="64"/>
                  </a:lnTo>
                  <a:lnTo>
                    <a:pt x="898" y="44"/>
                  </a:lnTo>
                  <a:lnTo>
                    <a:pt x="882" y="28"/>
                  </a:lnTo>
                  <a:lnTo>
                    <a:pt x="874" y="24"/>
                  </a:lnTo>
                  <a:lnTo>
                    <a:pt x="808" y="8"/>
                  </a:lnTo>
                  <a:lnTo>
                    <a:pt x="774" y="0"/>
                  </a:lnTo>
                  <a:lnTo>
                    <a:pt x="740" y="22"/>
                  </a:lnTo>
                  <a:lnTo>
                    <a:pt x="706" y="44"/>
                  </a:lnTo>
                  <a:lnTo>
                    <a:pt x="672" y="64"/>
                  </a:lnTo>
                  <a:lnTo>
                    <a:pt x="604" y="108"/>
                  </a:lnTo>
                  <a:lnTo>
                    <a:pt x="572" y="130"/>
                  </a:lnTo>
                  <a:lnTo>
                    <a:pt x="538" y="152"/>
                  </a:lnTo>
                  <a:lnTo>
                    <a:pt x="504" y="172"/>
                  </a:lnTo>
                  <a:lnTo>
                    <a:pt x="480" y="186"/>
                  </a:lnTo>
                  <a:lnTo>
                    <a:pt x="466" y="200"/>
                  </a:lnTo>
                  <a:lnTo>
                    <a:pt x="448" y="216"/>
                  </a:lnTo>
                  <a:lnTo>
                    <a:pt x="432" y="230"/>
                  </a:lnTo>
                  <a:lnTo>
                    <a:pt x="418" y="242"/>
                  </a:lnTo>
                  <a:lnTo>
                    <a:pt x="400" y="258"/>
                  </a:lnTo>
                  <a:lnTo>
                    <a:pt x="392" y="266"/>
                  </a:lnTo>
                  <a:lnTo>
                    <a:pt x="372" y="284"/>
                  </a:lnTo>
                  <a:lnTo>
                    <a:pt x="366" y="288"/>
                  </a:lnTo>
                  <a:lnTo>
                    <a:pt x="342" y="292"/>
                  </a:lnTo>
                  <a:lnTo>
                    <a:pt x="318" y="298"/>
                  </a:lnTo>
                  <a:lnTo>
                    <a:pt x="296" y="302"/>
                  </a:lnTo>
                  <a:lnTo>
                    <a:pt x="282" y="304"/>
                  </a:lnTo>
                  <a:lnTo>
                    <a:pt x="268" y="308"/>
                  </a:lnTo>
                  <a:lnTo>
                    <a:pt x="268" y="376"/>
                  </a:lnTo>
                  <a:lnTo>
                    <a:pt x="268" y="398"/>
                  </a:lnTo>
                  <a:lnTo>
                    <a:pt x="268" y="456"/>
                  </a:lnTo>
                  <a:lnTo>
                    <a:pt x="266" y="458"/>
                  </a:lnTo>
                  <a:lnTo>
                    <a:pt x="264" y="470"/>
                  </a:lnTo>
                  <a:lnTo>
                    <a:pt x="264" y="484"/>
                  </a:lnTo>
                  <a:lnTo>
                    <a:pt x="260" y="500"/>
                  </a:lnTo>
                  <a:lnTo>
                    <a:pt x="254" y="510"/>
                  </a:lnTo>
                  <a:lnTo>
                    <a:pt x="250" y="522"/>
                  </a:lnTo>
                  <a:lnTo>
                    <a:pt x="248" y="528"/>
                  </a:lnTo>
                  <a:lnTo>
                    <a:pt x="246" y="530"/>
                  </a:lnTo>
                  <a:lnTo>
                    <a:pt x="246" y="534"/>
                  </a:lnTo>
                  <a:lnTo>
                    <a:pt x="244" y="540"/>
                  </a:lnTo>
                  <a:lnTo>
                    <a:pt x="242" y="544"/>
                  </a:lnTo>
                  <a:lnTo>
                    <a:pt x="240" y="546"/>
                  </a:lnTo>
                  <a:lnTo>
                    <a:pt x="234" y="548"/>
                  </a:lnTo>
                  <a:lnTo>
                    <a:pt x="220" y="560"/>
                  </a:lnTo>
                  <a:lnTo>
                    <a:pt x="220" y="568"/>
                  </a:lnTo>
                  <a:lnTo>
                    <a:pt x="206" y="566"/>
                  </a:lnTo>
                  <a:lnTo>
                    <a:pt x="190" y="562"/>
                  </a:lnTo>
                  <a:lnTo>
                    <a:pt x="188" y="562"/>
                  </a:lnTo>
                  <a:lnTo>
                    <a:pt x="188" y="564"/>
                  </a:lnTo>
                  <a:lnTo>
                    <a:pt x="186" y="568"/>
                  </a:lnTo>
                  <a:lnTo>
                    <a:pt x="166" y="570"/>
                  </a:lnTo>
                  <a:lnTo>
                    <a:pt x="148" y="570"/>
                  </a:lnTo>
                  <a:lnTo>
                    <a:pt x="128" y="570"/>
                  </a:lnTo>
                  <a:lnTo>
                    <a:pt x="112" y="572"/>
                  </a:lnTo>
                  <a:lnTo>
                    <a:pt x="94" y="572"/>
                  </a:lnTo>
                  <a:lnTo>
                    <a:pt x="76" y="574"/>
                  </a:lnTo>
                  <a:lnTo>
                    <a:pt x="64" y="584"/>
                  </a:lnTo>
                  <a:lnTo>
                    <a:pt x="54" y="592"/>
                  </a:lnTo>
                  <a:lnTo>
                    <a:pt x="52" y="594"/>
                  </a:lnTo>
                  <a:lnTo>
                    <a:pt x="38" y="594"/>
                  </a:lnTo>
                  <a:lnTo>
                    <a:pt x="18" y="594"/>
                  </a:lnTo>
                  <a:lnTo>
                    <a:pt x="8" y="594"/>
                  </a:lnTo>
                  <a:lnTo>
                    <a:pt x="6" y="594"/>
                  </a:lnTo>
                  <a:lnTo>
                    <a:pt x="4" y="598"/>
                  </a:lnTo>
                  <a:lnTo>
                    <a:pt x="4" y="602"/>
                  </a:lnTo>
                  <a:lnTo>
                    <a:pt x="4" y="606"/>
                  </a:lnTo>
                  <a:lnTo>
                    <a:pt x="2" y="616"/>
                  </a:lnTo>
                  <a:lnTo>
                    <a:pt x="0" y="626"/>
                  </a:lnTo>
                  <a:lnTo>
                    <a:pt x="6" y="632"/>
                  </a:lnTo>
                  <a:lnTo>
                    <a:pt x="14" y="640"/>
                  </a:lnTo>
                  <a:lnTo>
                    <a:pt x="16" y="642"/>
                  </a:lnTo>
                  <a:lnTo>
                    <a:pt x="14" y="650"/>
                  </a:lnTo>
                  <a:lnTo>
                    <a:pt x="14" y="654"/>
                  </a:lnTo>
                  <a:lnTo>
                    <a:pt x="18" y="662"/>
                  </a:lnTo>
                  <a:lnTo>
                    <a:pt x="24" y="670"/>
                  </a:lnTo>
                  <a:lnTo>
                    <a:pt x="30" y="680"/>
                  </a:lnTo>
                  <a:lnTo>
                    <a:pt x="34" y="680"/>
                  </a:lnTo>
                  <a:lnTo>
                    <a:pt x="40" y="682"/>
                  </a:lnTo>
                  <a:lnTo>
                    <a:pt x="42" y="684"/>
                  </a:lnTo>
                  <a:lnTo>
                    <a:pt x="46" y="684"/>
                  </a:lnTo>
                  <a:lnTo>
                    <a:pt x="48" y="686"/>
                  </a:lnTo>
                  <a:lnTo>
                    <a:pt x="52" y="688"/>
                  </a:lnTo>
                  <a:lnTo>
                    <a:pt x="54" y="690"/>
                  </a:lnTo>
                  <a:lnTo>
                    <a:pt x="56" y="696"/>
                  </a:lnTo>
                  <a:lnTo>
                    <a:pt x="64" y="698"/>
                  </a:lnTo>
                  <a:lnTo>
                    <a:pt x="68" y="702"/>
                  </a:lnTo>
                  <a:lnTo>
                    <a:pt x="66" y="704"/>
                  </a:lnTo>
                  <a:lnTo>
                    <a:pt x="60" y="704"/>
                  </a:lnTo>
                  <a:lnTo>
                    <a:pt x="54" y="702"/>
                  </a:lnTo>
                  <a:lnTo>
                    <a:pt x="54" y="704"/>
                  </a:lnTo>
                  <a:lnTo>
                    <a:pt x="54" y="716"/>
                  </a:lnTo>
                  <a:lnTo>
                    <a:pt x="54" y="724"/>
                  </a:lnTo>
                  <a:lnTo>
                    <a:pt x="56" y="726"/>
                  </a:lnTo>
                  <a:lnTo>
                    <a:pt x="62" y="726"/>
                  </a:lnTo>
                  <a:lnTo>
                    <a:pt x="76" y="738"/>
                  </a:lnTo>
                  <a:lnTo>
                    <a:pt x="88" y="748"/>
                  </a:lnTo>
                  <a:lnTo>
                    <a:pt x="92" y="752"/>
                  </a:lnTo>
                  <a:lnTo>
                    <a:pt x="100" y="752"/>
                  </a:lnTo>
                  <a:lnTo>
                    <a:pt x="108" y="752"/>
                  </a:lnTo>
                  <a:lnTo>
                    <a:pt x="110" y="752"/>
                  </a:lnTo>
                  <a:lnTo>
                    <a:pt x="118" y="746"/>
                  </a:lnTo>
                  <a:lnTo>
                    <a:pt x="122" y="746"/>
                  </a:lnTo>
                  <a:lnTo>
                    <a:pt x="126" y="746"/>
                  </a:lnTo>
                  <a:lnTo>
                    <a:pt x="128" y="746"/>
                  </a:lnTo>
                  <a:lnTo>
                    <a:pt x="132" y="752"/>
                  </a:lnTo>
                  <a:lnTo>
                    <a:pt x="136" y="758"/>
                  </a:lnTo>
                  <a:lnTo>
                    <a:pt x="136" y="762"/>
                  </a:lnTo>
                  <a:lnTo>
                    <a:pt x="136" y="766"/>
                  </a:lnTo>
                  <a:lnTo>
                    <a:pt x="134" y="766"/>
                  </a:lnTo>
                  <a:lnTo>
                    <a:pt x="128" y="768"/>
                  </a:lnTo>
                  <a:lnTo>
                    <a:pt x="126" y="768"/>
                  </a:lnTo>
                  <a:lnTo>
                    <a:pt x="126" y="770"/>
                  </a:lnTo>
                  <a:lnTo>
                    <a:pt x="126" y="774"/>
                  </a:lnTo>
                  <a:lnTo>
                    <a:pt x="128" y="776"/>
                  </a:lnTo>
                  <a:lnTo>
                    <a:pt x="134" y="784"/>
                  </a:lnTo>
                  <a:lnTo>
                    <a:pt x="144" y="798"/>
                  </a:lnTo>
                  <a:lnTo>
                    <a:pt x="146" y="800"/>
                  </a:lnTo>
                  <a:lnTo>
                    <a:pt x="148" y="794"/>
                  </a:lnTo>
                  <a:lnTo>
                    <a:pt x="146" y="782"/>
                  </a:lnTo>
                  <a:lnTo>
                    <a:pt x="146" y="780"/>
                  </a:lnTo>
                  <a:lnTo>
                    <a:pt x="152" y="776"/>
                  </a:lnTo>
                  <a:lnTo>
                    <a:pt x="160" y="774"/>
                  </a:lnTo>
                  <a:lnTo>
                    <a:pt x="164" y="774"/>
                  </a:lnTo>
                  <a:lnTo>
                    <a:pt x="166" y="774"/>
                  </a:lnTo>
                  <a:lnTo>
                    <a:pt x="170" y="770"/>
                  </a:lnTo>
                  <a:lnTo>
                    <a:pt x="174" y="768"/>
                  </a:lnTo>
                  <a:lnTo>
                    <a:pt x="178" y="768"/>
                  </a:lnTo>
                  <a:lnTo>
                    <a:pt x="178" y="770"/>
                  </a:lnTo>
                  <a:lnTo>
                    <a:pt x="196" y="786"/>
                  </a:lnTo>
                  <a:lnTo>
                    <a:pt x="204" y="794"/>
                  </a:lnTo>
                  <a:lnTo>
                    <a:pt x="206" y="798"/>
                  </a:lnTo>
                  <a:lnTo>
                    <a:pt x="210" y="802"/>
                  </a:lnTo>
                  <a:lnTo>
                    <a:pt x="216" y="804"/>
                  </a:lnTo>
                  <a:lnTo>
                    <a:pt x="222" y="808"/>
                  </a:lnTo>
                  <a:lnTo>
                    <a:pt x="226" y="814"/>
                  </a:lnTo>
                  <a:lnTo>
                    <a:pt x="230" y="812"/>
                  </a:lnTo>
                  <a:lnTo>
                    <a:pt x="230" y="810"/>
                  </a:lnTo>
                  <a:lnTo>
                    <a:pt x="230" y="808"/>
                  </a:lnTo>
                  <a:lnTo>
                    <a:pt x="228" y="806"/>
                  </a:lnTo>
                  <a:lnTo>
                    <a:pt x="226" y="802"/>
                  </a:lnTo>
                  <a:lnTo>
                    <a:pt x="228" y="800"/>
                  </a:lnTo>
                  <a:lnTo>
                    <a:pt x="228" y="796"/>
                  </a:lnTo>
                  <a:lnTo>
                    <a:pt x="228" y="790"/>
                  </a:lnTo>
                  <a:lnTo>
                    <a:pt x="228" y="780"/>
                  </a:lnTo>
                  <a:lnTo>
                    <a:pt x="228" y="766"/>
                  </a:lnTo>
                  <a:lnTo>
                    <a:pt x="230" y="758"/>
                  </a:lnTo>
                  <a:lnTo>
                    <a:pt x="238" y="752"/>
                  </a:lnTo>
                  <a:lnTo>
                    <a:pt x="248" y="742"/>
                  </a:lnTo>
                  <a:lnTo>
                    <a:pt x="254" y="732"/>
                  </a:lnTo>
                  <a:lnTo>
                    <a:pt x="258" y="724"/>
                  </a:lnTo>
                  <a:lnTo>
                    <a:pt x="262" y="696"/>
                  </a:lnTo>
                  <a:lnTo>
                    <a:pt x="264" y="694"/>
                  </a:lnTo>
                  <a:lnTo>
                    <a:pt x="268" y="694"/>
                  </a:lnTo>
                  <a:lnTo>
                    <a:pt x="280" y="684"/>
                  </a:lnTo>
                  <a:lnTo>
                    <a:pt x="290" y="680"/>
                  </a:lnTo>
                  <a:lnTo>
                    <a:pt x="296" y="678"/>
                  </a:lnTo>
                  <a:lnTo>
                    <a:pt x="306" y="676"/>
                  </a:lnTo>
                  <a:lnTo>
                    <a:pt x="312" y="676"/>
                  </a:lnTo>
                  <a:lnTo>
                    <a:pt x="324" y="676"/>
                  </a:lnTo>
                  <a:lnTo>
                    <a:pt x="334" y="676"/>
                  </a:lnTo>
                  <a:lnTo>
                    <a:pt x="342" y="670"/>
                  </a:lnTo>
                  <a:lnTo>
                    <a:pt x="346" y="668"/>
                  </a:lnTo>
                  <a:lnTo>
                    <a:pt x="350" y="668"/>
                  </a:lnTo>
                  <a:lnTo>
                    <a:pt x="372" y="676"/>
                  </a:lnTo>
                  <a:lnTo>
                    <a:pt x="396" y="682"/>
                  </a:lnTo>
                  <a:lnTo>
                    <a:pt x="400" y="682"/>
                  </a:lnTo>
                  <a:lnTo>
                    <a:pt x="402" y="682"/>
                  </a:lnTo>
                  <a:lnTo>
                    <a:pt x="408" y="686"/>
                  </a:lnTo>
                  <a:lnTo>
                    <a:pt x="418" y="694"/>
                  </a:lnTo>
                  <a:lnTo>
                    <a:pt x="422" y="700"/>
                  </a:lnTo>
                  <a:lnTo>
                    <a:pt x="424" y="702"/>
                  </a:lnTo>
                  <a:lnTo>
                    <a:pt x="436" y="720"/>
                  </a:lnTo>
                  <a:lnTo>
                    <a:pt x="440" y="724"/>
                  </a:lnTo>
                  <a:lnTo>
                    <a:pt x="444" y="726"/>
                  </a:lnTo>
                  <a:lnTo>
                    <a:pt x="450" y="728"/>
                  </a:lnTo>
                  <a:lnTo>
                    <a:pt x="452" y="726"/>
                  </a:lnTo>
                  <a:lnTo>
                    <a:pt x="456" y="726"/>
                  </a:lnTo>
                  <a:lnTo>
                    <a:pt x="460" y="720"/>
                  </a:lnTo>
                  <a:lnTo>
                    <a:pt x="466" y="720"/>
                  </a:lnTo>
                  <a:lnTo>
                    <a:pt x="472" y="720"/>
                  </a:lnTo>
                  <a:lnTo>
                    <a:pt x="500" y="704"/>
                  </a:lnTo>
                  <a:lnTo>
                    <a:pt x="504" y="704"/>
                  </a:lnTo>
                  <a:lnTo>
                    <a:pt x="512" y="706"/>
                  </a:lnTo>
                  <a:lnTo>
                    <a:pt x="520" y="708"/>
                  </a:lnTo>
                  <a:lnTo>
                    <a:pt x="544" y="724"/>
                  </a:lnTo>
                  <a:lnTo>
                    <a:pt x="564" y="734"/>
                  </a:lnTo>
                  <a:lnTo>
                    <a:pt x="578" y="736"/>
                  </a:lnTo>
                  <a:lnTo>
                    <a:pt x="594" y="740"/>
                  </a:lnTo>
                  <a:lnTo>
                    <a:pt x="620" y="740"/>
                  </a:lnTo>
                  <a:lnTo>
                    <a:pt x="640" y="718"/>
                  </a:lnTo>
                  <a:lnTo>
                    <a:pt x="648" y="712"/>
                  </a:lnTo>
                  <a:lnTo>
                    <a:pt x="658" y="708"/>
                  </a:lnTo>
                  <a:lnTo>
                    <a:pt x="660" y="708"/>
                  </a:lnTo>
                  <a:lnTo>
                    <a:pt x="676" y="704"/>
                  </a:lnTo>
                  <a:lnTo>
                    <a:pt x="708" y="702"/>
                  </a:lnTo>
                  <a:lnTo>
                    <a:pt x="738" y="704"/>
                  </a:lnTo>
                  <a:lnTo>
                    <a:pt x="744" y="704"/>
                  </a:lnTo>
                  <a:lnTo>
                    <a:pt x="756" y="706"/>
                  </a:lnTo>
                  <a:lnTo>
                    <a:pt x="776" y="714"/>
                  </a:lnTo>
                  <a:lnTo>
                    <a:pt x="784" y="720"/>
                  </a:lnTo>
                  <a:lnTo>
                    <a:pt x="798" y="722"/>
                  </a:lnTo>
                  <a:lnTo>
                    <a:pt x="808" y="720"/>
                  </a:lnTo>
                  <a:lnTo>
                    <a:pt x="810" y="714"/>
                  </a:lnTo>
                  <a:lnTo>
                    <a:pt x="820" y="704"/>
                  </a:lnTo>
                  <a:lnTo>
                    <a:pt x="826" y="702"/>
                  </a:lnTo>
                  <a:lnTo>
                    <a:pt x="834" y="696"/>
                  </a:lnTo>
                  <a:lnTo>
                    <a:pt x="846" y="690"/>
                  </a:lnTo>
                  <a:lnTo>
                    <a:pt x="854" y="688"/>
                  </a:lnTo>
                  <a:lnTo>
                    <a:pt x="864" y="682"/>
                  </a:lnTo>
                  <a:lnTo>
                    <a:pt x="870" y="680"/>
                  </a:lnTo>
                  <a:lnTo>
                    <a:pt x="882" y="680"/>
                  </a:lnTo>
                  <a:lnTo>
                    <a:pt x="876" y="650"/>
                  </a:lnTo>
                  <a:lnTo>
                    <a:pt x="872" y="634"/>
                  </a:lnTo>
                  <a:lnTo>
                    <a:pt x="876" y="628"/>
                  </a:lnTo>
                  <a:lnTo>
                    <a:pt x="884" y="616"/>
                  </a:lnTo>
                  <a:lnTo>
                    <a:pt x="896" y="594"/>
                  </a:lnTo>
                  <a:lnTo>
                    <a:pt x="920" y="558"/>
                  </a:lnTo>
                  <a:lnTo>
                    <a:pt x="932" y="540"/>
                  </a:lnTo>
                  <a:lnTo>
                    <a:pt x="956" y="514"/>
                  </a:lnTo>
                  <a:lnTo>
                    <a:pt x="988" y="480"/>
                  </a:lnTo>
                  <a:lnTo>
                    <a:pt x="1004" y="462"/>
                  </a:lnTo>
                  <a:lnTo>
                    <a:pt x="1008" y="428"/>
                  </a:lnTo>
                  <a:lnTo>
                    <a:pt x="1010" y="390"/>
                  </a:lnTo>
                  <a:lnTo>
                    <a:pt x="1012" y="364"/>
                  </a:lnTo>
                  <a:lnTo>
                    <a:pt x="1016" y="330"/>
                  </a:lnTo>
                  <a:lnTo>
                    <a:pt x="1018" y="304"/>
                  </a:lnTo>
                  <a:lnTo>
                    <a:pt x="1020" y="284"/>
                  </a:lnTo>
                  <a:lnTo>
                    <a:pt x="1022" y="254"/>
                  </a:lnTo>
                  <a:lnTo>
                    <a:pt x="1024" y="250"/>
                  </a:lnTo>
                  <a:lnTo>
                    <a:pt x="1036" y="226"/>
                  </a:lnTo>
                  <a:lnTo>
                    <a:pt x="1036" y="224"/>
                  </a:lnTo>
                  <a:lnTo>
                    <a:pt x="1034" y="220"/>
                  </a:lnTo>
                  <a:lnTo>
                    <a:pt x="1018" y="200"/>
                  </a:lnTo>
                  <a:lnTo>
                    <a:pt x="1012" y="196"/>
                  </a:lnTo>
                  <a:lnTo>
                    <a:pt x="1008" y="186"/>
                  </a:lnTo>
                  <a:lnTo>
                    <a:pt x="1014" y="180"/>
                  </a:lnTo>
                  <a:lnTo>
                    <a:pt x="992" y="148"/>
                  </a:lnTo>
                  <a:lnTo>
                    <a:pt x="988" y="146"/>
                  </a:lnTo>
                  <a:lnTo>
                    <a:pt x="986" y="142"/>
                  </a:lnTo>
                  <a:lnTo>
                    <a:pt x="986" y="136"/>
                  </a:lnTo>
                  <a:lnTo>
                    <a:pt x="984" y="112"/>
                  </a:lnTo>
                  <a:lnTo>
                    <a:pt x="980" y="78"/>
                  </a:lnTo>
                  <a:lnTo>
                    <a:pt x="972" y="3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297" name="Google Shape;4764;p64">
              <a:extLst>
                <a:ext uri="{FF2B5EF4-FFF2-40B4-BE49-F238E27FC236}">
                  <a16:creationId xmlns:a16="http://schemas.microsoft.com/office/drawing/2014/main" id="{473B0A1D-3A8D-E329-3457-AD21AD4C328F}"/>
                </a:ext>
              </a:extLst>
            </p:cNvPr>
            <p:cNvSpPr/>
            <p:nvPr/>
          </p:nvSpPr>
          <p:spPr>
            <a:xfrm>
              <a:off x="8136994" y="5642154"/>
              <a:ext cx="1313" cy="1969"/>
            </a:xfrm>
            <a:custGeom>
              <a:avLst/>
              <a:gdLst/>
              <a:ahLst/>
              <a:cxnLst/>
              <a:rect l="l" t="t" r="r" b="b"/>
              <a:pathLst>
                <a:path w="4" h="6" extrusionOk="0">
                  <a:moveTo>
                    <a:pt x="2" y="0"/>
                  </a:moveTo>
                  <a:lnTo>
                    <a:pt x="0" y="0"/>
                  </a:lnTo>
                  <a:lnTo>
                    <a:pt x="0" y="0"/>
                  </a:lnTo>
                  <a:lnTo>
                    <a:pt x="0" y="0"/>
                  </a:lnTo>
                  <a:lnTo>
                    <a:pt x="0" y="0"/>
                  </a:lnTo>
                  <a:lnTo>
                    <a:pt x="0" y="2"/>
                  </a:lnTo>
                  <a:lnTo>
                    <a:pt x="0" y="2"/>
                  </a:lnTo>
                  <a:lnTo>
                    <a:pt x="0" y="2"/>
                  </a:lnTo>
                  <a:lnTo>
                    <a:pt x="0" y="4"/>
                  </a:lnTo>
                  <a:lnTo>
                    <a:pt x="0" y="4"/>
                  </a:lnTo>
                  <a:lnTo>
                    <a:pt x="0" y="4"/>
                  </a:lnTo>
                  <a:lnTo>
                    <a:pt x="0" y="4"/>
                  </a:lnTo>
                  <a:lnTo>
                    <a:pt x="2" y="4"/>
                  </a:lnTo>
                  <a:lnTo>
                    <a:pt x="2" y="4"/>
                  </a:lnTo>
                  <a:lnTo>
                    <a:pt x="2" y="4"/>
                  </a:lnTo>
                  <a:lnTo>
                    <a:pt x="4" y="6"/>
                  </a:lnTo>
                  <a:lnTo>
                    <a:pt x="4" y="4"/>
                  </a:lnTo>
                  <a:lnTo>
                    <a:pt x="4" y="4"/>
                  </a:lnTo>
                  <a:lnTo>
                    <a:pt x="4" y="4"/>
                  </a:lnTo>
                  <a:lnTo>
                    <a:pt x="4" y="4"/>
                  </a:lnTo>
                  <a:lnTo>
                    <a:pt x="4" y="2"/>
                  </a:lnTo>
                  <a:lnTo>
                    <a:pt x="4" y="2"/>
                  </a:lnTo>
                  <a:lnTo>
                    <a:pt x="4" y="2"/>
                  </a:lnTo>
                  <a:lnTo>
                    <a:pt x="4" y="0"/>
                  </a:lnTo>
                  <a:lnTo>
                    <a:pt x="2"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298" name="Google Shape;4765;p64">
              <a:extLst>
                <a:ext uri="{FF2B5EF4-FFF2-40B4-BE49-F238E27FC236}">
                  <a16:creationId xmlns:a16="http://schemas.microsoft.com/office/drawing/2014/main" id="{8392A7F0-E31B-BFC2-DFA9-34AF70E13A0B}"/>
                </a:ext>
              </a:extLst>
            </p:cNvPr>
            <p:cNvCxnSpPr/>
            <p:nvPr/>
          </p:nvCxnSpPr>
          <p:spPr>
            <a:xfrm>
              <a:off x="8137650" y="5642154"/>
              <a:ext cx="0" cy="0"/>
            </a:xfrm>
            <a:prstGeom prst="straightConnector1">
              <a:avLst/>
            </a:prstGeom>
            <a:grpFill/>
            <a:ln w="9525" cap="flat" cmpd="sng">
              <a:solidFill>
                <a:schemeClr val="bg2"/>
              </a:solidFill>
              <a:prstDash val="solid"/>
              <a:round/>
              <a:headEnd type="none" w="med" len="med"/>
              <a:tailEnd type="none" w="med" len="med"/>
            </a:ln>
          </p:spPr>
        </p:cxnSp>
        <p:sp>
          <p:nvSpPr>
            <p:cNvPr id="299" name="Google Shape;4766;p64">
              <a:extLst>
                <a:ext uri="{FF2B5EF4-FFF2-40B4-BE49-F238E27FC236}">
                  <a16:creationId xmlns:a16="http://schemas.microsoft.com/office/drawing/2014/main" id="{34BBDA86-86EA-AD72-4623-F8D2EF2BA468}"/>
                </a:ext>
              </a:extLst>
            </p:cNvPr>
            <p:cNvSpPr/>
            <p:nvPr/>
          </p:nvSpPr>
          <p:spPr>
            <a:xfrm>
              <a:off x="8136994" y="5642154"/>
              <a:ext cx="1313" cy="1969"/>
            </a:xfrm>
            <a:custGeom>
              <a:avLst/>
              <a:gdLst/>
              <a:ahLst/>
              <a:cxnLst/>
              <a:rect l="l" t="t" r="r" b="b"/>
              <a:pathLst>
                <a:path w="4" h="6" extrusionOk="0">
                  <a:moveTo>
                    <a:pt x="2" y="0"/>
                  </a:moveTo>
                  <a:lnTo>
                    <a:pt x="0" y="0"/>
                  </a:lnTo>
                  <a:lnTo>
                    <a:pt x="0" y="0"/>
                  </a:lnTo>
                  <a:lnTo>
                    <a:pt x="0" y="0"/>
                  </a:lnTo>
                  <a:lnTo>
                    <a:pt x="0" y="0"/>
                  </a:lnTo>
                  <a:lnTo>
                    <a:pt x="0" y="2"/>
                  </a:lnTo>
                  <a:lnTo>
                    <a:pt x="0" y="2"/>
                  </a:lnTo>
                  <a:lnTo>
                    <a:pt x="0" y="2"/>
                  </a:lnTo>
                  <a:lnTo>
                    <a:pt x="0" y="4"/>
                  </a:lnTo>
                  <a:lnTo>
                    <a:pt x="0" y="4"/>
                  </a:lnTo>
                  <a:lnTo>
                    <a:pt x="0" y="4"/>
                  </a:lnTo>
                  <a:lnTo>
                    <a:pt x="0" y="4"/>
                  </a:lnTo>
                  <a:lnTo>
                    <a:pt x="2" y="4"/>
                  </a:lnTo>
                  <a:lnTo>
                    <a:pt x="2" y="4"/>
                  </a:lnTo>
                  <a:lnTo>
                    <a:pt x="2" y="4"/>
                  </a:lnTo>
                  <a:lnTo>
                    <a:pt x="4" y="6"/>
                  </a:lnTo>
                  <a:lnTo>
                    <a:pt x="4" y="6"/>
                  </a:lnTo>
                  <a:lnTo>
                    <a:pt x="4" y="6"/>
                  </a:lnTo>
                  <a:lnTo>
                    <a:pt x="4" y="4"/>
                  </a:lnTo>
                  <a:lnTo>
                    <a:pt x="4" y="4"/>
                  </a:lnTo>
                  <a:lnTo>
                    <a:pt x="4" y="2"/>
                  </a:lnTo>
                  <a:lnTo>
                    <a:pt x="4" y="2"/>
                  </a:lnTo>
                  <a:lnTo>
                    <a:pt x="4" y="2"/>
                  </a:lnTo>
                  <a:lnTo>
                    <a:pt x="4" y="0"/>
                  </a:lnTo>
                  <a:lnTo>
                    <a:pt x="2"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00" name="Google Shape;4767;p64">
              <a:extLst>
                <a:ext uri="{FF2B5EF4-FFF2-40B4-BE49-F238E27FC236}">
                  <a16:creationId xmlns:a16="http://schemas.microsoft.com/office/drawing/2014/main" id="{5DD80DCC-E4EF-4748-023E-99A5D45C8351}"/>
                </a:ext>
              </a:extLst>
            </p:cNvPr>
            <p:cNvSpPr/>
            <p:nvPr/>
          </p:nvSpPr>
          <p:spPr>
            <a:xfrm>
              <a:off x="4582723" y="4688201"/>
              <a:ext cx="257275" cy="209365"/>
            </a:xfrm>
            <a:custGeom>
              <a:avLst/>
              <a:gdLst/>
              <a:ahLst/>
              <a:cxnLst/>
              <a:rect l="l" t="t" r="r" b="b"/>
              <a:pathLst>
                <a:path w="1867928" h="1520076" extrusionOk="0">
                  <a:moveTo>
                    <a:pt x="710002" y="1481954"/>
                  </a:moveTo>
                  <a:lnTo>
                    <a:pt x="714768" y="1486720"/>
                  </a:lnTo>
                  <a:lnTo>
                    <a:pt x="724298" y="1486720"/>
                  </a:lnTo>
                  <a:lnTo>
                    <a:pt x="719532" y="1496250"/>
                  </a:lnTo>
                  <a:lnTo>
                    <a:pt x="705238" y="1501016"/>
                  </a:lnTo>
                  <a:lnTo>
                    <a:pt x="695708" y="1501016"/>
                  </a:lnTo>
                  <a:close/>
                  <a:moveTo>
                    <a:pt x="428860" y="0"/>
                  </a:moveTo>
                  <a:lnTo>
                    <a:pt x="438390" y="0"/>
                  </a:lnTo>
                  <a:lnTo>
                    <a:pt x="490808" y="19060"/>
                  </a:lnTo>
                  <a:lnTo>
                    <a:pt x="547988" y="33356"/>
                  </a:lnTo>
                  <a:lnTo>
                    <a:pt x="557518" y="33356"/>
                  </a:lnTo>
                  <a:lnTo>
                    <a:pt x="562284" y="33356"/>
                  </a:lnTo>
                  <a:lnTo>
                    <a:pt x="576580" y="42886"/>
                  </a:lnTo>
                  <a:lnTo>
                    <a:pt x="600406" y="61946"/>
                  </a:lnTo>
                  <a:lnTo>
                    <a:pt x="609936" y="76242"/>
                  </a:lnTo>
                  <a:lnTo>
                    <a:pt x="614700" y="81008"/>
                  </a:lnTo>
                  <a:lnTo>
                    <a:pt x="643292" y="123894"/>
                  </a:lnTo>
                  <a:lnTo>
                    <a:pt x="652822" y="133424"/>
                  </a:lnTo>
                  <a:lnTo>
                    <a:pt x="662352" y="138188"/>
                  </a:lnTo>
                  <a:lnTo>
                    <a:pt x="676648" y="142954"/>
                  </a:lnTo>
                  <a:lnTo>
                    <a:pt x="681412" y="138188"/>
                  </a:lnTo>
                  <a:lnTo>
                    <a:pt x="690942" y="138188"/>
                  </a:lnTo>
                  <a:lnTo>
                    <a:pt x="700472" y="123894"/>
                  </a:lnTo>
                  <a:lnTo>
                    <a:pt x="714768" y="123894"/>
                  </a:lnTo>
                  <a:lnTo>
                    <a:pt x="729064" y="123894"/>
                  </a:lnTo>
                  <a:lnTo>
                    <a:pt x="795776" y="85772"/>
                  </a:lnTo>
                  <a:lnTo>
                    <a:pt x="805306" y="85772"/>
                  </a:lnTo>
                  <a:lnTo>
                    <a:pt x="824366" y="90538"/>
                  </a:lnTo>
                  <a:lnTo>
                    <a:pt x="843426" y="95302"/>
                  </a:lnTo>
                  <a:lnTo>
                    <a:pt x="900608" y="133424"/>
                  </a:lnTo>
                  <a:lnTo>
                    <a:pt x="948260" y="157250"/>
                  </a:lnTo>
                  <a:lnTo>
                    <a:pt x="981616" y="162014"/>
                  </a:lnTo>
                  <a:lnTo>
                    <a:pt x="1019736" y="171544"/>
                  </a:lnTo>
                  <a:lnTo>
                    <a:pt x="1081684" y="171544"/>
                  </a:lnTo>
                  <a:lnTo>
                    <a:pt x="1129334" y="119128"/>
                  </a:lnTo>
                  <a:lnTo>
                    <a:pt x="1148394" y="104832"/>
                  </a:lnTo>
                  <a:lnTo>
                    <a:pt x="1172220" y="95302"/>
                  </a:lnTo>
                  <a:lnTo>
                    <a:pt x="1176986" y="95302"/>
                  </a:lnTo>
                  <a:lnTo>
                    <a:pt x="1215106" y="85772"/>
                  </a:lnTo>
                  <a:lnTo>
                    <a:pt x="1291348" y="81008"/>
                  </a:lnTo>
                  <a:lnTo>
                    <a:pt x="1362826" y="85772"/>
                  </a:lnTo>
                  <a:lnTo>
                    <a:pt x="1377120" y="85772"/>
                  </a:lnTo>
                  <a:lnTo>
                    <a:pt x="1405712" y="90538"/>
                  </a:lnTo>
                  <a:lnTo>
                    <a:pt x="1453362" y="109598"/>
                  </a:lnTo>
                  <a:lnTo>
                    <a:pt x="1472424" y="123894"/>
                  </a:lnTo>
                  <a:lnTo>
                    <a:pt x="1505780" y="128658"/>
                  </a:lnTo>
                  <a:lnTo>
                    <a:pt x="1529604" y="123894"/>
                  </a:lnTo>
                  <a:lnTo>
                    <a:pt x="1534370" y="109598"/>
                  </a:lnTo>
                  <a:lnTo>
                    <a:pt x="1558196" y="85772"/>
                  </a:lnTo>
                  <a:lnTo>
                    <a:pt x="1572492" y="81008"/>
                  </a:lnTo>
                  <a:lnTo>
                    <a:pt x="1591552" y="66712"/>
                  </a:lnTo>
                  <a:lnTo>
                    <a:pt x="1620142" y="52416"/>
                  </a:lnTo>
                  <a:lnTo>
                    <a:pt x="1639202" y="47652"/>
                  </a:lnTo>
                  <a:lnTo>
                    <a:pt x="1663028" y="33356"/>
                  </a:lnTo>
                  <a:lnTo>
                    <a:pt x="1677324" y="28590"/>
                  </a:lnTo>
                  <a:lnTo>
                    <a:pt x="1705914" y="28590"/>
                  </a:lnTo>
                  <a:lnTo>
                    <a:pt x="1729740" y="61946"/>
                  </a:lnTo>
                  <a:lnTo>
                    <a:pt x="1758332" y="100068"/>
                  </a:lnTo>
                  <a:lnTo>
                    <a:pt x="1777392" y="128658"/>
                  </a:lnTo>
                  <a:lnTo>
                    <a:pt x="1791688" y="200136"/>
                  </a:lnTo>
                  <a:lnTo>
                    <a:pt x="1796452" y="214430"/>
                  </a:lnTo>
                  <a:lnTo>
                    <a:pt x="1796452" y="223960"/>
                  </a:lnTo>
                  <a:lnTo>
                    <a:pt x="1796452" y="228726"/>
                  </a:lnTo>
                  <a:lnTo>
                    <a:pt x="1796452" y="238256"/>
                  </a:lnTo>
                  <a:lnTo>
                    <a:pt x="1810748" y="243022"/>
                  </a:lnTo>
                  <a:lnTo>
                    <a:pt x="1834574" y="243022"/>
                  </a:lnTo>
                  <a:lnTo>
                    <a:pt x="1848868" y="252552"/>
                  </a:lnTo>
                  <a:lnTo>
                    <a:pt x="1858398" y="266848"/>
                  </a:lnTo>
                  <a:lnTo>
                    <a:pt x="1863164" y="276378"/>
                  </a:lnTo>
                  <a:lnTo>
                    <a:pt x="1867928" y="281142"/>
                  </a:lnTo>
                  <a:lnTo>
                    <a:pt x="1863164" y="300202"/>
                  </a:lnTo>
                  <a:lnTo>
                    <a:pt x="1863164" y="328794"/>
                  </a:lnTo>
                  <a:lnTo>
                    <a:pt x="1853634" y="343090"/>
                  </a:lnTo>
                  <a:lnTo>
                    <a:pt x="1858398" y="366914"/>
                  </a:lnTo>
                  <a:lnTo>
                    <a:pt x="1858398" y="376444"/>
                  </a:lnTo>
                  <a:lnTo>
                    <a:pt x="1853634" y="381210"/>
                  </a:lnTo>
                  <a:lnTo>
                    <a:pt x="1844104" y="390740"/>
                  </a:lnTo>
                  <a:lnTo>
                    <a:pt x="1829808" y="395506"/>
                  </a:lnTo>
                  <a:lnTo>
                    <a:pt x="1801218" y="414566"/>
                  </a:lnTo>
                  <a:lnTo>
                    <a:pt x="1791688" y="419332"/>
                  </a:lnTo>
                  <a:lnTo>
                    <a:pt x="1777392" y="419332"/>
                  </a:lnTo>
                  <a:lnTo>
                    <a:pt x="1763096" y="424096"/>
                  </a:lnTo>
                  <a:lnTo>
                    <a:pt x="1748800" y="438392"/>
                  </a:lnTo>
                  <a:lnTo>
                    <a:pt x="1720210" y="481278"/>
                  </a:lnTo>
                  <a:lnTo>
                    <a:pt x="1696384" y="524164"/>
                  </a:lnTo>
                  <a:lnTo>
                    <a:pt x="1686854" y="557520"/>
                  </a:lnTo>
                  <a:lnTo>
                    <a:pt x="1677324" y="590876"/>
                  </a:lnTo>
                  <a:lnTo>
                    <a:pt x="1653498" y="614702"/>
                  </a:lnTo>
                  <a:lnTo>
                    <a:pt x="1648734" y="624232"/>
                  </a:lnTo>
                  <a:lnTo>
                    <a:pt x="1648734" y="633762"/>
                  </a:lnTo>
                  <a:lnTo>
                    <a:pt x="1648734" y="648058"/>
                  </a:lnTo>
                  <a:lnTo>
                    <a:pt x="1643968" y="676648"/>
                  </a:lnTo>
                  <a:lnTo>
                    <a:pt x="1643968" y="686178"/>
                  </a:lnTo>
                  <a:lnTo>
                    <a:pt x="1639202" y="690944"/>
                  </a:lnTo>
                  <a:lnTo>
                    <a:pt x="1615378" y="700474"/>
                  </a:lnTo>
                  <a:lnTo>
                    <a:pt x="1601082" y="710004"/>
                  </a:lnTo>
                  <a:lnTo>
                    <a:pt x="1591552" y="729064"/>
                  </a:lnTo>
                  <a:lnTo>
                    <a:pt x="1586786" y="748124"/>
                  </a:lnTo>
                  <a:lnTo>
                    <a:pt x="1582022" y="771950"/>
                  </a:lnTo>
                  <a:lnTo>
                    <a:pt x="1582022" y="795776"/>
                  </a:lnTo>
                  <a:lnTo>
                    <a:pt x="1577256" y="805306"/>
                  </a:lnTo>
                  <a:lnTo>
                    <a:pt x="1567726" y="814836"/>
                  </a:lnTo>
                  <a:lnTo>
                    <a:pt x="1558196" y="829132"/>
                  </a:lnTo>
                  <a:lnTo>
                    <a:pt x="1543900" y="838662"/>
                  </a:lnTo>
                  <a:lnTo>
                    <a:pt x="1520074" y="838662"/>
                  </a:lnTo>
                  <a:lnTo>
                    <a:pt x="1505780" y="867252"/>
                  </a:lnTo>
                  <a:lnTo>
                    <a:pt x="1491484" y="891078"/>
                  </a:lnTo>
                  <a:lnTo>
                    <a:pt x="1491484" y="900608"/>
                  </a:lnTo>
                  <a:lnTo>
                    <a:pt x="1477188" y="943494"/>
                  </a:lnTo>
                  <a:lnTo>
                    <a:pt x="1458128" y="976850"/>
                  </a:lnTo>
                  <a:lnTo>
                    <a:pt x="1458128" y="991146"/>
                  </a:lnTo>
                  <a:lnTo>
                    <a:pt x="1458128" y="1000676"/>
                  </a:lnTo>
                  <a:lnTo>
                    <a:pt x="1434302" y="1029268"/>
                  </a:lnTo>
                  <a:lnTo>
                    <a:pt x="1424772" y="1038798"/>
                  </a:lnTo>
                  <a:lnTo>
                    <a:pt x="1420008" y="1048328"/>
                  </a:lnTo>
                  <a:lnTo>
                    <a:pt x="1424772" y="1062624"/>
                  </a:lnTo>
                  <a:lnTo>
                    <a:pt x="1434302" y="1072154"/>
                  </a:lnTo>
                  <a:lnTo>
                    <a:pt x="1420008" y="1081684"/>
                  </a:lnTo>
                  <a:lnTo>
                    <a:pt x="1400946" y="1100744"/>
                  </a:lnTo>
                  <a:lnTo>
                    <a:pt x="1391416" y="1110274"/>
                  </a:lnTo>
                  <a:lnTo>
                    <a:pt x="1386652" y="1115040"/>
                  </a:lnTo>
                  <a:lnTo>
                    <a:pt x="1386652" y="1138864"/>
                  </a:lnTo>
                  <a:lnTo>
                    <a:pt x="1381886" y="1148396"/>
                  </a:lnTo>
                  <a:lnTo>
                    <a:pt x="1372356" y="1157926"/>
                  </a:lnTo>
                  <a:lnTo>
                    <a:pt x="1362826" y="1167456"/>
                  </a:lnTo>
                  <a:lnTo>
                    <a:pt x="1348530" y="1172220"/>
                  </a:lnTo>
                  <a:lnTo>
                    <a:pt x="1334234" y="1176986"/>
                  </a:lnTo>
                  <a:lnTo>
                    <a:pt x="1324704" y="1181752"/>
                  </a:lnTo>
                  <a:lnTo>
                    <a:pt x="1315174" y="1176986"/>
                  </a:lnTo>
                  <a:lnTo>
                    <a:pt x="1310410" y="1172220"/>
                  </a:lnTo>
                  <a:lnTo>
                    <a:pt x="1305644" y="1138864"/>
                  </a:lnTo>
                  <a:lnTo>
                    <a:pt x="1300878" y="1134100"/>
                  </a:lnTo>
                  <a:lnTo>
                    <a:pt x="1291348" y="1129334"/>
                  </a:lnTo>
                  <a:lnTo>
                    <a:pt x="1277054" y="1110274"/>
                  </a:lnTo>
                  <a:lnTo>
                    <a:pt x="1257992" y="1095978"/>
                  </a:lnTo>
                  <a:lnTo>
                    <a:pt x="1238932" y="1081684"/>
                  </a:lnTo>
                  <a:lnTo>
                    <a:pt x="1234168" y="1081684"/>
                  </a:lnTo>
                  <a:lnTo>
                    <a:pt x="1229402" y="1086448"/>
                  </a:lnTo>
                  <a:lnTo>
                    <a:pt x="1224636" y="1105510"/>
                  </a:lnTo>
                  <a:lnTo>
                    <a:pt x="1219872" y="1110274"/>
                  </a:lnTo>
                  <a:lnTo>
                    <a:pt x="1205576" y="1110274"/>
                  </a:lnTo>
                  <a:lnTo>
                    <a:pt x="1186516" y="1110274"/>
                  </a:lnTo>
                  <a:lnTo>
                    <a:pt x="1172220" y="1110274"/>
                  </a:lnTo>
                  <a:lnTo>
                    <a:pt x="1172220" y="1105510"/>
                  </a:lnTo>
                  <a:lnTo>
                    <a:pt x="1167456" y="1100744"/>
                  </a:lnTo>
                  <a:lnTo>
                    <a:pt x="1167456" y="1091214"/>
                  </a:lnTo>
                  <a:lnTo>
                    <a:pt x="1148394" y="1105510"/>
                  </a:lnTo>
                  <a:lnTo>
                    <a:pt x="1124570" y="1124570"/>
                  </a:lnTo>
                  <a:lnTo>
                    <a:pt x="1115038" y="1124570"/>
                  </a:lnTo>
                  <a:lnTo>
                    <a:pt x="1110274" y="1129334"/>
                  </a:lnTo>
                  <a:lnTo>
                    <a:pt x="1100744" y="1148396"/>
                  </a:lnTo>
                  <a:lnTo>
                    <a:pt x="1091214" y="1167456"/>
                  </a:lnTo>
                  <a:lnTo>
                    <a:pt x="1076918" y="1176986"/>
                  </a:lnTo>
                  <a:lnTo>
                    <a:pt x="1062622" y="1181752"/>
                  </a:lnTo>
                  <a:lnTo>
                    <a:pt x="1053092" y="1191282"/>
                  </a:lnTo>
                  <a:lnTo>
                    <a:pt x="1043562" y="1200812"/>
                  </a:lnTo>
                  <a:lnTo>
                    <a:pt x="995910" y="1248462"/>
                  </a:lnTo>
                  <a:lnTo>
                    <a:pt x="986380" y="1262758"/>
                  </a:lnTo>
                  <a:lnTo>
                    <a:pt x="976850" y="1281818"/>
                  </a:lnTo>
                  <a:lnTo>
                    <a:pt x="972084" y="1305644"/>
                  </a:lnTo>
                  <a:lnTo>
                    <a:pt x="962554" y="1334236"/>
                  </a:lnTo>
                  <a:lnTo>
                    <a:pt x="953024" y="1377122"/>
                  </a:lnTo>
                  <a:lnTo>
                    <a:pt x="943494" y="1400946"/>
                  </a:lnTo>
                  <a:lnTo>
                    <a:pt x="929198" y="1420008"/>
                  </a:lnTo>
                  <a:lnTo>
                    <a:pt x="924434" y="1434302"/>
                  </a:lnTo>
                  <a:lnTo>
                    <a:pt x="914904" y="1443832"/>
                  </a:lnTo>
                  <a:lnTo>
                    <a:pt x="910138" y="1448598"/>
                  </a:lnTo>
                  <a:lnTo>
                    <a:pt x="895844" y="1448598"/>
                  </a:lnTo>
                  <a:lnTo>
                    <a:pt x="891078" y="1434302"/>
                  </a:lnTo>
                  <a:lnTo>
                    <a:pt x="886312" y="1434302"/>
                  </a:lnTo>
                  <a:lnTo>
                    <a:pt x="872018" y="1420008"/>
                  </a:lnTo>
                  <a:lnTo>
                    <a:pt x="867252" y="1420008"/>
                  </a:lnTo>
                  <a:lnTo>
                    <a:pt x="881548" y="1458128"/>
                  </a:lnTo>
                  <a:lnTo>
                    <a:pt x="876782" y="1477188"/>
                  </a:lnTo>
                  <a:lnTo>
                    <a:pt x="833896" y="1477188"/>
                  </a:lnTo>
                  <a:lnTo>
                    <a:pt x="800540" y="1481954"/>
                  </a:lnTo>
                  <a:lnTo>
                    <a:pt x="776714" y="1481954"/>
                  </a:lnTo>
                  <a:lnTo>
                    <a:pt x="762420" y="1477188"/>
                  </a:lnTo>
                  <a:lnTo>
                    <a:pt x="757654" y="1458128"/>
                  </a:lnTo>
                  <a:lnTo>
                    <a:pt x="752890" y="1462894"/>
                  </a:lnTo>
                  <a:lnTo>
                    <a:pt x="752890" y="1467658"/>
                  </a:lnTo>
                  <a:lnTo>
                    <a:pt x="743358" y="1477188"/>
                  </a:lnTo>
                  <a:lnTo>
                    <a:pt x="719534" y="1477188"/>
                  </a:lnTo>
                  <a:lnTo>
                    <a:pt x="705238" y="1467658"/>
                  </a:lnTo>
                  <a:lnTo>
                    <a:pt x="695708" y="1458128"/>
                  </a:lnTo>
                  <a:lnTo>
                    <a:pt x="686178" y="1453364"/>
                  </a:lnTo>
                  <a:lnTo>
                    <a:pt x="700472" y="1467658"/>
                  </a:lnTo>
                  <a:lnTo>
                    <a:pt x="700472" y="1481954"/>
                  </a:lnTo>
                  <a:lnTo>
                    <a:pt x="676648" y="1501014"/>
                  </a:lnTo>
                  <a:lnTo>
                    <a:pt x="662352" y="1501014"/>
                  </a:lnTo>
                  <a:lnTo>
                    <a:pt x="652822" y="1496250"/>
                  </a:lnTo>
                  <a:lnTo>
                    <a:pt x="648056" y="1481954"/>
                  </a:lnTo>
                  <a:lnTo>
                    <a:pt x="648056" y="1462894"/>
                  </a:lnTo>
                  <a:lnTo>
                    <a:pt x="643292" y="1448598"/>
                  </a:lnTo>
                  <a:lnTo>
                    <a:pt x="638526" y="1448598"/>
                  </a:lnTo>
                  <a:lnTo>
                    <a:pt x="638526" y="1462894"/>
                  </a:lnTo>
                  <a:lnTo>
                    <a:pt x="643292" y="1472424"/>
                  </a:lnTo>
                  <a:lnTo>
                    <a:pt x="643292" y="1491484"/>
                  </a:lnTo>
                  <a:lnTo>
                    <a:pt x="652822" y="1505780"/>
                  </a:lnTo>
                  <a:lnTo>
                    <a:pt x="638526" y="1510544"/>
                  </a:lnTo>
                  <a:lnTo>
                    <a:pt x="628996" y="1510544"/>
                  </a:lnTo>
                  <a:lnTo>
                    <a:pt x="614700" y="1510544"/>
                  </a:lnTo>
                  <a:lnTo>
                    <a:pt x="614700" y="1505780"/>
                  </a:lnTo>
                  <a:lnTo>
                    <a:pt x="609936" y="1491484"/>
                  </a:lnTo>
                  <a:lnTo>
                    <a:pt x="609936" y="1486720"/>
                  </a:lnTo>
                  <a:lnTo>
                    <a:pt x="605170" y="1510544"/>
                  </a:lnTo>
                  <a:lnTo>
                    <a:pt x="595640" y="1510544"/>
                  </a:lnTo>
                  <a:lnTo>
                    <a:pt x="590874" y="1510544"/>
                  </a:lnTo>
                  <a:lnTo>
                    <a:pt x="562284" y="1515310"/>
                  </a:lnTo>
                  <a:lnTo>
                    <a:pt x="557518" y="1515310"/>
                  </a:lnTo>
                  <a:lnTo>
                    <a:pt x="557518" y="1510544"/>
                  </a:lnTo>
                  <a:lnTo>
                    <a:pt x="562284" y="1505780"/>
                  </a:lnTo>
                  <a:lnTo>
                    <a:pt x="562284" y="1496250"/>
                  </a:lnTo>
                  <a:lnTo>
                    <a:pt x="552754" y="1501014"/>
                  </a:lnTo>
                  <a:lnTo>
                    <a:pt x="547988" y="1515310"/>
                  </a:lnTo>
                  <a:lnTo>
                    <a:pt x="543224" y="1520076"/>
                  </a:lnTo>
                  <a:lnTo>
                    <a:pt x="528928" y="1515310"/>
                  </a:lnTo>
                  <a:lnTo>
                    <a:pt x="514632" y="1510544"/>
                  </a:lnTo>
                  <a:lnTo>
                    <a:pt x="486042" y="1491484"/>
                  </a:lnTo>
                  <a:lnTo>
                    <a:pt x="452686" y="1462894"/>
                  </a:lnTo>
                  <a:lnTo>
                    <a:pt x="447920" y="1448598"/>
                  </a:lnTo>
                  <a:lnTo>
                    <a:pt x="438390" y="1429538"/>
                  </a:lnTo>
                  <a:lnTo>
                    <a:pt x="433626" y="1415242"/>
                  </a:lnTo>
                  <a:lnTo>
                    <a:pt x="424096" y="1386652"/>
                  </a:lnTo>
                  <a:lnTo>
                    <a:pt x="433626" y="1386652"/>
                  </a:lnTo>
                  <a:lnTo>
                    <a:pt x="438390" y="1381886"/>
                  </a:lnTo>
                  <a:lnTo>
                    <a:pt x="424096" y="1377122"/>
                  </a:lnTo>
                  <a:lnTo>
                    <a:pt x="419330" y="1377122"/>
                  </a:lnTo>
                  <a:lnTo>
                    <a:pt x="419330" y="1367592"/>
                  </a:lnTo>
                  <a:lnTo>
                    <a:pt x="419330" y="1353296"/>
                  </a:lnTo>
                  <a:lnTo>
                    <a:pt x="428860" y="1348530"/>
                  </a:lnTo>
                  <a:lnTo>
                    <a:pt x="438390" y="1348530"/>
                  </a:lnTo>
                  <a:lnTo>
                    <a:pt x="443156" y="1339000"/>
                  </a:lnTo>
                  <a:lnTo>
                    <a:pt x="447920" y="1334236"/>
                  </a:lnTo>
                  <a:lnTo>
                    <a:pt x="424096" y="1343766"/>
                  </a:lnTo>
                  <a:lnTo>
                    <a:pt x="400270" y="1329470"/>
                  </a:lnTo>
                  <a:lnTo>
                    <a:pt x="390740" y="1324704"/>
                  </a:lnTo>
                  <a:lnTo>
                    <a:pt x="395504" y="1315174"/>
                  </a:lnTo>
                  <a:lnTo>
                    <a:pt x="405034" y="1315174"/>
                  </a:lnTo>
                  <a:lnTo>
                    <a:pt x="424096" y="1315174"/>
                  </a:lnTo>
                  <a:lnTo>
                    <a:pt x="433626" y="1310410"/>
                  </a:lnTo>
                  <a:lnTo>
                    <a:pt x="428860" y="1310410"/>
                  </a:lnTo>
                  <a:lnTo>
                    <a:pt x="414566" y="1310410"/>
                  </a:lnTo>
                  <a:lnTo>
                    <a:pt x="414566" y="1305644"/>
                  </a:lnTo>
                  <a:lnTo>
                    <a:pt x="414566" y="1296114"/>
                  </a:lnTo>
                  <a:lnTo>
                    <a:pt x="409800" y="1296114"/>
                  </a:lnTo>
                  <a:lnTo>
                    <a:pt x="405034" y="1305644"/>
                  </a:lnTo>
                  <a:lnTo>
                    <a:pt x="390740" y="1310410"/>
                  </a:lnTo>
                  <a:lnTo>
                    <a:pt x="381210" y="1305644"/>
                  </a:lnTo>
                  <a:lnTo>
                    <a:pt x="376444" y="1291348"/>
                  </a:lnTo>
                  <a:lnTo>
                    <a:pt x="376444" y="1286584"/>
                  </a:lnTo>
                  <a:lnTo>
                    <a:pt x="366914" y="1281818"/>
                  </a:lnTo>
                  <a:lnTo>
                    <a:pt x="338324" y="1243698"/>
                  </a:lnTo>
                  <a:lnTo>
                    <a:pt x="304968" y="1215108"/>
                  </a:lnTo>
                  <a:lnTo>
                    <a:pt x="271612" y="1196046"/>
                  </a:lnTo>
                  <a:lnTo>
                    <a:pt x="223960" y="1186516"/>
                  </a:lnTo>
                  <a:lnTo>
                    <a:pt x="123892" y="1186516"/>
                  </a:lnTo>
                  <a:lnTo>
                    <a:pt x="119128" y="1181752"/>
                  </a:lnTo>
                  <a:lnTo>
                    <a:pt x="123892" y="1176986"/>
                  </a:lnTo>
                  <a:lnTo>
                    <a:pt x="133422" y="1176986"/>
                  </a:lnTo>
                  <a:lnTo>
                    <a:pt x="166778" y="1157926"/>
                  </a:lnTo>
                  <a:lnTo>
                    <a:pt x="162014" y="1157926"/>
                  </a:lnTo>
                  <a:lnTo>
                    <a:pt x="128658" y="1167456"/>
                  </a:lnTo>
                  <a:lnTo>
                    <a:pt x="114362" y="1167456"/>
                  </a:lnTo>
                  <a:lnTo>
                    <a:pt x="100066" y="1186516"/>
                  </a:lnTo>
                  <a:lnTo>
                    <a:pt x="14294" y="1191282"/>
                  </a:lnTo>
                  <a:lnTo>
                    <a:pt x="4764" y="1191282"/>
                  </a:lnTo>
                  <a:lnTo>
                    <a:pt x="4764" y="1181752"/>
                  </a:lnTo>
                  <a:lnTo>
                    <a:pt x="9530" y="1157926"/>
                  </a:lnTo>
                  <a:lnTo>
                    <a:pt x="9530" y="1143630"/>
                  </a:lnTo>
                  <a:lnTo>
                    <a:pt x="14294" y="1138864"/>
                  </a:lnTo>
                  <a:lnTo>
                    <a:pt x="9530" y="1129334"/>
                  </a:lnTo>
                  <a:lnTo>
                    <a:pt x="9530" y="1115040"/>
                  </a:lnTo>
                  <a:lnTo>
                    <a:pt x="4764" y="1095978"/>
                  </a:lnTo>
                  <a:lnTo>
                    <a:pt x="9530" y="1091214"/>
                  </a:lnTo>
                  <a:lnTo>
                    <a:pt x="9530" y="1081684"/>
                  </a:lnTo>
                  <a:lnTo>
                    <a:pt x="9530" y="1067388"/>
                  </a:lnTo>
                  <a:lnTo>
                    <a:pt x="9530" y="1029268"/>
                  </a:lnTo>
                  <a:lnTo>
                    <a:pt x="14294" y="1024502"/>
                  </a:lnTo>
                  <a:lnTo>
                    <a:pt x="14294" y="1019736"/>
                  </a:lnTo>
                  <a:lnTo>
                    <a:pt x="9530" y="1005442"/>
                  </a:lnTo>
                  <a:lnTo>
                    <a:pt x="4764" y="995912"/>
                  </a:lnTo>
                  <a:lnTo>
                    <a:pt x="4764" y="976850"/>
                  </a:lnTo>
                  <a:lnTo>
                    <a:pt x="4764" y="962556"/>
                  </a:lnTo>
                  <a:lnTo>
                    <a:pt x="0" y="953026"/>
                  </a:lnTo>
                  <a:lnTo>
                    <a:pt x="4764" y="929200"/>
                  </a:lnTo>
                  <a:lnTo>
                    <a:pt x="4764" y="891078"/>
                  </a:lnTo>
                  <a:lnTo>
                    <a:pt x="4764" y="876784"/>
                  </a:lnTo>
                  <a:lnTo>
                    <a:pt x="4764" y="867252"/>
                  </a:lnTo>
                  <a:lnTo>
                    <a:pt x="9530" y="838662"/>
                  </a:lnTo>
                  <a:lnTo>
                    <a:pt x="9530" y="810072"/>
                  </a:lnTo>
                  <a:lnTo>
                    <a:pt x="14294" y="767186"/>
                  </a:lnTo>
                  <a:lnTo>
                    <a:pt x="33354" y="767186"/>
                  </a:lnTo>
                  <a:lnTo>
                    <a:pt x="57180" y="762420"/>
                  </a:lnTo>
                  <a:lnTo>
                    <a:pt x="66710" y="748124"/>
                  </a:lnTo>
                  <a:lnTo>
                    <a:pt x="71476" y="724300"/>
                  </a:lnTo>
                  <a:lnTo>
                    <a:pt x="71476" y="705238"/>
                  </a:lnTo>
                  <a:lnTo>
                    <a:pt x="76242" y="700474"/>
                  </a:lnTo>
                  <a:lnTo>
                    <a:pt x="85772" y="686178"/>
                  </a:lnTo>
                  <a:lnTo>
                    <a:pt x="100066" y="671882"/>
                  </a:lnTo>
                  <a:lnTo>
                    <a:pt x="100066" y="652822"/>
                  </a:lnTo>
                  <a:lnTo>
                    <a:pt x="104832" y="648058"/>
                  </a:lnTo>
                  <a:lnTo>
                    <a:pt x="114362" y="643292"/>
                  </a:lnTo>
                  <a:lnTo>
                    <a:pt x="123892" y="643292"/>
                  </a:lnTo>
                  <a:lnTo>
                    <a:pt x="138188" y="633762"/>
                  </a:lnTo>
                  <a:lnTo>
                    <a:pt x="142952" y="619466"/>
                  </a:lnTo>
                  <a:lnTo>
                    <a:pt x="152484" y="590876"/>
                  </a:lnTo>
                  <a:lnTo>
                    <a:pt x="138188" y="576580"/>
                  </a:lnTo>
                  <a:lnTo>
                    <a:pt x="138188" y="571816"/>
                  </a:lnTo>
                  <a:lnTo>
                    <a:pt x="142952" y="562284"/>
                  </a:lnTo>
                  <a:lnTo>
                    <a:pt x="152484" y="552754"/>
                  </a:lnTo>
                  <a:lnTo>
                    <a:pt x="157248" y="552754"/>
                  </a:lnTo>
                  <a:lnTo>
                    <a:pt x="166778" y="552754"/>
                  </a:lnTo>
                  <a:lnTo>
                    <a:pt x="171544" y="552754"/>
                  </a:lnTo>
                  <a:lnTo>
                    <a:pt x="171544" y="547990"/>
                  </a:lnTo>
                  <a:lnTo>
                    <a:pt x="181074" y="524164"/>
                  </a:lnTo>
                  <a:lnTo>
                    <a:pt x="181074" y="514634"/>
                  </a:lnTo>
                  <a:lnTo>
                    <a:pt x="166778" y="495574"/>
                  </a:lnTo>
                  <a:lnTo>
                    <a:pt x="166778" y="486042"/>
                  </a:lnTo>
                  <a:lnTo>
                    <a:pt x="162014" y="462218"/>
                  </a:lnTo>
                  <a:lnTo>
                    <a:pt x="162014" y="447922"/>
                  </a:lnTo>
                  <a:lnTo>
                    <a:pt x="157248" y="438392"/>
                  </a:lnTo>
                  <a:lnTo>
                    <a:pt x="152484" y="433626"/>
                  </a:lnTo>
                  <a:lnTo>
                    <a:pt x="147718" y="433626"/>
                  </a:lnTo>
                  <a:lnTo>
                    <a:pt x="123892" y="395506"/>
                  </a:lnTo>
                  <a:lnTo>
                    <a:pt x="123892" y="381210"/>
                  </a:lnTo>
                  <a:lnTo>
                    <a:pt x="138188" y="357384"/>
                  </a:lnTo>
                  <a:lnTo>
                    <a:pt x="142952" y="347854"/>
                  </a:lnTo>
                  <a:lnTo>
                    <a:pt x="152484" y="343090"/>
                  </a:lnTo>
                  <a:lnTo>
                    <a:pt x="152484" y="338324"/>
                  </a:lnTo>
                  <a:lnTo>
                    <a:pt x="152484" y="333558"/>
                  </a:lnTo>
                  <a:lnTo>
                    <a:pt x="147718" y="328794"/>
                  </a:lnTo>
                  <a:lnTo>
                    <a:pt x="142952" y="319264"/>
                  </a:lnTo>
                  <a:lnTo>
                    <a:pt x="147718" y="314498"/>
                  </a:lnTo>
                  <a:lnTo>
                    <a:pt x="147718" y="304968"/>
                  </a:lnTo>
                  <a:lnTo>
                    <a:pt x="147718" y="290672"/>
                  </a:lnTo>
                  <a:lnTo>
                    <a:pt x="147718" y="266848"/>
                  </a:lnTo>
                  <a:lnTo>
                    <a:pt x="147718" y="233492"/>
                  </a:lnTo>
                  <a:lnTo>
                    <a:pt x="152484" y="214430"/>
                  </a:lnTo>
                  <a:lnTo>
                    <a:pt x="171544" y="200136"/>
                  </a:lnTo>
                  <a:lnTo>
                    <a:pt x="195370" y="176310"/>
                  </a:lnTo>
                  <a:lnTo>
                    <a:pt x="209664" y="152484"/>
                  </a:lnTo>
                  <a:lnTo>
                    <a:pt x="219194" y="133424"/>
                  </a:lnTo>
                  <a:lnTo>
                    <a:pt x="228726" y="66712"/>
                  </a:lnTo>
                  <a:lnTo>
                    <a:pt x="233490" y="61946"/>
                  </a:lnTo>
                  <a:lnTo>
                    <a:pt x="243020" y="61946"/>
                  </a:lnTo>
                  <a:lnTo>
                    <a:pt x="271612" y="38122"/>
                  </a:lnTo>
                  <a:lnTo>
                    <a:pt x="295436" y="28590"/>
                  </a:lnTo>
                  <a:lnTo>
                    <a:pt x="309732" y="23826"/>
                  </a:lnTo>
                  <a:lnTo>
                    <a:pt x="333558" y="19060"/>
                  </a:lnTo>
                  <a:lnTo>
                    <a:pt x="347854" y="19060"/>
                  </a:lnTo>
                  <a:lnTo>
                    <a:pt x="376444" y="19060"/>
                  </a:lnTo>
                  <a:lnTo>
                    <a:pt x="400270" y="19060"/>
                  </a:lnTo>
                  <a:lnTo>
                    <a:pt x="419330"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01" name="Google Shape;4768;p64">
              <a:extLst>
                <a:ext uri="{FF2B5EF4-FFF2-40B4-BE49-F238E27FC236}">
                  <a16:creationId xmlns:a16="http://schemas.microsoft.com/office/drawing/2014/main" id="{1F1C2AB1-FAD1-7FBD-0A75-38709E4EB0CB}"/>
                </a:ext>
              </a:extLst>
            </p:cNvPr>
            <p:cNvCxnSpPr/>
            <p:nvPr/>
          </p:nvCxnSpPr>
          <p:spPr>
            <a:xfrm>
              <a:off x="4650323" y="4690827"/>
              <a:ext cx="0" cy="0"/>
            </a:xfrm>
            <a:prstGeom prst="straightConnector1">
              <a:avLst/>
            </a:prstGeom>
            <a:grpFill/>
            <a:ln w="9525" cap="flat" cmpd="sng">
              <a:solidFill>
                <a:schemeClr val="bg2"/>
              </a:solidFill>
              <a:prstDash val="solid"/>
              <a:round/>
              <a:headEnd type="none" w="med" len="med"/>
              <a:tailEnd type="none" w="med" len="med"/>
            </a:ln>
          </p:spPr>
        </p:cxnSp>
        <p:cxnSp>
          <p:nvCxnSpPr>
            <p:cNvPr id="302" name="Google Shape;4769;p64">
              <a:extLst>
                <a:ext uri="{FF2B5EF4-FFF2-40B4-BE49-F238E27FC236}">
                  <a16:creationId xmlns:a16="http://schemas.microsoft.com/office/drawing/2014/main" id="{F1FADF50-BDC1-0B50-412C-FDA9FE8F7B56}"/>
                </a:ext>
              </a:extLst>
            </p:cNvPr>
            <p:cNvCxnSpPr/>
            <p:nvPr/>
          </p:nvCxnSpPr>
          <p:spPr>
            <a:xfrm>
              <a:off x="4650323" y="4690827"/>
              <a:ext cx="0" cy="0"/>
            </a:xfrm>
            <a:prstGeom prst="straightConnector1">
              <a:avLst/>
            </a:prstGeom>
            <a:grpFill/>
            <a:ln w="9525" cap="flat" cmpd="sng">
              <a:solidFill>
                <a:schemeClr val="bg2"/>
              </a:solidFill>
              <a:prstDash val="solid"/>
              <a:round/>
              <a:headEnd type="none" w="med" len="med"/>
              <a:tailEnd type="none" w="med" len="med"/>
            </a:ln>
          </p:spPr>
        </p:cxnSp>
        <p:sp>
          <p:nvSpPr>
            <p:cNvPr id="303" name="Google Shape;4770;p64">
              <a:extLst>
                <a:ext uri="{FF2B5EF4-FFF2-40B4-BE49-F238E27FC236}">
                  <a16:creationId xmlns:a16="http://schemas.microsoft.com/office/drawing/2014/main" id="{5B6E7326-FA89-B182-BB48-D62CB644B2B2}"/>
                </a:ext>
              </a:extLst>
            </p:cNvPr>
            <p:cNvSpPr/>
            <p:nvPr/>
          </p:nvSpPr>
          <p:spPr>
            <a:xfrm>
              <a:off x="2639046" y="4663262"/>
              <a:ext cx="96806" cy="93853"/>
            </a:xfrm>
            <a:custGeom>
              <a:avLst/>
              <a:gdLst/>
              <a:ahLst/>
              <a:cxnLst/>
              <a:rect l="l" t="t" r="r" b="b"/>
              <a:pathLst>
                <a:path w="295" h="286" extrusionOk="0">
                  <a:moveTo>
                    <a:pt x="295" y="0"/>
                  </a:moveTo>
                  <a:lnTo>
                    <a:pt x="279" y="0"/>
                  </a:lnTo>
                  <a:lnTo>
                    <a:pt x="271" y="2"/>
                  </a:lnTo>
                  <a:lnTo>
                    <a:pt x="267" y="6"/>
                  </a:lnTo>
                  <a:lnTo>
                    <a:pt x="265" y="8"/>
                  </a:lnTo>
                  <a:lnTo>
                    <a:pt x="261" y="8"/>
                  </a:lnTo>
                  <a:lnTo>
                    <a:pt x="257" y="10"/>
                  </a:lnTo>
                  <a:lnTo>
                    <a:pt x="249" y="14"/>
                  </a:lnTo>
                  <a:lnTo>
                    <a:pt x="243" y="16"/>
                  </a:lnTo>
                  <a:lnTo>
                    <a:pt x="237" y="14"/>
                  </a:lnTo>
                  <a:lnTo>
                    <a:pt x="235" y="16"/>
                  </a:lnTo>
                  <a:lnTo>
                    <a:pt x="233" y="16"/>
                  </a:lnTo>
                  <a:lnTo>
                    <a:pt x="233" y="18"/>
                  </a:lnTo>
                  <a:lnTo>
                    <a:pt x="231" y="18"/>
                  </a:lnTo>
                  <a:lnTo>
                    <a:pt x="227" y="18"/>
                  </a:lnTo>
                  <a:lnTo>
                    <a:pt x="225" y="16"/>
                  </a:lnTo>
                  <a:lnTo>
                    <a:pt x="223" y="18"/>
                  </a:lnTo>
                  <a:lnTo>
                    <a:pt x="223" y="20"/>
                  </a:lnTo>
                  <a:lnTo>
                    <a:pt x="221" y="20"/>
                  </a:lnTo>
                  <a:lnTo>
                    <a:pt x="219" y="20"/>
                  </a:lnTo>
                  <a:lnTo>
                    <a:pt x="215" y="20"/>
                  </a:lnTo>
                  <a:lnTo>
                    <a:pt x="211" y="24"/>
                  </a:lnTo>
                  <a:lnTo>
                    <a:pt x="205" y="24"/>
                  </a:lnTo>
                  <a:lnTo>
                    <a:pt x="197" y="22"/>
                  </a:lnTo>
                  <a:lnTo>
                    <a:pt x="193" y="20"/>
                  </a:lnTo>
                  <a:lnTo>
                    <a:pt x="189" y="14"/>
                  </a:lnTo>
                  <a:lnTo>
                    <a:pt x="185" y="12"/>
                  </a:lnTo>
                  <a:lnTo>
                    <a:pt x="175" y="16"/>
                  </a:lnTo>
                  <a:lnTo>
                    <a:pt x="173" y="22"/>
                  </a:lnTo>
                  <a:lnTo>
                    <a:pt x="171" y="24"/>
                  </a:lnTo>
                  <a:lnTo>
                    <a:pt x="173" y="26"/>
                  </a:lnTo>
                  <a:lnTo>
                    <a:pt x="171" y="28"/>
                  </a:lnTo>
                  <a:lnTo>
                    <a:pt x="167" y="28"/>
                  </a:lnTo>
                  <a:lnTo>
                    <a:pt x="165" y="32"/>
                  </a:lnTo>
                  <a:lnTo>
                    <a:pt x="163" y="38"/>
                  </a:lnTo>
                  <a:lnTo>
                    <a:pt x="161" y="42"/>
                  </a:lnTo>
                  <a:lnTo>
                    <a:pt x="163" y="44"/>
                  </a:lnTo>
                  <a:lnTo>
                    <a:pt x="161" y="46"/>
                  </a:lnTo>
                  <a:lnTo>
                    <a:pt x="157" y="48"/>
                  </a:lnTo>
                  <a:lnTo>
                    <a:pt x="151" y="52"/>
                  </a:lnTo>
                  <a:lnTo>
                    <a:pt x="143" y="60"/>
                  </a:lnTo>
                  <a:lnTo>
                    <a:pt x="137" y="66"/>
                  </a:lnTo>
                  <a:lnTo>
                    <a:pt x="131" y="68"/>
                  </a:lnTo>
                  <a:lnTo>
                    <a:pt x="127" y="72"/>
                  </a:lnTo>
                  <a:lnTo>
                    <a:pt x="127" y="76"/>
                  </a:lnTo>
                  <a:lnTo>
                    <a:pt x="127" y="78"/>
                  </a:lnTo>
                  <a:lnTo>
                    <a:pt x="123" y="78"/>
                  </a:lnTo>
                  <a:lnTo>
                    <a:pt x="111" y="70"/>
                  </a:lnTo>
                  <a:lnTo>
                    <a:pt x="107" y="64"/>
                  </a:lnTo>
                  <a:lnTo>
                    <a:pt x="103" y="66"/>
                  </a:lnTo>
                  <a:lnTo>
                    <a:pt x="100" y="68"/>
                  </a:lnTo>
                  <a:lnTo>
                    <a:pt x="94" y="74"/>
                  </a:lnTo>
                  <a:lnTo>
                    <a:pt x="88" y="84"/>
                  </a:lnTo>
                  <a:lnTo>
                    <a:pt x="86" y="84"/>
                  </a:lnTo>
                  <a:lnTo>
                    <a:pt x="70" y="82"/>
                  </a:lnTo>
                  <a:lnTo>
                    <a:pt x="62" y="84"/>
                  </a:lnTo>
                  <a:lnTo>
                    <a:pt x="60" y="84"/>
                  </a:lnTo>
                  <a:lnTo>
                    <a:pt x="60" y="88"/>
                  </a:lnTo>
                  <a:lnTo>
                    <a:pt x="60" y="92"/>
                  </a:lnTo>
                  <a:lnTo>
                    <a:pt x="62" y="108"/>
                  </a:lnTo>
                  <a:lnTo>
                    <a:pt x="64" y="114"/>
                  </a:lnTo>
                  <a:lnTo>
                    <a:pt x="62" y="116"/>
                  </a:lnTo>
                  <a:lnTo>
                    <a:pt x="58" y="116"/>
                  </a:lnTo>
                  <a:lnTo>
                    <a:pt x="52" y="118"/>
                  </a:lnTo>
                  <a:lnTo>
                    <a:pt x="50" y="120"/>
                  </a:lnTo>
                  <a:lnTo>
                    <a:pt x="50" y="122"/>
                  </a:lnTo>
                  <a:lnTo>
                    <a:pt x="50" y="126"/>
                  </a:lnTo>
                  <a:lnTo>
                    <a:pt x="48" y="132"/>
                  </a:lnTo>
                  <a:lnTo>
                    <a:pt x="44" y="134"/>
                  </a:lnTo>
                  <a:lnTo>
                    <a:pt x="40" y="136"/>
                  </a:lnTo>
                  <a:lnTo>
                    <a:pt x="22" y="136"/>
                  </a:lnTo>
                  <a:lnTo>
                    <a:pt x="22" y="138"/>
                  </a:lnTo>
                  <a:lnTo>
                    <a:pt x="18" y="140"/>
                  </a:lnTo>
                  <a:lnTo>
                    <a:pt x="16" y="140"/>
                  </a:lnTo>
                  <a:lnTo>
                    <a:pt x="12" y="136"/>
                  </a:lnTo>
                  <a:lnTo>
                    <a:pt x="8" y="132"/>
                  </a:lnTo>
                  <a:lnTo>
                    <a:pt x="6" y="132"/>
                  </a:lnTo>
                  <a:lnTo>
                    <a:pt x="0" y="138"/>
                  </a:lnTo>
                  <a:lnTo>
                    <a:pt x="0" y="142"/>
                  </a:lnTo>
                  <a:lnTo>
                    <a:pt x="14" y="152"/>
                  </a:lnTo>
                  <a:lnTo>
                    <a:pt x="32" y="168"/>
                  </a:lnTo>
                  <a:lnTo>
                    <a:pt x="36" y="172"/>
                  </a:lnTo>
                  <a:lnTo>
                    <a:pt x="54" y="186"/>
                  </a:lnTo>
                  <a:lnTo>
                    <a:pt x="60" y="192"/>
                  </a:lnTo>
                  <a:lnTo>
                    <a:pt x="68" y="204"/>
                  </a:lnTo>
                  <a:lnTo>
                    <a:pt x="80" y="220"/>
                  </a:lnTo>
                  <a:lnTo>
                    <a:pt x="111" y="246"/>
                  </a:lnTo>
                  <a:lnTo>
                    <a:pt x="121" y="256"/>
                  </a:lnTo>
                  <a:lnTo>
                    <a:pt x="127" y="264"/>
                  </a:lnTo>
                  <a:lnTo>
                    <a:pt x="127" y="264"/>
                  </a:lnTo>
                  <a:lnTo>
                    <a:pt x="127" y="264"/>
                  </a:lnTo>
                  <a:lnTo>
                    <a:pt x="129" y="264"/>
                  </a:lnTo>
                  <a:lnTo>
                    <a:pt x="129" y="262"/>
                  </a:lnTo>
                  <a:lnTo>
                    <a:pt x="131" y="258"/>
                  </a:lnTo>
                  <a:lnTo>
                    <a:pt x="133" y="256"/>
                  </a:lnTo>
                  <a:lnTo>
                    <a:pt x="137" y="256"/>
                  </a:lnTo>
                  <a:lnTo>
                    <a:pt x="139" y="258"/>
                  </a:lnTo>
                  <a:lnTo>
                    <a:pt x="151" y="262"/>
                  </a:lnTo>
                  <a:lnTo>
                    <a:pt x="163" y="266"/>
                  </a:lnTo>
                  <a:lnTo>
                    <a:pt x="181" y="272"/>
                  </a:lnTo>
                  <a:lnTo>
                    <a:pt x="189" y="268"/>
                  </a:lnTo>
                  <a:lnTo>
                    <a:pt x="195" y="266"/>
                  </a:lnTo>
                  <a:lnTo>
                    <a:pt x="199" y="266"/>
                  </a:lnTo>
                  <a:lnTo>
                    <a:pt x="209" y="270"/>
                  </a:lnTo>
                  <a:lnTo>
                    <a:pt x="213" y="270"/>
                  </a:lnTo>
                  <a:lnTo>
                    <a:pt x="217" y="270"/>
                  </a:lnTo>
                  <a:lnTo>
                    <a:pt x="223" y="276"/>
                  </a:lnTo>
                  <a:lnTo>
                    <a:pt x="227" y="280"/>
                  </a:lnTo>
                  <a:lnTo>
                    <a:pt x="227" y="282"/>
                  </a:lnTo>
                  <a:lnTo>
                    <a:pt x="229" y="284"/>
                  </a:lnTo>
                  <a:lnTo>
                    <a:pt x="235" y="284"/>
                  </a:lnTo>
                  <a:lnTo>
                    <a:pt x="245" y="286"/>
                  </a:lnTo>
                  <a:lnTo>
                    <a:pt x="253" y="286"/>
                  </a:lnTo>
                  <a:lnTo>
                    <a:pt x="259" y="284"/>
                  </a:lnTo>
                  <a:lnTo>
                    <a:pt x="263" y="280"/>
                  </a:lnTo>
                  <a:lnTo>
                    <a:pt x="263" y="274"/>
                  </a:lnTo>
                  <a:lnTo>
                    <a:pt x="259" y="274"/>
                  </a:lnTo>
                  <a:lnTo>
                    <a:pt x="255" y="268"/>
                  </a:lnTo>
                  <a:lnTo>
                    <a:pt x="251" y="260"/>
                  </a:lnTo>
                  <a:lnTo>
                    <a:pt x="249" y="248"/>
                  </a:lnTo>
                  <a:lnTo>
                    <a:pt x="249" y="246"/>
                  </a:lnTo>
                  <a:lnTo>
                    <a:pt x="251" y="240"/>
                  </a:lnTo>
                  <a:lnTo>
                    <a:pt x="255" y="236"/>
                  </a:lnTo>
                  <a:lnTo>
                    <a:pt x="257" y="232"/>
                  </a:lnTo>
                  <a:lnTo>
                    <a:pt x="263" y="226"/>
                  </a:lnTo>
                  <a:lnTo>
                    <a:pt x="263" y="220"/>
                  </a:lnTo>
                  <a:lnTo>
                    <a:pt x="259" y="214"/>
                  </a:lnTo>
                  <a:lnTo>
                    <a:pt x="257" y="214"/>
                  </a:lnTo>
                  <a:lnTo>
                    <a:pt x="253" y="214"/>
                  </a:lnTo>
                  <a:lnTo>
                    <a:pt x="251" y="212"/>
                  </a:lnTo>
                  <a:lnTo>
                    <a:pt x="253" y="208"/>
                  </a:lnTo>
                  <a:lnTo>
                    <a:pt x="255" y="206"/>
                  </a:lnTo>
                  <a:lnTo>
                    <a:pt x="255" y="204"/>
                  </a:lnTo>
                  <a:lnTo>
                    <a:pt x="255" y="198"/>
                  </a:lnTo>
                  <a:lnTo>
                    <a:pt x="259" y="198"/>
                  </a:lnTo>
                  <a:lnTo>
                    <a:pt x="261" y="200"/>
                  </a:lnTo>
                  <a:lnTo>
                    <a:pt x="261" y="200"/>
                  </a:lnTo>
                  <a:lnTo>
                    <a:pt x="261" y="186"/>
                  </a:lnTo>
                  <a:lnTo>
                    <a:pt x="263" y="182"/>
                  </a:lnTo>
                  <a:lnTo>
                    <a:pt x="263" y="180"/>
                  </a:lnTo>
                  <a:lnTo>
                    <a:pt x="259" y="174"/>
                  </a:lnTo>
                  <a:lnTo>
                    <a:pt x="257" y="168"/>
                  </a:lnTo>
                  <a:lnTo>
                    <a:pt x="259" y="166"/>
                  </a:lnTo>
                  <a:lnTo>
                    <a:pt x="261" y="164"/>
                  </a:lnTo>
                  <a:lnTo>
                    <a:pt x="265" y="160"/>
                  </a:lnTo>
                  <a:lnTo>
                    <a:pt x="267" y="154"/>
                  </a:lnTo>
                  <a:lnTo>
                    <a:pt x="269" y="158"/>
                  </a:lnTo>
                  <a:lnTo>
                    <a:pt x="267" y="164"/>
                  </a:lnTo>
                  <a:lnTo>
                    <a:pt x="265" y="168"/>
                  </a:lnTo>
                  <a:lnTo>
                    <a:pt x="265" y="172"/>
                  </a:lnTo>
                  <a:lnTo>
                    <a:pt x="267" y="176"/>
                  </a:lnTo>
                  <a:lnTo>
                    <a:pt x="269" y="176"/>
                  </a:lnTo>
                  <a:lnTo>
                    <a:pt x="273" y="174"/>
                  </a:lnTo>
                  <a:lnTo>
                    <a:pt x="271" y="168"/>
                  </a:lnTo>
                  <a:lnTo>
                    <a:pt x="271" y="162"/>
                  </a:lnTo>
                  <a:lnTo>
                    <a:pt x="273" y="138"/>
                  </a:lnTo>
                  <a:lnTo>
                    <a:pt x="269" y="114"/>
                  </a:lnTo>
                  <a:lnTo>
                    <a:pt x="273" y="86"/>
                  </a:lnTo>
                  <a:lnTo>
                    <a:pt x="279" y="68"/>
                  </a:lnTo>
                  <a:lnTo>
                    <a:pt x="283" y="64"/>
                  </a:lnTo>
                  <a:lnTo>
                    <a:pt x="287" y="56"/>
                  </a:lnTo>
                  <a:lnTo>
                    <a:pt x="293" y="50"/>
                  </a:lnTo>
                  <a:lnTo>
                    <a:pt x="293" y="44"/>
                  </a:lnTo>
                  <a:lnTo>
                    <a:pt x="287" y="16"/>
                  </a:lnTo>
                  <a:lnTo>
                    <a:pt x="283" y="16"/>
                  </a:lnTo>
                  <a:lnTo>
                    <a:pt x="281" y="16"/>
                  </a:lnTo>
                  <a:lnTo>
                    <a:pt x="279" y="12"/>
                  </a:lnTo>
                  <a:lnTo>
                    <a:pt x="281" y="8"/>
                  </a:lnTo>
                  <a:lnTo>
                    <a:pt x="283" y="6"/>
                  </a:lnTo>
                  <a:lnTo>
                    <a:pt x="285" y="8"/>
                  </a:lnTo>
                  <a:lnTo>
                    <a:pt x="287" y="14"/>
                  </a:lnTo>
                  <a:lnTo>
                    <a:pt x="287" y="12"/>
                  </a:lnTo>
                  <a:lnTo>
                    <a:pt x="291" y="4"/>
                  </a:lnTo>
                  <a:lnTo>
                    <a:pt x="293" y="2"/>
                  </a:lnTo>
                  <a:lnTo>
                    <a:pt x="295"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04" name="Google Shape;4771;p64">
              <a:extLst>
                <a:ext uri="{FF2B5EF4-FFF2-40B4-BE49-F238E27FC236}">
                  <a16:creationId xmlns:a16="http://schemas.microsoft.com/office/drawing/2014/main" id="{C58F1508-4C2D-363F-6A92-CFBCEEBA566D}"/>
                </a:ext>
              </a:extLst>
            </p:cNvPr>
            <p:cNvCxnSpPr/>
            <p:nvPr/>
          </p:nvCxnSpPr>
          <p:spPr>
            <a:xfrm>
              <a:off x="2735853" y="4663262"/>
              <a:ext cx="0" cy="0"/>
            </a:xfrm>
            <a:prstGeom prst="straightConnector1">
              <a:avLst/>
            </a:prstGeom>
            <a:grpFill/>
            <a:ln w="9525" cap="flat" cmpd="sng">
              <a:solidFill>
                <a:schemeClr val="bg2"/>
              </a:solidFill>
              <a:prstDash val="solid"/>
              <a:round/>
              <a:headEnd type="none" w="med" len="med"/>
              <a:tailEnd type="none" w="med" len="med"/>
            </a:ln>
          </p:spPr>
        </p:cxnSp>
        <p:cxnSp>
          <p:nvCxnSpPr>
            <p:cNvPr id="305" name="Google Shape;4772;p64">
              <a:extLst>
                <a:ext uri="{FF2B5EF4-FFF2-40B4-BE49-F238E27FC236}">
                  <a16:creationId xmlns:a16="http://schemas.microsoft.com/office/drawing/2014/main" id="{6F34EE7D-159D-B635-3119-5D6E816454D6}"/>
                </a:ext>
              </a:extLst>
            </p:cNvPr>
            <p:cNvCxnSpPr/>
            <p:nvPr/>
          </p:nvCxnSpPr>
          <p:spPr>
            <a:xfrm>
              <a:off x="2735853" y="4663262"/>
              <a:ext cx="0" cy="0"/>
            </a:xfrm>
            <a:prstGeom prst="straightConnector1">
              <a:avLst/>
            </a:prstGeom>
            <a:grpFill/>
            <a:ln w="9525" cap="flat" cmpd="sng">
              <a:solidFill>
                <a:schemeClr val="bg2"/>
              </a:solidFill>
              <a:prstDash val="solid"/>
              <a:round/>
              <a:headEnd type="none" w="med" len="med"/>
              <a:tailEnd type="none" w="med" len="med"/>
            </a:ln>
          </p:spPr>
        </p:cxnSp>
        <p:sp>
          <p:nvSpPr>
            <p:cNvPr id="306" name="Google Shape;4773;p64">
              <a:extLst>
                <a:ext uri="{FF2B5EF4-FFF2-40B4-BE49-F238E27FC236}">
                  <a16:creationId xmlns:a16="http://schemas.microsoft.com/office/drawing/2014/main" id="{188F5C87-8499-6CCF-806A-7D0734ED3528}"/>
                </a:ext>
              </a:extLst>
            </p:cNvPr>
            <p:cNvSpPr/>
            <p:nvPr/>
          </p:nvSpPr>
          <p:spPr>
            <a:xfrm>
              <a:off x="3054165" y="4722986"/>
              <a:ext cx="3281" cy="5907"/>
            </a:xfrm>
            <a:custGeom>
              <a:avLst/>
              <a:gdLst/>
              <a:ahLst/>
              <a:cxnLst/>
              <a:rect l="l" t="t" r="r" b="b"/>
              <a:pathLst>
                <a:path w="10" h="18" extrusionOk="0">
                  <a:moveTo>
                    <a:pt x="10" y="10"/>
                  </a:moveTo>
                  <a:lnTo>
                    <a:pt x="8" y="18"/>
                  </a:lnTo>
                  <a:lnTo>
                    <a:pt x="6" y="14"/>
                  </a:lnTo>
                  <a:lnTo>
                    <a:pt x="6" y="8"/>
                  </a:lnTo>
                  <a:lnTo>
                    <a:pt x="4" y="6"/>
                  </a:lnTo>
                  <a:lnTo>
                    <a:pt x="2" y="4"/>
                  </a:lnTo>
                  <a:lnTo>
                    <a:pt x="0" y="2"/>
                  </a:lnTo>
                  <a:lnTo>
                    <a:pt x="0" y="0"/>
                  </a:lnTo>
                  <a:lnTo>
                    <a:pt x="10" y="4"/>
                  </a:lnTo>
                  <a:lnTo>
                    <a:pt x="10"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07" name="Google Shape;4774;p64">
              <a:extLst>
                <a:ext uri="{FF2B5EF4-FFF2-40B4-BE49-F238E27FC236}">
                  <a16:creationId xmlns:a16="http://schemas.microsoft.com/office/drawing/2014/main" id="{882E599C-DD2C-5072-576D-2CFD48EB5735}"/>
                </a:ext>
              </a:extLst>
            </p:cNvPr>
            <p:cNvSpPr/>
            <p:nvPr/>
          </p:nvSpPr>
          <p:spPr>
            <a:xfrm>
              <a:off x="3169677" y="4606162"/>
              <a:ext cx="1313" cy="1313"/>
            </a:xfrm>
            <a:custGeom>
              <a:avLst/>
              <a:gdLst/>
              <a:ahLst/>
              <a:cxnLst/>
              <a:rect l="l" t="t" r="r" b="b"/>
              <a:pathLst>
                <a:path w="4" h="4" extrusionOk="0">
                  <a:moveTo>
                    <a:pt x="4" y="4"/>
                  </a:moveTo>
                  <a:lnTo>
                    <a:pt x="2" y="4"/>
                  </a:lnTo>
                  <a:lnTo>
                    <a:pt x="2" y="4"/>
                  </a:lnTo>
                  <a:lnTo>
                    <a:pt x="0" y="4"/>
                  </a:lnTo>
                  <a:lnTo>
                    <a:pt x="0" y="0"/>
                  </a:lnTo>
                  <a:lnTo>
                    <a:pt x="2" y="2"/>
                  </a:lnTo>
                  <a:lnTo>
                    <a:pt x="2" y="2"/>
                  </a:lnTo>
                  <a:lnTo>
                    <a:pt x="4"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08" name="Google Shape;4775;p64">
              <a:extLst>
                <a:ext uri="{FF2B5EF4-FFF2-40B4-BE49-F238E27FC236}">
                  <a16:creationId xmlns:a16="http://schemas.microsoft.com/office/drawing/2014/main" id="{6D71E8C5-08B7-9030-B993-B17572DC96AE}"/>
                </a:ext>
              </a:extLst>
            </p:cNvPr>
            <p:cNvSpPr/>
            <p:nvPr/>
          </p:nvSpPr>
          <p:spPr>
            <a:xfrm>
              <a:off x="3164426" y="4603537"/>
              <a:ext cx="657" cy="657"/>
            </a:xfrm>
            <a:custGeom>
              <a:avLst/>
              <a:gdLst/>
              <a:ahLst/>
              <a:cxnLst/>
              <a:rect l="l" t="t" r="r" b="b"/>
              <a:pathLst>
                <a:path w="2" h="2" extrusionOk="0">
                  <a:moveTo>
                    <a:pt x="0" y="2"/>
                  </a:moveTo>
                  <a:lnTo>
                    <a:pt x="0" y="2"/>
                  </a:lnTo>
                  <a:lnTo>
                    <a:pt x="0" y="2"/>
                  </a:lnTo>
                  <a:lnTo>
                    <a:pt x="0" y="0"/>
                  </a:lnTo>
                  <a:lnTo>
                    <a:pt x="0" y="0"/>
                  </a:lnTo>
                  <a:lnTo>
                    <a:pt x="0" y="0"/>
                  </a:lnTo>
                  <a:lnTo>
                    <a:pt x="2" y="2"/>
                  </a:lnTo>
                  <a:lnTo>
                    <a:pt x="0"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09" name="Google Shape;4776;p64">
              <a:extLst>
                <a:ext uri="{FF2B5EF4-FFF2-40B4-BE49-F238E27FC236}">
                  <a16:creationId xmlns:a16="http://schemas.microsoft.com/office/drawing/2014/main" id="{09246F96-82DE-B0D6-FCA7-AA4BF8FCC192}"/>
                </a:ext>
              </a:extLst>
            </p:cNvPr>
            <p:cNvSpPr/>
            <p:nvPr/>
          </p:nvSpPr>
          <p:spPr>
            <a:xfrm>
              <a:off x="4628008" y="2776357"/>
              <a:ext cx="563118" cy="672723"/>
            </a:xfrm>
            <a:custGeom>
              <a:avLst/>
              <a:gdLst/>
              <a:ahLst/>
              <a:cxnLst/>
              <a:rect l="l" t="t" r="r" b="b"/>
              <a:pathLst>
                <a:path w="4088480" h="4884255" extrusionOk="0">
                  <a:moveTo>
                    <a:pt x="28592" y="4140896"/>
                  </a:moveTo>
                  <a:lnTo>
                    <a:pt x="33356" y="4140896"/>
                  </a:lnTo>
                  <a:lnTo>
                    <a:pt x="42886" y="4159956"/>
                  </a:lnTo>
                  <a:lnTo>
                    <a:pt x="47652" y="4188547"/>
                  </a:lnTo>
                  <a:lnTo>
                    <a:pt x="47652" y="4221903"/>
                  </a:lnTo>
                  <a:lnTo>
                    <a:pt x="33356" y="4221903"/>
                  </a:lnTo>
                  <a:lnTo>
                    <a:pt x="28592" y="4207608"/>
                  </a:lnTo>
                  <a:lnTo>
                    <a:pt x="23826" y="4198077"/>
                  </a:lnTo>
                  <a:lnTo>
                    <a:pt x="23826" y="4174252"/>
                  </a:lnTo>
                  <a:lnTo>
                    <a:pt x="23826" y="4155191"/>
                  </a:lnTo>
                  <a:close/>
                  <a:moveTo>
                    <a:pt x="9530" y="3902639"/>
                  </a:moveTo>
                  <a:lnTo>
                    <a:pt x="19060" y="3902639"/>
                  </a:lnTo>
                  <a:lnTo>
                    <a:pt x="28592" y="3916934"/>
                  </a:lnTo>
                  <a:lnTo>
                    <a:pt x="28592" y="3940760"/>
                  </a:lnTo>
                  <a:lnTo>
                    <a:pt x="14296" y="3945525"/>
                  </a:lnTo>
                  <a:lnTo>
                    <a:pt x="0" y="3940760"/>
                  </a:lnTo>
                  <a:lnTo>
                    <a:pt x="4766" y="3907404"/>
                  </a:lnTo>
                  <a:close/>
                  <a:moveTo>
                    <a:pt x="514634" y="3135454"/>
                  </a:moveTo>
                  <a:lnTo>
                    <a:pt x="524164" y="3149749"/>
                  </a:lnTo>
                  <a:lnTo>
                    <a:pt x="524164" y="3173575"/>
                  </a:lnTo>
                  <a:lnTo>
                    <a:pt x="519398" y="3183105"/>
                  </a:lnTo>
                  <a:lnTo>
                    <a:pt x="500338" y="3183105"/>
                  </a:lnTo>
                  <a:lnTo>
                    <a:pt x="486044" y="3178340"/>
                  </a:lnTo>
                  <a:lnTo>
                    <a:pt x="471748" y="3168810"/>
                  </a:lnTo>
                  <a:lnTo>
                    <a:pt x="471748" y="3159279"/>
                  </a:lnTo>
                  <a:lnTo>
                    <a:pt x="490808" y="3144984"/>
                  </a:lnTo>
                  <a:close/>
                  <a:moveTo>
                    <a:pt x="614702" y="3021091"/>
                  </a:moveTo>
                  <a:lnTo>
                    <a:pt x="619466" y="3021091"/>
                  </a:lnTo>
                  <a:lnTo>
                    <a:pt x="628996" y="3030621"/>
                  </a:lnTo>
                  <a:lnTo>
                    <a:pt x="628996" y="3049682"/>
                  </a:lnTo>
                  <a:lnTo>
                    <a:pt x="624232" y="3054447"/>
                  </a:lnTo>
                  <a:lnTo>
                    <a:pt x="576580" y="3068742"/>
                  </a:lnTo>
                  <a:lnTo>
                    <a:pt x="557520" y="3068742"/>
                  </a:lnTo>
                  <a:lnTo>
                    <a:pt x="547990" y="3059212"/>
                  </a:lnTo>
                  <a:lnTo>
                    <a:pt x="571816" y="3044917"/>
                  </a:lnTo>
                  <a:lnTo>
                    <a:pt x="609936" y="3030621"/>
                  </a:lnTo>
                  <a:close/>
                  <a:moveTo>
                    <a:pt x="972086" y="2596995"/>
                  </a:moveTo>
                  <a:lnTo>
                    <a:pt x="991146" y="2596995"/>
                  </a:lnTo>
                  <a:lnTo>
                    <a:pt x="1010208" y="2620821"/>
                  </a:lnTo>
                  <a:lnTo>
                    <a:pt x="1005442" y="2635116"/>
                  </a:lnTo>
                  <a:lnTo>
                    <a:pt x="995912" y="2644646"/>
                  </a:lnTo>
                  <a:lnTo>
                    <a:pt x="981616" y="2639881"/>
                  </a:lnTo>
                  <a:lnTo>
                    <a:pt x="943496" y="2644646"/>
                  </a:lnTo>
                  <a:lnTo>
                    <a:pt x="929200" y="2635116"/>
                  </a:lnTo>
                  <a:lnTo>
                    <a:pt x="938730" y="2616055"/>
                  </a:lnTo>
                  <a:close/>
                  <a:moveTo>
                    <a:pt x="1105510" y="2325382"/>
                  </a:moveTo>
                  <a:lnTo>
                    <a:pt x="1124570" y="2325382"/>
                  </a:lnTo>
                  <a:lnTo>
                    <a:pt x="1129336" y="2334912"/>
                  </a:lnTo>
                  <a:lnTo>
                    <a:pt x="1119804" y="2353973"/>
                  </a:lnTo>
                  <a:lnTo>
                    <a:pt x="1110274" y="2363503"/>
                  </a:lnTo>
                  <a:lnTo>
                    <a:pt x="1091214" y="2363503"/>
                  </a:lnTo>
                  <a:lnTo>
                    <a:pt x="1091214" y="2353973"/>
                  </a:lnTo>
                  <a:lnTo>
                    <a:pt x="1095980" y="2330147"/>
                  </a:lnTo>
                  <a:close/>
                  <a:moveTo>
                    <a:pt x="1224638" y="2206254"/>
                  </a:moveTo>
                  <a:lnTo>
                    <a:pt x="1243698" y="2206254"/>
                  </a:lnTo>
                  <a:lnTo>
                    <a:pt x="1248464" y="2215784"/>
                  </a:lnTo>
                  <a:lnTo>
                    <a:pt x="1238934" y="2225314"/>
                  </a:lnTo>
                  <a:lnTo>
                    <a:pt x="1205578" y="2249140"/>
                  </a:lnTo>
                  <a:lnTo>
                    <a:pt x="1191282" y="2249140"/>
                  </a:lnTo>
                  <a:lnTo>
                    <a:pt x="1191282" y="2234845"/>
                  </a:lnTo>
                  <a:lnTo>
                    <a:pt x="1200812" y="2220549"/>
                  </a:lnTo>
                  <a:lnTo>
                    <a:pt x="1210342" y="2211019"/>
                  </a:lnTo>
                  <a:close/>
                  <a:moveTo>
                    <a:pt x="1210342" y="2130012"/>
                  </a:moveTo>
                  <a:lnTo>
                    <a:pt x="1224638" y="2144307"/>
                  </a:lnTo>
                  <a:lnTo>
                    <a:pt x="1224638" y="2163368"/>
                  </a:lnTo>
                  <a:lnTo>
                    <a:pt x="1215108" y="2182429"/>
                  </a:lnTo>
                  <a:lnTo>
                    <a:pt x="1191282" y="2196724"/>
                  </a:lnTo>
                  <a:lnTo>
                    <a:pt x="1176988" y="2196724"/>
                  </a:lnTo>
                  <a:lnTo>
                    <a:pt x="1181752" y="2182429"/>
                  </a:lnTo>
                  <a:lnTo>
                    <a:pt x="1191282" y="2163368"/>
                  </a:lnTo>
                  <a:lnTo>
                    <a:pt x="1196048" y="2153838"/>
                  </a:lnTo>
                  <a:lnTo>
                    <a:pt x="1200812" y="2139542"/>
                  </a:lnTo>
                  <a:close/>
                  <a:moveTo>
                    <a:pt x="1291350" y="1381887"/>
                  </a:moveTo>
                  <a:lnTo>
                    <a:pt x="1300880" y="1391417"/>
                  </a:lnTo>
                  <a:lnTo>
                    <a:pt x="1296114" y="1410478"/>
                  </a:lnTo>
                  <a:lnTo>
                    <a:pt x="1296114" y="1429538"/>
                  </a:lnTo>
                  <a:lnTo>
                    <a:pt x="1296114" y="1439069"/>
                  </a:lnTo>
                  <a:lnTo>
                    <a:pt x="1277054" y="1462894"/>
                  </a:lnTo>
                  <a:lnTo>
                    <a:pt x="1253228" y="1486720"/>
                  </a:lnTo>
                  <a:lnTo>
                    <a:pt x="1262760" y="1443834"/>
                  </a:lnTo>
                  <a:lnTo>
                    <a:pt x="1277054" y="1405713"/>
                  </a:lnTo>
                  <a:close/>
                  <a:moveTo>
                    <a:pt x="1391418" y="1296115"/>
                  </a:moveTo>
                  <a:lnTo>
                    <a:pt x="1405712" y="1296115"/>
                  </a:lnTo>
                  <a:lnTo>
                    <a:pt x="1420008" y="1300880"/>
                  </a:lnTo>
                  <a:lnTo>
                    <a:pt x="1429538" y="1305645"/>
                  </a:lnTo>
                  <a:lnTo>
                    <a:pt x="1453364" y="1305645"/>
                  </a:lnTo>
                  <a:lnTo>
                    <a:pt x="1458128" y="1305645"/>
                  </a:lnTo>
                  <a:lnTo>
                    <a:pt x="1453364" y="1319941"/>
                  </a:lnTo>
                  <a:lnTo>
                    <a:pt x="1443834" y="1334236"/>
                  </a:lnTo>
                  <a:lnTo>
                    <a:pt x="1420008" y="1339001"/>
                  </a:lnTo>
                  <a:lnTo>
                    <a:pt x="1410478" y="1362827"/>
                  </a:lnTo>
                  <a:lnTo>
                    <a:pt x="1405712" y="1367592"/>
                  </a:lnTo>
                  <a:lnTo>
                    <a:pt x="1386652" y="1367592"/>
                  </a:lnTo>
                  <a:lnTo>
                    <a:pt x="1372356" y="1372357"/>
                  </a:lnTo>
                  <a:lnTo>
                    <a:pt x="1358062" y="1391417"/>
                  </a:lnTo>
                  <a:lnTo>
                    <a:pt x="1348530" y="1377122"/>
                  </a:lnTo>
                  <a:lnTo>
                    <a:pt x="1343766" y="1386652"/>
                  </a:lnTo>
                  <a:lnTo>
                    <a:pt x="1343766" y="1400948"/>
                  </a:lnTo>
                  <a:lnTo>
                    <a:pt x="1339000" y="1405713"/>
                  </a:lnTo>
                  <a:lnTo>
                    <a:pt x="1319940" y="1410478"/>
                  </a:lnTo>
                  <a:lnTo>
                    <a:pt x="1315176" y="1372357"/>
                  </a:lnTo>
                  <a:lnTo>
                    <a:pt x="1324706" y="1362827"/>
                  </a:lnTo>
                  <a:lnTo>
                    <a:pt x="1329470" y="1343766"/>
                  </a:lnTo>
                  <a:lnTo>
                    <a:pt x="1339000" y="1339001"/>
                  </a:lnTo>
                  <a:lnTo>
                    <a:pt x="1348530" y="1343766"/>
                  </a:lnTo>
                  <a:lnTo>
                    <a:pt x="1367592" y="1305645"/>
                  </a:lnTo>
                  <a:close/>
                  <a:moveTo>
                    <a:pt x="1610612" y="981617"/>
                  </a:moveTo>
                  <a:lnTo>
                    <a:pt x="1615378" y="981617"/>
                  </a:lnTo>
                  <a:lnTo>
                    <a:pt x="1620144" y="991147"/>
                  </a:lnTo>
                  <a:lnTo>
                    <a:pt x="1629674" y="1010208"/>
                  </a:lnTo>
                  <a:lnTo>
                    <a:pt x="1648734" y="1053094"/>
                  </a:lnTo>
                  <a:lnTo>
                    <a:pt x="1658264" y="1076920"/>
                  </a:lnTo>
                  <a:lnTo>
                    <a:pt x="1648734" y="1124571"/>
                  </a:lnTo>
                  <a:lnTo>
                    <a:pt x="1629674" y="1148397"/>
                  </a:lnTo>
                  <a:lnTo>
                    <a:pt x="1601082" y="1153162"/>
                  </a:lnTo>
                  <a:lnTo>
                    <a:pt x="1577256" y="1153162"/>
                  </a:lnTo>
                  <a:lnTo>
                    <a:pt x="1562962" y="1138867"/>
                  </a:lnTo>
                  <a:lnTo>
                    <a:pt x="1562962" y="1129336"/>
                  </a:lnTo>
                  <a:lnTo>
                    <a:pt x="1553432" y="1124571"/>
                  </a:lnTo>
                  <a:lnTo>
                    <a:pt x="1534370" y="1138867"/>
                  </a:lnTo>
                  <a:lnTo>
                    <a:pt x="1520076" y="1143632"/>
                  </a:lnTo>
                  <a:lnTo>
                    <a:pt x="1501016" y="1129336"/>
                  </a:lnTo>
                  <a:lnTo>
                    <a:pt x="1496250" y="1110276"/>
                  </a:lnTo>
                  <a:lnTo>
                    <a:pt x="1515310" y="1081685"/>
                  </a:lnTo>
                  <a:lnTo>
                    <a:pt x="1524840" y="1062624"/>
                  </a:lnTo>
                  <a:lnTo>
                    <a:pt x="1548666" y="1067389"/>
                  </a:lnTo>
                  <a:lnTo>
                    <a:pt x="1553432" y="1072155"/>
                  </a:lnTo>
                  <a:lnTo>
                    <a:pt x="1562962" y="1076920"/>
                  </a:lnTo>
                  <a:lnTo>
                    <a:pt x="1572492" y="1053094"/>
                  </a:lnTo>
                  <a:lnTo>
                    <a:pt x="1567726" y="1034034"/>
                  </a:lnTo>
                  <a:lnTo>
                    <a:pt x="1577256" y="1019738"/>
                  </a:lnTo>
                  <a:lnTo>
                    <a:pt x="1601082" y="1029268"/>
                  </a:lnTo>
                  <a:lnTo>
                    <a:pt x="1601082" y="986382"/>
                  </a:lnTo>
                  <a:close/>
                  <a:moveTo>
                    <a:pt x="1744038" y="852958"/>
                  </a:moveTo>
                  <a:lnTo>
                    <a:pt x="1758332" y="852958"/>
                  </a:lnTo>
                  <a:lnTo>
                    <a:pt x="1772628" y="862488"/>
                  </a:lnTo>
                  <a:lnTo>
                    <a:pt x="1767864" y="891079"/>
                  </a:lnTo>
                  <a:lnTo>
                    <a:pt x="1748802" y="933965"/>
                  </a:lnTo>
                  <a:lnTo>
                    <a:pt x="1720212" y="972086"/>
                  </a:lnTo>
                  <a:lnTo>
                    <a:pt x="1724976" y="1000677"/>
                  </a:lnTo>
                  <a:lnTo>
                    <a:pt x="1734508" y="1024503"/>
                  </a:lnTo>
                  <a:lnTo>
                    <a:pt x="1739272" y="1062624"/>
                  </a:lnTo>
                  <a:lnTo>
                    <a:pt x="1739272" y="1100745"/>
                  </a:lnTo>
                  <a:lnTo>
                    <a:pt x="1720212" y="1148396"/>
                  </a:lnTo>
                  <a:lnTo>
                    <a:pt x="1715446" y="1172222"/>
                  </a:lnTo>
                  <a:lnTo>
                    <a:pt x="1715446" y="1176987"/>
                  </a:lnTo>
                  <a:lnTo>
                    <a:pt x="1739272" y="1134101"/>
                  </a:lnTo>
                  <a:lnTo>
                    <a:pt x="1758332" y="1124570"/>
                  </a:lnTo>
                  <a:lnTo>
                    <a:pt x="1763098" y="1110275"/>
                  </a:lnTo>
                  <a:lnTo>
                    <a:pt x="1772628" y="1095980"/>
                  </a:lnTo>
                  <a:lnTo>
                    <a:pt x="1772628" y="1072154"/>
                  </a:lnTo>
                  <a:lnTo>
                    <a:pt x="1772628" y="1053093"/>
                  </a:lnTo>
                  <a:lnTo>
                    <a:pt x="1786924" y="1048328"/>
                  </a:lnTo>
                  <a:lnTo>
                    <a:pt x="1796454" y="1043563"/>
                  </a:lnTo>
                  <a:lnTo>
                    <a:pt x="1801220" y="1038798"/>
                  </a:lnTo>
                  <a:lnTo>
                    <a:pt x="1815514" y="1053093"/>
                  </a:lnTo>
                  <a:lnTo>
                    <a:pt x="1825044" y="1072154"/>
                  </a:lnTo>
                  <a:lnTo>
                    <a:pt x="1834576" y="1105510"/>
                  </a:lnTo>
                  <a:lnTo>
                    <a:pt x="1834576" y="1143631"/>
                  </a:lnTo>
                  <a:lnTo>
                    <a:pt x="1805984" y="1172222"/>
                  </a:lnTo>
                  <a:lnTo>
                    <a:pt x="1782158" y="1181752"/>
                  </a:lnTo>
                  <a:lnTo>
                    <a:pt x="1758332" y="1215108"/>
                  </a:lnTo>
                  <a:lnTo>
                    <a:pt x="1748802" y="1243699"/>
                  </a:lnTo>
                  <a:lnTo>
                    <a:pt x="1739272" y="1248464"/>
                  </a:lnTo>
                  <a:lnTo>
                    <a:pt x="1729742" y="1243699"/>
                  </a:lnTo>
                  <a:lnTo>
                    <a:pt x="1724976" y="1238933"/>
                  </a:lnTo>
                  <a:lnTo>
                    <a:pt x="1715446" y="1238933"/>
                  </a:lnTo>
                  <a:lnTo>
                    <a:pt x="1701152" y="1262759"/>
                  </a:lnTo>
                  <a:lnTo>
                    <a:pt x="1663030" y="1281820"/>
                  </a:lnTo>
                  <a:lnTo>
                    <a:pt x="1648734" y="1272289"/>
                  </a:lnTo>
                  <a:lnTo>
                    <a:pt x="1648734" y="1253229"/>
                  </a:lnTo>
                  <a:lnTo>
                    <a:pt x="1639204" y="1253229"/>
                  </a:lnTo>
                  <a:lnTo>
                    <a:pt x="1624910" y="1281820"/>
                  </a:lnTo>
                  <a:lnTo>
                    <a:pt x="1610614" y="1291350"/>
                  </a:lnTo>
                  <a:lnTo>
                    <a:pt x="1601084" y="1291350"/>
                  </a:lnTo>
                  <a:lnTo>
                    <a:pt x="1582022" y="1281820"/>
                  </a:lnTo>
                  <a:lnTo>
                    <a:pt x="1539136" y="1329471"/>
                  </a:lnTo>
                  <a:lnTo>
                    <a:pt x="1491486" y="1334236"/>
                  </a:lnTo>
                  <a:lnTo>
                    <a:pt x="1477190" y="1329471"/>
                  </a:lnTo>
                  <a:lnTo>
                    <a:pt x="1477190" y="1305645"/>
                  </a:lnTo>
                  <a:lnTo>
                    <a:pt x="1505780" y="1267524"/>
                  </a:lnTo>
                  <a:lnTo>
                    <a:pt x="1529606" y="1243699"/>
                  </a:lnTo>
                  <a:lnTo>
                    <a:pt x="1610614" y="1224638"/>
                  </a:lnTo>
                  <a:lnTo>
                    <a:pt x="1658266" y="1148396"/>
                  </a:lnTo>
                  <a:lnTo>
                    <a:pt x="1672560" y="1067389"/>
                  </a:lnTo>
                  <a:lnTo>
                    <a:pt x="1682090" y="1038798"/>
                  </a:lnTo>
                  <a:lnTo>
                    <a:pt x="1677326" y="1024503"/>
                  </a:lnTo>
                  <a:lnTo>
                    <a:pt x="1663030" y="1019737"/>
                  </a:lnTo>
                  <a:lnTo>
                    <a:pt x="1663030" y="995912"/>
                  </a:lnTo>
                  <a:lnTo>
                    <a:pt x="1672560" y="967321"/>
                  </a:lnTo>
                  <a:lnTo>
                    <a:pt x="1696386" y="929200"/>
                  </a:lnTo>
                  <a:lnTo>
                    <a:pt x="1710682" y="910140"/>
                  </a:lnTo>
                  <a:lnTo>
                    <a:pt x="1734508" y="862488"/>
                  </a:lnTo>
                  <a:close/>
                  <a:moveTo>
                    <a:pt x="1987058" y="719535"/>
                  </a:moveTo>
                  <a:lnTo>
                    <a:pt x="2006118" y="748126"/>
                  </a:lnTo>
                  <a:lnTo>
                    <a:pt x="2010884" y="738596"/>
                  </a:lnTo>
                  <a:lnTo>
                    <a:pt x="2029944" y="733830"/>
                  </a:lnTo>
                  <a:lnTo>
                    <a:pt x="2044240" y="743361"/>
                  </a:lnTo>
                  <a:lnTo>
                    <a:pt x="2053770" y="762421"/>
                  </a:lnTo>
                  <a:lnTo>
                    <a:pt x="2063300" y="762421"/>
                  </a:lnTo>
                  <a:lnTo>
                    <a:pt x="2072830" y="781482"/>
                  </a:lnTo>
                  <a:lnTo>
                    <a:pt x="2077596" y="810072"/>
                  </a:lnTo>
                  <a:lnTo>
                    <a:pt x="2068064" y="829133"/>
                  </a:lnTo>
                  <a:lnTo>
                    <a:pt x="2053770" y="838663"/>
                  </a:lnTo>
                  <a:lnTo>
                    <a:pt x="2049004" y="862489"/>
                  </a:lnTo>
                  <a:lnTo>
                    <a:pt x="2053770" y="895845"/>
                  </a:lnTo>
                  <a:lnTo>
                    <a:pt x="2029944" y="910140"/>
                  </a:lnTo>
                  <a:lnTo>
                    <a:pt x="1996588" y="914905"/>
                  </a:lnTo>
                  <a:lnTo>
                    <a:pt x="1982292" y="900610"/>
                  </a:lnTo>
                  <a:lnTo>
                    <a:pt x="1958468" y="929201"/>
                  </a:lnTo>
                  <a:lnTo>
                    <a:pt x="1934642" y="972087"/>
                  </a:lnTo>
                  <a:lnTo>
                    <a:pt x="1920346" y="976852"/>
                  </a:lnTo>
                  <a:lnTo>
                    <a:pt x="1920346" y="962557"/>
                  </a:lnTo>
                  <a:lnTo>
                    <a:pt x="1901286" y="953026"/>
                  </a:lnTo>
                  <a:lnTo>
                    <a:pt x="1877460" y="953026"/>
                  </a:lnTo>
                  <a:lnTo>
                    <a:pt x="1877460" y="943496"/>
                  </a:lnTo>
                  <a:lnTo>
                    <a:pt x="1882226" y="933966"/>
                  </a:lnTo>
                  <a:lnTo>
                    <a:pt x="1901286" y="924436"/>
                  </a:lnTo>
                  <a:lnTo>
                    <a:pt x="1906050" y="900610"/>
                  </a:lnTo>
                  <a:lnTo>
                    <a:pt x="1901286" y="857724"/>
                  </a:lnTo>
                  <a:lnTo>
                    <a:pt x="1906050" y="838663"/>
                  </a:lnTo>
                  <a:lnTo>
                    <a:pt x="1906050" y="824368"/>
                  </a:lnTo>
                  <a:lnTo>
                    <a:pt x="1920346" y="810072"/>
                  </a:lnTo>
                  <a:lnTo>
                    <a:pt x="1963232" y="814838"/>
                  </a:lnTo>
                  <a:lnTo>
                    <a:pt x="1967998" y="800542"/>
                  </a:lnTo>
                  <a:lnTo>
                    <a:pt x="1967998" y="791012"/>
                  </a:lnTo>
                  <a:lnTo>
                    <a:pt x="1944172" y="771951"/>
                  </a:lnTo>
                  <a:lnTo>
                    <a:pt x="1948936" y="762421"/>
                  </a:lnTo>
                  <a:lnTo>
                    <a:pt x="1963232" y="752891"/>
                  </a:lnTo>
                  <a:lnTo>
                    <a:pt x="1977528" y="752891"/>
                  </a:lnTo>
                  <a:lnTo>
                    <a:pt x="1982292" y="733830"/>
                  </a:lnTo>
                  <a:lnTo>
                    <a:pt x="1982292" y="724300"/>
                  </a:lnTo>
                  <a:close/>
                  <a:moveTo>
                    <a:pt x="3912170" y="581346"/>
                  </a:moveTo>
                  <a:lnTo>
                    <a:pt x="3926464" y="581346"/>
                  </a:lnTo>
                  <a:lnTo>
                    <a:pt x="3935994" y="595641"/>
                  </a:lnTo>
                  <a:lnTo>
                    <a:pt x="3945524" y="614702"/>
                  </a:lnTo>
                  <a:lnTo>
                    <a:pt x="3931230" y="628998"/>
                  </a:lnTo>
                  <a:lnTo>
                    <a:pt x="3902640" y="643293"/>
                  </a:lnTo>
                  <a:lnTo>
                    <a:pt x="3897874" y="633763"/>
                  </a:lnTo>
                  <a:lnTo>
                    <a:pt x="3902640" y="614702"/>
                  </a:lnTo>
                  <a:close/>
                  <a:moveTo>
                    <a:pt x="2477866" y="433627"/>
                  </a:moveTo>
                  <a:lnTo>
                    <a:pt x="2496926" y="438392"/>
                  </a:lnTo>
                  <a:lnTo>
                    <a:pt x="2501692" y="443157"/>
                  </a:lnTo>
                  <a:lnTo>
                    <a:pt x="2496926" y="495574"/>
                  </a:lnTo>
                  <a:lnTo>
                    <a:pt x="2487396" y="509869"/>
                  </a:lnTo>
                  <a:lnTo>
                    <a:pt x="2477866" y="509869"/>
                  </a:lnTo>
                  <a:lnTo>
                    <a:pt x="2468336" y="505104"/>
                  </a:lnTo>
                  <a:lnTo>
                    <a:pt x="2458806" y="500339"/>
                  </a:lnTo>
                  <a:lnTo>
                    <a:pt x="2449276" y="505104"/>
                  </a:lnTo>
                  <a:lnTo>
                    <a:pt x="2439744" y="486043"/>
                  </a:lnTo>
                  <a:lnTo>
                    <a:pt x="2439744" y="466983"/>
                  </a:lnTo>
                  <a:lnTo>
                    <a:pt x="2454040" y="443157"/>
                  </a:lnTo>
                  <a:close/>
                  <a:moveTo>
                    <a:pt x="2239610" y="424097"/>
                  </a:moveTo>
                  <a:lnTo>
                    <a:pt x="2253906" y="424097"/>
                  </a:lnTo>
                  <a:lnTo>
                    <a:pt x="2258670" y="457453"/>
                  </a:lnTo>
                  <a:lnTo>
                    <a:pt x="2258670" y="509869"/>
                  </a:lnTo>
                  <a:lnTo>
                    <a:pt x="2272966" y="533695"/>
                  </a:lnTo>
                  <a:lnTo>
                    <a:pt x="2287262" y="528930"/>
                  </a:lnTo>
                  <a:lnTo>
                    <a:pt x="2287262" y="519400"/>
                  </a:lnTo>
                  <a:lnTo>
                    <a:pt x="2296792" y="514635"/>
                  </a:lnTo>
                  <a:lnTo>
                    <a:pt x="2315852" y="528930"/>
                  </a:lnTo>
                  <a:lnTo>
                    <a:pt x="2311086" y="552756"/>
                  </a:lnTo>
                  <a:lnTo>
                    <a:pt x="2287262" y="581346"/>
                  </a:lnTo>
                  <a:lnTo>
                    <a:pt x="2272966" y="619467"/>
                  </a:lnTo>
                  <a:lnTo>
                    <a:pt x="2249140" y="628998"/>
                  </a:lnTo>
                  <a:lnTo>
                    <a:pt x="2239610" y="624233"/>
                  </a:lnTo>
                  <a:lnTo>
                    <a:pt x="2220550" y="648058"/>
                  </a:lnTo>
                  <a:lnTo>
                    <a:pt x="2206254" y="671884"/>
                  </a:lnTo>
                  <a:lnTo>
                    <a:pt x="2187194" y="700475"/>
                  </a:lnTo>
                  <a:lnTo>
                    <a:pt x="2187194" y="719535"/>
                  </a:lnTo>
                  <a:lnTo>
                    <a:pt x="2187194" y="729065"/>
                  </a:lnTo>
                  <a:lnTo>
                    <a:pt x="2130012" y="738596"/>
                  </a:lnTo>
                  <a:lnTo>
                    <a:pt x="2106186" y="748126"/>
                  </a:lnTo>
                  <a:lnTo>
                    <a:pt x="2082362" y="738596"/>
                  </a:lnTo>
                  <a:lnTo>
                    <a:pt x="2072832" y="719535"/>
                  </a:lnTo>
                  <a:lnTo>
                    <a:pt x="2077596" y="705240"/>
                  </a:lnTo>
                  <a:lnTo>
                    <a:pt x="2101422" y="705240"/>
                  </a:lnTo>
                  <a:lnTo>
                    <a:pt x="2101422" y="686179"/>
                  </a:lnTo>
                  <a:lnTo>
                    <a:pt x="2106186" y="671884"/>
                  </a:lnTo>
                  <a:lnTo>
                    <a:pt x="2110952" y="667119"/>
                  </a:lnTo>
                  <a:lnTo>
                    <a:pt x="2115718" y="643293"/>
                  </a:lnTo>
                  <a:lnTo>
                    <a:pt x="2125248" y="638528"/>
                  </a:lnTo>
                  <a:lnTo>
                    <a:pt x="2144308" y="643293"/>
                  </a:lnTo>
                  <a:lnTo>
                    <a:pt x="2153838" y="624233"/>
                  </a:lnTo>
                  <a:lnTo>
                    <a:pt x="2163368" y="624233"/>
                  </a:lnTo>
                  <a:lnTo>
                    <a:pt x="2168134" y="638528"/>
                  </a:lnTo>
                  <a:lnTo>
                    <a:pt x="2172898" y="619467"/>
                  </a:lnTo>
                  <a:lnTo>
                    <a:pt x="2168134" y="600407"/>
                  </a:lnTo>
                  <a:lnTo>
                    <a:pt x="2172898" y="586111"/>
                  </a:lnTo>
                  <a:lnTo>
                    <a:pt x="2191958" y="557521"/>
                  </a:lnTo>
                  <a:lnTo>
                    <a:pt x="2201490" y="533695"/>
                  </a:lnTo>
                  <a:lnTo>
                    <a:pt x="2215784" y="519400"/>
                  </a:lnTo>
                  <a:lnTo>
                    <a:pt x="2225314" y="519400"/>
                  </a:lnTo>
                  <a:lnTo>
                    <a:pt x="2230080" y="500339"/>
                  </a:lnTo>
                  <a:lnTo>
                    <a:pt x="2225314" y="476513"/>
                  </a:lnTo>
                  <a:lnTo>
                    <a:pt x="2230080" y="462218"/>
                  </a:lnTo>
                  <a:close/>
                  <a:moveTo>
                    <a:pt x="2311088" y="414567"/>
                  </a:moveTo>
                  <a:lnTo>
                    <a:pt x="2325382" y="414567"/>
                  </a:lnTo>
                  <a:lnTo>
                    <a:pt x="2339678" y="438393"/>
                  </a:lnTo>
                  <a:lnTo>
                    <a:pt x="2349208" y="443158"/>
                  </a:lnTo>
                  <a:lnTo>
                    <a:pt x="2353974" y="443158"/>
                  </a:lnTo>
                  <a:lnTo>
                    <a:pt x="2363504" y="447923"/>
                  </a:lnTo>
                  <a:lnTo>
                    <a:pt x="2373034" y="471748"/>
                  </a:lnTo>
                  <a:lnTo>
                    <a:pt x="2387328" y="481278"/>
                  </a:lnTo>
                  <a:lnTo>
                    <a:pt x="2387328" y="490809"/>
                  </a:lnTo>
                  <a:lnTo>
                    <a:pt x="2377798" y="505104"/>
                  </a:lnTo>
                  <a:lnTo>
                    <a:pt x="2358738" y="505104"/>
                  </a:lnTo>
                  <a:lnTo>
                    <a:pt x="2339678" y="505104"/>
                  </a:lnTo>
                  <a:lnTo>
                    <a:pt x="2334912" y="486044"/>
                  </a:lnTo>
                  <a:lnTo>
                    <a:pt x="2330148" y="462218"/>
                  </a:lnTo>
                  <a:lnTo>
                    <a:pt x="2315852" y="438393"/>
                  </a:lnTo>
                  <a:close/>
                  <a:moveTo>
                    <a:pt x="2930554" y="252552"/>
                  </a:moveTo>
                  <a:lnTo>
                    <a:pt x="2935318" y="262082"/>
                  </a:lnTo>
                  <a:lnTo>
                    <a:pt x="2940084" y="285908"/>
                  </a:lnTo>
                  <a:lnTo>
                    <a:pt x="2944848" y="304968"/>
                  </a:lnTo>
                  <a:lnTo>
                    <a:pt x="2944848" y="324029"/>
                  </a:lnTo>
                  <a:lnTo>
                    <a:pt x="2930554" y="347854"/>
                  </a:lnTo>
                  <a:lnTo>
                    <a:pt x="2897198" y="385975"/>
                  </a:lnTo>
                  <a:lnTo>
                    <a:pt x="2897198" y="395506"/>
                  </a:lnTo>
                  <a:lnTo>
                    <a:pt x="2887668" y="400271"/>
                  </a:lnTo>
                  <a:lnTo>
                    <a:pt x="2868608" y="409801"/>
                  </a:lnTo>
                  <a:lnTo>
                    <a:pt x="2859076" y="400271"/>
                  </a:lnTo>
                  <a:lnTo>
                    <a:pt x="2863842" y="371680"/>
                  </a:lnTo>
                  <a:lnTo>
                    <a:pt x="2859076" y="366915"/>
                  </a:lnTo>
                  <a:lnTo>
                    <a:pt x="2844782" y="376445"/>
                  </a:lnTo>
                  <a:lnTo>
                    <a:pt x="2830486" y="362150"/>
                  </a:lnTo>
                  <a:lnTo>
                    <a:pt x="2830486" y="347854"/>
                  </a:lnTo>
                  <a:lnTo>
                    <a:pt x="2835252" y="333559"/>
                  </a:lnTo>
                  <a:lnTo>
                    <a:pt x="2849546" y="314499"/>
                  </a:lnTo>
                  <a:lnTo>
                    <a:pt x="2868608" y="300203"/>
                  </a:lnTo>
                  <a:lnTo>
                    <a:pt x="2882902" y="304968"/>
                  </a:lnTo>
                  <a:close/>
                  <a:moveTo>
                    <a:pt x="2963910" y="190606"/>
                  </a:moveTo>
                  <a:lnTo>
                    <a:pt x="2973440" y="200136"/>
                  </a:lnTo>
                  <a:lnTo>
                    <a:pt x="2978204" y="204901"/>
                  </a:lnTo>
                  <a:lnTo>
                    <a:pt x="2992500" y="214432"/>
                  </a:lnTo>
                  <a:lnTo>
                    <a:pt x="3011560" y="238257"/>
                  </a:lnTo>
                  <a:lnTo>
                    <a:pt x="3002030" y="276378"/>
                  </a:lnTo>
                  <a:lnTo>
                    <a:pt x="2973440" y="295439"/>
                  </a:lnTo>
                  <a:lnTo>
                    <a:pt x="2954380" y="276378"/>
                  </a:lnTo>
                  <a:lnTo>
                    <a:pt x="2949614" y="262083"/>
                  </a:lnTo>
                  <a:lnTo>
                    <a:pt x="2949614" y="223962"/>
                  </a:lnTo>
                  <a:lnTo>
                    <a:pt x="2954380" y="204901"/>
                  </a:lnTo>
                  <a:close/>
                  <a:moveTo>
                    <a:pt x="2906728" y="147719"/>
                  </a:moveTo>
                  <a:lnTo>
                    <a:pt x="2911492" y="157249"/>
                  </a:lnTo>
                  <a:lnTo>
                    <a:pt x="2911492" y="171545"/>
                  </a:lnTo>
                  <a:lnTo>
                    <a:pt x="2906728" y="185840"/>
                  </a:lnTo>
                  <a:lnTo>
                    <a:pt x="2892432" y="204900"/>
                  </a:lnTo>
                  <a:lnTo>
                    <a:pt x="2854312" y="262082"/>
                  </a:lnTo>
                  <a:lnTo>
                    <a:pt x="2835250" y="271612"/>
                  </a:lnTo>
                  <a:lnTo>
                    <a:pt x="2825720" y="281142"/>
                  </a:lnTo>
                  <a:lnTo>
                    <a:pt x="2816190" y="285908"/>
                  </a:lnTo>
                  <a:lnTo>
                    <a:pt x="2792364" y="281142"/>
                  </a:lnTo>
                  <a:lnTo>
                    <a:pt x="2782834" y="290673"/>
                  </a:lnTo>
                  <a:lnTo>
                    <a:pt x="2773304" y="300203"/>
                  </a:lnTo>
                  <a:lnTo>
                    <a:pt x="2754244" y="304968"/>
                  </a:lnTo>
                  <a:lnTo>
                    <a:pt x="2744714" y="300203"/>
                  </a:lnTo>
                  <a:lnTo>
                    <a:pt x="2716122" y="276377"/>
                  </a:lnTo>
                  <a:lnTo>
                    <a:pt x="2697062" y="252552"/>
                  </a:lnTo>
                  <a:lnTo>
                    <a:pt x="2687532" y="233491"/>
                  </a:lnTo>
                  <a:lnTo>
                    <a:pt x="2716122" y="233491"/>
                  </a:lnTo>
                  <a:lnTo>
                    <a:pt x="2725654" y="228726"/>
                  </a:lnTo>
                  <a:lnTo>
                    <a:pt x="2744714" y="233491"/>
                  </a:lnTo>
                  <a:lnTo>
                    <a:pt x="2754244" y="214431"/>
                  </a:lnTo>
                  <a:lnTo>
                    <a:pt x="2778070" y="214431"/>
                  </a:lnTo>
                  <a:lnTo>
                    <a:pt x="2820956" y="200135"/>
                  </a:lnTo>
                  <a:lnTo>
                    <a:pt x="2840016" y="209666"/>
                  </a:lnTo>
                  <a:lnTo>
                    <a:pt x="2878138" y="157249"/>
                  </a:lnTo>
                  <a:lnTo>
                    <a:pt x="2887668" y="162014"/>
                  </a:lnTo>
                  <a:close/>
                  <a:moveTo>
                    <a:pt x="3564316" y="28591"/>
                  </a:moveTo>
                  <a:lnTo>
                    <a:pt x="3583376" y="33356"/>
                  </a:lnTo>
                  <a:lnTo>
                    <a:pt x="3597672" y="42886"/>
                  </a:lnTo>
                  <a:lnTo>
                    <a:pt x="3650088" y="52417"/>
                  </a:lnTo>
                  <a:lnTo>
                    <a:pt x="3688210" y="81007"/>
                  </a:lnTo>
                  <a:lnTo>
                    <a:pt x="3683444" y="133424"/>
                  </a:lnTo>
                  <a:lnTo>
                    <a:pt x="3678680" y="152484"/>
                  </a:lnTo>
                  <a:lnTo>
                    <a:pt x="3669148" y="166780"/>
                  </a:lnTo>
                  <a:lnTo>
                    <a:pt x="3616732" y="204901"/>
                  </a:lnTo>
                  <a:lnTo>
                    <a:pt x="3611968" y="223961"/>
                  </a:lnTo>
                  <a:lnTo>
                    <a:pt x="3626262" y="228726"/>
                  </a:lnTo>
                  <a:lnTo>
                    <a:pt x="3659618" y="209666"/>
                  </a:lnTo>
                  <a:lnTo>
                    <a:pt x="3669148" y="228726"/>
                  </a:lnTo>
                  <a:lnTo>
                    <a:pt x="3654854" y="271612"/>
                  </a:lnTo>
                  <a:lnTo>
                    <a:pt x="3654854" y="333559"/>
                  </a:lnTo>
                  <a:lnTo>
                    <a:pt x="3650088" y="371680"/>
                  </a:lnTo>
                  <a:lnTo>
                    <a:pt x="3650088" y="405036"/>
                  </a:lnTo>
                  <a:lnTo>
                    <a:pt x="3654854" y="424097"/>
                  </a:lnTo>
                  <a:lnTo>
                    <a:pt x="3669148" y="352620"/>
                  </a:lnTo>
                  <a:lnTo>
                    <a:pt x="3673914" y="333559"/>
                  </a:lnTo>
                  <a:lnTo>
                    <a:pt x="3692974" y="304968"/>
                  </a:lnTo>
                  <a:lnTo>
                    <a:pt x="3702504" y="252552"/>
                  </a:lnTo>
                  <a:lnTo>
                    <a:pt x="3721566" y="185840"/>
                  </a:lnTo>
                  <a:lnTo>
                    <a:pt x="3740626" y="147719"/>
                  </a:lnTo>
                  <a:lnTo>
                    <a:pt x="3754920" y="133424"/>
                  </a:lnTo>
                  <a:lnTo>
                    <a:pt x="3797808" y="138189"/>
                  </a:lnTo>
                  <a:lnTo>
                    <a:pt x="3816868" y="152484"/>
                  </a:lnTo>
                  <a:lnTo>
                    <a:pt x="3831164" y="185840"/>
                  </a:lnTo>
                  <a:lnTo>
                    <a:pt x="3845458" y="195370"/>
                  </a:lnTo>
                  <a:lnTo>
                    <a:pt x="3883580" y="209666"/>
                  </a:lnTo>
                  <a:lnTo>
                    <a:pt x="3893110" y="228726"/>
                  </a:lnTo>
                  <a:lnTo>
                    <a:pt x="3897876" y="238257"/>
                  </a:lnTo>
                  <a:lnTo>
                    <a:pt x="3907406" y="243022"/>
                  </a:lnTo>
                  <a:lnTo>
                    <a:pt x="3931230" y="214431"/>
                  </a:lnTo>
                  <a:lnTo>
                    <a:pt x="3950292" y="209666"/>
                  </a:lnTo>
                  <a:lnTo>
                    <a:pt x="3974116" y="247787"/>
                  </a:lnTo>
                  <a:lnTo>
                    <a:pt x="3969352" y="276378"/>
                  </a:lnTo>
                  <a:lnTo>
                    <a:pt x="3969352" y="285908"/>
                  </a:lnTo>
                  <a:lnTo>
                    <a:pt x="4002708" y="285908"/>
                  </a:lnTo>
                  <a:lnTo>
                    <a:pt x="4031298" y="295438"/>
                  </a:lnTo>
                  <a:lnTo>
                    <a:pt x="4083714" y="352620"/>
                  </a:lnTo>
                  <a:lnTo>
                    <a:pt x="4088480" y="381210"/>
                  </a:lnTo>
                  <a:lnTo>
                    <a:pt x="4083714" y="414566"/>
                  </a:lnTo>
                  <a:lnTo>
                    <a:pt x="4012238" y="447922"/>
                  </a:lnTo>
                  <a:lnTo>
                    <a:pt x="3978882" y="481278"/>
                  </a:lnTo>
                  <a:lnTo>
                    <a:pt x="3926466" y="495573"/>
                  </a:lnTo>
                  <a:lnTo>
                    <a:pt x="3745390" y="471748"/>
                  </a:lnTo>
                  <a:lnTo>
                    <a:pt x="3750156" y="495573"/>
                  </a:lnTo>
                  <a:lnTo>
                    <a:pt x="3874050" y="547990"/>
                  </a:lnTo>
                  <a:lnTo>
                    <a:pt x="3883580" y="562285"/>
                  </a:lnTo>
                  <a:lnTo>
                    <a:pt x="3878814" y="595641"/>
                  </a:lnTo>
                  <a:lnTo>
                    <a:pt x="3878814" y="619467"/>
                  </a:lnTo>
                  <a:lnTo>
                    <a:pt x="3883580" y="638527"/>
                  </a:lnTo>
                  <a:lnTo>
                    <a:pt x="3888344" y="652823"/>
                  </a:lnTo>
                  <a:lnTo>
                    <a:pt x="3907406" y="662353"/>
                  </a:lnTo>
                  <a:lnTo>
                    <a:pt x="3935996" y="657588"/>
                  </a:lnTo>
                  <a:lnTo>
                    <a:pt x="3950292" y="667118"/>
                  </a:lnTo>
                  <a:lnTo>
                    <a:pt x="3964586" y="652823"/>
                  </a:lnTo>
                  <a:lnTo>
                    <a:pt x="3964586" y="609936"/>
                  </a:lnTo>
                  <a:lnTo>
                    <a:pt x="3974116" y="600406"/>
                  </a:lnTo>
                  <a:lnTo>
                    <a:pt x="3993178" y="614702"/>
                  </a:lnTo>
                  <a:lnTo>
                    <a:pt x="3997942" y="657588"/>
                  </a:lnTo>
                  <a:lnTo>
                    <a:pt x="4002708" y="662353"/>
                  </a:lnTo>
                  <a:lnTo>
                    <a:pt x="4012238" y="633762"/>
                  </a:lnTo>
                  <a:lnTo>
                    <a:pt x="4031298" y="633762"/>
                  </a:lnTo>
                  <a:lnTo>
                    <a:pt x="4050360" y="628997"/>
                  </a:lnTo>
                  <a:lnTo>
                    <a:pt x="4074184" y="638527"/>
                  </a:lnTo>
                  <a:lnTo>
                    <a:pt x="4083714" y="695709"/>
                  </a:lnTo>
                  <a:lnTo>
                    <a:pt x="4083714" y="714769"/>
                  </a:lnTo>
                  <a:lnTo>
                    <a:pt x="4078950" y="738595"/>
                  </a:lnTo>
                  <a:lnTo>
                    <a:pt x="4074184" y="748125"/>
                  </a:lnTo>
                  <a:lnTo>
                    <a:pt x="4059890" y="752890"/>
                  </a:lnTo>
                  <a:lnTo>
                    <a:pt x="4036064" y="748125"/>
                  </a:lnTo>
                  <a:lnTo>
                    <a:pt x="3997942" y="729065"/>
                  </a:lnTo>
                  <a:lnTo>
                    <a:pt x="3974116" y="705239"/>
                  </a:lnTo>
                  <a:lnTo>
                    <a:pt x="3964586" y="705239"/>
                  </a:lnTo>
                  <a:lnTo>
                    <a:pt x="3969352" y="729065"/>
                  </a:lnTo>
                  <a:lnTo>
                    <a:pt x="3969352" y="743360"/>
                  </a:lnTo>
                  <a:lnTo>
                    <a:pt x="3964586" y="762421"/>
                  </a:lnTo>
                  <a:lnTo>
                    <a:pt x="3959822" y="781481"/>
                  </a:lnTo>
                  <a:lnTo>
                    <a:pt x="3950292" y="795776"/>
                  </a:lnTo>
                  <a:lnTo>
                    <a:pt x="3935996" y="810072"/>
                  </a:lnTo>
                  <a:lnTo>
                    <a:pt x="3912170" y="824367"/>
                  </a:lnTo>
                  <a:lnTo>
                    <a:pt x="3840694" y="852958"/>
                  </a:lnTo>
                  <a:lnTo>
                    <a:pt x="3835928" y="867253"/>
                  </a:lnTo>
                  <a:lnTo>
                    <a:pt x="3812102" y="943495"/>
                  </a:lnTo>
                  <a:lnTo>
                    <a:pt x="3807338" y="953026"/>
                  </a:lnTo>
                  <a:lnTo>
                    <a:pt x="3802572" y="962556"/>
                  </a:lnTo>
                  <a:lnTo>
                    <a:pt x="3773982" y="976851"/>
                  </a:lnTo>
                  <a:lnTo>
                    <a:pt x="3764452" y="957791"/>
                  </a:lnTo>
                  <a:lnTo>
                    <a:pt x="3754920" y="933965"/>
                  </a:lnTo>
                  <a:lnTo>
                    <a:pt x="3759686" y="905374"/>
                  </a:lnTo>
                  <a:lnTo>
                    <a:pt x="3783512" y="857723"/>
                  </a:lnTo>
                  <a:lnTo>
                    <a:pt x="3812102" y="824367"/>
                  </a:lnTo>
                  <a:lnTo>
                    <a:pt x="3816868" y="810072"/>
                  </a:lnTo>
                  <a:lnTo>
                    <a:pt x="3835928" y="776716"/>
                  </a:lnTo>
                  <a:lnTo>
                    <a:pt x="3802572" y="686179"/>
                  </a:lnTo>
                  <a:lnTo>
                    <a:pt x="3750156" y="662353"/>
                  </a:lnTo>
                  <a:lnTo>
                    <a:pt x="3688210" y="619467"/>
                  </a:lnTo>
                  <a:lnTo>
                    <a:pt x="3669148" y="595641"/>
                  </a:lnTo>
                  <a:lnTo>
                    <a:pt x="3631028" y="552755"/>
                  </a:lnTo>
                  <a:lnTo>
                    <a:pt x="3607202" y="509869"/>
                  </a:lnTo>
                  <a:lnTo>
                    <a:pt x="3588142" y="509869"/>
                  </a:lnTo>
                  <a:lnTo>
                    <a:pt x="3559550" y="519399"/>
                  </a:lnTo>
                  <a:lnTo>
                    <a:pt x="3521430" y="557520"/>
                  </a:lnTo>
                  <a:lnTo>
                    <a:pt x="3502370" y="576581"/>
                  </a:lnTo>
                  <a:lnTo>
                    <a:pt x="3488074" y="581346"/>
                  </a:lnTo>
                  <a:lnTo>
                    <a:pt x="3459484" y="571815"/>
                  </a:lnTo>
                  <a:lnTo>
                    <a:pt x="3426128" y="567050"/>
                  </a:lnTo>
                  <a:lnTo>
                    <a:pt x="3402302" y="571815"/>
                  </a:lnTo>
                  <a:lnTo>
                    <a:pt x="3397536" y="576581"/>
                  </a:lnTo>
                  <a:lnTo>
                    <a:pt x="3359416" y="638527"/>
                  </a:lnTo>
                  <a:lnTo>
                    <a:pt x="3335590" y="667118"/>
                  </a:lnTo>
                  <a:lnTo>
                    <a:pt x="3326060" y="676648"/>
                  </a:lnTo>
                  <a:lnTo>
                    <a:pt x="3316530" y="695709"/>
                  </a:lnTo>
                  <a:lnTo>
                    <a:pt x="3307000" y="724299"/>
                  </a:lnTo>
                  <a:lnTo>
                    <a:pt x="3287938" y="824367"/>
                  </a:lnTo>
                  <a:lnTo>
                    <a:pt x="3278408" y="862488"/>
                  </a:lnTo>
                  <a:lnTo>
                    <a:pt x="3273644" y="881549"/>
                  </a:lnTo>
                  <a:lnTo>
                    <a:pt x="3278408" y="953026"/>
                  </a:lnTo>
                  <a:lnTo>
                    <a:pt x="3273644" y="991147"/>
                  </a:lnTo>
                  <a:lnTo>
                    <a:pt x="3259348" y="1019737"/>
                  </a:lnTo>
                  <a:lnTo>
                    <a:pt x="3245052" y="1034033"/>
                  </a:lnTo>
                  <a:lnTo>
                    <a:pt x="3230756" y="1034033"/>
                  </a:lnTo>
                  <a:lnTo>
                    <a:pt x="3211696" y="1043563"/>
                  </a:lnTo>
                  <a:lnTo>
                    <a:pt x="3197402" y="1062623"/>
                  </a:lnTo>
                  <a:lnTo>
                    <a:pt x="3183106" y="1086449"/>
                  </a:lnTo>
                  <a:lnTo>
                    <a:pt x="3168810" y="1138865"/>
                  </a:lnTo>
                  <a:lnTo>
                    <a:pt x="3149750" y="1162691"/>
                  </a:lnTo>
                  <a:lnTo>
                    <a:pt x="3125924" y="1153161"/>
                  </a:lnTo>
                  <a:lnTo>
                    <a:pt x="3111628" y="1134100"/>
                  </a:lnTo>
                  <a:lnTo>
                    <a:pt x="3078272" y="1119805"/>
                  </a:lnTo>
                  <a:lnTo>
                    <a:pt x="3054448" y="1110275"/>
                  </a:lnTo>
                  <a:lnTo>
                    <a:pt x="3025856" y="1086449"/>
                  </a:lnTo>
                  <a:lnTo>
                    <a:pt x="3002032" y="1072154"/>
                  </a:lnTo>
                  <a:lnTo>
                    <a:pt x="2978206" y="1067389"/>
                  </a:lnTo>
                  <a:lnTo>
                    <a:pt x="2963910" y="1091214"/>
                  </a:lnTo>
                  <a:lnTo>
                    <a:pt x="2954380" y="1110275"/>
                  </a:lnTo>
                  <a:lnTo>
                    <a:pt x="2916258" y="1124570"/>
                  </a:lnTo>
                  <a:lnTo>
                    <a:pt x="2897198" y="1134100"/>
                  </a:lnTo>
                  <a:lnTo>
                    <a:pt x="2868608" y="1138865"/>
                  </a:lnTo>
                  <a:lnTo>
                    <a:pt x="2854312" y="1124570"/>
                  </a:lnTo>
                  <a:lnTo>
                    <a:pt x="2816192" y="1115040"/>
                  </a:lnTo>
                  <a:lnTo>
                    <a:pt x="2768540" y="1105510"/>
                  </a:lnTo>
                  <a:lnTo>
                    <a:pt x="2754244" y="1105510"/>
                  </a:lnTo>
                  <a:lnTo>
                    <a:pt x="2749480" y="1081684"/>
                  </a:lnTo>
                  <a:lnTo>
                    <a:pt x="2735184" y="1048328"/>
                  </a:lnTo>
                  <a:lnTo>
                    <a:pt x="2701828" y="986381"/>
                  </a:lnTo>
                  <a:lnTo>
                    <a:pt x="2687532" y="967321"/>
                  </a:lnTo>
                  <a:lnTo>
                    <a:pt x="2658942" y="914905"/>
                  </a:lnTo>
                  <a:lnTo>
                    <a:pt x="2630352" y="867253"/>
                  </a:lnTo>
                  <a:lnTo>
                    <a:pt x="2625586" y="862488"/>
                  </a:lnTo>
                  <a:lnTo>
                    <a:pt x="2601760" y="862488"/>
                  </a:lnTo>
                  <a:lnTo>
                    <a:pt x="2573170" y="862488"/>
                  </a:lnTo>
                  <a:lnTo>
                    <a:pt x="2554108" y="876784"/>
                  </a:lnTo>
                  <a:lnTo>
                    <a:pt x="2544578" y="891079"/>
                  </a:lnTo>
                  <a:lnTo>
                    <a:pt x="2539814" y="900609"/>
                  </a:lnTo>
                  <a:lnTo>
                    <a:pt x="2554108" y="948260"/>
                  </a:lnTo>
                  <a:lnTo>
                    <a:pt x="2549344" y="962556"/>
                  </a:lnTo>
                  <a:lnTo>
                    <a:pt x="2544578" y="967321"/>
                  </a:lnTo>
                  <a:lnTo>
                    <a:pt x="2515988" y="953026"/>
                  </a:lnTo>
                  <a:lnTo>
                    <a:pt x="2482632" y="953026"/>
                  </a:lnTo>
                  <a:lnTo>
                    <a:pt x="2473102" y="967321"/>
                  </a:lnTo>
                  <a:lnTo>
                    <a:pt x="2454042" y="972086"/>
                  </a:lnTo>
                  <a:lnTo>
                    <a:pt x="2392094" y="976851"/>
                  </a:lnTo>
                  <a:lnTo>
                    <a:pt x="2420686" y="1014972"/>
                  </a:lnTo>
                  <a:lnTo>
                    <a:pt x="2430216" y="1029268"/>
                  </a:lnTo>
                  <a:lnTo>
                    <a:pt x="2430216" y="1048328"/>
                  </a:lnTo>
                  <a:lnTo>
                    <a:pt x="2425450" y="1091214"/>
                  </a:lnTo>
                  <a:lnTo>
                    <a:pt x="2415920" y="1124570"/>
                  </a:lnTo>
                  <a:lnTo>
                    <a:pt x="2396860" y="1153161"/>
                  </a:lnTo>
                  <a:lnTo>
                    <a:pt x="2373034" y="1181752"/>
                  </a:lnTo>
                  <a:lnTo>
                    <a:pt x="2415920" y="1210342"/>
                  </a:lnTo>
                  <a:lnTo>
                    <a:pt x="2382564" y="1248463"/>
                  </a:lnTo>
                  <a:lnTo>
                    <a:pt x="2373034" y="1262759"/>
                  </a:lnTo>
                  <a:lnTo>
                    <a:pt x="2353974" y="1257994"/>
                  </a:lnTo>
                  <a:lnTo>
                    <a:pt x="2325382" y="1243698"/>
                  </a:lnTo>
                  <a:lnTo>
                    <a:pt x="2258672" y="1215107"/>
                  </a:lnTo>
                  <a:lnTo>
                    <a:pt x="2230080" y="1205577"/>
                  </a:lnTo>
                  <a:lnTo>
                    <a:pt x="2201490" y="1200812"/>
                  </a:lnTo>
                  <a:lnTo>
                    <a:pt x="2182428" y="1200812"/>
                  </a:lnTo>
                  <a:lnTo>
                    <a:pt x="2125248" y="1172221"/>
                  </a:lnTo>
                  <a:lnTo>
                    <a:pt x="2110952" y="1176987"/>
                  </a:lnTo>
                  <a:lnTo>
                    <a:pt x="2087126" y="1186517"/>
                  </a:lnTo>
                  <a:lnTo>
                    <a:pt x="2087126" y="1215107"/>
                  </a:lnTo>
                  <a:lnTo>
                    <a:pt x="2087126" y="1277054"/>
                  </a:lnTo>
                  <a:lnTo>
                    <a:pt x="2091892" y="1324705"/>
                  </a:lnTo>
                  <a:lnTo>
                    <a:pt x="2082362" y="1353296"/>
                  </a:lnTo>
                  <a:lnTo>
                    <a:pt x="2072832" y="1372357"/>
                  </a:lnTo>
                  <a:lnTo>
                    <a:pt x="2049006" y="1424773"/>
                  </a:lnTo>
                  <a:lnTo>
                    <a:pt x="1996588" y="1391417"/>
                  </a:lnTo>
                  <a:lnTo>
                    <a:pt x="1958468" y="1367592"/>
                  </a:lnTo>
                  <a:lnTo>
                    <a:pt x="1934642" y="1396182"/>
                  </a:lnTo>
                  <a:lnTo>
                    <a:pt x="1872696" y="1453364"/>
                  </a:lnTo>
                  <a:lnTo>
                    <a:pt x="1844104" y="1562962"/>
                  </a:lnTo>
                  <a:lnTo>
                    <a:pt x="1839340" y="1567727"/>
                  </a:lnTo>
                  <a:lnTo>
                    <a:pt x="1825044" y="1596318"/>
                  </a:lnTo>
                  <a:lnTo>
                    <a:pt x="1801218" y="1610613"/>
                  </a:lnTo>
                  <a:lnTo>
                    <a:pt x="1782158" y="1615378"/>
                  </a:lnTo>
                  <a:lnTo>
                    <a:pt x="1772628" y="1648734"/>
                  </a:lnTo>
                  <a:lnTo>
                    <a:pt x="1796454" y="1691620"/>
                  </a:lnTo>
                  <a:lnTo>
                    <a:pt x="1805984" y="1720211"/>
                  </a:lnTo>
                  <a:lnTo>
                    <a:pt x="1820280" y="1758332"/>
                  </a:lnTo>
                  <a:lnTo>
                    <a:pt x="1815514" y="1782158"/>
                  </a:lnTo>
                  <a:lnTo>
                    <a:pt x="1815514" y="1796453"/>
                  </a:lnTo>
                  <a:lnTo>
                    <a:pt x="1786924" y="1829809"/>
                  </a:lnTo>
                  <a:lnTo>
                    <a:pt x="1734508" y="1910816"/>
                  </a:lnTo>
                  <a:lnTo>
                    <a:pt x="1682090" y="1996588"/>
                  </a:lnTo>
                  <a:lnTo>
                    <a:pt x="1663030" y="2020414"/>
                  </a:lnTo>
                  <a:lnTo>
                    <a:pt x="1672560" y="2091891"/>
                  </a:lnTo>
                  <a:lnTo>
                    <a:pt x="1653500" y="2115717"/>
                  </a:lnTo>
                  <a:lnTo>
                    <a:pt x="1620144" y="2134777"/>
                  </a:lnTo>
                  <a:lnTo>
                    <a:pt x="1601084" y="2144307"/>
                  </a:lnTo>
                  <a:lnTo>
                    <a:pt x="1582022" y="2153837"/>
                  </a:lnTo>
                  <a:lnTo>
                    <a:pt x="1524842" y="2163368"/>
                  </a:lnTo>
                  <a:lnTo>
                    <a:pt x="1534372" y="2234845"/>
                  </a:lnTo>
                  <a:lnTo>
                    <a:pt x="1539136" y="2268201"/>
                  </a:lnTo>
                  <a:lnTo>
                    <a:pt x="1539136" y="2292026"/>
                  </a:lnTo>
                  <a:lnTo>
                    <a:pt x="1534372" y="2311087"/>
                  </a:lnTo>
                  <a:lnTo>
                    <a:pt x="1524842" y="2344443"/>
                  </a:lnTo>
                  <a:lnTo>
                    <a:pt x="1515312" y="2477866"/>
                  </a:lnTo>
                  <a:lnTo>
                    <a:pt x="1505780" y="2487396"/>
                  </a:lnTo>
                  <a:lnTo>
                    <a:pt x="1496250" y="2525517"/>
                  </a:lnTo>
                  <a:lnTo>
                    <a:pt x="1458130" y="2606525"/>
                  </a:lnTo>
                  <a:lnTo>
                    <a:pt x="1424774" y="2663706"/>
                  </a:lnTo>
                  <a:lnTo>
                    <a:pt x="1381888" y="2739948"/>
                  </a:lnTo>
                  <a:lnTo>
                    <a:pt x="1420008" y="2763774"/>
                  </a:lnTo>
                  <a:lnTo>
                    <a:pt x="1448600" y="2782834"/>
                  </a:lnTo>
                  <a:lnTo>
                    <a:pt x="1458130" y="2811425"/>
                  </a:lnTo>
                  <a:lnTo>
                    <a:pt x="1462894" y="2859076"/>
                  </a:lnTo>
                  <a:lnTo>
                    <a:pt x="1462894" y="2887667"/>
                  </a:lnTo>
                  <a:lnTo>
                    <a:pt x="1448600" y="2916258"/>
                  </a:lnTo>
                  <a:lnTo>
                    <a:pt x="1439068" y="2935318"/>
                  </a:lnTo>
                  <a:lnTo>
                    <a:pt x="1434304" y="2944849"/>
                  </a:lnTo>
                  <a:lnTo>
                    <a:pt x="1386652" y="2935318"/>
                  </a:lnTo>
                  <a:lnTo>
                    <a:pt x="1329472" y="2925788"/>
                  </a:lnTo>
                  <a:lnTo>
                    <a:pt x="1315176" y="2925788"/>
                  </a:lnTo>
                  <a:lnTo>
                    <a:pt x="1281820" y="2930553"/>
                  </a:lnTo>
                  <a:lnTo>
                    <a:pt x="1248464" y="2949613"/>
                  </a:lnTo>
                  <a:lnTo>
                    <a:pt x="1234168" y="2963909"/>
                  </a:lnTo>
                  <a:lnTo>
                    <a:pt x="1229404" y="2973439"/>
                  </a:lnTo>
                  <a:lnTo>
                    <a:pt x="1210342" y="3006795"/>
                  </a:lnTo>
                  <a:lnTo>
                    <a:pt x="1172222" y="3068742"/>
                  </a:lnTo>
                  <a:lnTo>
                    <a:pt x="1153162" y="3092567"/>
                  </a:lnTo>
                  <a:lnTo>
                    <a:pt x="1157926" y="3130689"/>
                  </a:lnTo>
                  <a:lnTo>
                    <a:pt x="1124570" y="3202165"/>
                  </a:lnTo>
                  <a:lnTo>
                    <a:pt x="1148396" y="3268877"/>
                  </a:lnTo>
                  <a:lnTo>
                    <a:pt x="1148396" y="3273642"/>
                  </a:lnTo>
                  <a:lnTo>
                    <a:pt x="1162692" y="3302233"/>
                  </a:lnTo>
                  <a:lnTo>
                    <a:pt x="1148396" y="3316528"/>
                  </a:lnTo>
                  <a:lnTo>
                    <a:pt x="1143632" y="3326059"/>
                  </a:lnTo>
                  <a:lnTo>
                    <a:pt x="1143632" y="3359415"/>
                  </a:lnTo>
                  <a:lnTo>
                    <a:pt x="1148396" y="3397535"/>
                  </a:lnTo>
                  <a:lnTo>
                    <a:pt x="1143632" y="3416596"/>
                  </a:lnTo>
                  <a:lnTo>
                    <a:pt x="1143632" y="3440422"/>
                  </a:lnTo>
                  <a:lnTo>
                    <a:pt x="1172222" y="3545255"/>
                  </a:lnTo>
                  <a:lnTo>
                    <a:pt x="1172222" y="3569080"/>
                  </a:lnTo>
                  <a:lnTo>
                    <a:pt x="1172222" y="3583375"/>
                  </a:lnTo>
                  <a:lnTo>
                    <a:pt x="1162692" y="3645322"/>
                  </a:lnTo>
                  <a:lnTo>
                    <a:pt x="1148396" y="3731094"/>
                  </a:lnTo>
                  <a:lnTo>
                    <a:pt x="1172222" y="3754920"/>
                  </a:lnTo>
                  <a:lnTo>
                    <a:pt x="1200812" y="3778746"/>
                  </a:lnTo>
                  <a:lnTo>
                    <a:pt x="1219874" y="3788276"/>
                  </a:lnTo>
                  <a:lnTo>
                    <a:pt x="1243698" y="3821632"/>
                  </a:lnTo>
                  <a:lnTo>
                    <a:pt x="1262760" y="3850223"/>
                  </a:lnTo>
                  <a:lnTo>
                    <a:pt x="1262760" y="3874048"/>
                  </a:lnTo>
                  <a:lnTo>
                    <a:pt x="1253228" y="3893109"/>
                  </a:lnTo>
                  <a:lnTo>
                    <a:pt x="1248464" y="3912169"/>
                  </a:lnTo>
                  <a:lnTo>
                    <a:pt x="1238934" y="3931230"/>
                  </a:lnTo>
                  <a:lnTo>
                    <a:pt x="1238934" y="3945525"/>
                  </a:lnTo>
                  <a:lnTo>
                    <a:pt x="1234168" y="3950290"/>
                  </a:lnTo>
                  <a:lnTo>
                    <a:pt x="1200812" y="3950290"/>
                  </a:lnTo>
                  <a:lnTo>
                    <a:pt x="1181752" y="3959821"/>
                  </a:lnTo>
                  <a:lnTo>
                    <a:pt x="1172222" y="3964585"/>
                  </a:lnTo>
                  <a:lnTo>
                    <a:pt x="1176988" y="4002707"/>
                  </a:lnTo>
                  <a:lnTo>
                    <a:pt x="1196048" y="4064653"/>
                  </a:lnTo>
                  <a:lnTo>
                    <a:pt x="1215108" y="4112305"/>
                  </a:lnTo>
                  <a:lnTo>
                    <a:pt x="1219874" y="4140895"/>
                  </a:lnTo>
                  <a:lnTo>
                    <a:pt x="1210342" y="4174251"/>
                  </a:lnTo>
                  <a:lnTo>
                    <a:pt x="1205578" y="4188547"/>
                  </a:lnTo>
                  <a:lnTo>
                    <a:pt x="1205578" y="4207607"/>
                  </a:lnTo>
                  <a:lnTo>
                    <a:pt x="1200812" y="4250493"/>
                  </a:lnTo>
                  <a:lnTo>
                    <a:pt x="1191282" y="4269553"/>
                  </a:lnTo>
                  <a:lnTo>
                    <a:pt x="1172222" y="4293379"/>
                  </a:lnTo>
                  <a:lnTo>
                    <a:pt x="1153162" y="4312440"/>
                  </a:lnTo>
                  <a:lnTo>
                    <a:pt x="1138866" y="4317205"/>
                  </a:lnTo>
                  <a:lnTo>
                    <a:pt x="1124570" y="4317205"/>
                  </a:lnTo>
                  <a:lnTo>
                    <a:pt x="1115040" y="4326735"/>
                  </a:lnTo>
                  <a:lnTo>
                    <a:pt x="1110276" y="4350561"/>
                  </a:lnTo>
                  <a:lnTo>
                    <a:pt x="1100744" y="4379151"/>
                  </a:lnTo>
                  <a:lnTo>
                    <a:pt x="1076920" y="4412507"/>
                  </a:lnTo>
                  <a:lnTo>
                    <a:pt x="1076920" y="4422037"/>
                  </a:lnTo>
                  <a:lnTo>
                    <a:pt x="1086450" y="4460159"/>
                  </a:lnTo>
                  <a:lnTo>
                    <a:pt x="1095980" y="4503045"/>
                  </a:lnTo>
                  <a:lnTo>
                    <a:pt x="1086450" y="4541166"/>
                  </a:lnTo>
                  <a:lnTo>
                    <a:pt x="1081684" y="4584052"/>
                  </a:lnTo>
                  <a:lnTo>
                    <a:pt x="1072154" y="4612643"/>
                  </a:lnTo>
                  <a:lnTo>
                    <a:pt x="1053094" y="4622173"/>
                  </a:lnTo>
                  <a:lnTo>
                    <a:pt x="1043564" y="4617408"/>
                  </a:lnTo>
                  <a:lnTo>
                    <a:pt x="1029268" y="4579287"/>
                  </a:lnTo>
                  <a:lnTo>
                    <a:pt x="1029268" y="4569757"/>
                  </a:lnTo>
                  <a:lnTo>
                    <a:pt x="1029268" y="4560227"/>
                  </a:lnTo>
                  <a:lnTo>
                    <a:pt x="991148" y="4545931"/>
                  </a:lnTo>
                  <a:lnTo>
                    <a:pt x="986382" y="4550696"/>
                  </a:lnTo>
                  <a:lnTo>
                    <a:pt x="972086" y="4541166"/>
                  </a:lnTo>
                  <a:lnTo>
                    <a:pt x="943496" y="4536401"/>
                  </a:lnTo>
                  <a:lnTo>
                    <a:pt x="929200" y="4503045"/>
                  </a:lnTo>
                  <a:lnTo>
                    <a:pt x="914904" y="4474454"/>
                  </a:lnTo>
                  <a:lnTo>
                    <a:pt x="914904" y="4460159"/>
                  </a:lnTo>
                  <a:lnTo>
                    <a:pt x="914904" y="4407743"/>
                  </a:lnTo>
                  <a:lnTo>
                    <a:pt x="910140" y="4383917"/>
                  </a:lnTo>
                  <a:lnTo>
                    <a:pt x="905374" y="4355326"/>
                  </a:lnTo>
                  <a:lnTo>
                    <a:pt x="895844" y="4379151"/>
                  </a:lnTo>
                  <a:lnTo>
                    <a:pt x="900610" y="4412507"/>
                  </a:lnTo>
                  <a:lnTo>
                    <a:pt x="891080" y="4426803"/>
                  </a:lnTo>
                  <a:lnTo>
                    <a:pt x="876784" y="4431568"/>
                  </a:lnTo>
                  <a:lnTo>
                    <a:pt x="876784" y="4450629"/>
                  </a:lnTo>
                  <a:lnTo>
                    <a:pt x="881550" y="4455393"/>
                  </a:lnTo>
                  <a:lnTo>
                    <a:pt x="886314" y="4474454"/>
                  </a:lnTo>
                  <a:lnTo>
                    <a:pt x="881550" y="4507810"/>
                  </a:lnTo>
                  <a:lnTo>
                    <a:pt x="852958" y="4574522"/>
                  </a:lnTo>
                  <a:lnTo>
                    <a:pt x="843428" y="4579287"/>
                  </a:lnTo>
                  <a:lnTo>
                    <a:pt x="843428" y="4588817"/>
                  </a:lnTo>
                  <a:lnTo>
                    <a:pt x="829132" y="4584052"/>
                  </a:lnTo>
                  <a:lnTo>
                    <a:pt x="805308" y="4603113"/>
                  </a:lnTo>
                  <a:lnTo>
                    <a:pt x="791012" y="4603113"/>
                  </a:lnTo>
                  <a:lnTo>
                    <a:pt x="781482" y="4584052"/>
                  </a:lnTo>
                  <a:lnTo>
                    <a:pt x="757656" y="4555461"/>
                  </a:lnTo>
                  <a:lnTo>
                    <a:pt x="743360" y="4555461"/>
                  </a:lnTo>
                  <a:lnTo>
                    <a:pt x="757656" y="4569757"/>
                  </a:lnTo>
                  <a:lnTo>
                    <a:pt x="767186" y="4588817"/>
                  </a:lnTo>
                  <a:lnTo>
                    <a:pt x="762420" y="4598347"/>
                  </a:lnTo>
                  <a:lnTo>
                    <a:pt x="752890" y="4607877"/>
                  </a:lnTo>
                  <a:lnTo>
                    <a:pt x="743360" y="4612643"/>
                  </a:lnTo>
                  <a:lnTo>
                    <a:pt x="705240" y="4636469"/>
                  </a:lnTo>
                  <a:lnTo>
                    <a:pt x="719534" y="4650764"/>
                  </a:lnTo>
                  <a:lnTo>
                    <a:pt x="710004" y="4669825"/>
                  </a:lnTo>
                  <a:lnTo>
                    <a:pt x="695710" y="4669825"/>
                  </a:lnTo>
                  <a:lnTo>
                    <a:pt x="686178" y="4679355"/>
                  </a:lnTo>
                  <a:lnTo>
                    <a:pt x="686178" y="4688885"/>
                  </a:lnTo>
                  <a:lnTo>
                    <a:pt x="648058" y="4722241"/>
                  </a:lnTo>
                  <a:lnTo>
                    <a:pt x="581346" y="4803248"/>
                  </a:lnTo>
                  <a:lnTo>
                    <a:pt x="547990" y="4822309"/>
                  </a:lnTo>
                  <a:lnTo>
                    <a:pt x="528930" y="4846134"/>
                  </a:lnTo>
                  <a:lnTo>
                    <a:pt x="505104" y="4846134"/>
                  </a:lnTo>
                  <a:lnTo>
                    <a:pt x="481278" y="4865195"/>
                  </a:lnTo>
                  <a:lnTo>
                    <a:pt x="419332" y="4884255"/>
                  </a:lnTo>
                  <a:lnTo>
                    <a:pt x="376446" y="4874725"/>
                  </a:lnTo>
                  <a:lnTo>
                    <a:pt x="347854" y="4884255"/>
                  </a:lnTo>
                  <a:lnTo>
                    <a:pt x="328794" y="4869959"/>
                  </a:lnTo>
                  <a:lnTo>
                    <a:pt x="328794" y="4860429"/>
                  </a:lnTo>
                  <a:lnTo>
                    <a:pt x="328794" y="4855664"/>
                  </a:lnTo>
                  <a:lnTo>
                    <a:pt x="333560" y="4846134"/>
                  </a:lnTo>
                  <a:lnTo>
                    <a:pt x="324030" y="4846134"/>
                  </a:lnTo>
                  <a:lnTo>
                    <a:pt x="314498" y="4846134"/>
                  </a:lnTo>
                  <a:lnTo>
                    <a:pt x="309734" y="4850899"/>
                  </a:lnTo>
                  <a:lnTo>
                    <a:pt x="309734" y="4865195"/>
                  </a:lnTo>
                  <a:lnTo>
                    <a:pt x="304968" y="4869959"/>
                  </a:lnTo>
                  <a:lnTo>
                    <a:pt x="281144" y="4860429"/>
                  </a:lnTo>
                  <a:lnTo>
                    <a:pt x="276378" y="4855664"/>
                  </a:lnTo>
                  <a:lnTo>
                    <a:pt x="285908" y="4836603"/>
                  </a:lnTo>
                  <a:lnTo>
                    <a:pt x="295438" y="4822309"/>
                  </a:lnTo>
                  <a:lnTo>
                    <a:pt x="290674" y="4812778"/>
                  </a:lnTo>
                  <a:lnTo>
                    <a:pt x="285908" y="4812778"/>
                  </a:lnTo>
                  <a:lnTo>
                    <a:pt x="266848" y="4812778"/>
                  </a:lnTo>
                  <a:lnTo>
                    <a:pt x="247788" y="4812778"/>
                  </a:lnTo>
                  <a:lnTo>
                    <a:pt x="195370" y="4779422"/>
                  </a:lnTo>
                  <a:lnTo>
                    <a:pt x="185840" y="4760361"/>
                  </a:lnTo>
                  <a:lnTo>
                    <a:pt x="142954" y="4736536"/>
                  </a:lnTo>
                  <a:lnTo>
                    <a:pt x="123894" y="4707945"/>
                  </a:lnTo>
                  <a:lnTo>
                    <a:pt x="114364" y="4674589"/>
                  </a:lnTo>
                  <a:lnTo>
                    <a:pt x="114364" y="4645999"/>
                  </a:lnTo>
                  <a:lnTo>
                    <a:pt x="119128" y="4598347"/>
                  </a:lnTo>
                  <a:lnTo>
                    <a:pt x="128658" y="4588817"/>
                  </a:lnTo>
                  <a:lnTo>
                    <a:pt x="166780" y="4603113"/>
                  </a:lnTo>
                  <a:lnTo>
                    <a:pt x="204900" y="4631703"/>
                  </a:lnTo>
                  <a:lnTo>
                    <a:pt x="209666" y="4626938"/>
                  </a:lnTo>
                  <a:lnTo>
                    <a:pt x="223962" y="4607877"/>
                  </a:lnTo>
                  <a:lnTo>
                    <a:pt x="247788" y="4588817"/>
                  </a:lnTo>
                  <a:lnTo>
                    <a:pt x="238256" y="4588817"/>
                  </a:lnTo>
                  <a:lnTo>
                    <a:pt x="204900" y="4607877"/>
                  </a:lnTo>
                  <a:lnTo>
                    <a:pt x="190606" y="4593583"/>
                  </a:lnTo>
                  <a:lnTo>
                    <a:pt x="171546" y="4574522"/>
                  </a:lnTo>
                  <a:lnTo>
                    <a:pt x="171546" y="4560227"/>
                  </a:lnTo>
                  <a:lnTo>
                    <a:pt x="181076" y="4550696"/>
                  </a:lnTo>
                  <a:lnTo>
                    <a:pt x="185840" y="4536401"/>
                  </a:lnTo>
                  <a:lnTo>
                    <a:pt x="181076" y="4522105"/>
                  </a:lnTo>
                  <a:lnTo>
                    <a:pt x="181076" y="4498279"/>
                  </a:lnTo>
                  <a:lnTo>
                    <a:pt x="195370" y="4479219"/>
                  </a:lnTo>
                  <a:lnTo>
                    <a:pt x="219196" y="4455393"/>
                  </a:lnTo>
                  <a:lnTo>
                    <a:pt x="238256" y="4436333"/>
                  </a:lnTo>
                  <a:lnTo>
                    <a:pt x="252552" y="4422037"/>
                  </a:lnTo>
                  <a:lnTo>
                    <a:pt x="252552" y="4417273"/>
                  </a:lnTo>
                  <a:lnTo>
                    <a:pt x="233492" y="4426803"/>
                  </a:lnTo>
                  <a:lnTo>
                    <a:pt x="214432" y="4441098"/>
                  </a:lnTo>
                  <a:lnTo>
                    <a:pt x="190606" y="4464924"/>
                  </a:lnTo>
                  <a:lnTo>
                    <a:pt x="166780" y="4483985"/>
                  </a:lnTo>
                  <a:lnTo>
                    <a:pt x="147720" y="4488749"/>
                  </a:lnTo>
                  <a:lnTo>
                    <a:pt x="133424" y="4498279"/>
                  </a:lnTo>
                  <a:lnTo>
                    <a:pt x="123894" y="4503045"/>
                  </a:lnTo>
                  <a:lnTo>
                    <a:pt x="104834" y="4531635"/>
                  </a:lnTo>
                  <a:lnTo>
                    <a:pt x="90538" y="4541166"/>
                  </a:lnTo>
                  <a:lnTo>
                    <a:pt x="61948" y="4541166"/>
                  </a:lnTo>
                  <a:lnTo>
                    <a:pt x="52416" y="4522105"/>
                  </a:lnTo>
                  <a:lnTo>
                    <a:pt x="61948" y="4450629"/>
                  </a:lnTo>
                  <a:lnTo>
                    <a:pt x="71478" y="4417273"/>
                  </a:lnTo>
                  <a:lnTo>
                    <a:pt x="81008" y="4393447"/>
                  </a:lnTo>
                  <a:lnTo>
                    <a:pt x="95304" y="4388682"/>
                  </a:lnTo>
                  <a:lnTo>
                    <a:pt x="104834" y="4374387"/>
                  </a:lnTo>
                  <a:lnTo>
                    <a:pt x="114364" y="4374387"/>
                  </a:lnTo>
                  <a:lnTo>
                    <a:pt x="123894" y="4379151"/>
                  </a:lnTo>
                  <a:lnTo>
                    <a:pt x="152484" y="4388682"/>
                  </a:lnTo>
                  <a:lnTo>
                    <a:pt x="166780" y="4364856"/>
                  </a:lnTo>
                  <a:lnTo>
                    <a:pt x="185840" y="4364856"/>
                  </a:lnTo>
                  <a:lnTo>
                    <a:pt x="223962" y="4341031"/>
                  </a:lnTo>
                  <a:lnTo>
                    <a:pt x="223962" y="4336265"/>
                  </a:lnTo>
                  <a:lnTo>
                    <a:pt x="200136" y="4341031"/>
                  </a:lnTo>
                  <a:lnTo>
                    <a:pt x="185840" y="4341031"/>
                  </a:lnTo>
                  <a:lnTo>
                    <a:pt x="162014" y="4345795"/>
                  </a:lnTo>
                  <a:lnTo>
                    <a:pt x="152484" y="4341031"/>
                  </a:lnTo>
                  <a:lnTo>
                    <a:pt x="147720" y="4326735"/>
                  </a:lnTo>
                  <a:lnTo>
                    <a:pt x="157250" y="4312440"/>
                  </a:lnTo>
                  <a:lnTo>
                    <a:pt x="190606" y="4274319"/>
                  </a:lnTo>
                  <a:lnTo>
                    <a:pt x="200136" y="4255259"/>
                  </a:lnTo>
                  <a:lnTo>
                    <a:pt x="204900" y="4240963"/>
                  </a:lnTo>
                  <a:lnTo>
                    <a:pt x="204900" y="4231433"/>
                  </a:lnTo>
                  <a:lnTo>
                    <a:pt x="209666" y="4212372"/>
                  </a:lnTo>
                  <a:lnTo>
                    <a:pt x="243022" y="4174251"/>
                  </a:lnTo>
                  <a:lnTo>
                    <a:pt x="271612" y="4155191"/>
                  </a:lnTo>
                  <a:lnTo>
                    <a:pt x="281144" y="4169486"/>
                  </a:lnTo>
                  <a:lnTo>
                    <a:pt x="271612" y="4217137"/>
                  </a:lnTo>
                  <a:lnTo>
                    <a:pt x="271612" y="4236198"/>
                  </a:lnTo>
                  <a:lnTo>
                    <a:pt x="290674" y="4169486"/>
                  </a:lnTo>
                  <a:lnTo>
                    <a:pt x="300204" y="4150425"/>
                  </a:lnTo>
                  <a:lnTo>
                    <a:pt x="309734" y="4140895"/>
                  </a:lnTo>
                  <a:lnTo>
                    <a:pt x="338324" y="4131365"/>
                  </a:lnTo>
                  <a:lnTo>
                    <a:pt x="343090" y="4121835"/>
                  </a:lnTo>
                  <a:lnTo>
                    <a:pt x="314498" y="4126600"/>
                  </a:lnTo>
                  <a:lnTo>
                    <a:pt x="243022" y="4150425"/>
                  </a:lnTo>
                  <a:lnTo>
                    <a:pt x="214432" y="4174251"/>
                  </a:lnTo>
                  <a:lnTo>
                    <a:pt x="204900" y="4193312"/>
                  </a:lnTo>
                  <a:lnTo>
                    <a:pt x="185840" y="4217137"/>
                  </a:lnTo>
                  <a:lnTo>
                    <a:pt x="176310" y="4236198"/>
                  </a:lnTo>
                  <a:lnTo>
                    <a:pt x="171546" y="4260023"/>
                  </a:lnTo>
                  <a:lnTo>
                    <a:pt x="157250" y="4274319"/>
                  </a:lnTo>
                  <a:lnTo>
                    <a:pt x="142954" y="4279084"/>
                  </a:lnTo>
                  <a:lnTo>
                    <a:pt x="119128" y="4312440"/>
                  </a:lnTo>
                  <a:lnTo>
                    <a:pt x="109598" y="4336265"/>
                  </a:lnTo>
                  <a:lnTo>
                    <a:pt x="90538" y="4360091"/>
                  </a:lnTo>
                  <a:lnTo>
                    <a:pt x="76242" y="4374387"/>
                  </a:lnTo>
                  <a:lnTo>
                    <a:pt x="71478" y="4379151"/>
                  </a:lnTo>
                  <a:lnTo>
                    <a:pt x="61948" y="4393447"/>
                  </a:lnTo>
                  <a:lnTo>
                    <a:pt x="57182" y="4393447"/>
                  </a:lnTo>
                  <a:lnTo>
                    <a:pt x="52416" y="4388682"/>
                  </a:lnTo>
                  <a:lnTo>
                    <a:pt x="47652" y="4369621"/>
                  </a:lnTo>
                  <a:lnTo>
                    <a:pt x="52416" y="4336265"/>
                  </a:lnTo>
                  <a:lnTo>
                    <a:pt x="61948" y="4312440"/>
                  </a:lnTo>
                  <a:lnTo>
                    <a:pt x="66712" y="4288614"/>
                  </a:lnTo>
                  <a:lnTo>
                    <a:pt x="61948" y="4269553"/>
                  </a:lnTo>
                  <a:lnTo>
                    <a:pt x="66712" y="4255259"/>
                  </a:lnTo>
                  <a:lnTo>
                    <a:pt x="76242" y="4255259"/>
                  </a:lnTo>
                  <a:lnTo>
                    <a:pt x="90538" y="4260023"/>
                  </a:lnTo>
                  <a:lnTo>
                    <a:pt x="109598" y="4260023"/>
                  </a:lnTo>
                  <a:lnTo>
                    <a:pt x="138190" y="4245728"/>
                  </a:lnTo>
                  <a:lnTo>
                    <a:pt x="133424" y="4236198"/>
                  </a:lnTo>
                  <a:lnTo>
                    <a:pt x="123894" y="4236198"/>
                  </a:lnTo>
                  <a:lnTo>
                    <a:pt x="100068" y="4236198"/>
                  </a:lnTo>
                  <a:lnTo>
                    <a:pt x="76242" y="4217137"/>
                  </a:lnTo>
                  <a:lnTo>
                    <a:pt x="61948" y="4188547"/>
                  </a:lnTo>
                  <a:lnTo>
                    <a:pt x="52416" y="4145661"/>
                  </a:lnTo>
                  <a:lnTo>
                    <a:pt x="57182" y="4131365"/>
                  </a:lnTo>
                  <a:lnTo>
                    <a:pt x="119128" y="4088479"/>
                  </a:lnTo>
                  <a:lnTo>
                    <a:pt x="133424" y="4064653"/>
                  </a:lnTo>
                  <a:lnTo>
                    <a:pt x="123894" y="4064653"/>
                  </a:lnTo>
                  <a:lnTo>
                    <a:pt x="104834" y="4088479"/>
                  </a:lnTo>
                  <a:lnTo>
                    <a:pt x="71478" y="4102774"/>
                  </a:lnTo>
                  <a:lnTo>
                    <a:pt x="52416" y="4083714"/>
                  </a:lnTo>
                  <a:lnTo>
                    <a:pt x="42886" y="4059888"/>
                  </a:lnTo>
                  <a:lnTo>
                    <a:pt x="33356" y="4012237"/>
                  </a:lnTo>
                  <a:lnTo>
                    <a:pt x="38122" y="3988411"/>
                  </a:lnTo>
                  <a:lnTo>
                    <a:pt x="33356" y="3955055"/>
                  </a:lnTo>
                  <a:lnTo>
                    <a:pt x="47652" y="3945525"/>
                  </a:lnTo>
                  <a:lnTo>
                    <a:pt x="61948" y="3950290"/>
                  </a:lnTo>
                  <a:lnTo>
                    <a:pt x="76242" y="3950290"/>
                  </a:lnTo>
                  <a:lnTo>
                    <a:pt x="114364" y="3950290"/>
                  </a:lnTo>
                  <a:lnTo>
                    <a:pt x="185840" y="3926465"/>
                  </a:lnTo>
                  <a:lnTo>
                    <a:pt x="233492" y="3940760"/>
                  </a:lnTo>
                  <a:lnTo>
                    <a:pt x="252552" y="3940760"/>
                  </a:lnTo>
                  <a:lnTo>
                    <a:pt x="285908" y="3921699"/>
                  </a:lnTo>
                  <a:lnTo>
                    <a:pt x="309734" y="3921699"/>
                  </a:lnTo>
                  <a:lnTo>
                    <a:pt x="328794" y="3931230"/>
                  </a:lnTo>
                  <a:lnTo>
                    <a:pt x="343090" y="3950290"/>
                  </a:lnTo>
                  <a:lnTo>
                    <a:pt x="343090" y="3969351"/>
                  </a:lnTo>
                  <a:lnTo>
                    <a:pt x="352620" y="3983646"/>
                  </a:lnTo>
                  <a:lnTo>
                    <a:pt x="357386" y="3978881"/>
                  </a:lnTo>
                  <a:lnTo>
                    <a:pt x="352620" y="3959821"/>
                  </a:lnTo>
                  <a:lnTo>
                    <a:pt x="352620" y="3935995"/>
                  </a:lnTo>
                  <a:lnTo>
                    <a:pt x="428862" y="3907404"/>
                  </a:lnTo>
                  <a:lnTo>
                    <a:pt x="438392" y="3897874"/>
                  </a:lnTo>
                  <a:lnTo>
                    <a:pt x="409802" y="3893109"/>
                  </a:lnTo>
                  <a:lnTo>
                    <a:pt x="400272" y="3869283"/>
                  </a:lnTo>
                  <a:lnTo>
                    <a:pt x="414566" y="3831162"/>
                  </a:lnTo>
                  <a:lnTo>
                    <a:pt x="414566" y="3826397"/>
                  </a:lnTo>
                  <a:lnTo>
                    <a:pt x="395506" y="3845457"/>
                  </a:lnTo>
                  <a:lnTo>
                    <a:pt x="390740" y="3874048"/>
                  </a:lnTo>
                  <a:lnTo>
                    <a:pt x="390740" y="3897874"/>
                  </a:lnTo>
                  <a:lnTo>
                    <a:pt x="390740" y="3907404"/>
                  </a:lnTo>
                  <a:lnTo>
                    <a:pt x="371680" y="3912169"/>
                  </a:lnTo>
                  <a:lnTo>
                    <a:pt x="338324" y="3912169"/>
                  </a:lnTo>
                  <a:lnTo>
                    <a:pt x="314498" y="3902639"/>
                  </a:lnTo>
                  <a:lnTo>
                    <a:pt x="290674" y="3897874"/>
                  </a:lnTo>
                  <a:lnTo>
                    <a:pt x="285908" y="3893109"/>
                  </a:lnTo>
                  <a:lnTo>
                    <a:pt x="285908" y="3874048"/>
                  </a:lnTo>
                  <a:lnTo>
                    <a:pt x="281144" y="3874048"/>
                  </a:lnTo>
                  <a:lnTo>
                    <a:pt x="271612" y="3888343"/>
                  </a:lnTo>
                  <a:lnTo>
                    <a:pt x="266848" y="3916934"/>
                  </a:lnTo>
                  <a:lnTo>
                    <a:pt x="247788" y="3921699"/>
                  </a:lnTo>
                  <a:lnTo>
                    <a:pt x="200136" y="3912169"/>
                  </a:lnTo>
                  <a:lnTo>
                    <a:pt x="133424" y="3916934"/>
                  </a:lnTo>
                  <a:lnTo>
                    <a:pt x="104834" y="3931230"/>
                  </a:lnTo>
                  <a:lnTo>
                    <a:pt x="85772" y="3931230"/>
                  </a:lnTo>
                  <a:lnTo>
                    <a:pt x="47652" y="3907404"/>
                  </a:lnTo>
                  <a:lnTo>
                    <a:pt x="38122" y="3883579"/>
                  </a:lnTo>
                  <a:lnTo>
                    <a:pt x="33356" y="3845457"/>
                  </a:lnTo>
                  <a:lnTo>
                    <a:pt x="33356" y="3826397"/>
                  </a:lnTo>
                  <a:lnTo>
                    <a:pt x="61948" y="3816867"/>
                  </a:lnTo>
                  <a:lnTo>
                    <a:pt x="71478" y="3816867"/>
                  </a:lnTo>
                  <a:lnTo>
                    <a:pt x="85772" y="3807337"/>
                  </a:lnTo>
                  <a:lnTo>
                    <a:pt x="76242" y="3802571"/>
                  </a:lnTo>
                  <a:lnTo>
                    <a:pt x="57182" y="3788276"/>
                  </a:lnTo>
                  <a:lnTo>
                    <a:pt x="47652" y="3764450"/>
                  </a:lnTo>
                  <a:lnTo>
                    <a:pt x="33356" y="3754920"/>
                  </a:lnTo>
                  <a:lnTo>
                    <a:pt x="23826" y="3735859"/>
                  </a:lnTo>
                  <a:lnTo>
                    <a:pt x="19060" y="3702503"/>
                  </a:lnTo>
                  <a:lnTo>
                    <a:pt x="23826" y="3678678"/>
                  </a:lnTo>
                  <a:lnTo>
                    <a:pt x="28592" y="3673913"/>
                  </a:lnTo>
                  <a:lnTo>
                    <a:pt x="52416" y="3678678"/>
                  </a:lnTo>
                  <a:lnTo>
                    <a:pt x="104834" y="3673913"/>
                  </a:lnTo>
                  <a:lnTo>
                    <a:pt x="157250" y="3697739"/>
                  </a:lnTo>
                  <a:lnTo>
                    <a:pt x="190606" y="3707269"/>
                  </a:lnTo>
                  <a:lnTo>
                    <a:pt x="262082" y="3702503"/>
                  </a:lnTo>
                  <a:lnTo>
                    <a:pt x="304968" y="3683443"/>
                  </a:lnTo>
                  <a:lnTo>
                    <a:pt x="295438" y="3673913"/>
                  </a:lnTo>
                  <a:lnTo>
                    <a:pt x="252552" y="3688208"/>
                  </a:lnTo>
                  <a:lnTo>
                    <a:pt x="209666" y="3688208"/>
                  </a:lnTo>
                  <a:lnTo>
                    <a:pt x="138190" y="3664383"/>
                  </a:lnTo>
                  <a:lnTo>
                    <a:pt x="104834" y="3654852"/>
                  </a:lnTo>
                  <a:lnTo>
                    <a:pt x="76242" y="3659617"/>
                  </a:lnTo>
                  <a:lnTo>
                    <a:pt x="57182" y="3654852"/>
                  </a:lnTo>
                  <a:lnTo>
                    <a:pt x="47652" y="3631027"/>
                  </a:lnTo>
                  <a:lnTo>
                    <a:pt x="57182" y="3588141"/>
                  </a:lnTo>
                  <a:lnTo>
                    <a:pt x="71478" y="3573845"/>
                  </a:lnTo>
                  <a:lnTo>
                    <a:pt x="81008" y="3588141"/>
                  </a:lnTo>
                  <a:lnTo>
                    <a:pt x="90538" y="3588141"/>
                  </a:lnTo>
                  <a:lnTo>
                    <a:pt x="100068" y="3569080"/>
                  </a:lnTo>
                  <a:lnTo>
                    <a:pt x="109598" y="3559550"/>
                  </a:lnTo>
                  <a:lnTo>
                    <a:pt x="114364" y="3535724"/>
                  </a:lnTo>
                  <a:lnTo>
                    <a:pt x="147720" y="3511899"/>
                  </a:lnTo>
                  <a:lnTo>
                    <a:pt x="157250" y="3511899"/>
                  </a:lnTo>
                  <a:lnTo>
                    <a:pt x="176310" y="3497603"/>
                  </a:lnTo>
                  <a:lnTo>
                    <a:pt x="185840" y="3502368"/>
                  </a:lnTo>
                  <a:lnTo>
                    <a:pt x="195370" y="3511899"/>
                  </a:lnTo>
                  <a:lnTo>
                    <a:pt x="204900" y="3521429"/>
                  </a:lnTo>
                  <a:lnTo>
                    <a:pt x="219196" y="3521429"/>
                  </a:lnTo>
                  <a:lnTo>
                    <a:pt x="281144" y="3502368"/>
                  </a:lnTo>
                  <a:lnTo>
                    <a:pt x="285908" y="3497603"/>
                  </a:lnTo>
                  <a:lnTo>
                    <a:pt x="295438" y="3483308"/>
                  </a:lnTo>
                  <a:lnTo>
                    <a:pt x="262082" y="3488073"/>
                  </a:lnTo>
                  <a:lnTo>
                    <a:pt x="228726" y="3497603"/>
                  </a:lnTo>
                  <a:lnTo>
                    <a:pt x="209666" y="3502368"/>
                  </a:lnTo>
                  <a:lnTo>
                    <a:pt x="209666" y="3488073"/>
                  </a:lnTo>
                  <a:lnTo>
                    <a:pt x="214432" y="3478543"/>
                  </a:lnTo>
                  <a:lnTo>
                    <a:pt x="228726" y="3464247"/>
                  </a:lnTo>
                  <a:lnTo>
                    <a:pt x="233492" y="3440422"/>
                  </a:lnTo>
                  <a:lnTo>
                    <a:pt x="243022" y="3435657"/>
                  </a:lnTo>
                  <a:lnTo>
                    <a:pt x="257318" y="3435657"/>
                  </a:lnTo>
                  <a:lnTo>
                    <a:pt x="285908" y="3430891"/>
                  </a:lnTo>
                  <a:lnTo>
                    <a:pt x="304968" y="3426126"/>
                  </a:lnTo>
                  <a:lnTo>
                    <a:pt x="338324" y="3426126"/>
                  </a:lnTo>
                  <a:lnTo>
                    <a:pt x="390740" y="3435657"/>
                  </a:lnTo>
                  <a:lnTo>
                    <a:pt x="424096" y="3454717"/>
                  </a:lnTo>
                  <a:lnTo>
                    <a:pt x="433628" y="3454717"/>
                  </a:lnTo>
                  <a:lnTo>
                    <a:pt x="447922" y="3449952"/>
                  </a:lnTo>
                  <a:lnTo>
                    <a:pt x="452688" y="3440422"/>
                  </a:lnTo>
                  <a:lnTo>
                    <a:pt x="428862" y="3435657"/>
                  </a:lnTo>
                  <a:lnTo>
                    <a:pt x="424096" y="3421361"/>
                  </a:lnTo>
                  <a:lnTo>
                    <a:pt x="428862" y="3411831"/>
                  </a:lnTo>
                  <a:lnTo>
                    <a:pt x="471748" y="3397535"/>
                  </a:lnTo>
                  <a:lnTo>
                    <a:pt x="514634" y="3392771"/>
                  </a:lnTo>
                  <a:lnTo>
                    <a:pt x="509870" y="3378475"/>
                  </a:lnTo>
                  <a:lnTo>
                    <a:pt x="409802" y="3397535"/>
                  </a:lnTo>
                  <a:lnTo>
                    <a:pt x="381210" y="3383240"/>
                  </a:lnTo>
                  <a:lnTo>
                    <a:pt x="362150" y="3383240"/>
                  </a:lnTo>
                  <a:lnTo>
                    <a:pt x="347854" y="3392771"/>
                  </a:lnTo>
                  <a:lnTo>
                    <a:pt x="309734" y="3402301"/>
                  </a:lnTo>
                  <a:lnTo>
                    <a:pt x="304968" y="3397535"/>
                  </a:lnTo>
                  <a:lnTo>
                    <a:pt x="309734" y="3373710"/>
                  </a:lnTo>
                  <a:lnTo>
                    <a:pt x="333560" y="3335589"/>
                  </a:lnTo>
                  <a:lnTo>
                    <a:pt x="333560" y="3326059"/>
                  </a:lnTo>
                  <a:lnTo>
                    <a:pt x="347854" y="3316528"/>
                  </a:lnTo>
                  <a:lnTo>
                    <a:pt x="405036" y="3292703"/>
                  </a:lnTo>
                  <a:lnTo>
                    <a:pt x="433628" y="3264112"/>
                  </a:lnTo>
                  <a:lnTo>
                    <a:pt x="447922" y="3264112"/>
                  </a:lnTo>
                  <a:lnTo>
                    <a:pt x="462218" y="3264112"/>
                  </a:lnTo>
                  <a:lnTo>
                    <a:pt x="481278" y="3259347"/>
                  </a:lnTo>
                  <a:lnTo>
                    <a:pt x="519400" y="3268877"/>
                  </a:lnTo>
                  <a:lnTo>
                    <a:pt x="533694" y="3302233"/>
                  </a:lnTo>
                  <a:lnTo>
                    <a:pt x="547990" y="3311763"/>
                  </a:lnTo>
                  <a:lnTo>
                    <a:pt x="600406" y="3354649"/>
                  </a:lnTo>
                  <a:lnTo>
                    <a:pt x="595642" y="3340354"/>
                  </a:lnTo>
                  <a:lnTo>
                    <a:pt x="552756" y="3287937"/>
                  </a:lnTo>
                  <a:lnTo>
                    <a:pt x="538460" y="3273642"/>
                  </a:lnTo>
                  <a:lnTo>
                    <a:pt x="524164" y="3245051"/>
                  </a:lnTo>
                  <a:lnTo>
                    <a:pt x="528930" y="3221226"/>
                  </a:lnTo>
                  <a:lnTo>
                    <a:pt x="543226" y="3202165"/>
                  </a:lnTo>
                  <a:lnTo>
                    <a:pt x="590876" y="3192635"/>
                  </a:lnTo>
                  <a:lnTo>
                    <a:pt x="600406" y="3183105"/>
                  </a:lnTo>
                  <a:lnTo>
                    <a:pt x="600406" y="3164044"/>
                  </a:lnTo>
                  <a:lnTo>
                    <a:pt x="595642" y="3154514"/>
                  </a:lnTo>
                  <a:lnTo>
                    <a:pt x="576580" y="3154514"/>
                  </a:lnTo>
                  <a:lnTo>
                    <a:pt x="562286" y="3144984"/>
                  </a:lnTo>
                  <a:lnTo>
                    <a:pt x="557520" y="3125923"/>
                  </a:lnTo>
                  <a:lnTo>
                    <a:pt x="562286" y="3116393"/>
                  </a:lnTo>
                  <a:lnTo>
                    <a:pt x="590876" y="3092567"/>
                  </a:lnTo>
                  <a:lnTo>
                    <a:pt x="605172" y="3083037"/>
                  </a:lnTo>
                  <a:lnTo>
                    <a:pt x="633762" y="3073507"/>
                  </a:lnTo>
                  <a:lnTo>
                    <a:pt x="681414" y="3092567"/>
                  </a:lnTo>
                  <a:lnTo>
                    <a:pt x="681414" y="3102098"/>
                  </a:lnTo>
                  <a:lnTo>
                    <a:pt x="671884" y="3125923"/>
                  </a:lnTo>
                  <a:lnTo>
                    <a:pt x="671884" y="3140219"/>
                  </a:lnTo>
                  <a:lnTo>
                    <a:pt x="681414" y="3140219"/>
                  </a:lnTo>
                  <a:lnTo>
                    <a:pt x="710004" y="3102098"/>
                  </a:lnTo>
                  <a:lnTo>
                    <a:pt x="738596" y="3097333"/>
                  </a:lnTo>
                  <a:lnTo>
                    <a:pt x="752890" y="3087802"/>
                  </a:lnTo>
                  <a:lnTo>
                    <a:pt x="767186" y="3083037"/>
                  </a:lnTo>
                  <a:lnTo>
                    <a:pt x="786246" y="3121158"/>
                  </a:lnTo>
                  <a:lnTo>
                    <a:pt x="795776" y="3130689"/>
                  </a:lnTo>
                  <a:lnTo>
                    <a:pt x="805308" y="3135453"/>
                  </a:lnTo>
                  <a:lnTo>
                    <a:pt x="810072" y="3164044"/>
                  </a:lnTo>
                  <a:lnTo>
                    <a:pt x="819602" y="3164044"/>
                  </a:lnTo>
                  <a:lnTo>
                    <a:pt x="829132" y="3149749"/>
                  </a:lnTo>
                  <a:lnTo>
                    <a:pt x="843428" y="3144984"/>
                  </a:lnTo>
                  <a:lnTo>
                    <a:pt x="867254" y="3140219"/>
                  </a:lnTo>
                  <a:lnTo>
                    <a:pt x="905374" y="3144984"/>
                  </a:lnTo>
                  <a:lnTo>
                    <a:pt x="924436" y="3140219"/>
                  </a:lnTo>
                  <a:lnTo>
                    <a:pt x="933966" y="3140219"/>
                  </a:lnTo>
                  <a:lnTo>
                    <a:pt x="924436" y="3116393"/>
                  </a:lnTo>
                  <a:lnTo>
                    <a:pt x="919670" y="3106863"/>
                  </a:lnTo>
                  <a:lnTo>
                    <a:pt x="929200" y="3083037"/>
                  </a:lnTo>
                  <a:lnTo>
                    <a:pt x="933966" y="3073507"/>
                  </a:lnTo>
                  <a:lnTo>
                    <a:pt x="962556" y="3059211"/>
                  </a:lnTo>
                  <a:lnTo>
                    <a:pt x="991148" y="3049681"/>
                  </a:lnTo>
                  <a:lnTo>
                    <a:pt x="1005442" y="3035386"/>
                  </a:lnTo>
                  <a:lnTo>
                    <a:pt x="1029268" y="3021091"/>
                  </a:lnTo>
                  <a:lnTo>
                    <a:pt x="1024502" y="3006795"/>
                  </a:lnTo>
                  <a:lnTo>
                    <a:pt x="1019738" y="2992500"/>
                  </a:lnTo>
                  <a:lnTo>
                    <a:pt x="1005442" y="2992500"/>
                  </a:lnTo>
                  <a:lnTo>
                    <a:pt x="995912" y="2987735"/>
                  </a:lnTo>
                  <a:lnTo>
                    <a:pt x="1014972" y="2968674"/>
                  </a:lnTo>
                  <a:lnTo>
                    <a:pt x="1043564" y="2949613"/>
                  </a:lnTo>
                  <a:lnTo>
                    <a:pt x="1038798" y="2940083"/>
                  </a:lnTo>
                  <a:lnTo>
                    <a:pt x="1019738" y="2930553"/>
                  </a:lnTo>
                  <a:lnTo>
                    <a:pt x="1005442" y="2940083"/>
                  </a:lnTo>
                  <a:lnTo>
                    <a:pt x="981616" y="2954379"/>
                  </a:lnTo>
                  <a:lnTo>
                    <a:pt x="957792" y="2978204"/>
                  </a:lnTo>
                  <a:lnTo>
                    <a:pt x="967322" y="2987735"/>
                  </a:lnTo>
                  <a:lnTo>
                    <a:pt x="976852" y="3006795"/>
                  </a:lnTo>
                  <a:lnTo>
                    <a:pt x="957792" y="3030621"/>
                  </a:lnTo>
                  <a:lnTo>
                    <a:pt x="867254" y="3102098"/>
                  </a:lnTo>
                  <a:lnTo>
                    <a:pt x="824368" y="3121158"/>
                  </a:lnTo>
                  <a:lnTo>
                    <a:pt x="800542" y="3121158"/>
                  </a:lnTo>
                  <a:lnTo>
                    <a:pt x="795776" y="3102098"/>
                  </a:lnTo>
                  <a:lnTo>
                    <a:pt x="786246" y="3087802"/>
                  </a:lnTo>
                  <a:lnTo>
                    <a:pt x="776716" y="3059211"/>
                  </a:lnTo>
                  <a:lnTo>
                    <a:pt x="762420" y="3059211"/>
                  </a:lnTo>
                  <a:lnTo>
                    <a:pt x="752890" y="3063977"/>
                  </a:lnTo>
                  <a:lnTo>
                    <a:pt x="748126" y="3054447"/>
                  </a:lnTo>
                  <a:lnTo>
                    <a:pt x="752890" y="3021091"/>
                  </a:lnTo>
                  <a:lnTo>
                    <a:pt x="767186" y="2997265"/>
                  </a:lnTo>
                  <a:lnTo>
                    <a:pt x="791012" y="2978204"/>
                  </a:lnTo>
                  <a:lnTo>
                    <a:pt x="805308" y="2954379"/>
                  </a:lnTo>
                  <a:lnTo>
                    <a:pt x="814838" y="2921023"/>
                  </a:lnTo>
                  <a:lnTo>
                    <a:pt x="852958" y="2887667"/>
                  </a:lnTo>
                  <a:lnTo>
                    <a:pt x="900610" y="2801895"/>
                  </a:lnTo>
                  <a:lnTo>
                    <a:pt x="943496" y="2773304"/>
                  </a:lnTo>
                  <a:lnTo>
                    <a:pt x="957792" y="2744713"/>
                  </a:lnTo>
                  <a:lnTo>
                    <a:pt x="986382" y="2730418"/>
                  </a:lnTo>
                  <a:lnTo>
                    <a:pt x="1005442" y="2706592"/>
                  </a:lnTo>
                  <a:lnTo>
                    <a:pt x="1024502" y="2701827"/>
                  </a:lnTo>
                  <a:lnTo>
                    <a:pt x="1053094" y="2682767"/>
                  </a:lnTo>
                  <a:lnTo>
                    <a:pt x="1067390" y="2654176"/>
                  </a:lnTo>
                  <a:lnTo>
                    <a:pt x="1057858" y="2654176"/>
                  </a:lnTo>
                  <a:lnTo>
                    <a:pt x="1029268" y="2673236"/>
                  </a:lnTo>
                  <a:lnTo>
                    <a:pt x="1014972" y="2678001"/>
                  </a:lnTo>
                  <a:lnTo>
                    <a:pt x="1019738" y="2649411"/>
                  </a:lnTo>
                  <a:lnTo>
                    <a:pt x="1024502" y="2620820"/>
                  </a:lnTo>
                  <a:lnTo>
                    <a:pt x="1048328" y="2596994"/>
                  </a:lnTo>
                  <a:lnTo>
                    <a:pt x="1153162" y="2520752"/>
                  </a:lnTo>
                  <a:lnTo>
                    <a:pt x="1162692" y="2535047"/>
                  </a:lnTo>
                  <a:lnTo>
                    <a:pt x="1172222" y="2554108"/>
                  </a:lnTo>
                  <a:lnTo>
                    <a:pt x="1205578" y="2549343"/>
                  </a:lnTo>
                  <a:lnTo>
                    <a:pt x="1243698" y="2506457"/>
                  </a:lnTo>
                  <a:lnTo>
                    <a:pt x="1267524" y="2463571"/>
                  </a:lnTo>
                  <a:lnTo>
                    <a:pt x="1253228" y="2468336"/>
                  </a:lnTo>
                  <a:lnTo>
                    <a:pt x="1238934" y="2487396"/>
                  </a:lnTo>
                  <a:lnTo>
                    <a:pt x="1205578" y="2515987"/>
                  </a:lnTo>
                  <a:lnTo>
                    <a:pt x="1191282" y="2520752"/>
                  </a:lnTo>
                  <a:lnTo>
                    <a:pt x="1181752" y="2515987"/>
                  </a:lnTo>
                  <a:lnTo>
                    <a:pt x="1176988" y="2496927"/>
                  </a:lnTo>
                  <a:lnTo>
                    <a:pt x="1167456" y="2492161"/>
                  </a:lnTo>
                  <a:lnTo>
                    <a:pt x="1157926" y="2496927"/>
                  </a:lnTo>
                  <a:lnTo>
                    <a:pt x="1148396" y="2482631"/>
                  </a:lnTo>
                  <a:lnTo>
                    <a:pt x="1143632" y="2454041"/>
                  </a:lnTo>
                  <a:lnTo>
                    <a:pt x="1157926" y="2406389"/>
                  </a:lnTo>
                  <a:lnTo>
                    <a:pt x="1167456" y="2377799"/>
                  </a:lnTo>
                  <a:lnTo>
                    <a:pt x="1181752" y="2353973"/>
                  </a:lnTo>
                  <a:lnTo>
                    <a:pt x="1224638" y="2287261"/>
                  </a:lnTo>
                  <a:lnTo>
                    <a:pt x="1234168" y="2249140"/>
                  </a:lnTo>
                  <a:lnTo>
                    <a:pt x="1253228" y="2230079"/>
                  </a:lnTo>
                  <a:lnTo>
                    <a:pt x="1281820" y="2234845"/>
                  </a:lnTo>
                  <a:lnTo>
                    <a:pt x="1286584" y="2225314"/>
                  </a:lnTo>
                  <a:lnTo>
                    <a:pt x="1277054" y="2201489"/>
                  </a:lnTo>
                  <a:lnTo>
                    <a:pt x="1248464" y="2182428"/>
                  </a:lnTo>
                  <a:lnTo>
                    <a:pt x="1248464" y="2172898"/>
                  </a:lnTo>
                  <a:lnTo>
                    <a:pt x="1343766" y="2139542"/>
                  </a:lnTo>
                  <a:lnTo>
                    <a:pt x="1386652" y="2139542"/>
                  </a:lnTo>
                  <a:lnTo>
                    <a:pt x="1400948" y="2125247"/>
                  </a:lnTo>
                  <a:lnTo>
                    <a:pt x="1424774" y="2115717"/>
                  </a:lnTo>
                  <a:lnTo>
                    <a:pt x="1443834" y="2096656"/>
                  </a:lnTo>
                  <a:lnTo>
                    <a:pt x="1434304" y="2087126"/>
                  </a:lnTo>
                  <a:lnTo>
                    <a:pt x="1386652" y="2106186"/>
                  </a:lnTo>
                  <a:lnTo>
                    <a:pt x="1362828" y="2115717"/>
                  </a:lnTo>
                  <a:lnTo>
                    <a:pt x="1348532" y="2110951"/>
                  </a:lnTo>
                  <a:lnTo>
                    <a:pt x="1339002" y="2120482"/>
                  </a:lnTo>
                  <a:lnTo>
                    <a:pt x="1300880" y="2120482"/>
                  </a:lnTo>
                  <a:lnTo>
                    <a:pt x="1291350" y="2044239"/>
                  </a:lnTo>
                  <a:lnTo>
                    <a:pt x="1300880" y="2001353"/>
                  </a:lnTo>
                  <a:lnTo>
                    <a:pt x="1310410" y="2001353"/>
                  </a:lnTo>
                  <a:lnTo>
                    <a:pt x="1315176" y="1963232"/>
                  </a:lnTo>
                  <a:lnTo>
                    <a:pt x="1329472" y="1939407"/>
                  </a:lnTo>
                  <a:lnTo>
                    <a:pt x="1353296" y="1929877"/>
                  </a:lnTo>
                  <a:lnTo>
                    <a:pt x="1362828" y="1920346"/>
                  </a:lnTo>
                  <a:lnTo>
                    <a:pt x="1381888" y="1901286"/>
                  </a:lnTo>
                  <a:lnTo>
                    <a:pt x="1405714" y="1906051"/>
                  </a:lnTo>
                  <a:lnTo>
                    <a:pt x="1434304" y="1901286"/>
                  </a:lnTo>
                  <a:lnTo>
                    <a:pt x="1424774" y="1891755"/>
                  </a:lnTo>
                  <a:lnTo>
                    <a:pt x="1391418" y="1877460"/>
                  </a:lnTo>
                  <a:lnTo>
                    <a:pt x="1386652" y="1858400"/>
                  </a:lnTo>
                  <a:lnTo>
                    <a:pt x="1396182" y="1844104"/>
                  </a:lnTo>
                  <a:lnTo>
                    <a:pt x="1410478" y="1834574"/>
                  </a:lnTo>
                  <a:lnTo>
                    <a:pt x="1420008" y="1834574"/>
                  </a:lnTo>
                  <a:lnTo>
                    <a:pt x="1443834" y="1791688"/>
                  </a:lnTo>
                  <a:lnTo>
                    <a:pt x="1458130" y="1772627"/>
                  </a:lnTo>
                  <a:lnTo>
                    <a:pt x="1472424" y="1772627"/>
                  </a:lnTo>
                  <a:lnTo>
                    <a:pt x="1491486" y="1753567"/>
                  </a:lnTo>
                  <a:lnTo>
                    <a:pt x="1510546" y="1763097"/>
                  </a:lnTo>
                  <a:lnTo>
                    <a:pt x="1534372" y="1748802"/>
                  </a:lnTo>
                  <a:lnTo>
                    <a:pt x="1558198" y="1739271"/>
                  </a:lnTo>
                  <a:lnTo>
                    <a:pt x="1658264" y="1739271"/>
                  </a:lnTo>
                  <a:lnTo>
                    <a:pt x="1663030" y="1720211"/>
                  </a:lnTo>
                  <a:lnTo>
                    <a:pt x="1643970" y="1715446"/>
                  </a:lnTo>
                  <a:lnTo>
                    <a:pt x="1567728" y="1710681"/>
                  </a:lnTo>
                  <a:lnTo>
                    <a:pt x="1529606" y="1710681"/>
                  </a:lnTo>
                  <a:lnTo>
                    <a:pt x="1515312" y="1715446"/>
                  </a:lnTo>
                  <a:lnTo>
                    <a:pt x="1505780" y="1710681"/>
                  </a:lnTo>
                  <a:lnTo>
                    <a:pt x="1510546" y="1701150"/>
                  </a:lnTo>
                  <a:lnTo>
                    <a:pt x="1524842" y="1682090"/>
                  </a:lnTo>
                  <a:lnTo>
                    <a:pt x="1529606" y="1663029"/>
                  </a:lnTo>
                  <a:lnTo>
                    <a:pt x="1558198" y="1615378"/>
                  </a:lnTo>
                  <a:lnTo>
                    <a:pt x="1591554" y="1586787"/>
                  </a:lnTo>
                  <a:lnTo>
                    <a:pt x="1615378" y="1596318"/>
                  </a:lnTo>
                  <a:lnTo>
                    <a:pt x="1639204" y="1624908"/>
                  </a:lnTo>
                  <a:lnTo>
                    <a:pt x="1658264" y="1629673"/>
                  </a:lnTo>
                  <a:lnTo>
                    <a:pt x="1667796" y="1639204"/>
                  </a:lnTo>
                  <a:lnTo>
                    <a:pt x="1682090" y="1677325"/>
                  </a:lnTo>
                  <a:lnTo>
                    <a:pt x="1686856" y="1677325"/>
                  </a:lnTo>
                  <a:lnTo>
                    <a:pt x="1686856" y="1639204"/>
                  </a:lnTo>
                  <a:lnTo>
                    <a:pt x="1701152" y="1605848"/>
                  </a:lnTo>
                  <a:lnTo>
                    <a:pt x="1696386" y="1601083"/>
                  </a:lnTo>
                  <a:lnTo>
                    <a:pt x="1672560" y="1610613"/>
                  </a:lnTo>
                  <a:lnTo>
                    <a:pt x="1648734" y="1601083"/>
                  </a:lnTo>
                  <a:lnTo>
                    <a:pt x="1634440" y="1577257"/>
                  </a:lnTo>
                  <a:lnTo>
                    <a:pt x="1629674" y="1553431"/>
                  </a:lnTo>
                  <a:lnTo>
                    <a:pt x="1639204" y="1534371"/>
                  </a:lnTo>
                  <a:lnTo>
                    <a:pt x="1648734" y="1520076"/>
                  </a:lnTo>
                  <a:lnTo>
                    <a:pt x="1643970" y="1505780"/>
                  </a:lnTo>
                  <a:lnTo>
                    <a:pt x="1601084" y="1543901"/>
                  </a:lnTo>
                  <a:lnTo>
                    <a:pt x="1572492" y="1548666"/>
                  </a:lnTo>
                  <a:lnTo>
                    <a:pt x="1562962" y="1543901"/>
                  </a:lnTo>
                  <a:lnTo>
                    <a:pt x="1567728" y="1515311"/>
                  </a:lnTo>
                  <a:lnTo>
                    <a:pt x="1562962" y="1491485"/>
                  </a:lnTo>
                  <a:lnTo>
                    <a:pt x="1601084" y="1429538"/>
                  </a:lnTo>
                  <a:lnTo>
                    <a:pt x="1615378" y="1420008"/>
                  </a:lnTo>
                  <a:lnTo>
                    <a:pt x="1639204" y="1424773"/>
                  </a:lnTo>
                  <a:lnTo>
                    <a:pt x="1658264" y="1443834"/>
                  </a:lnTo>
                  <a:lnTo>
                    <a:pt x="1672560" y="1443834"/>
                  </a:lnTo>
                  <a:lnTo>
                    <a:pt x="1691620" y="1434303"/>
                  </a:lnTo>
                  <a:lnTo>
                    <a:pt x="1691620" y="1415243"/>
                  </a:lnTo>
                  <a:lnTo>
                    <a:pt x="1648734" y="1410478"/>
                  </a:lnTo>
                  <a:lnTo>
                    <a:pt x="1639204" y="1396182"/>
                  </a:lnTo>
                  <a:lnTo>
                    <a:pt x="1643970" y="1381887"/>
                  </a:lnTo>
                  <a:lnTo>
                    <a:pt x="1672560" y="1367592"/>
                  </a:lnTo>
                  <a:lnTo>
                    <a:pt x="1696386" y="1343766"/>
                  </a:lnTo>
                  <a:lnTo>
                    <a:pt x="1729742" y="1334236"/>
                  </a:lnTo>
                  <a:lnTo>
                    <a:pt x="1753568" y="1315175"/>
                  </a:lnTo>
                  <a:lnTo>
                    <a:pt x="1758332" y="1319940"/>
                  </a:lnTo>
                  <a:lnTo>
                    <a:pt x="1763098" y="1329471"/>
                  </a:lnTo>
                  <a:lnTo>
                    <a:pt x="1772628" y="1400947"/>
                  </a:lnTo>
                  <a:lnTo>
                    <a:pt x="1791688" y="1458129"/>
                  </a:lnTo>
                  <a:lnTo>
                    <a:pt x="1801218" y="1458129"/>
                  </a:lnTo>
                  <a:lnTo>
                    <a:pt x="1791688" y="1410478"/>
                  </a:lnTo>
                  <a:lnTo>
                    <a:pt x="1801218" y="1396182"/>
                  </a:lnTo>
                  <a:lnTo>
                    <a:pt x="1810748" y="1386652"/>
                  </a:lnTo>
                  <a:lnTo>
                    <a:pt x="1810748" y="1372357"/>
                  </a:lnTo>
                  <a:lnTo>
                    <a:pt x="1801218" y="1367592"/>
                  </a:lnTo>
                  <a:lnTo>
                    <a:pt x="1791688" y="1348531"/>
                  </a:lnTo>
                  <a:lnTo>
                    <a:pt x="1777394" y="1291349"/>
                  </a:lnTo>
                  <a:lnTo>
                    <a:pt x="1782158" y="1277054"/>
                  </a:lnTo>
                  <a:lnTo>
                    <a:pt x="1810748" y="1248463"/>
                  </a:lnTo>
                  <a:lnTo>
                    <a:pt x="1848870" y="1238933"/>
                  </a:lnTo>
                  <a:lnTo>
                    <a:pt x="1886992" y="1262759"/>
                  </a:lnTo>
                  <a:lnTo>
                    <a:pt x="1901286" y="1262759"/>
                  </a:lnTo>
                  <a:lnTo>
                    <a:pt x="1920346" y="1257994"/>
                  </a:lnTo>
                  <a:lnTo>
                    <a:pt x="1958468" y="1238933"/>
                  </a:lnTo>
                  <a:lnTo>
                    <a:pt x="1982294" y="1229403"/>
                  </a:lnTo>
                  <a:lnTo>
                    <a:pt x="1991824" y="1229403"/>
                  </a:lnTo>
                  <a:lnTo>
                    <a:pt x="1996588" y="1224638"/>
                  </a:lnTo>
                  <a:lnTo>
                    <a:pt x="1987058" y="1215107"/>
                  </a:lnTo>
                  <a:lnTo>
                    <a:pt x="1982294" y="1210342"/>
                  </a:lnTo>
                  <a:lnTo>
                    <a:pt x="1972764" y="1205577"/>
                  </a:lnTo>
                  <a:lnTo>
                    <a:pt x="1939408" y="1215107"/>
                  </a:lnTo>
                  <a:lnTo>
                    <a:pt x="1844104" y="1215107"/>
                  </a:lnTo>
                  <a:lnTo>
                    <a:pt x="1834574" y="1205577"/>
                  </a:lnTo>
                  <a:lnTo>
                    <a:pt x="1829810" y="1186517"/>
                  </a:lnTo>
                  <a:lnTo>
                    <a:pt x="1839340" y="1162691"/>
                  </a:lnTo>
                  <a:lnTo>
                    <a:pt x="1853636" y="1148396"/>
                  </a:lnTo>
                  <a:lnTo>
                    <a:pt x="1891756" y="1119805"/>
                  </a:lnTo>
                  <a:lnTo>
                    <a:pt x="1929878" y="1115040"/>
                  </a:lnTo>
                  <a:lnTo>
                    <a:pt x="1967998" y="1072154"/>
                  </a:lnTo>
                  <a:lnTo>
                    <a:pt x="1982294" y="1038798"/>
                  </a:lnTo>
                  <a:lnTo>
                    <a:pt x="1991824" y="981616"/>
                  </a:lnTo>
                  <a:lnTo>
                    <a:pt x="2015650" y="938730"/>
                  </a:lnTo>
                  <a:lnTo>
                    <a:pt x="2077596" y="914905"/>
                  </a:lnTo>
                  <a:lnTo>
                    <a:pt x="2082362" y="905374"/>
                  </a:lnTo>
                  <a:lnTo>
                    <a:pt x="2072832" y="881549"/>
                  </a:lnTo>
                  <a:lnTo>
                    <a:pt x="2077596" y="843428"/>
                  </a:lnTo>
                  <a:lnTo>
                    <a:pt x="2091892" y="795776"/>
                  </a:lnTo>
                  <a:lnTo>
                    <a:pt x="2106186" y="776716"/>
                  </a:lnTo>
                  <a:lnTo>
                    <a:pt x="2110952" y="776716"/>
                  </a:lnTo>
                  <a:lnTo>
                    <a:pt x="2125248" y="791011"/>
                  </a:lnTo>
                  <a:lnTo>
                    <a:pt x="2139542" y="824367"/>
                  </a:lnTo>
                  <a:lnTo>
                    <a:pt x="2163368" y="843428"/>
                  </a:lnTo>
                  <a:lnTo>
                    <a:pt x="2196724" y="848193"/>
                  </a:lnTo>
                  <a:lnTo>
                    <a:pt x="2206254" y="838663"/>
                  </a:lnTo>
                  <a:lnTo>
                    <a:pt x="2182428" y="819602"/>
                  </a:lnTo>
                  <a:lnTo>
                    <a:pt x="2163368" y="795776"/>
                  </a:lnTo>
                  <a:lnTo>
                    <a:pt x="2158604" y="767186"/>
                  </a:lnTo>
                  <a:lnTo>
                    <a:pt x="2168134" y="752890"/>
                  </a:lnTo>
                  <a:lnTo>
                    <a:pt x="2182428" y="757655"/>
                  </a:lnTo>
                  <a:lnTo>
                    <a:pt x="2201490" y="752890"/>
                  </a:lnTo>
                  <a:lnTo>
                    <a:pt x="2220550" y="738595"/>
                  </a:lnTo>
                  <a:lnTo>
                    <a:pt x="2220550" y="724299"/>
                  </a:lnTo>
                  <a:lnTo>
                    <a:pt x="2220550" y="710004"/>
                  </a:lnTo>
                  <a:lnTo>
                    <a:pt x="2225316" y="690944"/>
                  </a:lnTo>
                  <a:lnTo>
                    <a:pt x="2249140" y="652823"/>
                  </a:lnTo>
                  <a:lnTo>
                    <a:pt x="2325382" y="628997"/>
                  </a:lnTo>
                  <a:lnTo>
                    <a:pt x="2334912" y="638527"/>
                  </a:lnTo>
                  <a:lnTo>
                    <a:pt x="2330148" y="714769"/>
                  </a:lnTo>
                  <a:lnTo>
                    <a:pt x="2320618" y="762421"/>
                  </a:lnTo>
                  <a:lnTo>
                    <a:pt x="2320618" y="795776"/>
                  </a:lnTo>
                  <a:lnTo>
                    <a:pt x="2334912" y="762421"/>
                  </a:lnTo>
                  <a:lnTo>
                    <a:pt x="2353974" y="662353"/>
                  </a:lnTo>
                  <a:lnTo>
                    <a:pt x="2368268" y="619467"/>
                  </a:lnTo>
                  <a:lnTo>
                    <a:pt x="2387330" y="590876"/>
                  </a:lnTo>
                  <a:lnTo>
                    <a:pt x="2396860" y="586111"/>
                  </a:lnTo>
                  <a:lnTo>
                    <a:pt x="2411156" y="571815"/>
                  </a:lnTo>
                  <a:lnTo>
                    <a:pt x="2425450" y="562285"/>
                  </a:lnTo>
                  <a:lnTo>
                    <a:pt x="2430216" y="576581"/>
                  </a:lnTo>
                  <a:lnTo>
                    <a:pt x="2434980" y="600406"/>
                  </a:lnTo>
                  <a:lnTo>
                    <a:pt x="2425450" y="686179"/>
                  </a:lnTo>
                  <a:lnTo>
                    <a:pt x="2430216" y="710004"/>
                  </a:lnTo>
                  <a:lnTo>
                    <a:pt x="2420686" y="748125"/>
                  </a:lnTo>
                  <a:lnTo>
                    <a:pt x="2382564" y="829132"/>
                  </a:lnTo>
                  <a:lnTo>
                    <a:pt x="2382564" y="838663"/>
                  </a:lnTo>
                  <a:lnTo>
                    <a:pt x="2392094" y="833897"/>
                  </a:lnTo>
                  <a:lnTo>
                    <a:pt x="2406390" y="819602"/>
                  </a:lnTo>
                  <a:lnTo>
                    <a:pt x="2454042" y="743360"/>
                  </a:lnTo>
                  <a:lnTo>
                    <a:pt x="2492162" y="752890"/>
                  </a:lnTo>
                  <a:lnTo>
                    <a:pt x="2492162" y="748125"/>
                  </a:lnTo>
                  <a:lnTo>
                    <a:pt x="2477866" y="729065"/>
                  </a:lnTo>
                  <a:lnTo>
                    <a:pt x="2463572" y="705239"/>
                  </a:lnTo>
                  <a:lnTo>
                    <a:pt x="2458806" y="676648"/>
                  </a:lnTo>
                  <a:lnTo>
                    <a:pt x="2463572" y="605171"/>
                  </a:lnTo>
                  <a:lnTo>
                    <a:pt x="2473102" y="576581"/>
                  </a:lnTo>
                  <a:lnTo>
                    <a:pt x="2506458" y="581346"/>
                  </a:lnTo>
                  <a:lnTo>
                    <a:pt x="2530284" y="576581"/>
                  </a:lnTo>
                  <a:lnTo>
                    <a:pt x="2535048" y="590876"/>
                  </a:lnTo>
                  <a:lnTo>
                    <a:pt x="2558874" y="590876"/>
                  </a:lnTo>
                  <a:lnTo>
                    <a:pt x="2573170" y="538460"/>
                  </a:lnTo>
                  <a:lnTo>
                    <a:pt x="2601760" y="533694"/>
                  </a:lnTo>
                  <a:lnTo>
                    <a:pt x="2625586" y="567050"/>
                  </a:lnTo>
                  <a:lnTo>
                    <a:pt x="2654176" y="590876"/>
                  </a:lnTo>
                  <a:lnTo>
                    <a:pt x="2678002" y="624232"/>
                  </a:lnTo>
                  <a:lnTo>
                    <a:pt x="2682768" y="614702"/>
                  </a:lnTo>
                  <a:lnTo>
                    <a:pt x="2673236" y="538460"/>
                  </a:lnTo>
                  <a:lnTo>
                    <a:pt x="2658942" y="509869"/>
                  </a:lnTo>
                  <a:lnTo>
                    <a:pt x="2625586" y="495573"/>
                  </a:lnTo>
                  <a:lnTo>
                    <a:pt x="2596996" y="457452"/>
                  </a:lnTo>
                  <a:lnTo>
                    <a:pt x="2587464" y="443157"/>
                  </a:lnTo>
                  <a:lnTo>
                    <a:pt x="2587464" y="428862"/>
                  </a:lnTo>
                  <a:lnTo>
                    <a:pt x="2616056" y="419331"/>
                  </a:lnTo>
                  <a:lnTo>
                    <a:pt x="2654176" y="433627"/>
                  </a:lnTo>
                  <a:lnTo>
                    <a:pt x="2687532" y="405036"/>
                  </a:lnTo>
                  <a:lnTo>
                    <a:pt x="2697062" y="409801"/>
                  </a:lnTo>
                  <a:lnTo>
                    <a:pt x="2720888" y="395506"/>
                  </a:lnTo>
                  <a:lnTo>
                    <a:pt x="2739948" y="419331"/>
                  </a:lnTo>
                  <a:lnTo>
                    <a:pt x="2749480" y="409801"/>
                  </a:lnTo>
                  <a:lnTo>
                    <a:pt x="2754244" y="381210"/>
                  </a:lnTo>
                  <a:lnTo>
                    <a:pt x="2797130" y="366915"/>
                  </a:lnTo>
                  <a:lnTo>
                    <a:pt x="2820956" y="381210"/>
                  </a:lnTo>
                  <a:lnTo>
                    <a:pt x="2835252" y="400271"/>
                  </a:lnTo>
                  <a:lnTo>
                    <a:pt x="2840016" y="428862"/>
                  </a:lnTo>
                  <a:lnTo>
                    <a:pt x="2849546" y="490808"/>
                  </a:lnTo>
                  <a:lnTo>
                    <a:pt x="2873372" y="524164"/>
                  </a:lnTo>
                  <a:lnTo>
                    <a:pt x="2882902" y="543225"/>
                  </a:lnTo>
                  <a:lnTo>
                    <a:pt x="2897198" y="547990"/>
                  </a:lnTo>
                  <a:lnTo>
                    <a:pt x="2906728" y="528929"/>
                  </a:lnTo>
                  <a:lnTo>
                    <a:pt x="2892432" y="509869"/>
                  </a:lnTo>
                  <a:lnTo>
                    <a:pt x="2887668" y="490808"/>
                  </a:lnTo>
                  <a:lnTo>
                    <a:pt x="2897198" y="443157"/>
                  </a:lnTo>
                  <a:lnTo>
                    <a:pt x="2901964" y="424097"/>
                  </a:lnTo>
                  <a:lnTo>
                    <a:pt x="2949614" y="352620"/>
                  </a:lnTo>
                  <a:lnTo>
                    <a:pt x="2982970" y="319264"/>
                  </a:lnTo>
                  <a:lnTo>
                    <a:pt x="3006796" y="314499"/>
                  </a:lnTo>
                  <a:lnTo>
                    <a:pt x="3044916" y="233491"/>
                  </a:lnTo>
                  <a:lnTo>
                    <a:pt x="3054448" y="214431"/>
                  </a:lnTo>
                  <a:lnTo>
                    <a:pt x="3068742" y="214431"/>
                  </a:lnTo>
                  <a:lnTo>
                    <a:pt x="3063978" y="190605"/>
                  </a:lnTo>
                  <a:lnTo>
                    <a:pt x="3044916" y="181075"/>
                  </a:lnTo>
                  <a:lnTo>
                    <a:pt x="3040152" y="152484"/>
                  </a:lnTo>
                  <a:lnTo>
                    <a:pt x="3068742" y="123894"/>
                  </a:lnTo>
                  <a:lnTo>
                    <a:pt x="3102098" y="71477"/>
                  </a:lnTo>
                  <a:lnTo>
                    <a:pt x="3121160" y="66712"/>
                  </a:lnTo>
                  <a:lnTo>
                    <a:pt x="3130690" y="81007"/>
                  </a:lnTo>
                  <a:lnTo>
                    <a:pt x="3164046" y="104833"/>
                  </a:lnTo>
                  <a:lnTo>
                    <a:pt x="3183106" y="133424"/>
                  </a:lnTo>
                  <a:lnTo>
                    <a:pt x="3197402" y="147719"/>
                  </a:lnTo>
                  <a:lnTo>
                    <a:pt x="3206932" y="142954"/>
                  </a:lnTo>
                  <a:lnTo>
                    <a:pt x="3216462" y="123894"/>
                  </a:lnTo>
                  <a:lnTo>
                    <a:pt x="3225992" y="114363"/>
                  </a:lnTo>
                  <a:lnTo>
                    <a:pt x="3245052" y="119128"/>
                  </a:lnTo>
                  <a:lnTo>
                    <a:pt x="3259348" y="133424"/>
                  </a:lnTo>
                  <a:lnTo>
                    <a:pt x="3268878" y="133424"/>
                  </a:lnTo>
                  <a:lnTo>
                    <a:pt x="3278408" y="142954"/>
                  </a:lnTo>
                  <a:lnTo>
                    <a:pt x="3278408" y="157249"/>
                  </a:lnTo>
                  <a:lnTo>
                    <a:pt x="3259348" y="176310"/>
                  </a:lnTo>
                  <a:lnTo>
                    <a:pt x="3230756" y="228726"/>
                  </a:lnTo>
                  <a:lnTo>
                    <a:pt x="3202166" y="281143"/>
                  </a:lnTo>
                  <a:lnTo>
                    <a:pt x="3187872" y="314499"/>
                  </a:lnTo>
                  <a:lnTo>
                    <a:pt x="3178340" y="390741"/>
                  </a:lnTo>
                  <a:lnTo>
                    <a:pt x="3154516" y="438392"/>
                  </a:lnTo>
                  <a:lnTo>
                    <a:pt x="3154516" y="471748"/>
                  </a:lnTo>
                  <a:lnTo>
                    <a:pt x="3164046" y="490808"/>
                  </a:lnTo>
                  <a:lnTo>
                    <a:pt x="3187872" y="476513"/>
                  </a:lnTo>
                  <a:lnTo>
                    <a:pt x="3221226" y="428862"/>
                  </a:lnTo>
                  <a:lnTo>
                    <a:pt x="3230756" y="381210"/>
                  </a:lnTo>
                  <a:lnTo>
                    <a:pt x="3311764" y="247787"/>
                  </a:lnTo>
                  <a:lnTo>
                    <a:pt x="3349886" y="176310"/>
                  </a:lnTo>
                  <a:lnTo>
                    <a:pt x="3392772" y="114363"/>
                  </a:lnTo>
                  <a:lnTo>
                    <a:pt x="3416596" y="100068"/>
                  </a:lnTo>
                  <a:lnTo>
                    <a:pt x="3426128" y="142954"/>
                  </a:lnTo>
                  <a:lnTo>
                    <a:pt x="3416596" y="195370"/>
                  </a:lnTo>
                  <a:lnTo>
                    <a:pt x="3402302" y="228726"/>
                  </a:lnTo>
                  <a:lnTo>
                    <a:pt x="3411832" y="243022"/>
                  </a:lnTo>
                  <a:lnTo>
                    <a:pt x="3411832" y="285908"/>
                  </a:lnTo>
                  <a:lnTo>
                    <a:pt x="3407066" y="304968"/>
                  </a:lnTo>
                  <a:lnTo>
                    <a:pt x="3402302" y="328794"/>
                  </a:lnTo>
                  <a:lnTo>
                    <a:pt x="3402302" y="347854"/>
                  </a:lnTo>
                  <a:lnTo>
                    <a:pt x="3416596" y="343089"/>
                  </a:lnTo>
                  <a:lnTo>
                    <a:pt x="3469014" y="300203"/>
                  </a:lnTo>
                  <a:lnTo>
                    <a:pt x="3478544" y="257317"/>
                  </a:lnTo>
                  <a:lnTo>
                    <a:pt x="3492840" y="223961"/>
                  </a:lnTo>
                  <a:lnTo>
                    <a:pt x="3497604" y="190605"/>
                  </a:lnTo>
                  <a:lnTo>
                    <a:pt x="3516664" y="166780"/>
                  </a:lnTo>
                  <a:lnTo>
                    <a:pt x="3554786" y="162015"/>
                  </a:lnTo>
                  <a:lnTo>
                    <a:pt x="3554786" y="152484"/>
                  </a:lnTo>
                  <a:lnTo>
                    <a:pt x="3511900" y="114363"/>
                  </a:lnTo>
                  <a:lnTo>
                    <a:pt x="3507134" y="95303"/>
                  </a:lnTo>
                  <a:lnTo>
                    <a:pt x="3521430" y="71477"/>
                  </a:lnTo>
                  <a:close/>
                  <a:moveTo>
                    <a:pt x="3249816" y="0"/>
                  </a:moveTo>
                  <a:lnTo>
                    <a:pt x="3287938" y="19060"/>
                  </a:lnTo>
                  <a:lnTo>
                    <a:pt x="3302234" y="19060"/>
                  </a:lnTo>
                  <a:lnTo>
                    <a:pt x="3326058" y="52416"/>
                  </a:lnTo>
                  <a:lnTo>
                    <a:pt x="3335588" y="52416"/>
                  </a:lnTo>
                  <a:lnTo>
                    <a:pt x="3335588" y="71477"/>
                  </a:lnTo>
                  <a:lnTo>
                    <a:pt x="3311764" y="81007"/>
                  </a:lnTo>
                  <a:lnTo>
                    <a:pt x="3278408" y="90537"/>
                  </a:lnTo>
                  <a:lnTo>
                    <a:pt x="3273642" y="90537"/>
                  </a:lnTo>
                  <a:lnTo>
                    <a:pt x="3249816" y="90537"/>
                  </a:lnTo>
                  <a:lnTo>
                    <a:pt x="3230756" y="61946"/>
                  </a:lnTo>
                  <a:lnTo>
                    <a:pt x="3206932" y="52416"/>
                  </a:lnTo>
                  <a:lnTo>
                    <a:pt x="3206932" y="47651"/>
                  </a:lnTo>
                  <a:lnTo>
                    <a:pt x="3221226" y="2382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0" name="Google Shape;4777;p64">
              <a:extLst>
                <a:ext uri="{FF2B5EF4-FFF2-40B4-BE49-F238E27FC236}">
                  <a16:creationId xmlns:a16="http://schemas.microsoft.com/office/drawing/2014/main" id="{DB6E7D0F-6BAF-272F-040F-A77482048E2A}"/>
                </a:ext>
              </a:extLst>
            </p:cNvPr>
            <p:cNvSpPr/>
            <p:nvPr/>
          </p:nvSpPr>
          <p:spPr>
            <a:xfrm>
              <a:off x="2958343" y="1435179"/>
              <a:ext cx="1394668" cy="1939081"/>
            </a:xfrm>
            <a:custGeom>
              <a:avLst/>
              <a:gdLst/>
              <a:ahLst/>
              <a:cxnLst/>
              <a:rect l="l" t="t" r="r" b="b"/>
              <a:pathLst>
                <a:path w="10125896" h="14078567" extrusionOk="0">
                  <a:moveTo>
                    <a:pt x="4155192" y="13721183"/>
                  </a:moveTo>
                  <a:lnTo>
                    <a:pt x="4155192" y="13740243"/>
                  </a:lnTo>
                  <a:lnTo>
                    <a:pt x="4150424" y="13754539"/>
                  </a:lnTo>
                  <a:lnTo>
                    <a:pt x="4150424" y="13773599"/>
                  </a:lnTo>
                  <a:lnTo>
                    <a:pt x="4131364" y="13811720"/>
                  </a:lnTo>
                  <a:lnTo>
                    <a:pt x="4112304" y="13802190"/>
                  </a:lnTo>
                  <a:lnTo>
                    <a:pt x="4102772" y="13787894"/>
                  </a:lnTo>
                  <a:lnTo>
                    <a:pt x="4083712" y="13778364"/>
                  </a:lnTo>
                  <a:lnTo>
                    <a:pt x="4064652" y="13783129"/>
                  </a:lnTo>
                  <a:lnTo>
                    <a:pt x="4064652" y="13773599"/>
                  </a:lnTo>
                  <a:lnTo>
                    <a:pt x="4126600" y="13730713"/>
                  </a:lnTo>
                  <a:close/>
                  <a:moveTo>
                    <a:pt x="5589492" y="12053388"/>
                  </a:moveTo>
                  <a:lnTo>
                    <a:pt x="5603788" y="12077214"/>
                  </a:lnTo>
                  <a:lnTo>
                    <a:pt x="5599024" y="12110570"/>
                  </a:lnTo>
                  <a:lnTo>
                    <a:pt x="5589492" y="12124865"/>
                  </a:lnTo>
                  <a:lnTo>
                    <a:pt x="5565668" y="12124865"/>
                  </a:lnTo>
                  <a:lnTo>
                    <a:pt x="5556140" y="12096274"/>
                  </a:lnTo>
                  <a:lnTo>
                    <a:pt x="5560904" y="12062918"/>
                  </a:lnTo>
                  <a:close/>
                  <a:moveTo>
                    <a:pt x="3392772" y="10309352"/>
                  </a:moveTo>
                  <a:lnTo>
                    <a:pt x="3416596" y="10318882"/>
                  </a:lnTo>
                  <a:lnTo>
                    <a:pt x="3459484" y="10342708"/>
                  </a:lnTo>
                  <a:lnTo>
                    <a:pt x="3454716" y="10352238"/>
                  </a:lnTo>
                  <a:lnTo>
                    <a:pt x="3445188" y="10366534"/>
                  </a:lnTo>
                  <a:lnTo>
                    <a:pt x="3421360" y="10385594"/>
                  </a:lnTo>
                  <a:lnTo>
                    <a:pt x="3411832" y="10428480"/>
                  </a:lnTo>
                  <a:lnTo>
                    <a:pt x="3411832" y="10447541"/>
                  </a:lnTo>
                  <a:lnTo>
                    <a:pt x="3411832" y="10466601"/>
                  </a:lnTo>
                  <a:lnTo>
                    <a:pt x="3407064" y="10476131"/>
                  </a:lnTo>
                  <a:lnTo>
                    <a:pt x="3383240" y="10495192"/>
                  </a:lnTo>
                  <a:lnTo>
                    <a:pt x="3378476" y="10490427"/>
                  </a:lnTo>
                  <a:lnTo>
                    <a:pt x="3373708" y="10480897"/>
                  </a:lnTo>
                  <a:lnTo>
                    <a:pt x="3359416" y="10423715"/>
                  </a:lnTo>
                  <a:lnTo>
                    <a:pt x="3354648" y="10399889"/>
                  </a:lnTo>
                  <a:lnTo>
                    <a:pt x="3359416" y="10366534"/>
                  </a:lnTo>
                  <a:lnTo>
                    <a:pt x="3354648" y="10342708"/>
                  </a:lnTo>
                  <a:lnTo>
                    <a:pt x="3373708" y="10314117"/>
                  </a:lnTo>
                  <a:close/>
                  <a:moveTo>
                    <a:pt x="2882900" y="10128277"/>
                  </a:moveTo>
                  <a:lnTo>
                    <a:pt x="2940084" y="10137807"/>
                  </a:lnTo>
                  <a:lnTo>
                    <a:pt x="3040152" y="10175928"/>
                  </a:lnTo>
                  <a:lnTo>
                    <a:pt x="3049680" y="10180693"/>
                  </a:lnTo>
                  <a:lnTo>
                    <a:pt x="3078272" y="10209284"/>
                  </a:lnTo>
                  <a:lnTo>
                    <a:pt x="3140220" y="10299822"/>
                  </a:lnTo>
                  <a:lnTo>
                    <a:pt x="3192636" y="10337943"/>
                  </a:lnTo>
                  <a:lnTo>
                    <a:pt x="3245052" y="10361768"/>
                  </a:lnTo>
                  <a:lnTo>
                    <a:pt x="3249816" y="10376064"/>
                  </a:lnTo>
                  <a:lnTo>
                    <a:pt x="3254580" y="10395124"/>
                  </a:lnTo>
                  <a:lnTo>
                    <a:pt x="3254580" y="10399889"/>
                  </a:lnTo>
                  <a:lnTo>
                    <a:pt x="3254580" y="10409420"/>
                  </a:lnTo>
                  <a:lnTo>
                    <a:pt x="3249816" y="10418950"/>
                  </a:lnTo>
                  <a:lnTo>
                    <a:pt x="3254580" y="10428480"/>
                  </a:lnTo>
                  <a:lnTo>
                    <a:pt x="3268876" y="10442775"/>
                  </a:lnTo>
                  <a:lnTo>
                    <a:pt x="3268876" y="10457071"/>
                  </a:lnTo>
                  <a:lnTo>
                    <a:pt x="3254580" y="10480897"/>
                  </a:lnTo>
                  <a:lnTo>
                    <a:pt x="3235520" y="10504722"/>
                  </a:lnTo>
                  <a:lnTo>
                    <a:pt x="3130688" y="10561904"/>
                  </a:lnTo>
                  <a:lnTo>
                    <a:pt x="3097332" y="10571434"/>
                  </a:lnTo>
                  <a:lnTo>
                    <a:pt x="3006796" y="10609555"/>
                  </a:lnTo>
                  <a:lnTo>
                    <a:pt x="2978204" y="10609555"/>
                  </a:lnTo>
                  <a:lnTo>
                    <a:pt x="2973440" y="10604790"/>
                  </a:lnTo>
                  <a:lnTo>
                    <a:pt x="2954380" y="10590495"/>
                  </a:lnTo>
                  <a:lnTo>
                    <a:pt x="2930552" y="10576199"/>
                  </a:lnTo>
                  <a:lnTo>
                    <a:pt x="2921024" y="10561904"/>
                  </a:lnTo>
                  <a:lnTo>
                    <a:pt x="2911492" y="10542843"/>
                  </a:lnTo>
                  <a:lnTo>
                    <a:pt x="2916256" y="10533313"/>
                  </a:lnTo>
                  <a:lnTo>
                    <a:pt x="2930552" y="10528548"/>
                  </a:lnTo>
                  <a:lnTo>
                    <a:pt x="2959144" y="10528548"/>
                  </a:lnTo>
                  <a:lnTo>
                    <a:pt x="2992500" y="10519018"/>
                  </a:lnTo>
                  <a:lnTo>
                    <a:pt x="2982968" y="10504722"/>
                  </a:lnTo>
                  <a:lnTo>
                    <a:pt x="2973440" y="10499957"/>
                  </a:lnTo>
                  <a:lnTo>
                    <a:pt x="2968672" y="10485662"/>
                  </a:lnTo>
                  <a:lnTo>
                    <a:pt x="2954380" y="10485662"/>
                  </a:lnTo>
                  <a:lnTo>
                    <a:pt x="2940084" y="10476131"/>
                  </a:lnTo>
                  <a:lnTo>
                    <a:pt x="2921024" y="10471366"/>
                  </a:lnTo>
                  <a:lnTo>
                    <a:pt x="2863840" y="10466601"/>
                  </a:lnTo>
                  <a:lnTo>
                    <a:pt x="2825720" y="10452306"/>
                  </a:lnTo>
                  <a:lnTo>
                    <a:pt x="2816188" y="10442775"/>
                  </a:lnTo>
                  <a:lnTo>
                    <a:pt x="2806660" y="10428480"/>
                  </a:lnTo>
                  <a:lnTo>
                    <a:pt x="2797128" y="10404654"/>
                  </a:lnTo>
                  <a:lnTo>
                    <a:pt x="2806660" y="10318882"/>
                  </a:lnTo>
                  <a:lnTo>
                    <a:pt x="2816188" y="10299822"/>
                  </a:lnTo>
                  <a:lnTo>
                    <a:pt x="2835252" y="10290291"/>
                  </a:lnTo>
                  <a:lnTo>
                    <a:pt x="2882900" y="10309352"/>
                  </a:lnTo>
                  <a:lnTo>
                    <a:pt x="2887668" y="10304587"/>
                  </a:lnTo>
                  <a:lnTo>
                    <a:pt x="2840016" y="10271231"/>
                  </a:lnTo>
                  <a:lnTo>
                    <a:pt x="2820956" y="10252170"/>
                  </a:lnTo>
                  <a:lnTo>
                    <a:pt x="2811424" y="10237875"/>
                  </a:lnTo>
                  <a:lnTo>
                    <a:pt x="2811424" y="10214049"/>
                  </a:lnTo>
                  <a:lnTo>
                    <a:pt x="2811424" y="10204519"/>
                  </a:lnTo>
                  <a:lnTo>
                    <a:pt x="2811424" y="10190224"/>
                  </a:lnTo>
                  <a:lnTo>
                    <a:pt x="2816188" y="10175928"/>
                  </a:lnTo>
                  <a:lnTo>
                    <a:pt x="2830484" y="10156868"/>
                  </a:lnTo>
                  <a:close/>
                  <a:moveTo>
                    <a:pt x="3259348" y="9818544"/>
                  </a:moveTo>
                  <a:lnTo>
                    <a:pt x="3283172" y="9837605"/>
                  </a:lnTo>
                  <a:lnTo>
                    <a:pt x="3311764" y="9861430"/>
                  </a:lnTo>
                  <a:lnTo>
                    <a:pt x="3311764" y="9870961"/>
                  </a:lnTo>
                  <a:lnTo>
                    <a:pt x="3302232" y="9875726"/>
                  </a:lnTo>
                  <a:lnTo>
                    <a:pt x="3283172" y="9880491"/>
                  </a:lnTo>
                  <a:lnTo>
                    <a:pt x="3235520" y="9870961"/>
                  </a:lnTo>
                  <a:lnTo>
                    <a:pt x="3230756" y="9866196"/>
                  </a:lnTo>
                  <a:lnTo>
                    <a:pt x="3230756" y="9851900"/>
                  </a:lnTo>
                  <a:lnTo>
                    <a:pt x="3235520" y="9823309"/>
                  </a:lnTo>
                  <a:close/>
                  <a:moveTo>
                    <a:pt x="7343060" y="9785188"/>
                  </a:moveTo>
                  <a:lnTo>
                    <a:pt x="7357356" y="9789953"/>
                  </a:lnTo>
                  <a:lnTo>
                    <a:pt x="7366884" y="9809014"/>
                  </a:lnTo>
                  <a:lnTo>
                    <a:pt x="7376416" y="9818544"/>
                  </a:lnTo>
                  <a:lnTo>
                    <a:pt x="7400240" y="9837604"/>
                  </a:lnTo>
                  <a:lnTo>
                    <a:pt x="7400240" y="9847135"/>
                  </a:lnTo>
                  <a:lnTo>
                    <a:pt x="7409772" y="9875725"/>
                  </a:lnTo>
                  <a:lnTo>
                    <a:pt x="7409772" y="9885255"/>
                  </a:lnTo>
                  <a:lnTo>
                    <a:pt x="7405008" y="9899551"/>
                  </a:lnTo>
                  <a:lnTo>
                    <a:pt x="7405008" y="9904316"/>
                  </a:lnTo>
                  <a:lnTo>
                    <a:pt x="7395476" y="9913846"/>
                  </a:lnTo>
                  <a:lnTo>
                    <a:pt x="7409772" y="9932907"/>
                  </a:lnTo>
                  <a:lnTo>
                    <a:pt x="7414536" y="9942437"/>
                  </a:lnTo>
                  <a:lnTo>
                    <a:pt x="7414536" y="9951967"/>
                  </a:lnTo>
                  <a:lnTo>
                    <a:pt x="7405008" y="9971028"/>
                  </a:lnTo>
                  <a:lnTo>
                    <a:pt x="7343060" y="9999618"/>
                  </a:lnTo>
                  <a:lnTo>
                    <a:pt x="7328764" y="10009149"/>
                  </a:lnTo>
                  <a:lnTo>
                    <a:pt x="7304940" y="10042504"/>
                  </a:lnTo>
                  <a:lnTo>
                    <a:pt x="7281112" y="10066330"/>
                  </a:lnTo>
                  <a:lnTo>
                    <a:pt x="7271584" y="10066330"/>
                  </a:lnTo>
                  <a:lnTo>
                    <a:pt x="7262052" y="10037739"/>
                  </a:lnTo>
                  <a:lnTo>
                    <a:pt x="7219168" y="10018679"/>
                  </a:lnTo>
                  <a:lnTo>
                    <a:pt x="7142924" y="10028209"/>
                  </a:lnTo>
                  <a:lnTo>
                    <a:pt x="7047624" y="10056800"/>
                  </a:lnTo>
                  <a:lnTo>
                    <a:pt x="7019032" y="10066330"/>
                  </a:lnTo>
                  <a:lnTo>
                    <a:pt x="6999972" y="10061565"/>
                  </a:lnTo>
                  <a:lnTo>
                    <a:pt x="6995208" y="10052035"/>
                  </a:lnTo>
                  <a:lnTo>
                    <a:pt x="6995208" y="10037739"/>
                  </a:lnTo>
                  <a:lnTo>
                    <a:pt x="7004736" y="9999618"/>
                  </a:lnTo>
                  <a:lnTo>
                    <a:pt x="7009500" y="9990088"/>
                  </a:lnTo>
                  <a:lnTo>
                    <a:pt x="7033328" y="9980558"/>
                  </a:lnTo>
                  <a:lnTo>
                    <a:pt x="7047624" y="9947202"/>
                  </a:lnTo>
                  <a:lnTo>
                    <a:pt x="7042856" y="9909081"/>
                  </a:lnTo>
                  <a:lnTo>
                    <a:pt x="7047624" y="9856665"/>
                  </a:lnTo>
                  <a:lnTo>
                    <a:pt x="7061916" y="9847135"/>
                  </a:lnTo>
                  <a:lnTo>
                    <a:pt x="7095272" y="9866195"/>
                  </a:lnTo>
                  <a:lnTo>
                    <a:pt x="7119100" y="9870960"/>
                  </a:lnTo>
                  <a:lnTo>
                    <a:pt x="7161984" y="9875725"/>
                  </a:lnTo>
                  <a:lnTo>
                    <a:pt x="7214400" y="9866195"/>
                  </a:lnTo>
                  <a:lnTo>
                    <a:pt x="7262052" y="9847135"/>
                  </a:lnTo>
                  <a:close/>
                  <a:moveTo>
                    <a:pt x="10125896" y="9723241"/>
                  </a:moveTo>
                  <a:lnTo>
                    <a:pt x="10125896" y="9751832"/>
                  </a:lnTo>
                  <a:lnTo>
                    <a:pt x="10125896" y="9789953"/>
                  </a:lnTo>
                  <a:lnTo>
                    <a:pt x="10078244" y="9818543"/>
                  </a:lnTo>
                  <a:lnTo>
                    <a:pt x="10025828" y="9837604"/>
                  </a:lnTo>
                  <a:lnTo>
                    <a:pt x="9973412" y="9885255"/>
                  </a:lnTo>
                  <a:lnTo>
                    <a:pt x="9963880" y="9890020"/>
                  </a:lnTo>
                  <a:lnTo>
                    <a:pt x="9954352" y="9875725"/>
                  </a:lnTo>
                  <a:lnTo>
                    <a:pt x="9973412" y="9847134"/>
                  </a:lnTo>
                  <a:lnTo>
                    <a:pt x="10044888" y="9794718"/>
                  </a:lnTo>
                  <a:lnTo>
                    <a:pt x="10073480" y="9742301"/>
                  </a:lnTo>
                  <a:close/>
                  <a:moveTo>
                    <a:pt x="3006796" y="9666060"/>
                  </a:moveTo>
                  <a:lnTo>
                    <a:pt x="3016324" y="9689886"/>
                  </a:lnTo>
                  <a:lnTo>
                    <a:pt x="3025856" y="9718476"/>
                  </a:lnTo>
                  <a:lnTo>
                    <a:pt x="3030620" y="9732772"/>
                  </a:lnTo>
                  <a:lnTo>
                    <a:pt x="3025856" y="9751832"/>
                  </a:lnTo>
                  <a:lnTo>
                    <a:pt x="3025856" y="9766127"/>
                  </a:lnTo>
                  <a:lnTo>
                    <a:pt x="3021088" y="9780423"/>
                  </a:lnTo>
                  <a:lnTo>
                    <a:pt x="3011560" y="9789953"/>
                  </a:lnTo>
                  <a:lnTo>
                    <a:pt x="2997264" y="9789953"/>
                  </a:lnTo>
                  <a:lnTo>
                    <a:pt x="2954380" y="9766127"/>
                  </a:lnTo>
                  <a:lnTo>
                    <a:pt x="2949612" y="9756597"/>
                  </a:lnTo>
                  <a:lnTo>
                    <a:pt x="2944848" y="9747067"/>
                  </a:lnTo>
                  <a:lnTo>
                    <a:pt x="2949612" y="9732772"/>
                  </a:lnTo>
                  <a:lnTo>
                    <a:pt x="2963908" y="9708946"/>
                  </a:lnTo>
                  <a:lnTo>
                    <a:pt x="2987736" y="9670825"/>
                  </a:lnTo>
                  <a:close/>
                  <a:moveTo>
                    <a:pt x="2749480" y="8882195"/>
                  </a:moveTo>
                  <a:lnTo>
                    <a:pt x="2778068" y="8891725"/>
                  </a:lnTo>
                  <a:lnTo>
                    <a:pt x="2782836" y="8910786"/>
                  </a:lnTo>
                  <a:lnTo>
                    <a:pt x="2759008" y="8944142"/>
                  </a:lnTo>
                  <a:lnTo>
                    <a:pt x="2739948" y="8967967"/>
                  </a:lnTo>
                  <a:lnTo>
                    <a:pt x="2701828" y="9025149"/>
                  </a:lnTo>
                  <a:lnTo>
                    <a:pt x="2697060" y="9029914"/>
                  </a:lnTo>
                  <a:lnTo>
                    <a:pt x="2682768" y="9020384"/>
                  </a:lnTo>
                  <a:lnTo>
                    <a:pt x="2678000" y="9006088"/>
                  </a:lnTo>
                  <a:lnTo>
                    <a:pt x="2663704" y="9001323"/>
                  </a:lnTo>
                  <a:lnTo>
                    <a:pt x="2654176" y="8991793"/>
                  </a:lnTo>
                  <a:lnTo>
                    <a:pt x="2654176" y="8982263"/>
                  </a:lnTo>
                  <a:lnTo>
                    <a:pt x="2649412" y="8977498"/>
                  </a:lnTo>
                  <a:lnTo>
                    <a:pt x="2639880" y="8972732"/>
                  </a:lnTo>
                  <a:lnTo>
                    <a:pt x="2620820" y="8982263"/>
                  </a:lnTo>
                  <a:lnTo>
                    <a:pt x="2606524" y="8972732"/>
                  </a:lnTo>
                  <a:lnTo>
                    <a:pt x="2592228" y="8948907"/>
                  </a:lnTo>
                  <a:lnTo>
                    <a:pt x="2616056" y="8929846"/>
                  </a:lnTo>
                  <a:lnTo>
                    <a:pt x="2630352" y="8915551"/>
                  </a:lnTo>
                  <a:lnTo>
                    <a:pt x="2678000" y="8906021"/>
                  </a:lnTo>
                  <a:lnTo>
                    <a:pt x="2692296" y="8915551"/>
                  </a:lnTo>
                  <a:lnTo>
                    <a:pt x="2701828" y="8915551"/>
                  </a:lnTo>
                  <a:lnTo>
                    <a:pt x="2716124" y="8910786"/>
                  </a:lnTo>
                  <a:lnTo>
                    <a:pt x="2749480" y="8891725"/>
                  </a:lnTo>
                  <a:close/>
                  <a:moveTo>
                    <a:pt x="8562932" y="7414536"/>
                  </a:moveTo>
                  <a:lnTo>
                    <a:pt x="8577228" y="7481248"/>
                  </a:lnTo>
                  <a:lnTo>
                    <a:pt x="8581996" y="7538429"/>
                  </a:lnTo>
                  <a:lnTo>
                    <a:pt x="8601056" y="7576550"/>
                  </a:lnTo>
                  <a:lnTo>
                    <a:pt x="8639176" y="7571785"/>
                  </a:lnTo>
                  <a:lnTo>
                    <a:pt x="8658236" y="7643262"/>
                  </a:lnTo>
                  <a:lnTo>
                    <a:pt x="8629644" y="7667088"/>
                  </a:lnTo>
                  <a:lnTo>
                    <a:pt x="8505752" y="7657558"/>
                  </a:lnTo>
                  <a:lnTo>
                    <a:pt x="8458100" y="7662323"/>
                  </a:lnTo>
                  <a:lnTo>
                    <a:pt x="8424744" y="7619437"/>
                  </a:lnTo>
                  <a:lnTo>
                    <a:pt x="8424744" y="7543195"/>
                  </a:lnTo>
                  <a:lnTo>
                    <a:pt x="8429512" y="7466952"/>
                  </a:lnTo>
                  <a:lnTo>
                    <a:pt x="8462864" y="7424066"/>
                  </a:lnTo>
                  <a:lnTo>
                    <a:pt x="8491456" y="7462187"/>
                  </a:lnTo>
                  <a:lnTo>
                    <a:pt x="8529576" y="7438362"/>
                  </a:lnTo>
                  <a:close/>
                  <a:moveTo>
                    <a:pt x="8424744" y="6571110"/>
                  </a:moveTo>
                  <a:lnTo>
                    <a:pt x="8448572" y="6613996"/>
                  </a:lnTo>
                  <a:lnTo>
                    <a:pt x="8458100" y="6776010"/>
                  </a:lnTo>
                  <a:lnTo>
                    <a:pt x="8472396" y="7014267"/>
                  </a:lnTo>
                  <a:lnTo>
                    <a:pt x="8453336" y="7028562"/>
                  </a:lnTo>
                  <a:lnTo>
                    <a:pt x="8396156" y="6756950"/>
                  </a:lnTo>
                  <a:lnTo>
                    <a:pt x="8396156" y="6656882"/>
                  </a:lnTo>
                  <a:lnTo>
                    <a:pt x="8396156" y="6580640"/>
                  </a:lnTo>
                  <a:close/>
                  <a:moveTo>
                    <a:pt x="90536" y="6042182"/>
                  </a:moveTo>
                  <a:lnTo>
                    <a:pt x="114364" y="6042182"/>
                  </a:lnTo>
                  <a:lnTo>
                    <a:pt x="133424" y="6046946"/>
                  </a:lnTo>
                  <a:lnTo>
                    <a:pt x="171544" y="6066007"/>
                  </a:lnTo>
                  <a:lnTo>
                    <a:pt x="200136" y="6085067"/>
                  </a:lnTo>
                  <a:lnTo>
                    <a:pt x="219196" y="6094597"/>
                  </a:lnTo>
                  <a:lnTo>
                    <a:pt x="209664" y="6123188"/>
                  </a:lnTo>
                  <a:lnTo>
                    <a:pt x="181076" y="6142250"/>
                  </a:lnTo>
                  <a:lnTo>
                    <a:pt x="123892" y="6147014"/>
                  </a:lnTo>
                  <a:lnTo>
                    <a:pt x="71476" y="6118423"/>
                  </a:lnTo>
                  <a:lnTo>
                    <a:pt x="52416" y="6099363"/>
                  </a:lnTo>
                  <a:lnTo>
                    <a:pt x="52416" y="6066007"/>
                  </a:lnTo>
                  <a:lnTo>
                    <a:pt x="61948" y="6056477"/>
                  </a:lnTo>
                  <a:close/>
                  <a:moveTo>
                    <a:pt x="8591524" y="5741977"/>
                  </a:moveTo>
                  <a:lnTo>
                    <a:pt x="8610584" y="5756274"/>
                  </a:lnTo>
                  <a:lnTo>
                    <a:pt x="8620116" y="5808690"/>
                  </a:lnTo>
                  <a:lnTo>
                    <a:pt x="8605820" y="5865870"/>
                  </a:lnTo>
                  <a:lnTo>
                    <a:pt x="8572464" y="5913523"/>
                  </a:lnTo>
                  <a:lnTo>
                    <a:pt x="8539108" y="5913523"/>
                  </a:lnTo>
                  <a:lnTo>
                    <a:pt x="8529576" y="5894463"/>
                  </a:lnTo>
                  <a:lnTo>
                    <a:pt x="8534344" y="5861106"/>
                  </a:lnTo>
                  <a:lnTo>
                    <a:pt x="8577228" y="5751507"/>
                  </a:lnTo>
                  <a:close/>
                  <a:moveTo>
                    <a:pt x="8405684" y="5313115"/>
                  </a:moveTo>
                  <a:lnTo>
                    <a:pt x="8415216" y="5322645"/>
                  </a:lnTo>
                  <a:lnTo>
                    <a:pt x="8415216" y="5379828"/>
                  </a:lnTo>
                  <a:lnTo>
                    <a:pt x="8415216" y="5489424"/>
                  </a:lnTo>
                  <a:lnTo>
                    <a:pt x="8424744" y="5560902"/>
                  </a:lnTo>
                  <a:lnTo>
                    <a:pt x="8405684" y="5665736"/>
                  </a:lnTo>
                  <a:lnTo>
                    <a:pt x="8386624" y="5694326"/>
                  </a:lnTo>
                  <a:lnTo>
                    <a:pt x="8372328" y="5613318"/>
                  </a:lnTo>
                  <a:lnTo>
                    <a:pt x="8362800" y="5508487"/>
                  </a:lnTo>
                  <a:lnTo>
                    <a:pt x="8358032" y="5384593"/>
                  </a:lnTo>
                  <a:lnTo>
                    <a:pt x="8391388" y="5322645"/>
                  </a:lnTo>
                  <a:close/>
                  <a:moveTo>
                    <a:pt x="8567700" y="3955054"/>
                  </a:moveTo>
                  <a:lnTo>
                    <a:pt x="8643940" y="3978880"/>
                  </a:lnTo>
                  <a:lnTo>
                    <a:pt x="8658236" y="4059887"/>
                  </a:lnTo>
                  <a:lnTo>
                    <a:pt x="8624880" y="4159954"/>
                  </a:lnTo>
                  <a:lnTo>
                    <a:pt x="8558168" y="4264788"/>
                  </a:lnTo>
                  <a:lnTo>
                    <a:pt x="8458100" y="4255258"/>
                  </a:lnTo>
                  <a:lnTo>
                    <a:pt x="8400920" y="4207606"/>
                  </a:lnTo>
                  <a:lnTo>
                    <a:pt x="8386624" y="4136129"/>
                  </a:lnTo>
                  <a:lnTo>
                    <a:pt x="8405684" y="4059887"/>
                  </a:lnTo>
                  <a:lnTo>
                    <a:pt x="8477160" y="3997942"/>
                  </a:lnTo>
                  <a:close/>
                  <a:moveTo>
                    <a:pt x="8358032" y="1863166"/>
                  </a:moveTo>
                  <a:lnTo>
                    <a:pt x="8396156" y="1944172"/>
                  </a:lnTo>
                  <a:lnTo>
                    <a:pt x="8434276" y="2058535"/>
                  </a:lnTo>
                  <a:lnTo>
                    <a:pt x="8458100" y="2172899"/>
                  </a:lnTo>
                  <a:lnTo>
                    <a:pt x="8443804" y="2206254"/>
                  </a:lnTo>
                  <a:lnTo>
                    <a:pt x="8400920" y="2191959"/>
                  </a:lnTo>
                  <a:lnTo>
                    <a:pt x="8348504" y="2091892"/>
                  </a:lnTo>
                  <a:lnTo>
                    <a:pt x="8315148" y="2010885"/>
                  </a:lnTo>
                  <a:lnTo>
                    <a:pt x="8310384" y="1910817"/>
                  </a:lnTo>
                  <a:lnTo>
                    <a:pt x="8329444" y="1867931"/>
                  </a:lnTo>
                  <a:close/>
                  <a:moveTo>
                    <a:pt x="4126602" y="1191283"/>
                  </a:moveTo>
                  <a:lnTo>
                    <a:pt x="4279086" y="1329471"/>
                  </a:lnTo>
                  <a:lnTo>
                    <a:pt x="4360092" y="1443835"/>
                  </a:lnTo>
                  <a:lnTo>
                    <a:pt x="4383918" y="1539137"/>
                  </a:lnTo>
                  <a:lnTo>
                    <a:pt x="4379152" y="1724977"/>
                  </a:lnTo>
                  <a:lnTo>
                    <a:pt x="4364858" y="1906052"/>
                  </a:lnTo>
                  <a:lnTo>
                    <a:pt x="4336266" y="1925113"/>
                  </a:lnTo>
                  <a:lnTo>
                    <a:pt x="4269554" y="1805985"/>
                  </a:lnTo>
                  <a:lnTo>
                    <a:pt x="4164722" y="1686856"/>
                  </a:lnTo>
                  <a:lnTo>
                    <a:pt x="4074184" y="1601084"/>
                  </a:lnTo>
                  <a:lnTo>
                    <a:pt x="3983648" y="1381888"/>
                  </a:lnTo>
                  <a:lnTo>
                    <a:pt x="3978882" y="1300881"/>
                  </a:lnTo>
                  <a:lnTo>
                    <a:pt x="3993178" y="1234169"/>
                  </a:lnTo>
                  <a:lnTo>
                    <a:pt x="4069420" y="1219874"/>
                  </a:lnTo>
                  <a:close/>
                  <a:moveTo>
                    <a:pt x="6223256" y="0"/>
                  </a:moveTo>
                  <a:lnTo>
                    <a:pt x="6580640" y="9530"/>
                  </a:lnTo>
                  <a:lnTo>
                    <a:pt x="6695004" y="47651"/>
                  </a:lnTo>
                  <a:lnTo>
                    <a:pt x="6847488" y="133424"/>
                  </a:lnTo>
                  <a:lnTo>
                    <a:pt x="6923732" y="228726"/>
                  </a:lnTo>
                  <a:lnTo>
                    <a:pt x="6942792" y="223961"/>
                  </a:lnTo>
                  <a:lnTo>
                    <a:pt x="7047624" y="262082"/>
                  </a:lnTo>
                  <a:lnTo>
                    <a:pt x="7152456" y="304968"/>
                  </a:lnTo>
                  <a:lnTo>
                    <a:pt x="7324000" y="424096"/>
                  </a:lnTo>
                  <a:lnTo>
                    <a:pt x="7347828" y="462217"/>
                  </a:lnTo>
                  <a:lnTo>
                    <a:pt x="7328764" y="495573"/>
                  </a:lnTo>
                  <a:lnTo>
                    <a:pt x="7285880" y="514634"/>
                  </a:lnTo>
                  <a:lnTo>
                    <a:pt x="7066684" y="552755"/>
                  </a:lnTo>
                  <a:lnTo>
                    <a:pt x="6675944" y="600406"/>
                  </a:lnTo>
                  <a:lnTo>
                    <a:pt x="6447216" y="690944"/>
                  </a:lnTo>
                  <a:lnTo>
                    <a:pt x="6375740" y="690944"/>
                  </a:lnTo>
                  <a:lnTo>
                    <a:pt x="6370976" y="824367"/>
                  </a:lnTo>
                  <a:lnTo>
                    <a:pt x="6404332" y="829132"/>
                  </a:lnTo>
                  <a:lnTo>
                    <a:pt x="6451984" y="814837"/>
                  </a:lnTo>
                  <a:lnTo>
                    <a:pt x="6628292" y="681413"/>
                  </a:lnTo>
                  <a:lnTo>
                    <a:pt x="6695004" y="662353"/>
                  </a:lnTo>
                  <a:lnTo>
                    <a:pt x="6818896" y="671883"/>
                  </a:lnTo>
                  <a:lnTo>
                    <a:pt x="6976148" y="719534"/>
                  </a:lnTo>
                  <a:lnTo>
                    <a:pt x="7042860" y="705239"/>
                  </a:lnTo>
                  <a:lnTo>
                    <a:pt x="7157220" y="714769"/>
                  </a:lnTo>
                  <a:lnTo>
                    <a:pt x="7290644" y="676648"/>
                  </a:lnTo>
                  <a:lnTo>
                    <a:pt x="7447896" y="595641"/>
                  </a:lnTo>
                  <a:lnTo>
                    <a:pt x="7495544" y="776716"/>
                  </a:lnTo>
                  <a:lnTo>
                    <a:pt x="7552728" y="957791"/>
                  </a:lnTo>
                  <a:lnTo>
                    <a:pt x="7600380" y="938730"/>
                  </a:lnTo>
                  <a:lnTo>
                    <a:pt x="7638500" y="948260"/>
                  </a:lnTo>
                  <a:lnTo>
                    <a:pt x="7652796" y="1005442"/>
                  </a:lnTo>
                  <a:lnTo>
                    <a:pt x="7671856" y="1034033"/>
                  </a:lnTo>
                  <a:lnTo>
                    <a:pt x="7719508" y="1019737"/>
                  </a:lnTo>
                  <a:lnTo>
                    <a:pt x="7857696" y="1067389"/>
                  </a:lnTo>
                  <a:lnTo>
                    <a:pt x="7952996" y="1157926"/>
                  </a:lnTo>
                  <a:lnTo>
                    <a:pt x="7986352" y="1200812"/>
                  </a:lnTo>
                  <a:lnTo>
                    <a:pt x="8005412" y="1257994"/>
                  </a:lnTo>
                  <a:lnTo>
                    <a:pt x="8014944" y="1305645"/>
                  </a:lnTo>
                  <a:lnTo>
                    <a:pt x="7995884" y="1362827"/>
                  </a:lnTo>
                  <a:lnTo>
                    <a:pt x="7938704" y="1467659"/>
                  </a:lnTo>
                  <a:lnTo>
                    <a:pt x="7862460" y="1558197"/>
                  </a:lnTo>
                  <a:lnTo>
                    <a:pt x="7762392" y="1629674"/>
                  </a:lnTo>
                  <a:lnTo>
                    <a:pt x="7648028" y="1672560"/>
                  </a:lnTo>
                  <a:lnTo>
                    <a:pt x="6752184" y="1820279"/>
                  </a:lnTo>
                  <a:lnTo>
                    <a:pt x="6723596" y="1853635"/>
                  </a:lnTo>
                  <a:lnTo>
                    <a:pt x="6704536" y="1939407"/>
                  </a:lnTo>
                  <a:lnTo>
                    <a:pt x="6718828" y="2049005"/>
                  </a:lnTo>
                  <a:lnTo>
                    <a:pt x="6761716" y="2068065"/>
                  </a:lnTo>
                  <a:lnTo>
                    <a:pt x="6857020" y="2006119"/>
                  </a:lnTo>
                  <a:lnTo>
                    <a:pt x="7028564" y="1944172"/>
                  </a:lnTo>
                  <a:lnTo>
                    <a:pt x="7152456" y="1948937"/>
                  </a:lnTo>
                  <a:lnTo>
                    <a:pt x="7447896" y="2001354"/>
                  </a:lnTo>
                  <a:lnTo>
                    <a:pt x="7533668" y="2130012"/>
                  </a:lnTo>
                  <a:lnTo>
                    <a:pt x="7581316" y="2330147"/>
                  </a:lnTo>
                  <a:lnTo>
                    <a:pt x="7681384" y="2287261"/>
                  </a:lnTo>
                  <a:lnTo>
                    <a:pt x="7705212" y="2253905"/>
                  </a:lnTo>
                  <a:lnTo>
                    <a:pt x="7719508" y="2191959"/>
                  </a:lnTo>
                  <a:lnTo>
                    <a:pt x="7733800" y="2130012"/>
                  </a:lnTo>
                  <a:lnTo>
                    <a:pt x="7743332" y="2058535"/>
                  </a:lnTo>
                  <a:lnTo>
                    <a:pt x="7752864" y="2010884"/>
                  </a:lnTo>
                  <a:lnTo>
                    <a:pt x="7767156" y="1987058"/>
                  </a:lnTo>
                  <a:lnTo>
                    <a:pt x="7790984" y="1967998"/>
                  </a:lnTo>
                  <a:lnTo>
                    <a:pt x="7848164" y="1944172"/>
                  </a:lnTo>
                  <a:lnTo>
                    <a:pt x="8005412" y="1915581"/>
                  </a:lnTo>
                  <a:lnTo>
                    <a:pt x="8043536" y="1925112"/>
                  </a:lnTo>
                  <a:lnTo>
                    <a:pt x="8067360" y="2020414"/>
                  </a:lnTo>
                  <a:lnTo>
                    <a:pt x="8072124" y="2072830"/>
                  </a:lnTo>
                  <a:lnTo>
                    <a:pt x="8076892" y="2144307"/>
                  </a:lnTo>
                  <a:lnTo>
                    <a:pt x="8076892" y="2234845"/>
                  </a:lnTo>
                  <a:lnTo>
                    <a:pt x="8072124" y="2339678"/>
                  </a:lnTo>
                  <a:lnTo>
                    <a:pt x="8057832" y="2439745"/>
                  </a:lnTo>
                  <a:lnTo>
                    <a:pt x="8014944" y="2611290"/>
                  </a:lnTo>
                  <a:lnTo>
                    <a:pt x="7981588" y="2706592"/>
                  </a:lnTo>
                  <a:lnTo>
                    <a:pt x="7943468" y="2773304"/>
                  </a:lnTo>
                  <a:lnTo>
                    <a:pt x="7871992" y="2921023"/>
                  </a:lnTo>
                  <a:lnTo>
                    <a:pt x="7848164" y="2959144"/>
                  </a:lnTo>
                  <a:lnTo>
                    <a:pt x="7771924" y="3130689"/>
                  </a:lnTo>
                  <a:lnTo>
                    <a:pt x="7752864" y="3211695"/>
                  </a:lnTo>
                  <a:lnTo>
                    <a:pt x="7748096" y="3268877"/>
                  </a:lnTo>
                  <a:lnTo>
                    <a:pt x="7762392" y="3278408"/>
                  </a:lnTo>
                  <a:lnTo>
                    <a:pt x="7786220" y="3225991"/>
                  </a:lnTo>
                  <a:lnTo>
                    <a:pt x="7795748" y="3187869"/>
                  </a:lnTo>
                  <a:lnTo>
                    <a:pt x="7810044" y="3144984"/>
                  </a:lnTo>
                  <a:lnTo>
                    <a:pt x="7924408" y="3040151"/>
                  </a:lnTo>
                  <a:lnTo>
                    <a:pt x="7948232" y="3006795"/>
                  </a:lnTo>
                  <a:lnTo>
                    <a:pt x="8024476" y="2878137"/>
                  </a:lnTo>
                  <a:lnTo>
                    <a:pt x="8072124" y="2830486"/>
                  </a:lnTo>
                  <a:lnTo>
                    <a:pt x="8110248" y="2778069"/>
                  </a:lnTo>
                  <a:lnTo>
                    <a:pt x="8134072" y="2739948"/>
                  </a:lnTo>
                  <a:lnTo>
                    <a:pt x="8248436" y="2477866"/>
                  </a:lnTo>
                  <a:lnTo>
                    <a:pt x="8310384" y="2396859"/>
                  </a:lnTo>
                  <a:lnTo>
                    <a:pt x="8372328" y="2396859"/>
                  </a:lnTo>
                  <a:lnTo>
                    <a:pt x="8381860" y="2535048"/>
                  </a:lnTo>
                  <a:lnTo>
                    <a:pt x="8458100" y="2554108"/>
                  </a:lnTo>
                  <a:lnTo>
                    <a:pt x="8491456" y="2549343"/>
                  </a:lnTo>
                  <a:lnTo>
                    <a:pt x="8543872" y="2582699"/>
                  </a:lnTo>
                  <a:lnTo>
                    <a:pt x="8567700" y="2606524"/>
                  </a:lnTo>
                  <a:lnTo>
                    <a:pt x="8605820" y="2620820"/>
                  </a:lnTo>
                  <a:lnTo>
                    <a:pt x="8648708" y="2654176"/>
                  </a:lnTo>
                  <a:lnTo>
                    <a:pt x="8682064" y="2620820"/>
                  </a:lnTo>
                  <a:lnTo>
                    <a:pt x="8696356" y="2596994"/>
                  </a:lnTo>
                  <a:lnTo>
                    <a:pt x="8729712" y="2496927"/>
                  </a:lnTo>
                  <a:lnTo>
                    <a:pt x="8777364" y="2411154"/>
                  </a:lnTo>
                  <a:lnTo>
                    <a:pt x="8820252" y="2301556"/>
                  </a:lnTo>
                  <a:lnTo>
                    <a:pt x="8834548" y="2272966"/>
                  </a:lnTo>
                  <a:lnTo>
                    <a:pt x="8858372" y="2249140"/>
                  </a:lnTo>
                  <a:lnTo>
                    <a:pt x="8882196" y="2239610"/>
                  </a:lnTo>
                  <a:lnTo>
                    <a:pt x="8944144" y="2187193"/>
                  </a:lnTo>
                  <a:lnTo>
                    <a:pt x="8963204" y="2182428"/>
                  </a:lnTo>
                  <a:lnTo>
                    <a:pt x="8996560" y="2201489"/>
                  </a:lnTo>
                  <a:lnTo>
                    <a:pt x="9149044" y="2206254"/>
                  </a:lnTo>
                  <a:lnTo>
                    <a:pt x="9234816" y="2234845"/>
                  </a:lnTo>
                  <a:lnTo>
                    <a:pt x="9349180" y="2311087"/>
                  </a:lnTo>
                  <a:lnTo>
                    <a:pt x="9430188" y="2349208"/>
                  </a:lnTo>
                  <a:lnTo>
                    <a:pt x="9468308" y="2387329"/>
                  </a:lnTo>
                  <a:lnTo>
                    <a:pt x="9525488" y="2463571"/>
                  </a:lnTo>
                  <a:lnTo>
                    <a:pt x="9568376" y="2544578"/>
                  </a:lnTo>
                  <a:lnTo>
                    <a:pt x="9592200" y="2568404"/>
                  </a:lnTo>
                  <a:lnTo>
                    <a:pt x="9587436" y="2592229"/>
                  </a:lnTo>
                  <a:lnTo>
                    <a:pt x="9573140" y="2625585"/>
                  </a:lnTo>
                  <a:lnTo>
                    <a:pt x="9463544" y="2744713"/>
                  </a:lnTo>
                  <a:lnTo>
                    <a:pt x="9430188" y="2825720"/>
                  </a:lnTo>
                  <a:lnTo>
                    <a:pt x="9325356" y="2973439"/>
                  </a:lnTo>
                  <a:lnTo>
                    <a:pt x="9272936" y="3021090"/>
                  </a:lnTo>
                  <a:lnTo>
                    <a:pt x="9220520" y="3040151"/>
                  </a:lnTo>
                  <a:lnTo>
                    <a:pt x="9158576" y="3044916"/>
                  </a:lnTo>
                  <a:lnTo>
                    <a:pt x="9115688" y="3063976"/>
                  </a:lnTo>
                  <a:lnTo>
                    <a:pt x="9110924" y="3087802"/>
                  </a:lnTo>
                  <a:lnTo>
                    <a:pt x="9139516" y="3144984"/>
                  </a:lnTo>
                  <a:lnTo>
                    <a:pt x="9153808" y="3187869"/>
                  </a:lnTo>
                  <a:lnTo>
                    <a:pt x="9149044" y="3225991"/>
                  </a:lnTo>
                  <a:lnTo>
                    <a:pt x="9120452" y="3278408"/>
                  </a:lnTo>
                  <a:lnTo>
                    <a:pt x="9110924" y="3292703"/>
                  </a:lnTo>
                  <a:lnTo>
                    <a:pt x="9001324" y="3335588"/>
                  </a:lnTo>
                  <a:lnTo>
                    <a:pt x="8948908" y="3402301"/>
                  </a:lnTo>
                  <a:lnTo>
                    <a:pt x="8877432" y="3411831"/>
                  </a:lnTo>
                  <a:lnTo>
                    <a:pt x="8825016" y="3402301"/>
                  </a:lnTo>
                  <a:lnTo>
                    <a:pt x="8758304" y="3473777"/>
                  </a:lnTo>
                  <a:lnTo>
                    <a:pt x="8782128" y="3535723"/>
                  </a:lnTo>
                  <a:lnTo>
                    <a:pt x="8810720" y="3559550"/>
                  </a:lnTo>
                  <a:lnTo>
                    <a:pt x="8886964" y="3611966"/>
                  </a:lnTo>
                  <a:lnTo>
                    <a:pt x="8886964" y="3645322"/>
                  </a:lnTo>
                  <a:lnTo>
                    <a:pt x="8848840" y="3707269"/>
                  </a:lnTo>
                  <a:lnTo>
                    <a:pt x="8801192" y="3778745"/>
                  </a:lnTo>
                  <a:lnTo>
                    <a:pt x="8739244" y="3826397"/>
                  </a:lnTo>
                  <a:lnTo>
                    <a:pt x="8715420" y="3835927"/>
                  </a:lnTo>
                  <a:lnTo>
                    <a:pt x="8691592" y="3821631"/>
                  </a:lnTo>
                  <a:lnTo>
                    <a:pt x="8663000" y="3826397"/>
                  </a:lnTo>
                  <a:lnTo>
                    <a:pt x="8605820" y="3845456"/>
                  </a:lnTo>
                  <a:lnTo>
                    <a:pt x="8553404" y="3850223"/>
                  </a:lnTo>
                  <a:lnTo>
                    <a:pt x="8453336" y="3816867"/>
                  </a:lnTo>
                  <a:lnTo>
                    <a:pt x="8400920" y="3783511"/>
                  </a:lnTo>
                  <a:lnTo>
                    <a:pt x="8377092" y="3769215"/>
                  </a:lnTo>
                  <a:lnTo>
                    <a:pt x="8338972" y="3773980"/>
                  </a:lnTo>
                  <a:lnTo>
                    <a:pt x="8324676" y="3788275"/>
                  </a:lnTo>
                  <a:lnTo>
                    <a:pt x="8272260" y="3874048"/>
                  </a:lnTo>
                  <a:lnTo>
                    <a:pt x="8243672" y="3935994"/>
                  </a:lnTo>
                  <a:lnTo>
                    <a:pt x="8229376" y="3997942"/>
                  </a:lnTo>
                  <a:lnTo>
                    <a:pt x="8219844" y="4064653"/>
                  </a:lnTo>
                  <a:lnTo>
                    <a:pt x="8224608" y="4131365"/>
                  </a:lnTo>
                  <a:lnTo>
                    <a:pt x="8229376" y="4183781"/>
                  </a:lnTo>
                  <a:lnTo>
                    <a:pt x="8238904" y="4207607"/>
                  </a:lnTo>
                  <a:lnTo>
                    <a:pt x="8253200" y="4221902"/>
                  </a:lnTo>
                  <a:lnTo>
                    <a:pt x="8277028" y="4231432"/>
                  </a:lnTo>
                  <a:lnTo>
                    <a:pt x="8324676" y="4221902"/>
                  </a:lnTo>
                  <a:lnTo>
                    <a:pt x="8343736" y="4226667"/>
                  </a:lnTo>
                  <a:lnTo>
                    <a:pt x="8353268" y="4240962"/>
                  </a:lnTo>
                  <a:lnTo>
                    <a:pt x="8362800" y="4288614"/>
                  </a:lnTo>
                  <a:lnTo>
                    <a:pt x="8362800" y="4331500"/>
                  </a:lnTo>
                  <a:lnTo>
                    <a:pt x="8353268" y="4388681"/>
                  </a:lnTo>
                  <a:lnTo>
                    <a:pt x="8343736" y="4455394"/>
                  </a:lnTo>
                  <a:lnTo>
                    <a:pt x="8338972" y="4531635"/>
                  </a:lnTo>
                  <a:lnTo>
                    <a:pt x="8343736" y="4574523"/>
                  </a:lnTo>
                  <a:lnTo>
                    <a:pt x="8362800" y="4584053"/>
                  </a:lnTo>
                  <a:lnTo>
                    <a:pt x="8372328" y="4579287"/>
                  </a:lnTo>
                  <a:lnTo>
                    <a:pt x="8381860" y="4593581"/>
                  </a:lnTo>
                  <a:lnTo>
                    <a:pt x="8396156" y="4622173"/>
                  </a:lnTo>
                  <a:lnTo>
                    <a:pt x="8405684" y="4655529"/>
                  </a:lnTo>
                  <a:lnTo>
                    <a:pt x="8410448" y="4688884"/>
                  </a:lnTo>
                  <a:lnTo>
                    <a:pt x="8410448" y="4717476"/>
                  </a:lnTo>
                  <a:lnTo>
                    <a:pt x="8396156" y="4741302"/>
                  </a:lnTo>
                  <a:lnTo>
                    <a:pt x="8367564" y="4765127"/>
                  </a:lnTo>
                  <a:lnTo>
                    <a:pt x="8296088" y="4812778"/>
                  </a:lnTo>
                  <a:lnTo>
                    <a:pt x="8286556" y="4827073"/>
                  </a:lnTo>
                  <a:lnTo>
                    <a:pt x="8281792" y="4855665"/>
                  </a:lnTo>
                  <a:lnTo>
                    <a:pt x="8277028" y="4898551"/>
                  </a:lnTo>
                  <a:lnTo>
                    <a:pt x="8267496" y="4936671"/>
                  </a:lnTo>
                  <a:lnTo>
                    <a:pt x="8253200" y="4970027"/>
                  </a:lnTo>
                  <a:lnTo>
                    <a:pt x="8243672" y="4993852"/>
                  </a:lnTo>
                  <a:lnTo>
                    <a:pt x="8219844" y="5003384"/>
                  </a:lnTo>
                  <a:lnTo>
                    <a:pt x="8186488" y="5003384"/>
                  </a:lnTo>
                  <a:lnTo>
                    <a:pt x="8153132" y="5022444"/>
                  </a:lnTo>
                  <a:lnTo>
                    <a:pt x="8072124" y="5141571"/>
                  </a:lnTo>
                  <a:lnTo>
                    <a:pt x="8072124" y="5151101"/>
                  </a:lnTo>
                  <a:lnTo>
                    <a:pt x="8100716" y="5189223"/>
                  </a:lnTo>
                  <a:lnTo>
                    <a:pt x="8100716" y="5222579"/>
                  </a:lnTo>
                  <a:lnTo>
                    <a:pt x="8062596" y="5356003"/>
                  </a:lnTo>
                  <a:lnTo>
                    <a:pt x="8053064" y="5427480"/>
                  </a:lnTo>
                  <a:lnTo>
                    <a:pt x="8043536" y="5518017"/>
                  </a:lnTo>
                  <a:lnTo>
                    <a:pt x="8034004" y="5594258"/>
                  </a:lnTo>
                  <a:lnTo>
                    <a:pt x="8014944" y="5656206"/>
                  </a:lnTo>
                  <a:lnTo>
                    <a:pt x="7995884" y="5722918"/>
                  </a:lnTo>
                  <a:lnTo>
                    <a:pt x="7976824" y="5803925"/>
                  </a:lnTo>
                  <a:lnTo>
                    <a:pt x="7981588" y="5865870"/>
                  </a:lnTo>
                  <a:lnTo>
                    <a:pt x="8005412" y="5903993"/>
                  </a:lnTo>
                  <a:lnTo>
                    <a:pt x="8034004" y="5870637"/>
                  </a:lnTo>
                  <a:lnTo>
                    <a:pt x="8072124" y="5761037"/>
                  </a:lnTo>
                  <a:lnTo>
                    <a:pt x="8115012" y="5713388"/>
                  </a:lnTo>
                  <a:lnTo>
                    <a:pt x="8162664" y="5727684"/>
                  </a:lnTo>
                  <a:lnTo>
                    <a:pt x="8200784" y="5751507"/>
                  </a:lnTo>
                  <a:lnTo>
                    <a:pt x="8253200" y="5794395"/>
                  </a:lnTo>
                  <a:lnTo>
                    <a:pt x="8296088" y="5822985"/>
                  </a:lnTo>
                  <a:lnTo>
                    <a:pt x="8329444" y="5856340"/>
                  </a:lnTo>
                  <a:lnTo>
                    <a:pt x="8343736" y="5884933"/>
                  </a:lnTo>
                  <a:lnTo>
                    <a:pt x="8362800" y="5927818"/>
                  </a:lnTo>
                  <a:lnTo>
                    <a:pt x="8362800" y="5956409"/>
                  </a:lnTo>
                  <a:lnTo>
                    <a:pt x="8334208" y="5970704"/>
                  </a:lnTo>
                  <a:lnTo>
                    <a:pt x="8324676" y="5965939"/>
                  </a:lnTo>
                  <a:lnTo>
                    <a:pt x="8257964" y="5894463"/>
                  </a:lnTo>
                  <a:lnTo>
                    <a:pt x="8224608" y="5880167"/>
                  </a:lnTo>
                  <a:lnTo>
                    <a:pt x="8181724" y="5899226"/>
                  </a:lnTo>
                  <a:lnTo>
                    <a:pt x="8143604" y="5932584"/>
                  </a:lnTo>
                  <a:lnTo>
                    <a:pt x="8176960" y="6056475"/>
                  </a:lnTo>
                  <a:lnTo>
                    <a:pt x="8215080" y="6108893"/>
                  </a:lnTo>
                  <a:lnTo>
                    <a:pt x="8281792" y="6137483"/>
                  </a:lnTo>
                  <a:lnTo>
                    <a:pt x="8315148" y="6166074"/>
                  </a:lnTo>
                  <a:lnTo>
                    <a:pt x="8338972" y="6199431"/>
                  </a:lnTo>
                  <a:lnTo>
                    <a:pt x="8358032" y="6213724"/>
                  </a:lnTo>
                  <a:lnTo>
                    <a:pt x="8386624" y="6208961"/>
                  </a:lnTo>
                  <a:lnTo>
                    <a:pt x="8419980" y="6175604"/>
                  </a:lnTo>
                  <a:lnTo>
                    <a:pt x="8472396" y="6170838"/>
                  </a:lnTo>
                  <a:lnTo>
                    <a:pt x="8496224" y="6189901"/>
                  </a:lnTo>
                  <a:lnTo>
                    <a:pt x="8510516" y="6218491"/>
                  </a:lnTo>
                  <a:lnTo>
                    <a:pt x="8515284" y="6275672"/>
                  </a:lnTo>
                  <a:lnTo>
                    <a:pt x="8515284" y="6361443"/>
                  </a:lnTo>
                  <a:lnTo>
                    <a:pt x="8510516" y="6423392"/>
                  </a:lnTo>
                  <a:lnTo>
                    <a:pt x="8500988" y="6466277"/>
                  </a:lnTo>
                  <a:lnTo>
                    <a:pt x="8481928" y="6523459"/>
                  </a:lnTo>
                  <a:lnTo>
                    <a:pt x="8467632" y="6532989"/>
                  </a:lnTo>
                  <a:lnTo>
                    <a:pt x="8448572" y="6528224"/>
                  </a:lnTo>
                  <a:lnTo>
                    <a:pt x="8429512" y="6518694"/>
                  </a:lnTo>
                  <a:lnTo>
                    <a:pt x="8410448" y="6499633"/>
                  </a:lnTo>
                  <a:lnTo>
                    <a:pt x="8381860" y="6485339"/>
                  </a:lnTo>
                  <a:lnTo>
                    <a:pt x="8329444" y="6466277"/>
                  </a:lnTo>
                  <a:lnTo>
                    <a:pt x="8272260" y="6428156"/>
                  </a:lnTo>
                  <a:lnTo>
                    <a:pt x="8238904" y="6418626"/>
                  </a:lnTo>
                  <a:lnTo>
                    <a:pt x="8176960" y="6423392"/>
                  </a:lnTo>
                  <a:lnTo>
                    <a:pt x="8105480" y="6447218"/>
                  </a:lnTo>
                  <a:lnTo>
                    <a:pt x="8100716" y="6480573"/>
                  </a:lnTo>
                  <a:lnTo>
                    <a:pt x="7995884" y="6585405"/>
                  </a:lnTo>
                  <a:lnTo>
                    <a:pt x="7976824" y="6585405"/>
                  </a:lnTo>
                  <a:lnTo>
                    <a:pt x="7948232" y="6547284"/>
                  </a:lnTo>
                  <a:lnTo>
                    <a:pt x="7910112" y="6513929"/>
                  </a:lnTo>
                  <a:lnTo>
                    <a:pt x="7886284" y="6513929"/>
                  </a:lnTo>
                  <a:lnTo>
                    <a:pt x="7852928" y="6556815"/>
                  </a:lnTo>
                  <a:lnTo>
                    <a:pt x="7843400" y="6571110"/>
                  </a:lnTo>
                  <a:lnTo>
                    <a:pt x="7843400" y="6590170"/>
                  </a:lnTo>
                  <a:lnTo>
                    <a:pt x="7867224" y="6628292"/>
                  </a:lnTo>
                  <a:lnTo>
                    <a:pt x="7876756" y="6637822"/>
                  </a:lnTo>
                  <a:lnTo>
                    <a:pt x="7891052" y="6642588"/>
                  </a:lnTo>
                  <a:lnTo>
                    <a:pt x="7938704" y="6652118"/>
                  </a:lnTo>
                  <a:lnTo>
                    <a:pt x="7957764" y="6661648"/>
                  </a:lnTo>
                  <a:lnTo>
                    <a:pt x="7976824" y="6776010"/>
                  </a:lnTo>
                  <a:lnTo>
                    <a:pt x="8005412" y="6847488"/>
                  </a:lnTo>
                  <a:lnTo>
                    <a:pt x="8019708" y="6861783"/>
                  </a:lnTo>
                  <a:lnTo>
                    <a:pt x="8029240" y="6866548"/>
                  </a:lnTo>
                  <a:lnTo>
                    <a:pt x="8067360" y="6866548"/>
                  </a:lnTo>
                  <a:lnTo>
                    <a:pt x="8110248" y="6842722"/>
                  </a:lnTo>
                  <a:lnTo>
                    <a:pt x="8129308" y="6861783"/>
                  </a:lnTo>
                  <a:lnTo>
                    <a:pt x="8162664" y="6885608"/>
                  </a:lnTo>
                  <a:lnTo>
                    <a:pt x="8181724" y="6890375"/>
                  </a:lnTo>
                  <a:lnTo>
                    <a:pt x="8205548" y="6890375"/>
                  </a:lnTo>
                  <a:lnTo>
                    <a:pt x="8234140" y="6895139"/>
                  </a:lnTo>
                  <a:lnTo>
                    <a:pt x="8272260" y="6961850"/>
                  </a:lnTo>
                  <a:lnTo>
                    <a:pt x="8257964" y="7042857"/>
                  </a:lnTo>
                  <a:lnTo>
                    <a:pt x="8281792" y="7104803"/>
                  </a:lnTo>
                  <a:lnTo>
                    <a:pt x="8319912" y="7171515"/>
                  </a:lnTo>
                  <a:lnTo>
                    <a:pt x="8329444" y="7195341"/>
                  </a:lnTo>
                  <a:lnTo>
                    <a:pt x="8329444" y="7238227"/>
                  </a:lnTo>
                  <a:lnTo>
                    <a:pt x="8334208" y="7266818"/>
                  </a:lnTo>
                  <a:lnTo>
                    <a:pt x="8334208" y="7290643"/>
                  </a:lnTo>
                  <a:lnTo>
                    <a:pt x="8338972" y="7314469"/>
                  </a:lnTo>
                  <a:lnTo>
                    <a:pt x="8343736" y="7362121"/>
                  </a:lnTo>
                  <a:lnTo>
                    <a:pt x="8348504" y="7428832"/>
                  </a:lnTo>
                  <a:lnTo>
                    <a:pt x="8348504" y="7481249"/>
                  </a:lnTo>
                  <a:lnTo>
                    <a:pt x="8338972" y="7524135"/>
                  </a:lnTo>
                  <a:lnTo>
                    <a:pt x="8324676" y="7552725"/>
                  </a:lnTo>
                  <a:lnTo>
                    <a:pt x="8300852" y="7571786"/>
                  </a:lnTo>
                  <a:lnTo>
                    <a:pt x="8281792" y="7567021"/>
                  </a:lnTo>
                  <a:lnTo>
                    <a:pt x="8267496" y="7538430"/>
                  </a:lnTo>
                  <a:lnTo>
                    <a:pt x="8248436" y="7509839"/>
                  </a:lnTo>
                  <a:lnTo>
                    <a:pt x="8219844" y="7476483"/>
                  </a:lnTo>
                  <a:lnTo>
                    <a:pt x="8176960" y="7471719"/>
                  </a:lnTo>
                  <a:lnTo>
                    <a:pt x="8110248" y="7567021"/>
                  </a:lnTo>
                  <a:lnTo>
                    <a:pt x="8081656" y="7571786"/>
                  </a:lnTo>
                  <a:lnTo>
                    <a:pt x="8057832" y="7581316"/>
                  </a:lnTo>
                  <a:lnTo>
                    <a:pt x="8029240" y="7624203"/>
                  </a:lnTo>
                  <a:lnTo>
                    <a:pt x="7991120" y="7648028"/>
                  </a:lnTo>
                  <a:lnTo>
                    <a:pt x="7957764" y="7638497"/>
                  </a:lnTo>
                  <a:lnTo>
                    <a:pt x="7900580" y="7590847"/>
                  </a:lnTo>
                  <a:lnTo>
                    <a:pt x="7924408" y="7624203"/>
                  </a:lnTo>
                  <a:lnTo>
                    <a:pt x="7952996" y="7662323"/>
                  </a:lnTo>
                  <a:lnTo>
                    <a:pt x="7972060" y="7681384"/>
                  </a:lnTo>
                  <a:lnTo>
                    <a:pt x="7986352" y="7686149"/>
                  </a:lnTo>
                  <a:lnTo>
                    <a:pt x="8000648" y="7681384"/>
                  </a:lnTo>
                  <a:lnTo>
                    <a:pt x="8024476" y="7667089"/>
                  </a:lnTo>
                  <a:lnTo>
                    <a:pt x="8072124" y="7624203"/>
                  </a:lnTo>
                  <a:lnTo>
                    <a:pt x="8086420" y="7614672"/>
                  </a:lnTo>
                  <a:lnTo>
                    <a:pt x="8095952" y="7619437"/>
                  </a:lnTo>
                  <a:lnTo>
                    <a:pt x="8105480" y="7628967"/>
                  </a:lnTo>
                  <a:lnTo>
                    <a:pt x="8115012" y="7667089"/>
                  </a:lnTo>
                  <a:lnTo>
                    <a:pt x="8129308" y="7729035"/>
                  </a:lnTo>
                  <a:lnTo>
                    <a:pt x="8124544" y="7781451"/>
                  </a:lnTo>
                  <a:lnTo>
                    <a:pt x="8110248" y="7824337"/>
                  </a:lnTo>
                  <a:lnTo>
                    <a:pt x="8100716" y="7848163"/>
                  </a:lnTo>
                  <a:lnTo>
                    <a:pt x="8086420" y="7862459"/>
                  </a:lnTo>
                  <a:lnTo>
                    <a:pt x="8086420" y="7871989"/>
                  </a:lnTo>
                  <a:lnTo>
                    <a:pt x="8115012" y="7881519"/>
                  </a:lnTo>
                  <a:lnTo>
                    <a:pt x="8153132" y="7824337"/>
                  </a:lnTo>
                  <a:lnTo>
                    <a:pt x="8167428" y="7757626"/>
                  </a:lnTo>
                  <a:lnTo>
                    <a:pt x="8186488" y="7676619"/>
                  </a:lnTo>
                  <a:lnTo>
                    <a:pt x="8219844" y="7652793"/>
                  </a:lnTo>
                  <a:lnTo>
                    <a:pt x="8253200" y="7676619"/>
                  </a:lnTo>
                  <a:lnTo>
                    <a:pt x="8281792" y="7752861"/>
                  </a:lnTo>
                  <a:lnTo>
                    <a:pt x="8324676" y="7886285"/>
                  </a:lnTo>
                  <a:lnTo>
                    <a:pt x="8338972" y="7900579"/>
                  </a:lnTo>
                  <a:lnTo>
                    <a:pt x="8362800" y="7933935"/>
                  </a:lnTo>
                  <a:lnTo>
                    <a:pt x="8372328" y="7972057"/>
                  </a:lnTo>
                  <a:lnTo>
                    <a:pt x="8367564" y="8019708"/>
                  </a:lnTo>
                  <a:lnTo>
                    <a:pt x="8362800" y="8053064"/>
                  </a:lnTo>
                  <a:lnTo>
                    <a:pt x="8358032" y="8072125"/>
                  </a:lnTo>
                  <a:lnTo>
                    <a:pt x="8348504" y="8086419"/>
                  </a:lnTo>
                  <a:lnTo>
                    <a:pt x="8334208" y="8095950"/>
                  </a:lnTo>
                  <a:lnTo>
                    <a:pt x="8305616" y="8100715"/>
                  </a:lnTo>
                  <a:lnTo>
                    <a:pt x="8243672" y="8086419"/>
                  </a:lnTo>
                  <a:lnTo>
                    <a:pt x="8210316" y="8086419"/>
                  </a:lnTo>
                  <a:lnTo>
                    <a:pt x="8215080" y="8134071"/>
                  </a:lnTo>
                  <a:lnTo>
                    <a:pt x="8148368" y="8172192"/>
                  </a:lnTo>
                  <a:lnTo>
                    <a:pt x="8072124" y="8186487"/>
                  </a:lnTo>
                  <a:lnTo>
                    <a:pt x="8005412" y="8153131"/>
                  </a:lnTo>
                  <a:lnTo>
                    <a:pt x="7943468" y="8110245"/>
                  </a:lnTo>
                  <a:lnTo>
                    <a:pt x="7962528" y="8043533"/>
                  </a:lnTo>
                  <a:lnTo>
                    <a:pt x="7976824" y="7972057"/>
                  </a:lnTo>
                  <a:lnTo>
                    <a:pt x="7948232" y="7919640"/>
                  </a:lnTo>
                  <a:lnTo>
                    <a:pt x="7943468" y="7919640"/>
                  </a:lnTo>
                  <a:lnTo>
                    <a:pt x="7952996" y="7995883"/>
                  </a:lnTo>
                  <a:lnTo>
                    <a:pt x="7943468" y="8024473"/>
                  </a:lnTo>
                  <a:lnTo>
                    <a:pt x="7910112" y="8057829"/>
                  </a:lnTo>
                  <a:lnTo>
                    <a:pt x="7886284" y="8076889"/>
                  </a:lnTo>
                  <a:lnTo>
                    <a:pt x="7886284" y="8086419"/>
                  </a:lnTo>
                  <a:lnTo>
                    <a:pt x="7895816" y="8091185"/>
                  </a:lnTo>
                  <a:lnTo>
                    <a:pt x="7905348" y="8110245"/>
                  </a:lnTo>
                  <a:lnTo>
                    <a:pt x="7910112" y="8129306"/>
                  </a:lnTo>
                  <a:lnTo>
                    <a:pt x="7905348" y="8153131"/>
                  </a:lnTo>
                  <a:lnTo>
                    <a:pt x="7891052" y="8176957"/>
                  </a:lnTo>
                  <a:lnTo>
                    <a:pt x="7886284" y="8196017"/>
                  </a:lnTo>
                  <a:lnTo>
                    <a:pt x="7886284" y="8210313"/>
                  </a:lnTo>
                  <a:lnTo>
                    <a:pt x="7895816" y="8229373"/>
                  </a:lnTo>
                  <a:lnTo>
                    <a:pt x="7914876" y="8253199"/>
                  </a:lnTo>
                  <a:lnTo>
                    <a:pt x="7938704" y="8262729"/>
                  </a:lnTo>
                  <a:lnTo>
                    <a:pt x="8048300" y="8267495"/>
                  </a:lnTo>
                  <a:lnTo>
                    <a:pt x="8091188" y="8281790"/>
                  </a:lnTo>
                  <a:lnTo>
                    <a:pt x="8191252" y="8334207"/>
                  </a:lnTo>
                  <a:lnTo>
                    <a:pt x="8196020" y="8348501"/>
                  </a:lnTo>
                  <a:lnTo>
                    <a:pt x="8181724" y="8443804"/>
                  </a:lnTo>
                  <a:lnTo>
                    <a:pt x="8172192" y="8529576"/>
                  </a:lnTo>
                  <a:lnTo>
                    <a:pt x="8153132" y="8548637"/>
                  </a:lnTo>
                  <a:lnTo>
                    <a:pt x="8043536" y="8548637"/>
                  </a:lnTo>
                  <a:lnTo>
                    <a:pt x="8010180" y="8562932"/>
                  </a:lnTo>
                  <a:lnTo>
                    <a:pt x="7957764" y="8605819"/>
                  </a:lnTo>
                  <a:lnTo>
                    <a:pt x="7910112" y="8653470"/>
                  </a:lnTo>
                  <a:lnTo>
                    <a:pt x="7886284" y="8653470"/>
                  </a:lnTo>
                  <a:lnTo>
                    <a:pt x="7786220" y="8610584"/>
                  </a:lnTo>
                  <a:lnTo>
                    <a:pt x="7748096" y="8581993"/>
                  </a:lnTo>
                  <a:lnTo>
                    <a:pt x="7662324" y="8505751"/>
                  </a:lnTo>
                  <a:lnTo>
                    <a:pt x="7600380" y="8381857"/>
                  </a:lnTo>
                  <a:lnTo>
                    <a:pt x="7571788" y="8434274"/>
                  </a:lnTo>
                  <a:lnTo>
                    <a:pt x="7557492" y="8458100"/>
                  </a:lnTo>
                  <a:lnTo>
                    <a:pt x="7538432" y="8467630"/>
                  </a:lnTo>
                  <a:lnTo>
                    <a:pt x="7519372" y="8472395"/>
                  </a:lnTo>
                  <a:lnTo>
                    <a:pt x="7505076" y="8462865"/>
                  </a:lnTo>
                  <a:lnTo>
                    <a:pt x="7486016" y="8443804"/>
                  </a:lnTo>
                  <a:lnTo>
                    <a:pt x="7452660" y="8396153"/>
                  </a:lnTo>
                  <a:lnTo>
                    <a:pt x="7414540" y="8353267"/>
                  </a:lnTo>
                  <a:lnTo>
                    <a:pt x="7385948" y="8334207"/>
                  </a:lnTo>
                  <a:lnTo>
                    <a:pt x="7385948" y="8338971"/>
                  </a:lnTo>
                  <a:lnTo>
                    <a:pt x="7405008" y="8362797"/>
                  </a:lnTo>
                  <a:lnTo>
                    <a:pt x="7424068" y="8396153"/>
                  </a:lnTo>
                  <a:lnTo>
                    <a:pt x="7486016" y="8481925"/>
                  </a:lnTo>
                  <a:lnTo>
                    <a:pt x="7505076" y="8505751"/>
                  </a:lnTo>
                  <a:lnTo>
                    <a:pt x="7500312" y="8520046"/>
                  </a:lnTo>
                  <a:lnTo>
                    <a:pt x="7466956" y="8534342"/>
                  </a:lnTo>
                  <a:lnTo>
                    <a:pt x="7419304" y="8562932"/>
                  </a:lnTo>
                  <a:lnTo>
                    <a:pt x="7400244" y="8586758"/>
                  </a:lnTo>
                  <a:lnTo>
                    <a:pt x="7366888" y="8639174"/>
                  </a:lnTo>
                  <a:lnTo>
                    <a:pt x="7352592" y="8648705"/>
                  </a:lnTo>
                  <a:lnTo>
                    <a:pt x="7304940" y="8663000"/>
                  </a:lnTo>
                  <a:lnTo>
                    <a:pt x="7285880" y="8658235"/>
                  </a:lnTo>
                  <a:lnTo>
                    <a:pt x="7247760" y="8629644"/>
                  </a:lnTo>
                  <a:lnTo>
                    <a:pt x="7195344" y="8610584"/>
                  </a:lnTo>
                  <a:lnTo>
                    <a:pt x="7161988" y="8591523"/>
                  </a:lnTo>
                  <a:lnTo>
                    <a:pt x="7114336" y="8562932"/>
                  </a:lnTo>
                  <a:lnTo>
                    <a:pt x="7128632" y="8596288"/>
                  </a:lnTo>
                  <a:lnTo>
                    <a:pt x="7219168" y="8648705"/>
                  </a:lnTo>
                  <a:lnTo>
                    <a:pt x="7228700" y="8663000"/>
                  </a:lnTo>
                  <a:lnTo>
                    <a:pt x="7209636" y="8696356"/>
                  </a:lnTo>
                  <a:lnTo>
                    <a:pt x="7200108" y="8705886"/>
                  </a:lnTo>
                  <a:lnTo>
                    <a:pt x="7181048" y="8710651"/>
                  </a:lnTo>
                  <a:lnTo>
                    <a:pt x="7147692" y="8701121"/>
                  </a:lnTo>
                  <a:lnTo>
                    <a:pt x="7114336" y="8705886"/>
                  </a:lnTo>
                  <a:lnTo>
                    <a:pt x="7085744" y="8710651"/>
                  </a:lnTo>
                  <a:lnTo>
                    <a:pt x="7071448" y="8724947"/>
                  </a:lnTo>
                  <a:lnTo>
                    <a:pt x="7076216" y="8739242"/>
                  </a:lnTo>
                  <a:lnTo>
                    <a:pt x="7080980" y="8748772"/>
                  </a:lnTo>
                  <a:lnTo>
                    <a:pt x="7090508" y="8763068"/>
                  </a:lnTo>
                  <a:lnTo>
                    <a:pt x="7104804" y="8763068"/>
                  </a:lnTo>
                  <a:lnTo>
                    <a:pt x="7128632" y="8729712"/>
                  </a:lnTo>
                  <a:lnTo>
                    <a:pt x="7147692" y="8724947"/>
                  </a:lnTo>
                  <a:lnTo>
                    <a:pt x="7195344" y="8734477"/>
                  </a:lnTo>
                  <a:lnTo>
                    <a:pt x="7247760" y="8705886"/>
                  </a:lnTo>
                  <a:lnTo>
                    <a:pt x="7281116" y="8696356"/>
                  </a:lnTo>
                  <a:lnTo>
                    <a:pt x="7309704" y="8691591"/>
                  </a:lnTo>
                  <a:lnTo>
                    <a:pt x="7405008" y="8648705"/>
                  </a:lnTo>
                  <a:lnTo>
                    <a:pt x="7428832" y="8601053"/>
                  </a:lnTo>
                  <a:lnTo>
                    <a:pt x="7462188" y="8581993"/>
                  </a:lnTo>
                  <a:lnTo>
                    <a:pt x="7533668" y="8572463"/>
                  </a:lnTo>
                  <a:lnTo>
                    <a:pt x="7605144" y="8577228"/>
                  </a:lnTo>
                  <a:lnTo>
                    <a:pt x="7643264" y="8581993"/>
                  </a:lnTo>
                  <a:lnTo>
                    <a:pt x="7671856" y="8629644"/>
                  </a:lnTo>
                  <a:lnTo>
                    <a:pt x="7709976" y="8658235"/>
                  </a:lnTo>
                  <a:lnTo>
                    <a:pt x="7743332" y="8696356"/>
                  </a:lnTo>
                  <a:lnTo>
                    <a:pt x="7781452" y="8705886"/>
                  </a:lnTo>
                  <a:lnTo>
                    <a:pt x="7805280" y="8753537"/>
                  </a:lnTo>
                  <a:lnTo>
                    <a:pt x="7867224" y="8805954"/>
                  </a:lnTo>
                  <a:lnTo>
                    <a:pt x="7910112" y="8815484"/>
                  </a:lnTo>
                  <a:lnTo>
                    <a:pt x="7933936" y="8844075"/>
                  </a:lnTo>
                  <a:lnTo>
                    <a:pt x="7933936" y="8948908"/>
                  </a:lnTo>
                  <a:lnTo>
                    <a:pt x="7938704" y="8991794"/>
                  </a:lnTo>
                  <a:lnTo>
                    <a:pt x="7924408" y="9115687"/>
                  </a:lnTo>
                  <a:lnTo>
                    <a:pt x="7895816" y="9144278"/>
                  </a:lnTo>
                  <a:lnTo>
                    <a:pt x="7900580" y="9206225"/>
                  </a:lnTo>
                  <a:lnTo>
                    <a:pt x="7891052" y="9258641"/>
                  </a:lnTo>
                  <a:lnTo>
                    <a:pt x="7862460" y="9239580"/>
                  </a:lnTo>
                  <a:lnTo>
                    <a:pt x="7829104" y="9206225"/>
                  </a:lnTo>
                  <a:lnTo>
                    <a:pt x="7748096" y="9153808"/>
                  </a:lnTo>
                  <a:lnTo>
                    <a:pt x="7676620" y="9115687"/>
                  </a:lnTo>
                  <a:lnTo>
                    <a:pt x="7648028" y="9087096"/>
                  </a:lnTo>
                  <a:lnTo>
                    <a:pt x="7614672" y="9063271"/>
                  </a:lnTo>
                  <a:lnTo>
                    <a:pt x="7571788" y="8963203"/>
                  </a:lnTo>
                  <a:lnTo>
                    <a:pt x="7538432" y="8839310"/>
                  </a:lnTo>
                  <a:lnTo>
                    <a:pt x="7528900" y="8777363"/>
                  </a:lnTo>
                  <a:lnTo>
                    <a:pt x="7500312" y="8777363"/>
                  </a:lnTo>
                  <a:lnTo>
                    <a:pt x="7471720" y="8791658"/>
                  </a:lnTo>
                  <a:lnTo>
                    <a:pt x="7443128" y="8810719"/>
                  </a:lnTo>
                  <a:lnTo>
                    <a:pt x="7428832" y="8839310"/>
                  </a:lnTo>
                  <a:lnTo>
                    <a:pt x="7333532" y="8877431"/>
                  </a:lnTo>
                  <a:lnTo>
                    <a:pt x="7300176" y="8906022"/>
                  </a:lnTo>
                  <a:lnTo>
                    <a:pt x="7281116" y="8906022"/>
                  </a:lnTo>
                  <a:lnTo>
                    <a:pt x="7209636" y="8948908"/>
                  </a:lnTo>
                  <a:lnTo>
                    <a:pt x="7238228" y="8967968"/>
                  </a:lnTo>
                  <a:lnTo>
                    <a:pt x="7252524" y="8972733"/>
                  </a:lnTo>
                  <a:lnTo>
                    <a:pt x="7281116" y="8958438"/>
                  </a:lnTo>
                  <a:lnTo>
                    <a:pt x="7300176" y="8944143"/>
                  </a:lnTo>
                  <a:lnTo>
                    <a:pt x="7362120" y="8906022"/>
                  </a:lnTo>
                  <a:lnTo>
                    <a:pt x="7414540" y="8901256"/>
                  </a:lnTo>
                  <a:lnTo>
                    <a:pt x="7433600" y="8882196"/>
                  </a:lnTo>
                  <a:lnTo>
                    <a:pt x="7471720" y="8858370"/>
                  </a:lnTo>
                  <a:lnTo>
                    <a:pt x="7500312" y="8848840"/>
                  </a:lnTo>
                  <a:lnTo>
                    <a:pt x="7500312" y="8858370"/>
                  </a:lnTo>
                  <a:lnTo>
                    <a:pt x="7505076" y="8867901"/>
                  </a:lnTo>
                  <a:lnTo>
                    <a:pt x="7524136" y="9020385"/>
                  </a:lnTo>
                  <a:lnTo>
                    <a:pt x="7514604" y="9058506"/>
                  </a:lnTo>
                  <a:lnTo>
                    <a:pt x="7495544" y="9077566"/>
                  </a:lnTo>
                  <a:lnTo>
                    <a:pt x="7447896" y="9106157"/>
                  </a:lnTo>
                  <a:lnTo>
                    <a:pt x="7438364" y="9115687"/>
                  </a:lnTo>
                  <a:lnTo>
                    <a:pt x="7452660" y="9139513"/>
                  </a:lnTo>
                  <a:lnTo>
                    <a:pt x="7495544" y="9120452"/>
                  </a:lnTo>
                  <a:lnTo>
                    <a:pt x="7519372" y="9091861"/>
                  </a:lnTo>
                  <a:lnTo>
                    <a:pt x="7538432" y="9101392"/>
                  </a:lnTo>
                  <a:lnTo>
                    <a:pt x="7562256" y="9139513"/>
                  </a:lnTo>
                  <a:lnTo>
                    <a:pt x="7586084" y="9158573"/>
                  </a:lnTo>
                  <a:lnTo>
                    <a:pt x="7657560" y="9215755"/>
                  </a:lnTo>
                  <a:lnTo>
                    <a:pt x="7690916" y="9249111"/>
                  </a:lnTo>
                  <a:lnTo>
                    <a:pt x="7738568" y="9277701"/>
                  </a:lnTo>
                  <a:lnTo>
                    <a:pt x="7790984" y="9318205"/>
                  </a:lnTo>
                  <a:lnTo>
                    <a:pt x="7800512" y="9332500"/>
                  </a:lnTo>
                  <a:lnTo>
                    <a:pt x="7852928" y="9351561"/>
                  </a:lnTo>
                  <a:lnTo>
                    <a:pt x="7862460" y="9361091"/>
                  </a:lnTo>
                  <a:lnTo>
                    <a:pt x="7881520" y="9432568"/>
                  </a:lnTo>
                  <a:lnTo>
                    <a:pt x="7895816" y="9437333"/>
                  </a:lnTo>
                  <a:lnTo>
                    <a:pt x="7943468" y="9442098"/>
                  </a:lnTo>
                  <a:lnTo>
                    <a:pt x="7933936" y="9470689"/>
                  </a:lnTo>
                  <a:lnTo>
                    <a:pt x="7891052" y="9532636"/>
                  </a:lnTo>
                  <a:lnTo>
                    <a:pt x="7867224" y="9551696"/>
                  </a:lnTo>
                  <a:lnTo>
                    <a:pt x="7857696" y="9565992"/>
                  </a:lnTo>
                  <a:lnTo>
                    <a:pt x="7862460" y="9585052"/>
                  </a:lnTo>
                  <a:lnTo>
                    <a:pt x="7862460" y="9623173"/>
                  </a:lnTo>
                  <a:lnTo>
                    <a:pt x="7871992" y="9689885"/>
                  </a:lnTo>
                  <a:lnTo>
                    <a:pt x="7886284" y="9627938"/>
                  </a:lnTo>
                  <a:lnTo>
                    <a:pt x="7891052" y="9599348"/>
                  </a:lnTo>
                  <a:lnTo>
                    <a:pt x="7900580" y="9589817"/>
                  </a:lnTo>
                  <a:lnTo>
                    <a:pt x="7910112" y="9589817"/>
                  </a:lnTo>
                  <a:lnTo>
                    <a:pt x="7943468" y="9561227"/>
                  </a:lnTo>
                  <a:lnTo>
                    <a:pt x="7976824" y="9575522"/>
                  </a:lnTo>
                  <a:lnTo>
                    <a:pt x="7986352" y="9646999"/>
                  </a:lnTo>
                  <a:lnTo>
                    <a:pt x="7991120" y="9708945"/>
                  </a:lnTo>
                  <a:lnTo>
                    <a:pt x="7986352" y="9766127"/>
                  </a:lnTo>
                  <a:lnTo>
                    <a:pt x="7991120" y="9847134"/>
                  </a:lnTo>
                  <a:lnTo>
                    <a:pt x="7991120" y="9875725"/>
                  </a:lnTo>
                  <a:lnTo>
                    <a:pt x="7995884" y="9899551"/>
                  </a:lnTo>
                  <a:lnTo>
                    <a:pt x="8005412" y="10004383"/>
                  </a:lnTo>
                  <a:lnTo>
                    <a:pt x="8014944" y="10032974"/>
                  </a:lnTo>
                  <a:lnTo>
                    <a:pt x="7995884" y="10061565"/>
                  </a:lnTo>
                  <a:lnTo>
                    <a:pt x="7948232" y="10071095"/>
                  </a:lnTo>
                  <a:lnTo>
                    <a:pt x="7929172" y="10056800"/>
                  </a:lnTo>
                  <a:lnTo>
                    <a:pt x="7876756" y="10061565"/>
                  </a:lnTo>
                  <a:lnTo>
                    <a:pt x="7876756" y="10037739"/>
                  </a:lnTo>
                  <a:lnTo>
                    <a:pt x="7876756" y="10009148"/>
                  </a:lnTo>
                  <a:lnTo>
                    <a:pt x="7876756" y="9990088"/>
                  </a:lnTo>
                  <a:lnTo>
                    <a:pt x="7871992" y="9975793"/>
                  </a:lnTo>
                  <a:lnTo>
                    <a:pt x="7871992" y="9875725"/>
                  </a:lnTo>
                  <a:lnTo>
                    <a:pt x="7857696" y="9899551"/>
                  </a:lnTo>
                  <a:lnTo>
                    <a:pt x="7852928" y="9918611"/>
                  </a:lnTo>
                  <a:lnTo>
                    <a:pt x="7852928" y="9942437"/>
                  </a:lnTo>
                  <a:lnTo>
                    <a:pt x="7843400" y="10047269"/>
                  </a:lnTo>
                  <a:lnTo>
                    <a:pt x="7829104" y="10075860"/>
                  </a:lnTo>
                  <a:lnTo>
                    <a:pt x="7790984" y="10066330"/>
                  </a:lnTo>
                  <a:lnTo>
                    <a:pt x="7752864" y="10071095"/>
                  </a:lnTo>
                  <a:lnTo>
                    <a:pt x="7729036" y="10066330"/>
                  </a:lnTo>
                  <a:lnTo>
                    <a:pt x="7657560" y="10018679"/>
                  </a:lnTo>
                  <a:lnTo>
                    <a:pt x="7628968" y="9975793"/>
                  </a:lnTo>
                  <a:lnTo>
                    <a:pt x="7605144" y="9909081"/>
                  </a:lnTo>
                  <a:lnTo>
                    <a:pt x="7590848" y="9847134"/>
                  </a:lnTo>
                  <a:lnTo>
                    <a:pt x="7586084" y="9785187"/>
                  </a:lnTo>
                  <a:lnTo>
                    <a:pt x="7567024" y="9737536"/>
                  </a:lnTo>
                  <a:lnTo>
                    <a:pt x="7538432" y="9699415"/>
                  </a:lnTo>
                  <a:lnTo>
                    <a:pt x="7505076" y="9670824"/>
                  </a:lnTo>
                  <a:lnTo>
                    <a:pt x="7462188" y="9646999"/>
                  </a:lnTo>
                  <a:lnTo>
                    <a:pt x="7428832" y="9618408"/>
                  </a:lnTo>
                  <a:lnTo>
                    <a:pt x="7400244" y="9580287"/>
                  </a:lnTo>
                  <a:lnTo>
                    <a:pt x="7366888" y="9551696"/>
                  </a:lnTo>
                  <a:lnTo>
                    <a:pt x="7333532" y="9527871"/>
                  </a:lnTo>
                  <a:lnTo>
                    <a:pt x="7281116" y="9518340"/>
                  </a:lnTo>
                  <a:lnTo>
                    <a:pt x="7204872" y="9523105"/>
                  </a:lnTo>
                  <a:lnTo>
                    <a:pt x="7157220" y="9499280"/>
                  </a:lnTo>
                  <a:lnTo>
                    <a:pt x="7142924" y="9504045"/>
                  </a:lnTo>
                  <a:lnTo>
                    <a:pt x="7133396" y="9513575"/>
                  </a:lnTo>
                  <a:lnTo>
                    <a:pt x="7142924" y="9546931"/>
                  </a:lnTo>
                  <a:lnTo>
                    <a:pt x="7200108" y="9565992"/>
                  </a:lnTo>
                  <a:lnTo>
                    <a:pt x="7242992" y="9570757"/>
                  </a:lnTo>
                  <a:lnTo>
                    <a:pt x="7300176" y="9565992"/>
                  </a:lnTo>
                  <a:lnTo>
                    <a:pt x="7338296" y="9575522"/>
                  </a:lnTo>
                  <a:lnTo>
                    <a:pt x="7352592" y="9594582"/>
                  </a:lnTo>
                  <a:lnTo>
                    <a:pt x="7362120" y="9627938"/>
                  </a:lnTo>
                  <a:lnTo>
                    <a:pt x="7366888" y="9680355"/>
                  </a:lnTo>
                  <a:lnTo>
                    <a:pt x="7352592" y="9718476"/>
                  </a:lnTo>
                  <a:lnTo>
                    <a:pt x="7309704" y="9766127"/>
                  </a:lnTo>
                  <a:lnTo>
                    <a:pt x="7290644" y="9785187"/>
                  </a:lnTo>
                  <a:lnTo>
                    <a:pt x="7223932" y="9823309"/>
                  </a:lnTo>
                  <a:lnTo>
                    <a:pt x="7200108" y="9832839"/>
                  </a:lnTo>
                  <a:lnTo>
                    <a:pt x="7147692" y="9832839"/>
                  </a:lnTo>
                  <a:lnTo>
                    <a:pt x="7104804" y="9832839"/>
                  </a:lnTo>
                  <a:lnTo>
                    <a:pt x="7047624" y="9809013"/>
                  </a:lnTo>
                  <a:lnTo>
                    <a:pt x="7019032" y="9809013"/>
                  </a:lnTo>
                  <a:lnTo>
                    <a:pt x="6952320" y="9804248"/>
                  </a:lnTo>
                  <a:lnTo>
                    <a:pt x="6938024" y="9813778"/>
                  </a:lnTo>
                  <a:lnTo>
                    <a:pt x="6957084" y="9832839"/>
                  </a:lnTo>
                  <a:lnTo>
                    <a:pt x="6985676" y="9842369"/>
                  </a:lnTo>
                  <a:lnTo>
                    <a:pt x="6999972" y="9856664"/>
                  </a:lnTo>
                  <a:lnTo>
                    <a:pt x="7004736" y="9885255"/>
                  </a:lnTo>
                  <a:lnTo>
                    <a:pt x="6995208" y="9923376"/>
                  </a:lnTo>
                  <a:lnTo>
                    <a:pt x="6990440" y="9951967"/>
                  </a:lnTo>
                  <a:lnTo>
                    <a:pt x="6976148" y="9971027"/>
                  </a:lnTo>
                  <a:lnTo>
                    <a:pt x="6938024" y="10009148"/>
                  </a:lnTo>
                  <a:lnTo>
                    <a:pt x="6918964" y="10023444"/>
                  </a:lnTo>
                  <a:lnTo>
                    <a:pt x="6837956" y="10061565"/>
                  </a:lnTo>
                  <a:lnTo>
                    <a:pt x="6833192" y="10071095"/>
                  </a:lnTo>
                  <a:lnTo>
                    <a:pt x="6852252" y="10071095"/>
                  </a:lnTo>
                  <a:lnTo>
                    <a:pt x="6899904" y="10056800"/>
                  </a:lnTo>
                  <a:lnTo>
                    <a:pt x="6914200" y="10056800"/>
                  </a:lnTo>
                  <a:lnTo>
                    <a:pt x="6999972" y="10090156"/>
                  </a:lnTo>
                  <a:lnTo>
                    <a:pt x="7066684" y="10090156"/>
                  </a:lnTo>
                  <a:lnTo>
                    <a:pt x="7195344" y="10056800"/>
                  </a:lnTo>
                  <a:lnTo>
                    <a:pt x="7209636" y="10056800"/>
                  </a:lnTo>
                  <a:lnTo>
                    <a:pt x="7214404" y="10061565"/>
                  </a:lnTo>
                  <a:lnTo>
                    <a:pt x="7223932" y="10075860"/>
                  </a:lnTo>
                  <a:lnTo>
                    <a:pt x="7233464" y="10094921"/>
                  </a:lnTo>
                  <a:lnTo>
                    <a:pt x="7223932" y="10109216"/>
                  </a:lnTo>
                  <a:lnTo>
                    <a:pt x="7195344" y="10128277"/>
                  </a:lnTo>
                  <a:lnTo>
                    <a:pt x="7147692" y="10147337"/>
                  </a:lnTo>
                  <a:lnTo>
                    <a:pt x="7123864" y="10156867"/>
                  </a:lnTo>
                  <a:lnTo>
                    <a:pt x="7104804" y="10175928"/>
                  </a:lnTo>
                  <a:lnTo>
                    <a:pt x="7071448" y="10218814"/>
                  </a:lnTo>
                  <a:lnTo>
                    <a:pt x="7057152" y="10261700"/>
                  </a:lnTo>
                  <a:lnTo>
                    <a:pt x="7095276" y="10280761"/>
                  </a:lnTo>
                  <a:lnTo>
                    <a:pt x="7114336" y="10256935"/>
                  </a:lnTo>
                  <a:lnTo>
                    <a:pt x="7133396" y="10209284"/>
                  </a:lnTo>
                  <a:lnTo>
                    <a:pt x="7152456" y="10185458"/>
                  </a:lnTo>
                  <a:lnTo>
                    <a:pt x="7195344" y="10166398"/>
                  </a:lnTo>
                  <a:lnTo>
                    <a:pt x="7247760" y="10175928"/>
                  </a:lnTo>
                  <a:lnTo>
                    <a:pt x="7290644" y="10161633"/>
                  </a:lnTo>
                  <a:lnTo>
                    <a:pt x="7371652" y="10118746"/>
                  </a:lnTo>
                  <a:lnTo>
                    <a:pt x="7385948" y="10113981"/>
                  </a:lnTo>
                  <a:lnTo>
                    <a:pt x="7509840" y="10142572"/>
                  </a:lnTo>
                  <a:lnTo>
                    <a:pt x="7619440" y="10194988"/>
                  </a:lnTo>
                  <a:lnTo>
                    <a:pt x="7676620" y="10214049"/>
                  </a:lnTo>
                  <a:lnTo>
                    <a:pt x="7752864" y="10223579"/>
                  </a:lnTo>
                  <a:lnTo>
                    <a:pt x="7895816" y="10218814"/>
                  </a:lnTo>
                  <a:lnTo>
                    <a:pt x="7905348" y="10228344"/>
                  </a:lnTo>
                  <a:lnTo>
                    <a:pt x="7900580" y="10247405"/>
                  </a:lnTo>
                  <a:lnTo>
                    <a:pt x="7891052" y="10261700"/>
                  </a:lnTo>
                  <a:lnTo>
                    <a:pt x="7871992" y="10280761"/>
                  </a:lnTo>
                  <a:lnTo>
                    <a:pt x="7843400" y="10295056"/>
                  </a:lnTo>
                  <a:lnTo>
                    <a:pt x="7824340" y="10299821"/>
                  </a:lnTo>
                  <a:lnTo>
                    <a:pt x="7810044" y="10309351"/>
                  </a:lnTo>
                  <a:lnTo>
                    <a:pt x="7776688" y="10318882"/>
                  </a:lnTo>
                  <a:lnTo>
                    <a:pt x="7767156" y="10328412"/>
                  </a:lnTo>
                  <a:lnTo>
                    <a:pt x="7781452" y="10366533"/>
                  </a:lnTo>
                  <a:lnTo>
                    <a:pt x="7776688" y="10371298"/>
                  </a:lnTo>
                  <a:lnTo>
                    <a:pt x="7743332" y="10371298"/>
                  </a:lnTo>
                  <a:lnTo>
                    <a:pt x="7695680" y="10395124"/>
                  </a:lnTo>
                  <a:lnTo>
                    <a:pt x="7657560" y="10390359"/>
                  </a:lnTo>
                  <a:lnTo>
                    <a:pt x="7648028" y="10395124"/>
                  </a:lnTo>
                  <a:lnTo>
                    <a:pt x="7652796" y="10404654"/>
                  </a:lnTo>
                  <a:lnTo>
                    <a:pt x="7662324" y="10418949"/>
                  </a:lnTo>
                  <a:lnTo>
                    <a:pt x="7671856" y="10442775"/>
                  </a:lnTo>
                  <a:lnTo>
                    <a:pt x="7667088" y="10461836"/>
                  </a:lnTo>
                  <a:lnTo>
                    <a:pt x="7648028" y="10471366"/>
                  </a:lnTo>
                  <a:lnTo>
                    <a:pt x="7633732" y="10476131"/>
                  </a:lnTo>
                  <a:lnTo>
                    <a:pt x="7586084" y="10461836"/>
                  </a:lnTo>
                  <a:lnTo>
                    <a:pt x="7581316" y="10461836"/>
                  </a:lnTo>
                  <a:lnTo>
                    <a:pt x="7586084" y="10476131"/>
                  </a:lnTo>
                  <a:lnTo>
                    <a:pt x="7590848" y="10490426"/>
                  </a:lnTo>
                  <a:lnTo>
                    <a:pt x="7590848" y="10509487"/>
                  </a:lnTo>
                  <a:lnTo>
                    <a:pt x="7581316" y="10528547"/>
                  </a:lnTo>
                  <a:lnTo>
                    <a:pt x="7557492" y="10542843"/>
                  </a:lnTo>
                  <a:lnTo>
                    <a:pt x="7509840" y="10580964"/>
                  </a:lnTo>
                  <a:lnTo>
                    <a:pt x="7490780" y="10595259"/>
                  </a:lnTo>
                  <a:lnTo>
                    <a:pt x="7447896" y="10604789"/>
                  </a:lnTo>
                  <a:lnTo>
                    <a:pt x="7438364" y="10609554"/>
                  </a:lnTo>
                  <a:lnTo>
                    <a:pt x="7457424" y="10638145"/>
                  </a:lnTo>
                  <a:lnTo>
                    <a:pt x="7457424" y="10647675"/>
                  </a:lnTo>
                  <a:lnTo>
                    <a:pt x="7428832" y="10681031"/>
                  </a:lnTo>
                  <a:lnTo>
                    <a:pt x="7385948" y="10704857"/>
                  </a:lnTo>
                  <a:lnTo>
                    <a:pt x="7381184" y="10714387"/>
                  </a:lnTo>
                  <a:lnTo>
                    <a:pt x="7376416" y="10742978"/>
                  </a:lnTo>
                  <a:lnTo>
                    <a:pt x="7371652" y="10752508"/>
                  </a:lnTo>
                  <a:lnTo>
                    <a:pt x="7362120" y="10771569"/>
                  </a:lnTo>
                  <a:lnTo>
                    <a:pt x="7319236" y="10800160"/>
                  </a:lnTo>
                  <a:lnTo>
                    <a:pt x="7290644" y="10814455"/>
                  </a:lnTo>
                  <a:lnTo>
                    <a:pt x="7276348" y="10828750"/>
                  </a:lnTo>
                  <a:lnTo>
                    <a:pt x="7262056" y="10852576"/>
                  </a:lnTo>
                  <a:lnTo>
                    <a:pt x="7238228" y="10862106"/>
                  </a:lnTo>
                  <a:lnTo>
                    <a:pt x="7209636" y="10862106"/>
                  </a:lnTo>
                  <a:lnTo>
                    <a:pt x="7185812" y="10871636"/>
                  </a:lnTo>
                  <a:lnTo>
                    <a:pt x="7142924" y="10895462"/>
                  </a:lnTo>
                  <a:lnTo>
                    <a:pt x="7114336" y="10900227"/>
                  </a:lnTo>
                  <a:lnTo>
                    <a:pt x="7023796" y="10938348"/>
                  </a:lnTo>
                  <a:lnTo>
                    <a:pt x="6980912" y="10947878"/>
                  </a:lnTo>
                  <a:lnTo>
                    <a:pt x="6942792" y="10962174"/>
                  </a:lnTo>
                  <a:lnTo>
                    <a:pt x="6866548" y="10995530"/>
                  </a:lnTo>
                  <a:lnTo>
                    <a:pt x="6833192" y="11009825"/>
                  </a:lnTo>
                  <a:lnTo>
                    <a:pt x="6804600" y="11024121"/>
                  </a:lnTo>
                  <a:lnTo>
                    <a:pt x="6776012" y="11028886"/>
                  </a:lnTo>
                  <a:lnTo>
                    <a:pt x="6733124" y="11019355"/>
                  </a:lnTo>
                  <a:lnTo>
                    <a:pt x="6709300" y="11019355"/>
                  </a:lnTo>
                  <a:lnTo>
                    <a:pt x="6695004" y="11024121"/>
                  </a:lnTo>
                  <a:lnTo>
                    <a:pt x="6680708" y="11033651"/>
                  </a:lnTo>
                  <a:lnTo>
                    <a:pt x="6656884" y="11067007"/>
                  </a:lnTo>
                  <a:lnTo>
                    <a:pt x="6637824" y="11067007"/>
                  </a:lnTo>
                  <a:lnTo>
                    <a:pt x="6575876" y="11043181"/>
                  </a:lnTo>
                  <a:lnTo>
                    <a:pt x="6575876" y="11052711"/>
                  </a:lnTo>
                  <a:lnTo>
                    <a:pt x="6594936" y="11081302"/>
                  </a:lnTo>
                  <a:lnTo>
                    <a:pt x="6594936" y="11100363"/>
                  </a:lnTo>
                  <a:lnTo>
                    <a:pt x="6556816" y="11119423"/>
                  </a:lnTo>
                  <a:lnTo>
                    <a:pt x="6537756" y="11124188"/>
                  </a:lnTo>
                  <a:lnTo>
                    <a:pt x="6504400" y="11114658"/>
                  </a:lnTo>
                  <a:lnTo>
                    <a:pt x="6466276" y="11095597"/>
                  </a:lnTo>
                  <a:lnTo>
                    <a:pt x="6418628" y="11052711"/>
                  </a:lnTo>
                  <a:lnTo>
                    <a:pt x="6356680" y="10986000"/>
                  </a:lnTo>
                  <a:lnTo>
                    <a:pt x="6323324" y="10962174"/>
                  </a:lnTo>
                  <a:lnTo>
                    <a:pt x="6328088" y="10986000"/>
                  </a:lnTo>
                  <a:lnTo>
                    <a:pt x="6332856" y="11005060"/>
                  </a:lnTo>
                  <a:lnTo>
                    <a:pt x="6347148" y="11024121"/>
                  </a:lnTo>
                  <a:lnTo>
                    <a:pt x="6347148" y="11038416"/>
                  </a:lnTo>
                  <a:lnTo>
                    <a:pt x="6342384" y="11047946"/>
                  </a:lnTo>
                  <a:lnTo>
                    <a:pt x="6332856" y="11052711"/>
                  </a:lnTo>
                  <a:lnTo>
                    <a:pt x="6323324" y="11052711"/>
                  </a:lnTo>
                  <a:lnTo>
                    <a:pt x="6318560" y="11057476"/>
                  </a:lnTo>
                  <a:lnTo>
                    <a:pt x="6337620" y="11090832"/>
                  </a:lnTo>
                  <a:lnTo>
                    <a:pt x="6351916" y="11124188"/>
                  </a:lnTo>
                  <a:lnTo>
                    <a:pt x="6351916" y="11152779"/>
                  </a:lnTo>
                  <a:lnTo>
                    <a:pt x="6332856" y="11181370"/>
                  </a:lnTo>
                  <a:lnTo>
                    <a:pt x="6318560" y="11195665"/>
                  </a:lnTo>
                  <a:lnTo>
                    <a:pt x="6304264" y="11200430"/>
                  </a:lnTo>
                  <a:lnTo>
                    <a:pt x="6232788" y="11271907"/>
                  </a:lnTo>
                  <a:lnTo>
                    <a:pt x="6213728" y="11281437"/>
                  </a:lnTo>
                  <a:lnTo>
                    <a:pt x="6204196" y="11290968"/>
                  </a:lnTo>
                  <a:lnTo>
                    <a:pt x="6194664" y="11300498"/>
                  </a:lnTo>
                  <a:lnTo>
                    <a:pt x="6175604" y="11362445"/>
                  </a:lnTo>
                  <a:lnTo>
                    <a:pt x="6166076" y="11376740"/>
                  </a:lnTo>
                  <a:lnTo>
                    <a:pt x="6147016" y="11400566"/>
                  </a:lnTo>
                  <a:lnTo>
                    <a:pt x="6142248" y="11405331"/>
                  </a:lnTo>
                  <a:lnTo>
                    <a:pt x="6137484" y="11414861"/>
                  </a:lnTo>
                  <a:lnTo>
                    <a:pt x="6142248" y="11429156"/>
                  </a:lnTo>
                  <a:lnTo>
                    <a:pt x="6137484" y="11452982"/>
                  </a:lnTo>
                  <a:lnTo>
                    <a:pt x="6123188" y="11486338"/>
                  </a:lnTo>
                  <a:lnTo>
                    <a:pt x="6085068" y="11581640"/>
                  </a:lnTo>
                  <a:lnTo>
                    <a:pt x="6046948" y="11667413"/>
                  </a:lnTo>
                  <a:lnTo>
                    <a:pt x="6032652" y="11691238"/>
                  </a:lnTo>
                  <a:lnTo>
                    <a:pt x="6023120" y="11705534"/>
                  </a:lnTo>
                  <a:lnTo>
                    <a:pt x="6013592" y="11700769"/>
                  </a:lnTo>
                  <a:lnTo>
                    <a:pt x="5999296" y="11705534"/>
                  </a:lnTo>
                  <a:lnTo>
                    <a:pt x="5989764" y="11719829"/>
                  </a:lnTo>
                  <a:lnTo>
                    <a:pt x="5980236" y="11743655"/>
                  </a:lnTo>
                  <a:lnTo>
                    <a:pt x="5975468" y="11767480"/>
                  </a:lnTo>
                  <a:lnTo>
                    <a:pt x="5965940" y="11781776"/>
                  </a:lnTo>
                  <a:lnTo>
                    <a:pt x="5894464" y="11838957"/>
                  </a:lnTo>
                  <a:lnTo>
                    <a:pt x="5880168" y="11853253"/>
                  </a:lnTo>
                  <a:lnTo>
                    <a:pt x="5861108" y="11843722"/>
                  </a:lnTo>
                  <a:lnTo>
                    <a:pt x="5842048" y="11848488"/>
                  </a:lnTo>
                  <a:lnTo>
                    <a:pt x="5803924" y="11815132"/>
                  </a:lnTo>
                  <a:lnTo>
                    <a:pt x="5799160" y="11805601"/>
                  </a:lnTo>
                  <a:lnTo>
                    <a:pt x="5770568" y="11777011"/>
                  </a:lnTo>
                  <a:lnTo>
                    <a:pt x="5775336" y="11791306"/>
                  </a:lnTo>
                  <a:lnTo>
                    <a:pt x="5775336" y="11800836"/>
                  </a:lnTo>
                  <a:lnTo>
                    <a:pt x="5780100" y="11810367"/>
                  </a:lnTo>
                  <a:lnTo>
                    <a:pt x="5789628" y="11824662"/>
                  </a:lnTo>
                  <a:lnTo>
                    <a:pt x="5808692" y="11896139"/>
                  </a:lnTo>
                  <a:lnTo>
                    <a:pt x="5794396" y="11910434"/>
                  </a:lnTo>
                  <a:lnTo>
                    <a:pt x="5780100" y="11924730"/>
                  </a:lnTo>
                  <a:lnTo>
                    <a:pt x="5746744" y="11953320"/>
                  </a:lnTo>
                  <a:lnTo>
                    <a:pt x="5708624" y="12000972"/>
                  </a:lnTo>
                  <a:lnTo>
                    <a:pt x="5694328" y="12015267"/>
                  </a:lnTo>
                  <a:lnTo>
                    <a:pt x="5689564" y="11977146"/>
                  </a:lnTo>
                  <a:lnTo>
                    <a:pt x="5689564" y="11962851"/>
                  </a:lnTo>
                  <a:lnTo>
                    <a:pt x="5670500" y="11943790"/>
                  </a:lnTo>
                  <a:lnTo>
                    <a:pt x="5670500" y="11958085"/>
                  </a:lnTo>
                  <a:lnTo>
                    <a:pt x="5665736" y="11972381"/>
                  </a:lnTo>
                  <a:lnTo>
                    <a:pt x="5651440" y="12020032"/>
                  </a:lnTo>
                  <a:lnTo>
                    <a:pt x="5646676" y="12029562"/>
                  </a:lnTo>
                  <a:lnTo>
                    <a:pt x="5641912" y="12024797"/>
                  </a:lnTo>
                  <a:lnTo>
                    <a:pt x="5622852" y="12034327"/>
                  </a:lnTo>
                  <a:lnTo>
                    <a:pt x="5603788" y="12029562"/>
                  </a:lnTo>
                  <a:lnTo>
                    <a:pt x="5589496" y="12010502"/>
                  </a:lnTo>
                  <a:lnTo>
                    <a:pt x="5584728" y="11996206"/>
                  </a:lnTo>
                  <a:lnTo>
                    <a:pt x="5560904" y="12029562"/>
                  </a:lnTo>
                  <a:lnTo>
                    <a:pt x="5546608" y="12029562"/>
                  </a:lnTo>
                  <a:lnTo>
                    <a:pt x="5541844" y="12053388"/>
                  </a:lnTo>
                  <a:lnTo>
                    <a:pt x="5532312" y="12077214"/>
                  </a:lnTo>
                  <a:lnTo>
                    <a:pt x="5513252" y="12091509"/>
                  </a:lnTo>
                  <a:lnTo>
                    <a:pt x="5489428" y="12091509"/>
                  </a:lnTo>
                  <a:lnTo>
                    <a:pt x="5479896" y="12101039"/>
                  </a:lnTo>
                  <a:lnTo>
                    <a:pt x="5446540" y="12086744"/>
                  </a:lnTo>
                  <a:lnTo>
                    <a:pt x="5437012" y="12058153"/>
                  </a:lnTo>
                  <a:lnTo>
                    <a:pt x="5465600" y="12020032"/>
                  </a:lnTo>
                  <a:lnTo>
                    <a:pt x="5470368" y="12000972"/>
                  </a:lnTo>
                  <a:lnTo>
                    <a:pt x="5465600" y="11981911"/>
                  </a:lnTo>
                  <a:lnTo>
                    <a:pt x="5470368" y="11958085"/>
                  </a:lnTo>
                  <a:lnTo>
                    <a:pt x="5518016" y="11872313"/>
                  </a:lnTo>
                  <a:lnTo>
                    <a:pt x="5551372" y="11829427"/>
                  </a:lnTo>
                  <a:lnTo>
                    <a:pt x="5551372" y="11824662"/>
                  </a:lnTo>
                  <a:lnTo>
                    <a:pt x="5508488" y="11815132"/>
                  </a:lnTo>
                  <a:lnTo>
                    <a:pt x="5470368" y="11800836"/>
                  </a:lnTo>
                  <a:lnTo>
                    <a:pt x="5432244" y="11796071"/>
                  </a:lnTo>
                  <a:lnTo>
                    <a:pt x="5413184" y="11800836"/>
                  </a:lnTo>
                  <a:lnTo>
                    <a:pt x="5441776" y="11824662"/>
                  </a:lnTo>
                  <a:lnTo>
                    <a:pt x="5479896" y="11848488"/>
                  </a:lnTo>
                  <a:lnTo>
                    <a:pt x="5460836" y="11872313"/>
                  </a:lnTo>
                  <a:lnTo>
                    <a:pt x="5441776" y="11896139"/>
                  </a:lnTo>
                  <a:lnTo>
                    <a:pt x="5427480" y="11958085"/>
                  </a:lnTo>
                  <a:lnTo>
                    <a:pt x="5417948" y="11986676"/>
                  </a:lnTo>
                  <a:lnTo>
                    <a:pt x="5375064" y="11953320"/>
                  </a:lnTo>
                  <a:lnTo>
                    <a:pt x="5356004" y="11943790"/>
                  </a:lnTo>
                  <a:lnTo>
                    <a:pt x="5370300" y="11977146"/>
                  </a:lnTo>
                  <a:lnTo>
                    <a:pt x="5403656" y="12010502"/>
                  </a:lnTo>
                  <a:lnTo>
                    <a:pt x="5408420" y="12020032"/>
                  </a:lnTo>
                  <a:lnTo>
                    <a:pt x="5408420" y="12058153"/>
                  </a:lnTo>
                  <a:lnTo>
                    <a:pt x="5341708" y="12091509"/>
                  </a:lnTo>
                  <a:lnTo>
                    <a:pt x="5270232" y="12096274"/>
                  </a:lnTo>
                  <a:lnTo>
                    <a:pt x="5217816" y="12105804"/>
                  </a:lnTo>
                  <a:lnTo>
                    <a:pt x="5132044" y="12115335"/>
                  </a:lnTo>
                  <a:lnTo>
                    <a:pt x="5098688" y="12115335"/>
                  </a:lnTo>
                  <a:lnTo>
                    <a:pt x="5098688" y="12129630"/>
                  </a:lnTo>
                  <a:lnTo>
                    <a:pt x="5179692" y="12186812"/>
                  </a:lnTo>
                  <a:lnTo>
                    <a:pt x="5193988" y="12196342"/>
                  </a:lnTo>
                  <a:lnTo>
                    <a:pt x="5179692" y="12220167"/>
                  </a:lnTo>
                  <a:lnTo>
                    <a:pt x="5165400" y="12229698"/>
                  </a:lnTo>
                  <a:lnTo>
                    <a:pt x="5136808" y="12272584"/>
                  </a:lnTo>
                  <a:lnTo>
                    <a:pt x="5122512" y="12286879"/>
                  </a:lnTo>
                  <a:lnTo>
                    <a:pt x="5089156" y="12305940"/>
                  </a:lnTo>
                  <a:lnTo>
                    <a:pt x="5022444" y="12286879"/>
                  </a:lnTo>
                  <a:lnTo>
                    <a:pt x="4989088" y="12296409"/>
                  </a:lnTo>
                  <a:lnTo>
                    <a:pt x="4955732" y="12286879"/>
                  </a:lnTo>
                  <a:lnTo>
                    <a:pt x="4955732" y="12310705"/>
                  </a:lnTo>
                  <a:lnTo>
                    <a:pt x="4965264" y="12329765"/>
                  </a:lnTo>
                  <a:lnTo>
                    <a:pt x="4974792" y="12372652"/>
                  </a:lnTo>
                  <a:lnTo>
                    <a:pt x="4998620" y="12367886"/>
                  </a:lnTo>
                  <a:lnTo>
                    <a:pt x="5022444" y="12358356"/>
                  </a:lnTo>
                  <a:lnTo>
                    <a:pt x="5046268" y="12391712"/>
                  </a:lnTo>
                  <a:lnTo>
                    <a:pt x="5060564" y="12444128"/>
                  </a:lnTo>
                  <a:lnTo>
                    <a:pt x="5084392" y="12472719"/>
                  </a:lnTo>
                  <a:lnTo>
                    <a:pt x="5093920" y="12496545"/>
                  </a:lnTo>
                  <a:lnTo>
                    <a:pt x="5098688" y="12515605"/>
                  </a:lnTo>
                  <a:lnTo>
                    <a:pt x="5084392" y="12534666"/>
                  </a:lnTo>
                  <a:lnTo>
                    <a:pt x="5051036" y="12563257"/>
                  </a:lnTo>
                  <a:lnTo>
                    <a:pt x="5017680" y="12568022"/>
                  </a:lnTo>
                  <a:lnTo>
                    <a:pt x="5017680" y="12591847"/>
                  </a:lnTo>
                  <a:lnTo>
                    <a:pt x="5003384" y="12610908"/>
                  </a:lnTo>
                  <a:lnTo>
                    <a:pt x="4974792" y="12606143"/>
                  </a:lnTo>
                  <a:lnTo>
                    <a:pt x="4960496" y="12591847"/>
                  </a:lnTo>
                  <a:lnTo>
                    <a:pt x="4941436" y="12587082"/>
                  </a:lnTo>
                  <a:lnTo>
                    <a:pt x="4879492" y="12582317"/>
                  </a:lnTo>
                  <a:lnTo>
                    <a:pt x="4941436" y="12625203"/>
                  </a:lnTo>
                  <a:lnTo>
                    <a:pt x="4965264" y="12644264"/>
                  </a:lnTo>
                  <a:lnTo>
                    <a:pt x="4974792" y="12634733"/>
                  </a:lnTo>
                  <a:lnTo>
                    <a:pt x="4998620" y="12629968"/>
                  </a:lnTo>
                  <a:lnTo>
                    <a:pt x="5031976" y="12639499"/>
                  </a:lnTo>
                  <a:lnTo>
                    <a:pt x="5022444" y="12715741"/>
                  </a:lnTo>
                  <a:lnTo>
                    <a:pt x="5036740" y="12772922"/>
                  </a:lnTo>
                  <a:lnTo>
                    <a:pt x="5041504" y="12787218"/>
                  </a:lnTo>
                  <a:lnTo>
                    <a:pt x="5008148" y="12820573"/>
                  </a:lnTo>
                  <a:lnTo>
                    <a:pt x="5008148" y="12853929"/>
                  </a:lnTo>
                  <a:lnTo>
                    <a:pt x="4984324" y="12863460"/>
                  </a:lnTo>
                  <a:lnTo>
                    <a:pt x="4960496" y="12858694"/>
                  </a:lnTo>
                  <a:lnTo>
                    <a:pt x="4960496" y="12896815"/>
                  </a:lnTo>
                  <a:lnTo>
                    <a:pt x="4946204" y="12915876"/>
                  </a:lnTo>
                  <a:lnTo>
                    <a:pt x="4950968" y="12930171"/>
                  </a:lnTo>
                  <a:lnTo>
                    <a:pt x="4955732" y="12944467"/>
                  </a:lnTo>
                  <a:lnTo>
                    <a:pt x="4941436" y="12963527"/>
                  </a:lnTo>
                  <a:lnTo>
                    <a:pt x="4927140" y="12992118"/>
                  </a:lnTo>
                  <a:lnTo>
                    <a:pt x="4908080" y="13015944"/>
                  </a:lnTo>
                  <a:lnTo>
                    <a:pt x="4898552" y="13015944"/>
                  </a:lnTo>
                  <a:lnTo>
                    <a:pt x="4874724" y="13015944"/>
                  </a:lnTo>
                  <a:lnTo>
                    <a:pt x="4836604" y="13015944"/>
                  </a:lnTo>
                  <a:lnTo>
                    <a:pt x="4812780" y="12982588"/>
                  </a:lnTo>
                  <a:lnTo>
                    <a:pt x="4798484" y="12973058"/>
                  </a:lnTo>
                  <a:lnTo>
                    <a:pt x="4788952" y="12963527"/>
                  </a:lnTo>
                  <a:lnTo>
                    <a:pt x="4793720" y="12987353"/>
                  </a:lnTo>
                  <a:lnTo>
                    <a:pt x="4798484" y="12996883"/>
                  </a:lnTo>
                  <a:lnTo>
                    <a:pt x="4827076" y="13020709"/>
                  </a:lnTo>
                  <a:lnTo>
                    <a:pt x="4869960" y="13049300"/>
                  </a:lnTo>
                  <a:lnTo>
                    <a:pt x="4869960" y="13068360"/>
                  </a:lnTo>
                  <a:lnTo>
                    <a:pt x="4855664" y="13077890"/>
                  </a:lnTo>
                  <a:lnTo>
                    <a:pt x="4827076" y="13130307"/>
                  </a:lnTo>
                  <a:lnTo>
                    <a:pt x="4817544" y="13130307"/>
                  </a:lnTo>
                  <a:lnTo>
                    <a:pt x="4803248" y="13144602"/>
                  </a:lnTo>
                  <a:lnTo>
                    <a:pt x="4765128" y="13139837"/>
                  </a:lnTo>
                  <a:lnTo>
                    <a:pt x="4746068" y="13135072"/>
                  </a:lnTo>
                  <a:lnTo>
                    <a:pt x="4698416" y="13135072"/>
                  </a:lnTo>
                  <a:lnTo>
                    <a:pt x="4684120" y="13130307"/>
                  </a:lnTo>
                  <a:lnTo>
                    <a:pt x="4665060" y="13135072"/>
                  </a:lnTo>
                  <a:lnTo>
                    <a:pt x="4679356" y="13149367"/>
                  </a:lnTo>
                  <a:lnTo>
                    <a:pt x="4707944" y="13163663"/>
                  </a:lnTo>
                  <a:lnTo>
                    <a:pt x="4741300" y="13173193"/>
                  </a:lnTo>
                  <a:lnTo>
                    <a:pt x="4788952" y="13187488"/>
                  </a:lnTo>
                  <a:lnTo>
                    <a:pt x="4788952" y="13206549"/>
                  </a:lnTo>
                  <a:lnTo>
                    <a:pt x="4774656" y="13220844"/>
                  </a:lnTo>
                  <a:lnTo>
                    <a:pt x="4784188" y="13244670"/>
                  </a:lnTo>
                  <a:lnTo>
                    <a:pt x="4779424" y="13258965"/>
                  </a:lnTo>
                  <a:lnTo>
                    <a:pt x="4774656" y="13278026"/>
                  </a:lnTo>
                  <a:lnTo>
                    <a:pt x="4765128" y="13325677"/>
                  </a:lnTo>
                  <a:lnTo>
                    <a:pt x="4779424" y="13354268"/>
                  </a:lnTo>
                  <a:lnTo>
                    <a:pt x="4793720" y="13373328"/>
                  </a:lnTo>
                  <a:lnTo>
                    <a:pt x="4788952" y="13392389"/>
                  </a:lnTo>
                  <a:lnTo>
                    <a:pt x="4798484" y="13425745"/>
                  </a:lnTo>
                  <a:lnTo>
                    <a:pt x="4774656" y="13454335"/>
                  </a:lnTo>
                  <a:lnTo>
                    <a:pt x="4755596" y="13449570"/>
                  </a:lnTo>
                  <a:lnTo>
                    <a:pt x="4731772" y="13459100"/>
                  </a:lnTo>
                  <a:lnTo>
                    <a:pt x="4722240" y="13468631"/>
                  </a:lnTo>
                  <a:lnTo>
                    <a:pt x="4765128" y="13482926"/>
                  </a:lnTo>
                  <a:lnTo>
                    <a:pt x="4760364" y="13501987"/>
                  </a:lnTo>
                  <a:lnTo>
                    <a:pt x="4750832" y="13530577"/>
                  </a:lnTo>
                  <a:lnTo>
                    <a:pt x="4736536" y="13587759"/>
                  </a:lnTo>
                  <a:lnTo>
                    <a:pt x="4712712" y="13683061"/>
                  </a:lnTo>
                  <a:lnTo>
                    <a:pt x="4703180" y="13778364"/>
                  </a:lnTo>
                  <a:lnTo>
                    <a:pt x="4650764" y="13854606"/>
                  </a:lnTo>
                  <a:lnTo>
                    <a:pt x="4631704" y="13859371"/>
                  </a:lnTo>
                  <a:lnTo>
                    <a:pt x="4626940" y="13859371"/>
                  </a:lnTo>
                  <a:lnTo>
                    <a:pt x="4603112" y="13859371"/>
                  </a:lnTo>
                  <a:lnTo>
                    <a:pt x="4564992" y="13840311"/>
                  </a:lnTo>
                  <a:lnTo>
                    <a:pt x="4536400" y="13835546"/>
                  </a:lnTo>
                  <a:lnTo>
                    <a:pt x="4512576" y="13835546"/>
                  </a:lnTo>
                  <a:lnTo>
                    <a:pt x="4512576" y="13840311"/>
                  </a:lnTo>
                  <a:lnTo>
                    <a:pt x="4526872" y="13854606"/>
                  </a:lnTo>
                  <a:lnTo>
                    <a:pt x="4555460" y="13864136"/>
                  </a:lnTo>
                  <a:lnTo>
                    <a:pt x="4574524" y="13873667"/>
                  </a:lnTo>
                  <a:lnTo>
                    <a:pt x="4612644" y="13883197"/>
                  </a:lnTo>
                  <a:lnTo>
                    <a:pt x="4626940" y="13897492"/>
                  </a:lnTo>
                  <a:lnTo>
                    <a:pt x="4631704" y="13916553"/>
                  </a:lnTo>
                  <a:lnTo>
                    <a:pt x="4631704" y="13926083"/>
                  </a:lnTo>
                  <a:lnTo>
                    <a:pt x="4631704" y="13940378"/>
                  </a:lnTo>
                  <a:lnTo>
                    <a:pt x="4641236" y="14002325"/>
                  </a:lnTo>
                  <a:lnTo>
                    <a:pt x="4622172" y="14021385"/>
                  </a:lnTo>
                  <a:lnTo>
                    <a:pt x="4607880" y="14045211"/>
                  </a:lnTo>
                  <a:lnTo>
                    <a:pt x="4560228" y="14040446"/>
                  </a:lnTo>
                  <a:lnTo>
                    <a:pt x="4555460" y="14035681"/>
                  </a:lnTo>
                  <a:lnTo>
                    <a:pt x="4507812" y="14011855"/>
                  </a:lnTo>
                  <a:lnTo>
                    <a:pt x="4512576" y="14021385"/>
                  </a:lnTo>
                  <a:lnTo>
                    <a:pt x="4545932" y="14049976"/>
                  </a:lnTo>
                  <a:lnTo>
                    <a:pt x="4555460" y="14064272"/>
                  </a:lnTo>
                  <a:lnTo>
                    <a:pt x="4545932" y="14069037"/>
                  </a:lnTo>
                  <a:lnTo>
                    <a:pt x="4536400" y="14069037"/>
                  </a:lnTo>
                  <a:lnTo>
                    <a:pt x="4517340" y="14078567"/>
                  </a:lnTo>
                  <a:lnTo>
                    <a:pt x="4483984" y="14073802"/>
                  </a:lnTo>
                  <a:lnTo>
                    <a:pt x="4483984" y="14059506"/>
                  </a:lnTo>
                  <a:lnTo>
                    <a:pt x="4493516" y="14045211"/>
                  </a:lnTo>
                  <a:lnTo>
                    <a:pt x="4474456" y="14045211"/>
                  </a:lnTo>
                  <a:lnTo>
                    <a:pt x="4460160" y="14054741"/>
                  </a:lnTo>
                  <a:lnTo>
                    <a:pt x="4450628" y="14049976"/>
                  </a:lnTo>
                  <a:lnTo>
                    <a:pt x="4441100" y="14054741"/>
                  </a:lnTo>
                  <a:lnTo>
                    <a:pt x="4436332" y="14045211"/>
                  </a:lnTo>
                  <a:lnTo>
                    <a:pt x="4431568" y="14016620"/>
                  </a:lnTo>
                  <a:lnTo>
                    <a:pt x="4436332" y="14002325"/>
                  </a:lnTo>
                  <a:lnTo>
                    <a:pt x="4464924" y="13964204"/>
                  </a:lnTo>
                  <a:lnTo>
                    <a:pt x="4474456" y="13945143"/>
                  </a:lnTo>
                  <a:lnTo>
                    <a:pt x="4464924" y="13935613"/>
                  </a:lnTo>
                  <a:lnTo>
                    <a:pt x="4445864" y="13954674"/>
                  </a:lnTo>
                  <a:lnTo>
                    <a:pt x="4426804" y="13992795"/>
                  </a:lnTo>
                  <a:lnTo>
                    <a:pt x="4417272" y="14011855"/>
                  </a:lnTo>
                  <a:lnTo>
                    <a:pt x="4407744" y="14016620"/>
                  </a:lnTo>
                  <a:lnTo>
                    <a:pt x="4374388" y="14007090"/>
                  </a:lnTo>
                  <a:lnTo>
                    <a:pt x="4288616" y="13959439"/>
                  </a:lnTo>
                  <a:lnTo>
                    <a:pt x="4288616" y="13926083"/>
                  </a:lnTo>
                  <a:lnTo>
                    <a:pt x="4288616" y="13902257"/>
                  </a:lnTo>
                  <a:lnTo>
                    <a:pt x="4312440" y="13902257"/>
                  </a:lnTo>
                  <a:lnTo>
                    <a:pt x="4331500" y="13887962"/>
                  </a:lnTo>
                  <a:lnTo>
                    <a:pt x="4350560" y="13878432"/>
                  </a:lnTo>
                  <a:lnTo>
                    <a:pt x="4369620" y="13854606"/>
                  </a:lnTo>
                  <a:lnTo>
                    <a:pt x="4383916" y="13816485"/>
                  </a:lnTo>
                  <a:lnTo>
                    <a:pt x="4383916" y="13811720"/>
                  </a:lnTo>
                  <a:lnTo>
                    <a:pt x="4331500" y="13859371"/>
                  </a:lnTo>
                  <a:lnTo>
                    <a:pt x="4302912" y="13878432"/>
                  </a:lnTo>
                  <a:lnTo>
                    <a:pt x="4288616" y="13883197"/>
                  </a:lnTo>
                  <a:lnTo>
                    <a:pt x="4279084" y="13873667"/>
                  </a:lnTo>
                  <a:lnTo>
                    <a:pt x="4255260" y="13859371"/>
                  </a:lnTo>
                  <a:lnTo>
                    <a:pt x="4236200" y="13849841"/>
                  </a:lnTo>
                  <a:lnTo>
                    <a:pt x="4198076" y="13840311"/>
                  </a:lnTo>
                  <a:lnTo>
                    <a:pt x="4193312" y="13830780"/>
                  </a:lnTo>
                  <a:lnTo>
                    <a:pt x="4183780" y="13826015"/>
                  </a:lnTo>
                  <a:lnTo>
                    <a:pt x="4169488" y="13773599"/>
                  </a:lnTo>
                  <a:lnTo>
                    <a:pt x="4188548" y="13711652"/>
                  </a:lnTo>
                  <a:lnTo>
                    <a:pt x="4198076" y="13692592"/>
                  </a:lnTo>
                  <a:lnTo>
                    <a:pt x="4207608" y="13673531"/>
                  </a:lnTo>
                  <a:lnTo>
                    <a:pt x="4212372" y="13644940"/>
                  </a:lnTo>
                  <a:lnTo>
                    <a:pt x="4212372" y="13630645"/>
                  </a:lnTo>
                  <a:lnTo>
                    <a:pt x="4198076" y="13635410"/>
                  </a:lnTo>
                  <a:lnTo>
                    <a:pt x="4193312" y="13644940"/>
                  </a:lnTo>
                  <a:lnTo>
                    <a:pt x="4193312" y="13664001"/>
                  </a:lnTo>
                  <a:lnTo>
                    <a:pt x="4188548" y="13673531"/>
                  </a:lnTo>
                  <a:lnTo>
                    <a:pt x="4145660" y="13697357"/>
                  </a:lnTo>
                  <a:lnTo>
                    <a:pt x="4098008" y="13716417"/>
                  </a:lnTo>
                  <a:lnTo>
                    <a:pt x="4078948" y="13735478"/>
                  </a:lnTo>
                  <a:lnTo>
                    <a:pt x="4064652" y="13749773"/>
                  </a:lnTo>
                  <a:lnTo>
                    <a:pt x="4055124" y="13764069"/>
                  </a:lnTo>
                  <a:lnTo>
                    <a:pt x="4036064" y="13759303"/>
                  </a:lnTo>
                  <a:lnTo>
                    <a:pt x="4012236" y="13764069"/>
                  </a:lnTo>
                  <a:lnTo>
                    <a:pt x="3997940" y="13773599"/>
                  </a:lnTo>
                  <a:lnTo>
                    <a:pt x="3974116" y="13768834"/>
                  </a:lnTo>
                  <a:lnTo>
                    <a:pt x="3959820" y="13754538"/>
                  </a:lnTo>
                  <a:lnTo>
                    <a:pt x="3940760" y="13754538"/>
                  </a:lnTo>
                  <a:lnTo>
                    <a:pt x="3921700" y="13759303"/>
                  </a:lnTo>
                  <a:lnTo>
                    <a:pt x="3907404" y="13759303"/>
                  </a:lnTo>
                  <a:lnTo>
                    <a:pt x="3912168" y="13768834"/>
                  </a:lnTo>
                  <a:lnTo>
                    <a:pt x="3921700" y="13787894"/>
                  </a:lnTo>
                  <a:lnTo>
                    <a:pt x="3902640" y="13792659"/>
                  </a:lnTo>
                  <a:lnTo>
                    <a:pt x="3874048" y="13792659"/>
                  </a:lnTo>
                  <a:lnTo>
                    <a:pt x="3859752" y="13787894"/>
                  </a:lnTo>
                  <a:lnTo>
                    <a:pt x="3850224" y="13778364"/>
                  </a:lnTo>
                  <a:lnTo>
                    <a:pt x="3840692" y="13764069"/>
                  </a:lnTo>
                  <a:lnTo>
                    <a:pt x="3845456" y="13749773"/>
                  </a:lnTo>
                  <a:lnTo>
                    <a:pt x="3893108" y="13721182"/>
                  </a:lnTo>
                  <a:lnTo>
                    <a:pt x="3912168" y="13702122"/>
                  </a:lnTo>
                  <a:lnTo>
                    <a:pt x="3897876" y="13697357"/>
                  </a:lnTo>
                  <a:lnTo>
                    <a:pt x="3854988" y="13702122"/>
                  </a:lnTo>
                  <a:lnTo>
                    <a:pt x="3845456" y="13702122"/>
                  </a:lnTo>
                  <a:lnTo>
                    <a:pt x="3816868" y="13702122"/>
                  </a:lnTo>
                  <a:lnTo>
                    <a:pt x="3816868" y="13659236"/>
                  </a:lnTo>
                  <a:lnTo>
                    <a:pt x="3812100" y="13649706"/>
                  </a:lnTo>
                  <a:lnTo>
                    <a:pt x="3812100" y="13644940"/>
                  </a:lnTo>
                  <a:lnTo>
                    <a:pt x="3797808" y="13630645"/>
                  </a:lnTo>
                  <a:lnTo>
                    <a:pt x="3788276" y="13625880"/>
                  </a:lnTo>
                  <a:lnTo>
                    <a:pt x="3783512" y="13625880"/>
                  </a:lnTo>
                  <a:lnTo>
                    <a:pt x="3731096" y="13611585"/>
                  </a:lnTo>
                  <a:lnTo>
                    <a:pt x="3726328" y="13587759"/>
                  </a:lnTo>
                  <a:lnTo>
                    <a:pt x="3721564" y="13563933"/>
                  </a:lnTo>
                  <a:lnTo>
                    <a:pt x="3712036" y="13535343"/>
                  </a:lnTo>
                  <a:lnTo>
                    <a:pt x="3688208" y="13525812"/>
                  </a:lnTo>
                  <a:lnTo>
                    <a:pt x="3673912" y="13511517"/>
                  </a:lnTo>
                  <a:lnTo>
                    <a:pt x="3688208" y="13497221"/>
                  </a:lnTo>
                  <a:lnTo>
                    <a:pt x="3692972" y="13482926"/>
                  </a:lnTo>
                  <a:lnTo>
                    <a:pt x="3678680" y="13473396"/>
                  </a:lnTo>
                  <a:lnTo>
                    <a:pt x="3673912" y="13459100"/>
                  </a:lnTo>
                  <a:lnTo>
                    <a:pt x="3673912" y="13449570"/>
                  </a:lnTo>
                  <a:lnTo>
                    <a:pt x="3664384" y="13430510"/>
                  </a:lnTo>
                  <a:lnTo>
                    <a:pt x="3659616" y="13411449"/>
                  </a:lnTo>
                  <a:lnTo>
                    <a:pt x="3673912" y="13397154"/>
                  </a:lnTo>
                  <a:lnTo>
                    <a:pt x="3702504" y="13378093"/>
                  </a:lnTo>
                  <a:lnTo>
                    <a:pt x="3712036" y="13373328"/>
                  </a:lnTo>
                  <a:lnTo>
                    <a:pt x="3716800" y="13363798"/>
                  </a:lnTo>
                  <a:lnTo>
                    <a:pt x="3745392" y="13349503"/>
                  </a:lnTo>
                  <a:lnTo>
                    <a:pt x="3721564" y="13339972"/>
                  </a:lnTo>
                  <a:lnTo>
                    <a:pt x="3702504" y="13339972"/>
                  </a:lnTo>
                  <a:lnTo>
                    <a:pt x="3688208" y="13344737"/>
                  </a:lnTo>
                  <a:lnTo>
                    <a:pt x="3678680" y="13359033"/>
                  </a:lnTo>
                  <a:lnTo>
                    <a:pt x="3664384" y="13373328"/>
                  </a:lnTo>
                  <a:lnTo>
                    <a:pt x="3621496" y="13378093"/>
                  </a:lnTo>
                  <a:lnTo>
                    <a:pt x="3616732" y="13368563"/>
                  </a:lnTo>
                  <a:lnTo>
                    <a:pt x="3611968" y="13344737"/>
                  </a:lnTo>
                  <a:lnTo>
                    <a:pt x="3616732" y="13325677"/>
                  </a:lnTo>
                  <a:lnTo>
                    <a:pt x="3635792" y="13297086"/>
                  </a:lnTo>
                  <a:lnTo>
                    <a:pt x="3611968" y="13287556"/>
                  </a:lnTo>
                  <a:lnTo>
                    <a:pt x="3592908" y="13278026"/>
                  </a:lnTo>
                  <a:lnTo>
                    <a:pt x="3573844" y="13268495"/>
                  </a:lnTo>
                  <a:lnTo>
                    <a:pt x="3554784" y="13254200"/>
                  </a:lnTo>
                  <a:lnTo>
                    <a:pt x="3535724" y="13239905"/>
                  </a:lnTo>
                  <a:lnTo>
                    <a:pt x="3521428" y="13220844"/>
                  </a:lnTo>
                  <a:lnTo>
                    <a:pt x="3516664" y="13216079"/>
                  </a:lnTo>
                  <a:lnTo>
                    <a:pt x="3521428" y="13197018"/>
                  </a:lnTo>
                  <a:lnTo>
                    <a:pt x="3526196" y="13182723"/>
                  </a:lnTo>
                  <a:lnTo>
                    <a:pt x="3526196" y="13149367"/>
                  </a:lnTo>
                  <a:lnTo>
                    <a:pt x="3516664" y="13135072"/>
                  </a:lnTo>
                  <a:lnTo>
                    <a:pt x="3530960" y="13101716"/>
                  </a:lnTo>
                  <a:lnTo>
                    <a:pt x="3554784" y="13073125"/>
                  </a:lnTo>
                  <a:lnTo>
                    <a:pt x="3597672" y="13020709"/>
                  </a:lnTo>
                  <a:lnTo>
                    <a:pt x="3550020" y="13044534"/>
                  </a:lnTo>
                  <a:lnTo>
                    <a:pt x="3511900" y="13096951"/>
                  </a:lnTo>
                  <a:lnTo>
                    <a:pt x="3502368" y="13096951"/>
                  </a:lnTo>
                  <a:lnTo>
                    <a:pt x="3502368" y="13092186"/>
                  </a:lnTo>
                  <a:lnTo>
                    <a:pt x="3488072" y="13058830"/>
                  </a:lnTo>
                  <a:lnTo>
                    <a:pt x="3473776" y="13049300"/>
                  </a:lnTo>
                  <a:lnTo>
                    <a:pt x="3469012" y="13039769"/>
                  </a:lnTo>
                  <a:lnTo>
                    <a:pt x="3449952" y="13020709"/>
                  </a:lnTo>
                  <a:lnTo>
                    <a:pt x="3440420" y="13006413"/>
                  </a:lnTo>
                  <a:lnTo>
                    <a:pt x="3426128" y="12982588"/>
                  </a:lnTo>
                  <a:lnTo>
                    <a:pt x="3407068" y="12949232"/>
                  </a:lnTo>
                  <a:lnTo>
                    <a:pt x="3378476" y="12887285"/>
                  </a:lnTo>
                  <a:lnTo>
                    <a:pt x="3335588" y="12815808"/>
                  </a:lnTo>
                  <a:lnTo>
                    <a:pt x="3326060" y="12772922"/>
                  </a:lnTo>
                  <a:lnTo>
                    <a:pt x="3340356" y="12720506"/>
                  </a:lnTo>
                  <a:lnTo>
                    <a:pt x="3321292" y="12687150"/>
                  </a:lnTo>
                  <a:lnTo>
                    <a:pt x="3364180" y="12668089"/>
                  </a:lnTo>
                  <a:lnTo>
                    <a:pt x="3426128" y="12649029"/>
                  </a:lnTo>
                  <a:lnTo>
                    <a:pt x="3454716" y="12634733"/>
                  </a:lnTo>
                  <a:lnTo>
                    <a:pt x="3473776" y="12629968"/>
                  </a:lnTo>
                  <a:lnTo>
                    <a:pt x="3511900" y="12625203"/>
                  </a:lnTo>
                  <a:lnTo>
                    <a:pt x="3526196" y="12610908"/>
                  </a:lnTo>
                  <a:lnTo>
                    <a:pt x="3502368" y="12615673"/>
                  </a:lnTo>
                  <a:lnTo>
                    <a:pt x="3488072" y="12610908"/>
                  </a:lnTo>
                  <a:lnTo>
                    <a:pt x="3488072" y="12606143"/>
                  </a:lnTo>
                  <a:lnTo>
                    <a:pt x="3492840" y="12591847"/>
                  </a:lnTo>
                  <a:lnTo>
                    <a:pt x="3497604" y="12577552"/>
                  </a:lnTo>
                  <a:lnTo>
                    <a:pt x="3488072" y="12577552"/>
                  </a:lnTo>
                  <a:lnTo>
                    <a:pt x="3449952" y="12606143"/>
                  </a:lnTo>
                  <a:lnTo>
                    <a:pt x="3397536" y="12629968"/>
                  </a:lnTo>
                  <a:lnTo>
                    <a:pt x="3354648" y="12644264"/>
                  </a:lnTo>
                  <a:lnTo>
                    <a:pt x="3349884" y="12644264"/>
                  </a:lnTo>
                  <a:lnTo>
                    <a:pt x="3330824" y="12649029"/>
                  </a:lnTo>
                  <a:lnTo>
                    <a:pt x="3321292" y="12653794"/>
                  </a:lnTo>
                  <a:lnTo>
                    <a:pt x="3316528" y="12649029"/>
                  </a:lnTo>
                  <a:lnTo>
                    <a:pt x="3302232" y="12629968"/>
                  </a:lnTo>
                  <a:lnTo>
                    <a:pt x="3297468" y="12615673"/>
                  </a:lnTo>
                  <a:lnTo>
                    <a:pt x="3326060" y="12577552"/>
                  </a:lnTo>
                  <a:lnTo>
                    <a:pt x="3345120" y="12520370"/>
                  </a:lnTo>
                  <a:lnTo>
                    <a:pt x="3373712" y="12487015"/>
                  </a:lnTo>
                  <a:lnTo>
                    <a:pt x="3392772" y="12482249"/>
                  </a:lnTo>
                  <a:lnTo>
                    <a:pt x="3421360" y="12482249"/>
                  </a:lnTo>
                  <a:lnTo>
                    <a:pt x="3435656" y="12487015"/>
                  </a:lnTo>
                  <a:lnTo>
                    <a:pt x="3430892" y="12467954"/>
                  </a:lnTo>
                  <a:lnTo>
                    <a:pt x="3430892" y="12453659"/>
                  </a:lnTo>
                  <a:lnTo>
                    <a:pt x="3459484" y="12444128"/>
                  </a:lnTo>
                  <a:lnTo>
                    <a:pt x="3488072" y="12439363"/>
                  </a:lnTo>
                  <a:lnTo>
                    <a:pt x="3507132" y="12444128"/>
                  </a:lnTo>
                  <a:lnTo>
                    <a:pt x="3521428" y="12467954"/>
                  </a:lnTo>
                  <a:lnTo>
                    <a:pt x="3540488" y="12510840"/>
                  </a:lnTo>
                  <a:lnTo>
                    <a:pt x="3564316" y="12525136"/>
                  </a:lnTo>
                  <a:lnTo>
                    <a:pt x="3564316" y="12506075"/>
                  </a:lnTo>
                  <a:lnTo>
                    <a:pt x="3550020" y="12477484"/>
                  </a:lnTo>
                  <a:lnTo>
                    <a:pt x="3545256" y="12434598"/>
                  </a:lnTo>
                  <a:lnTo>
                    <a:pt x="3530960" y="12415538"/>
                  </a:lnTo>
                  <a:lnTo>
                    <a:pt x="3516664" y="12406007"/>
                  </a:lnTo>
                  <a:lnTo>
                    <a:pt x="3483308" y="12410773"/>
                  </a:lnTo>
                  <a:lnTo>
                    <a:pt x="3464248" y="12377417"/>
                  </a:lnTo>
                  <a:lnTo>
                    <a:pt x="3459484" y="12367886"/>
                  </a:lnTo>
                  <a:lnTo>
                    <a:pt x="3459484" y="12353591"/>
                  </a:lnTo>
                  <a:lnTo>
                    <a:pt x="3435656" y="12305940"/>
                  </a:lnTo>
                  <a:lnTo>
                    <a:pt x="3430892" y="12282114"/>
                  </a:lnTo>
                  <a:lnTo>
                    <a:pt x="3421360" y="12253523"/>
                  </a:lnTo>
                  <a:lnTo>
                    <a:pt x="3416596" y="12248758"/>
                  </a:lnTo>
                  <a:lnTo>
                    <a:pt x="3421360" y="12291644"/>
                  </a:lnTo>
                  <a:lnTo>
                    <a:pt x="3430892" y="12315470"/>
                  </a:lnTo>
                  <a:lnTo>
                    <a:pt x="3445188" y="12377417"/>
                  </a:lnTo>
                  <a:lnTo>
                    <a:pt x="3449952" y="12401242"/>
                  </a:lnTo>
                  <a:lnTo>
                    <a:pt x="3445188" y="12420303"/>
                  </a:lnTo>
                  <a:lnTo>
                    <a:pt x="3426128" y="12439363"/>
                  </a:lnTo>
                  <a:lnTo>
                    <a:pt x="3411832" y="12448894"/>
                  </a:lnTo>
                  <a:lnTo>
                    <a:pt x="3373712" y="12463189"/>
                  </a:lnTo>
                  <a:lnTo>
                    <a:pt x="3383240" y="12434598"/>
                  </a:lnTo>
                  <a:lnTo>
                    <a:pt x="3388004" y="12406007"/>
                  </a:lnTo>
                  <a:lnTo>
                    <a:pt x="3368944" y="12415538"/>
                  </a:lnTo>
                  <a:lnTo>
                    <a:pt x="3349884" y="12434598"/>
                  </a:lnTo>
                  <a:lnTo>
                    <a:pt x="3345120" y="12463189"/>
                  </a:lnTo>
                  <a:lnTo>
                    <a:pt x="3335588" y="12491780"/>
                  </a:lnTo>
                  <a:lnTo>
                    <a:pt x="3302232" y="12553726"/>
                  </a:lnTo>
                  <a:lnTo>
                    <a:pt x="3292704" y="12587082"/>
                  </a:lnTo>
                  <a:lnTo>
                    <a:pt x="3278408" y="12606143"/>
                  </a:lnTo>
                  <a:lnTo>
                    <a:pt x="3264112" y="12610908"/>
                  </a:lnTo>
                  <a:lnTo>
                    <a:pt x="3254580" y="12596612"/>
                  </a:lnTo>
                  <a:lnTo>
                    <a:pt x="3240288" y="12563257"/>
                  </a:lnTo>
                  <a:lnTo>
                    <a:pt x="3235520" y="12539431"/>
                  </a:lnTo>
                  <a:lnTo>
                    <a:pt x="3235520" y="12472719"/>
                  </a:lnTo>
                  <a:lnTo>
                    <a:pt x="3240288" y="12444128"/>
                  </a:lnTo>
                  <a:lnTo>
                    <a:pt x="3235520" y="12401242"/>
                  </a:lnTo>
                  <a:lnTo>
                    <a:pt x="3216460" y="12301175"/>
                  </a:lnTo>
                  <a:lnTo>
                    <a:pt x="3211696" y="12267819"/>
                  </a:lnTo>
                  <a:lnTo>
                    <a:pt x="3183104" y="12248758"/>
                  </a:lnTo>
                  <a:lnTo>
                    <a:pt x="3183104" y="12243993"/>
                  </a:lnTo>
                  <a:lnTo>
                    <a:pt x="3173576" y="12224933"/>
                  </a:lnTo>
                  <a:lnTo>
                    <a:pt x="3168808" y="12201107"/>
                  </a:lnTo>
                  <a:lnTo>
                    <a:pt x="3173576" y="12196342"/>
                  </a:lnTo>
                  <a:lnTo>
                    <a:pt x="3178340" y="12191577"/>
                  </a:lnTo>
                  <a:lnTo>
                    <a:pt x="3225992" y="12158221"/>
                  </a:lnTo>
                  <a:lnTo>
                    <a:pt x="3259348" y="12129630"/>
                  </a:lnTo>
                  <a:lnTo>
                    <a:pt x="3297468" y="12072448"/>
                  </a:lnTo>
                  <a:lnTo>
                    <a:pt x="3311764" y="12058153"/>
                  </a:lnTo>
                  <a:lnTo>
                    <a:pt x="3368944" y="12043858"/>
                  </a:lnTo>
                  <a:lnTo>
                    <a:pt x="3392772" y="12043858"/>
                  </a:lnTo>
                  <a:lnTo>
                    <a:pt x="3392772" y="12034327"/>
                  </a:lnTo>
                  <a:lnTo>
                    <a:pt x="3388004" y="12029562"/>
                  </a:lnTo>
                  <a:lnTo>
                    <a:pt x="3345120" y="12034327"/>
                  </a:lnTo>
                  <a:lnTo>
                    <a:pt x="3297468" y="12053388"/>
                  </a:lnTo>
                  <a:lnTo>
                    <a:pt x="3287936" y="12062918"/>
                  </a:lnTo>
                  <a:lnTo>
                    <a:pt x="3264112" y="12096274"/>
                  </a:lnTo>
                  <a:lnTo>
                    <a:pt x="3245052" y="12110570"/>
                  </a:lnTo>
                  <a:lnTo>
                    <a:pt x="3197400" y="12153456"/>
                  </a:lnTo>
                  <a:lnTo>
                    <a:pt x="3164044" y="12153456"/>
                  </a:lnTo>
                  <a:lnTo>
                    <a:pt x="3135452" y="12105804"/>
                  </a:lnTo>
                  <a:lnTo>
                    <a:pt x="3097332" y="12115335"/>
                  </a:lnTo>
                  <a:lnTo>
                    <a:pt x="3073508" y="12110570"/>
                  </a:lnTo>
                  <a:lnTo>
                    <a:pt x="3063976" y="12101039"/>
                  </a:lnTo>
                  <a:lnTo>
                    <a:pt x="3059212" y="12034327"/>
                  </a:lnTo>
                  <a:lnTo>
                    <a:pt x="3078272" y="11958085"/>
                  </a:lnTo>
                  <a:lnTo>
                    <a:pt x="3059212" y="11958085"/>
                  </a:lnTo>
                  <a:lnTo>
                    <a:pt x="3054448" y="11953320"/>
                  </a:lnTo>
                  <a:lnTo>
                    <a:pt x="3040152" y="11934260"/>
                  </a:lnTo>
                  <a:lnTo>
                    <a:pt x="3035388" y="11929495"/>
                  </a:lnTo>
                  <a:lnTo>
                    <a:pt x="3040152" y="11919964"/>
                  </a:lnTo>
                  <a:lnTo>
                    <a:pt x="3092568" y="11881843"/>
                  </a:lnTo>
                  <a:lnTo>
                    <a:pt x="3173576" y="11810367"/>
                  </a:lnTo>
                  <a:lnTo>
                    <a:pt x="3206932" y="11777011"/>
                  </a:lnTo>
                  <a:lnTo>
                    <a:pt x="3225992" y="11767480"/>
                  </a:lnTo>
                  <a:lnTo>
                    <a:pt x="3245052" y="11753185"/>
                  </a:lnTo>
                  <a:lnTo>
                    <a:pt x="3264112" y="11719829"/>
                  </a:lnTo>
                  <a:lnTo>
                    <a:pt x="3268876" y="11705534"/>
                  </a:lnTo>
                  <a:lnTo>
                    <a:pt x="3278408" y="11696003"/>
                  </a:lnTo>
                  <a:lnTo>
                    <a:pt x="3302232" y="11681708"/>
                  </a:lnTo>
                  <a:lnTo>
                    <a:pt x="3326060" y="11662648"/>
                  </a:lnTo>
                  <a:lnTo>
                    <a:pt x="3368944" y="11619761"/>
                  </a:lnTo>
                  <a:lnTo>
                    <a:pt x="3373712" y="11605466"/>
                  </a:lnTo>
                  <a:lnTo>
                    <a:pt x="3364180" y="11600701"/>
                  </a:lnTo>
                  <a:lnTo>
                    <a:pt x="3345120" y="11614996"/>
                  </a:lnTo>
                  <a:lnTo>
                    <a:pt x="3307000" y="11653117"/>
                  </a:lnTo>
                  <a:lnTo>
                    <a:pt x="3278408" y="11676943"/>
                  </a:lnTo>
                  <a:lnTo>
                    <a:pt x="3187872" y="11777011"/>
                  </a:lnTo>
                  <a:lnTo>
                    <a:pt x="3144984" y="11810367"/>
                  </a:lnTo>
                  <a:lnTo>
                    <a:pt x="3125924" y="11834192"/>
                  </a:lnTo>
                  <a:lnTo>
                    <a:pt x="3106864" y="11858018"/>
                  </a:lnTo>
                  <a:lnTo>
                    <a:pt x="3092568" y="11872313"/>
                  </a:lnTo>
                  <a:lnTo>
                    <a:pt x="3073508" y="11881843"/>
                  </a:lnTo>
                  <a:lnTo>
                    <a:pt x="3030620" y="11886609"/>
                  </a:lnTo>
                  <a:lnTo>
                    <a:pt x="3011560" y="11896139"/>
                  </a:lnTo>
                  <a:lnTo>
                    <a:pt x="3002032" y="11886609"/>
                  </a:lnTo>
                  <a:lnTo>
                    <a:pt x="2997264" y="11843722"/>
                  </a:lnTo>
                  <a:lnTo>
                    <a:pt x="2997264" y="11815132"/>
                  </a:lnTo>
                  <a:lnTo>
                    <a:pt x="2997264" y="11786541"/>
                  </a:lnTo>
                  <a:lnTo>
                    <a:pt x="3006796" y="11748420"/>
                  </a:lnTo>
                  <a:lnTo>
                    <a:pt x="3021092" y="11719829"/>
                  </a:lnTo>
                  <a:lnTo>
                    <a:pt x="3025856" y="11705534"/>
                  </a:lnTo>
                  <a:lnTo>
                    <a:pt x="3030620" y="11696003"/>
                  </a:lnTo>
                  <a:lnTo>
                    <a:pt x="3059212" y="11667413"/>
                  </a:lnTo>
                  <a:lnTo>
                    <a:pt x="3078272" y="11653117"/>
                  </a:lnTo>
                  <a:lnTo>
                    <a:pt x="3087804" y="11624527"/>
                  </a:lnTo>
                  <a:lnTo>
                    <a:pt x="3159280" y="11614996"/>
                  </a:lnTo>
                  <a:lnTo>
                    <a:pt x="3173576" y="11614996"/>
                  </a:lnTo>
                  <a:lnTo>
                    <a:pt x="3183104" y="11610231"/>
                  </a:lnTo>
                  <a:lnTo>
                    <a:pt x="3192636" y="11605466"/>
                  </a:lnTo>
                  <a:lnTo>
                    <a:pt x="3183104" y="11595936"/>
                  </a:lnTo>
                  <a:lnTo>
                    <a:pt x="3164044" y="11591171"/>
                  </a:lnTo>
                  <a:lnTo>
                    <a:pt x="3111628" y="11595936"/>
                  </a:lnTo>
                  <a:lnTo>
                    <a:pt x="3059212" y="11591171"/>
                  </a:lnTo>
                  <a:lnTo>
                    <a:pt x="3040152" y="11586406"/>
                  </a:lnTo>
                  <a:lnTo>
                    <a:pt x="3025856" y="11586406"/>
                  </a:lnTo>
                  <a:lnTo>
                    <a:pt x="3006796" y="11576875"/>
                  </a:lnTo>
                  <a:lnTo>
                    <a:pt x="2987736" y="11562580"/>
                  </a:lnTo>
                  <a:lnTo>
                    <a:pt x="2959144" y="11500633"/>
                  </a:lnTo>
                  <a:lnTo>
                    <a:pt x="2968676" y="11424391"/>
                  </a:lnTo>
                  <a:lnTo>
                    <a:pt x="2973440" y="11386270"/>
                  </a:lnTo>
                  <a:lnTo>
                    <a:pt x="3011560" y="11357679"/>
                  </a:lnTo>
                  <a:lnTo>
                    <a:pt x="3030620" y="11343384"/>
                  </a:lnTo>
                  <a:lnTo>
                    <a:pt x="3059212" y="11319558"/>
                  </a:lnTo>
                  <a:lnTo>
                    <a:pt x="3102096" y="11276672"/>
                  </a:lnTo>
                  <a:lnTo>
                    <a:pt x="3149748" y="11252847"/>
                  </a:lnTo>
                  <a:lnTo>
                    <a:pt x="3173576" y="11248082"/>
                  </a:lnTo>
                  <a:lnTo>
                    <a:pt x="3192636" y="11252847"/>
                  </a:lnTo>
                  <a:lnTo>
                    <a:pt x="3268876" y="11286203"/>
                  </a:lnTo>
                  <a:lnTo>
                    <a:pt x="3307000" y="11295733"/>
                  </a:lnTo>
                  <a:lnTo>
                    <a:pt x="3340356" y="11286203"/>
                  </a:lnTo>
                  <a:lnTo>
                    <a:pt x="3378476" y="11300498"/>
                  </a:lnTo>
                  <a:lnTo>
                    <a:pt x="3454716" y="11352914"/>
                  </a:lnTo>
                  <a:lnTo>
                    <a:pt x="3469012" y="11343384"/>
                  </a:lnTo>
                  <a:lnTo>
                    <a:pt x="3464248" y="11329089"/>
                  </a:lnTo>
                  <a:lnTo>
                    <a:pt x="3383240" y="11276672"/>
                  </a:lnTo>
                  <a:lnTo>
                    <a:pt x="3383240" y="11257612"/>
                  </a:lnTo>
                  <a:lnTo>
                    <a:pt x="3402300" y="11252847"/>
                  </a:lnTo>
                  <a:lnTo>
                    <a:pt x="3426128" y="11238551"/>
                  </a:lnTo>
                  <a:lnTo>
                    <a:pt x="3411832" y="11229021"/>
                  </a:lnTo>
                  <a:lnTo>
                    <a:pt x="3359416" y="11238551"/>
                  </a:lnTo>
                  <a:lnTo>
                    <a:pt x="3345120" y="11252847"/>
                  </a:lnTo>
                  <a:lnTo>
                    <a:pt x="3287936" y="11257612"/>
                  </a:lnTo>
                  <a:lnTo>
                    <a:pt x="3259348" y="11243316"/>
                  </a:lnTo>
                  <a:lnTo>
                    <a:pt x="3235520" y="11238551"/>
                  </a:lnTo>
                  <a:lnTo>
                    <a:pt x="3197400" y="11214726"/>
                  </a:lnTo>
                  <a:lnTo>
                    <a:pt x="3168808" y="11224256"/>
                  </a:lnTo>
                  <a:lnTo>
                    <a:pt x="3149748" y="11233786"/>
                  </a:lnTo>
                  <a:lnTo>
                    <a:pt x="3111628" y="11243316"/>
                  </a:lnTo>
                  <a:lnTo>
                    <a:pt x="3097332" y="11248082"/>
                  </a:lnTo>
                  <a:lnTo>
                    <a:pt x="3030620" y="11324324"/>
                  </a:lnTo>
                  <a:lnTo>
                    <a:pt x="3002032" y="11338619"/>
                  </a:lnTo>
                  <a:lnTo>
                    <a:pt x="2982968" y="11333854"/>
                  </a:lnTo>
                  <a:lnTo>
                    <a:pt x="2997264" y="11286203"/>
                  </a:lnTo>
                  <a:lnTo>
                    <a:pt x="3002032" y="11267142"/>
                  </a:lnTo>
                  <a:lnTo>
                    <a:pt x="3002032" y="11243316"/>
                  </a:lnTo>
                  <a:lnTo>
                    <a:pt x="3006796" y="11214726"/>
                  </a:lnTo>
                  <a:lnTo>
                    <a:pt x="3040152" y="11162309"/>
                  </a:lnTo>
                  <a:lnTo>
                    <a:pt x="3063976" y="11100363"/>
                  </a:lnTo>
                  <a:lnTo>
                    <a:pt x="3073508" y="11062242"/>
                  </a:lnTo>
                  <a:lnTo>
                    <a:pt x="3087804" y="11057476"/>
                  </a:lnTo>
                  <a:lnTo>
                    <a:pt x="3111628" y="11062242"/>
                  </a:lnTo>
                  <a:lnTo>
                    <a:pt x="3183104" y="11086067"/>
                  </a:lnTo>
                  <a:lnTo>
                    <a:pt x="3245052" y="11119423"/>
                  </a:lnTo>
                  <a:lnTo>
                    <a:pt x="3287936" y="11124188"/>
                  </a:lnTo>
                  <a:lnTo>
                    <a:pt x="3316528" y="11124188"/>
                  </a:lnTo>
                  <a:lnTo>
                    <a:pt x="3326060" y="11114658"/>
                  </a:lnTo>
                  <a:lnTo>
                    <a:pt x="3335588" y="11100363"/>
                  </a:lnTo>
                  <a:lnTo>
                    <a:pt x="3340356" y="11086067"/>
                  </a:lnTo>
                  <a:lnTo>
                    <a:pt x="3345120" y="11067007"/>
                  </a:lnTo>
                  <a:lnTo>
                    <a:pt x="3345120" y="11057476"/>
                  </a:lnTo>
                  <a:lnTo>
                    <a:pt x="3354648" y="11047946"/>
                  </a:lnTo>
                  <a:lnTo>
                    <a:pt x="3378476" y="11009825"/>
                  </a:lnTo>
                  <a:lnTo>
                    <a:pt x="3383240" y="10986000"/>
                  </a:lnTo>
                  <a:lnTo>
                    <a:pt x="3373712" y="10971704"/>
                  </a:lnTo>
                  <a:lnTo>
                    <a:pt x="3364180" y="10971704"/>
                  </a:lnTo>
                  <a:lnTo>
                    <a:pt x="3335588" y="10981234"/>
                  </a:lnTo>
                  <a:lnTo>
                    <a:pt x="3335588" y="10986000"/>
                  </a:lnTo>
                  <a:lnTo>
                    <a:pt x="3335588" y="10995530"/>
                  </a:lnTo>
                  <a:lnTo>
                    <a:pt x="3311764" y="11033651"/>
                  </a:lnTo>
                  <a:lnTo>
                    <a:pt x="3283172" y="11043181"/>
                  </a:lnTo>
                  <a:lnTo>
                    <a:pt x="3221228" y="11057476"/>
                  </a:lnTo>
                  <a:lnTo>
                    <a:pt x="3192636" y="11057476"/>
                  </a:lnTo>
                  <a:lnTo>
                    <a:pt x="3144984" y="11038416"/>
                  </a:lnTo>
                  <a:lnTo>
                    <a:pt x="3135452" y="11033651"/>
                  </a:lnTo>
                  <a:lnTo>
                    <a:pt x="3130688" y="11019355"/>
                  </a:lnTo>
                  <a:lnTo>
                    <a:pt x="3068744" y="11019355"/>
                  </a:lnTo>
                  <a:lnTo>
                    <a:pt x="3049680" y="11024121"/>
                  </a:lnTo>
                  <a:lnTo>
                    <a:pt x="3035388" y="11024121"/>
                  </a:lnTo>
                  <a:lnTo>
                    <a:pt x="3044916" y="11000295"/>
                  </a:lnTo>
                  <a:lnTo>
                    <a:pt x="3063976" y="10976469"/>
                  </a:lnTo>
                  <a:lnTo>
                    <a:pt x="3087804" y="10890697"/>
                  </a:lnTo>
                  <a:lnTo>
                    <a:pt x="3111628" y="10866871"/>
                  </a:lnTo>
                  <a:lnTo>
                    <a:pt x="3159280" y="10847811"/>
                  </a:lnTo>
                  <a:lnTo>
                    <a:pt x="3206932" y="10852576"/>
                  </a:lnTo>
                  <a:lnTo>
                    <a:pt x="3287936" y="10914523"/>
                  </a:lnTo>
                  <a:lnTo>
                    <a:pt x="3311764" y="10924053"/>
                  </a:lnTo>
                  <a:lnTo>
                    <a:pt x="3335588" y="10919288"/>
                  </a:lnTo>
                  <a:lnTo>
                    <a:pt x="3388004" y="10895462"/>
                  </a:lnTo>
                  <a:lnTo>
                    <a:pt x="3397536" y="10885932"/>
                  </a:lnTo>
                  <a:lnTo>
                    <a:pt x="3416596" y="10862106"/>
                  </a:lnTo>
                  <a:lnTo>
                    <a:pt x="3440420" y="10814455"/>
                  </a:lnTo>
                  <a:lnTo>
                    <a:pt x="3440420" y="10800160"/>
                  </a:lnTo>
                  <a:lnTo>
                    <a:pt x="3402300" y="10828750"/>
                  </a:lnTo>
                  <a:lnTo>
                    <a:pt x="3388004" y="10833515"/>
                  </a:lnTo>
                  <a:lnTo>
                    <a:pt x="3368944" y="10833515"/>
                  </a:lnTo>
                  <a:lnTo>
                    <a:pt x="3383240" y="10747743"/>
                  </a:lnTo>
                  <a:lnTo>
                    <a:pt x="3388004" y="10681031"/>
                  </a:lnTo>
                  <a:lnTo>
                    <a:pt x="3397536" y="10666736"/>
                  </a:lnTo>
                  <a:lnTo>
                    <a:pt x="3440420" y="10671501"/>
                  </a:lnTo>
                  <a:lnTo>
                    <a:pt x="3502368" y="10661971"/>
                  </a:lnTo>
                  <a:lnTo>
                    <a:pt x="3516664" y="10647675"/>
                  </a:lnTo>
                  <a:lnTo>
                    <a:pt x="3516664" y="10642910"/>
                  </a:lnTo>
                  <a:lnTo>
                    <a:pt x="3492840" y="10633380"/>
                  </a:lnTo>
                  <a:lnTo>
                    <a:pt x="3483308" y="10614320"/>
                  </a:lnTo>
                  <a:lnTo>
                    <a:pt x="3459484" y="10619085"/>
                  </a:lnTo>
                  <a:lnTo>
                    <a:pt x="3430892" y="10633380"/>
                  </a:lnTo>
                  <a:lnTo>
                    <a:pt x="3397536" y="10628615"/>
                  </a:lnTo>
                  <a:lnTo>
                    <a:pt x="3397536" y="10600024"/>
                  </a:lnTo>
                  <a:lnTo>
                    <a:pt x="3426128" y="10542843"/>
                  </a:lnTo>
                  <a:lnTo>
                    <a:pt x="3426128" y="10514252"/>
                  </a:lnTo>
                  <a:lnTo>
                    <a:pt x="3435656" y="10457070"/>
                  </a:lnTo>
                  <a:lnTo>
                    <a:pt x="3440420" y="10428480"/>
                  </a:lnTo>
                  <a:lnTo>
                    <a:pt x="3449952" y="10399889"/>
                  </a:lnTo>
                  <a:lnTo>
                    <a:pt x="3492840" y="10380828"/>
                  </a:lnTo>
                  <a:lnTo>
                    <a:pt x="3511900" y="10366533"/>
                  </a:lnTo>
                  <a:lnTo>
                    <a:pt x="3511900" y="10357003"/>
                  </a:lnTo>
                  <a:lnTo>
                    <a:pt x="3488072" y="10304586"/>
                  </a:lnTo>
                  <a:lnTo>
                    <a:pt x="3492840" y="10290291"/>
                  </a:lnTo>
                  <a:lnTo>
                    <a:pt x="3511900" y="10280761"/>
                  </a:lnTo>
                  <a:lnTo>
                    <a:pt x="3521428" y="10271230"/>
                  </a:lnTo>
                  <a:lnTo>
                    <a:pt x="3511900" y="10261700"/>
                  </a:lnTo>
                  <a:lnTo>
                    <a:pt x="3497604" y="10256935"/>
                  </a:lnTo>
                  <a:lnTo>
                    <a:pt x="3469012" y="10271230"/>
                  </a:lnTo>
                  <a:lnTo>
                    <a:pt x="3440420" y="10275996"/>
                  </a:lnTo>
                  <a:lnTo>
                    <a:pt x="3411832" y="10256935"/>
                  </a:lnTo>
                  <a:lnTo>
                    <a:pt x="3392772" y="10247405"/>
                  </a:lnTo>
                  <a:lnTo>
                    <a:pt x="3378476" y="10252170"/>
                  </a:lnTo>
                  <a:lnTo>
                    <a:pt x="3345120" y="10280761"/>
                  </a:lnTo>
                  <a:lnTo>
                    <a:pt x="3330824" y="10280761"/>
                  </a:lnTo>
                  <a:lnTo>
                    <a:pt x="3316528" y="10275996"/>
                  </a:lnTo>
                  <a:lnTo>
                    <a:pt x="3211696" y="10247405"/>
                  </a:lnTo>
                  <a:lnTo>
                    <a:pt x="3202164" y="10242640"/>
                  </a:lnTo>
                  <a:lnTo>
                    <a:pt x="3164044" y="10194988"/>
                  </a:lnTo>
                  <a:lnTo>
                    <a:pt x="3135452" y="10166398"/>
                  </a:lnTo>
                  <a:lnTo>
                    <a:pt x="3092568" y="10137807"/>
                  </a:lnTo>
                  <a:lnTo>
                    <a:pt x="3040152" y="10113981"/>
                  </a:lnTo>
                  <a:lnTo>
                    <a:pt x="2978204" y="10094921"/>
                  </a:lnTo>
                  <a:lnTo>
                    <a:pt x="2940084" y="10080625"/>
                  </a:lnTo>
                  <a:lnTo>
                    <a:pt x="2921024" y="10061565"/>
                  </a:lnTo>
                  <a:lnTo>
                    <a:pt x="2887668" y="10009148"/>
                  </a:lnTo>
                  <a:lnTo>
                    <a:pt x="2863840" y="9971027"/>
                  </a:lnTo>
                  <a:lnTo>
                    <a:pt x="2859076" y="9951967"/>
                  </a:lnTo>
                  <a:lnTo>
                    <a:pt x="2873372" y="9928141"/>
                  </a:lnTo>
                  <a:lnTo>
                    <a:pt x="2887668" y="9909081"/>
                  </a:lnTo>
                  <a:lnTo>
                    <a:pt x="2916256" y="9894785"/>
                  </a:lnTo>
                  <a:lnTo>
                    <a:pt x="2963908" y="9899551"/>
                  </a:lnTo>
                  <a:lnTo>
                    <a:pt x="2987736" y="9904316"/>
                  </a:lnTo>
                  <a:lnTo>
                    <a:pt x="3016324" y="9918611"/>
                  </a:lnTo>
                  <a:lnTo>
                    <a:pt x="3035388" y="9923376"/>
                  </a:lnTo>
                  <a:lnTo>
                    <a:pt x="3083036" y="9918611"/>
                  </a:lnTo>
                  <a:lnTo>
                    <a:pt x="3125924" y="9928141"/>
                  </a:lnTo>
                  <a:lnTo>
                    <a:pt x="3154516" y="9937672"/>
                  </a:lnTo>
                  <a:lnTo>
                    <a:pt x="3187872" y="9956732"/>
                  </a:lnTo>
                  <a:lnTo>
                    <a:pt x="3287936" y="10042504"/>
                  </a:lnTo>
                  <a:lnTo>
                    <a:pt x="3326060" y="10075860"/>
                  </a:lnTo>
                  <a:lnTo>
                    <a:pt x="3345120" y="10075860"/>
                  </a:lnTo>
                  <a:lnTo>
                    <a:pt x="3416596" y="10109216"/>
                  </a:lnTo>
                  <a:lnTo>
                    <a:pt x="3430892" y="10109216"/>
                  </a:lnTo>
                  <a:lnTo>
                    <a:pt x="3459484" y="10094921"/>
                  </a:lnTo>
                  <a:lnTo>
                    <a:pt x="3459484" y="10085390"/>
                  </a:lnTo>
                  <a:lnTo>
                    <a:pt x="3449952" y="10075860"/>
                  </a:lnTo>
                  <a:lnTo>
                    <a:pt x="3416596" y="10066330"/>
                  </a:lnTo>
                  <a:lnTo>
                    <a:pt x="3383240" y="10032974"/>
                  </a:lnTo>
                  <a:lnTo>
                    <a:pt x="3359416" y="10004383"/>
                  </a:lnTo>
                  <a:lnTo>
                    <a:pt x="3354648" y="9956732"/>
                  </a:lnTo>
                  <a:lnTo>
                    <a:pt x="3359416" y="9932906"/>
                  </a:lnTo>
                  <a:lnTo>
                    <a:pt x="3364180" y="9918611"/>
                  </a:lnTo>
                  <a:lnTo>
                    <a:pt x="3368944" y="9880490"/>
                  </a:lnTo>
                  <a:lnTo>
                    <a:pt x="3345120" y="9856664"/>
                  </a:lnTo>
                  <a:lnTo>
                    <a:pt x="3330824" y="9847134"/>
                  </a:lnTo>
                  <a:lnTo>
                    <a:pt x="3292704" y="9813778"/>
                  </a:lnTo>
                  <a:lnTo>
                    <a:pt x="3287936" y="9804248"/>
                  </a:lnTo>
                  <a:lnTo>
                    <a:pt x="3307000" y="9799483"/>
                  </a:lnTo>
                  <a:lnTo>
                    <a:pt x="3326060" y="9799483"/>
                  </a:lnTo>
                  <a:lnTo>
                    <a:pt x="3368944" y="9818543"/>
                  </a:lnTo>
                  <a:lnTo>
                    <a:pt x="3388004" y="9823309"/>
                  </a:lnTo>
                  <a:lnTo>
                    <a:pt x="3402300" y="9813778"/>
                  </a:lnTo>
                  <a:lnTo>
                    <a:pt x="3407068" y="9809013"/>
                  </a:lnTo>
                  <a:lnTo>
                    <a:pt x="3378476" y="9785187"/>
                  </a:lnTo>
                  <a:lnTo>
                    <a:pt x="3349884" y="9751832"/>
                  </a:lnTo>
                  <a:lnTo>
                    <a:pt x="3283172" y="9747066"/>
                  </a:lnTo>
                  <a:lnTo>
                    <a:pt x="3240288" y="9751832"/>
                  </a:lnTo>
                  <a:lnTo>
                    <a:pt x="3216460" y="9737536"/>
                  </a:lnTo>
                  <a:lnTo>
                    <a:pt x="3187872" y="9718476"/>
                  </a:lnTo>
                  <a:lnTo>
                    <a:pt x="3168808" y="9713711"/>
                  </a:lnTo>
                  <a:lnTo>
                    <a:pt x="3130688" y="9723241"/>
                  </a:lnTo>
                  <a:lnTo>
                    <a:pt x="3111628" y="9728006"/>
                  </a:lnTo>
                  <a:lnTo>
                    <a:pt x="3097332" y="9723241"/>
                  </a:lnTo>
                  <a:lnTo>
                    <a:pt x="3078272" y="9656529"/>
                  </a:lnTo>
                  <a:lnTo>
                    <a:pt x="3083036" y="9637469"/>
                  </a:lnTo>
                  <a:lnTo>
                    <a:pt x="3097332" y="9627938"/>
                  </a:lnTo>
                  <a:lnTo>
                    <a:pt x="3106864" y="9608878"/>
                  </a:lnTo>
                  <a:lnTo>
                    <a:pt x="3111628" y="9585052"/>
                  </a:lnTo>
                  <a:lnTo>
                    <a:pt x="3135452" y="9565992"/>
                  </a:lnTo>
                  <a:lnTo>
                    <a:pt x="3259348" y="9518340"/>
                  </a:lnTo>
                  <a:lnTo>
                    <a:pt x="3287936" y="9480219"/>
                  </a:lnTo>
                  <a:lnTo>
                    <a:pt x="3287936" y="9475454"/>
                  </a:lnTo>
                  <a:lnTo>
                    <a:pt x="3268876" y="9480219"/>
                  </a:lnTo>
                  <a:lnTo>
                    <a:pt x="3240288" y="9499280"/>
                  </a:lnTo>
                  <a:lnTo>
                    <a:pt x="3221228" y="9499280"/>
                  </a:lnTo>
                  <a:lnTo>
                    <a:pt x="3149748" y="9480219"/>
                  </a:lnTo>
                  <a:lnTo>
                    <a:pt x="3140220" y="9484984"/>
                  </a:lnTo>
                  <a:lnTo>
                    <a:pt x="3111628" y="9513575"/>
                  </a:lnTo>
                  <a:lnTo>
                    <a:pt x="3068744" y="9546931"/>
                  </a:lnTo>
                  <a:lnTo>
                    <a:pt x="3054448" y="9546931"/>
                  </a:lnTo>
                  <a:lnTo>
                    <a:pt x="3025856" y="9527871"/>
                  </a:lnTo>
                  <a:lnTo>
                    <a:pt x="3025856" y="9513575"/>
                  </a:lnTo>
                  <a:lnTo>
                    <a:pt x="3021092" y="9494515"/>
                  </a:lnTo>
                  <a:lnTo>
                    <a:pt x="3049680" y="9475454"/>
                  </a:lnTo>
                  <a:lnTo>
                    <a:pt x="3059212" y="9461159"/>
                  </a:lnTo>
                  <a:lnTo>
                    <a:pt x="3073508" y="9427803"/>
                  </a:lnTo>
                  <a:lnTo>
                    <a:pt x="3073508" y="9413508"/>
                  </a:lnTo>
                  <a:lnTo>
                    <a:pt x="3044916" y="9423038"/>
                  </a:lnTo>
                  <a:lnTo>
                    <a:pt x="3040152" y="9403977"/>
                  </a:lnTo>
                  <a:lnTo>
                    <a:pt x="3040152" y="9380152"/>
                  </a:lnTo>
                  <a:lnTo>
                    <a:pt x="3040152" y="9346796"/>
                  </a:lnTo>
                  <a:lnTo>
                    <a:pt x="3030620" y="9318205"/>
                  </a:lnTo>
                  <a:lnTo>
                    <a:pt x="3006796" y="9268171"/>
                  </a:lnTo>
                  <a:lnTo>
                    <a:pt x="2997264" y="9253876"/>
                  </a:lnTo>
                  <a:lnTo>
                    <a:pt x="2987736" y="9239580"/>
                  </a:lnTo>
                  <a:lnTo>
                    <a:pt x="2968676" y="9168104"/>
                  </a:lnTo>
                  <a:lnTo>
                    <a:pt x="2973440" y="9153808"/>
                  </a:lnTo>
                  <a:lnTo>
                    <a:pt x="2992500" y="9139513"/>
                  </a:lnTo>
                  <a:lnTo>
                    <a:pt x="2992500" y="9134748"/>
                  </a:lnTo>
                  <a:lnTo>
                    <a:pt x="2954380" y="9144278"/>
                  </a:lnTo>
                  <a:lnTo>
                    <a:pt x="2949612" y="9153808"/>
                  </a:lnTo>
                  <a:lnTo>
                    <a:pt x="2959144" y="9172869"/>
                  </a:lnTo>
                  <a:lnTo>
                    <a:pt x="2963908" y="9196694"/>
                  </a:lnTo>
                  <a:lnTo>
                    <a:pt x="2968676" y="9225285"/>
                  </a:lnTo>
                  <a:lnTo>
                    <a:pt x="2973440" y="9249111"/>
                  </a:lnTo>
                  <a:lnTo>
                    <a:pt x="2987736" y="9277701"/>
                  </a:lnTo>
                  <a:lnTo>
                    <a:pt x="2997264" y="9289614"/>
                  </a:lnTo>
                  <a:lnTo>
                    <a:pt x="3016324" y="9327735"/>
                  </a:lnTo>
                  <a:lnTo>
                    <a:pt x="3025856" y="9370621"/>
                  </a:lnTo>
                  <a:lnTo>
                    <a:pt x="3021092" y="9389682"/>
                  </a:lnTo>
                  <a:lnTo>
                    <a:pt x="3006796" y="9413508"/>
                  </a:lnTo>
                  <a:lnTo>
                    <a:pt x="2982968" y="9437333"/>
                  </a:lnTo>
                  <a:lnTo>
                    <a:pt x="2978204" y="9456394"/>
                  </a:lnTo>
                  <a:lnTo>
                    <a:pt x="2973440" y="9475454"/>
                  </a:lnTo>
                  <a:lnTo>
                    <a:pt x="2959144" y="9494515"/>
                  </a:lnTo>
                  <a:lnTo>
                    <a:pt x="2944848" y="9489750"/>
                  </a:lnTo>
                  <a:lnTo>
                    <a:pt x="2935320" y="9484984"/>
                  </a:lnTo>
                  <a:lnTo>
                    <a:pt x="2944848" y="9518340"/>
                  </a:lnTo>
                  <a:lnTo>
                    <a:pt x="2954380" y="9551696"/>
                  </a:lnTo>
                  <a:lnTo>
                    <a:pt x="2944848" y="9585052"/>
                  </a:lnTo>
                  <a:lnTo>
                    <a:pt x="2925788" y="9604113"/>
                  </a:lnTo>
                  <a:lnTo>
                    <a:pt x="2911492" y="9604113"/>
                  </a:lnTo>
                  <a:lnTo>
                    <a:pt x="2892432" y="9623173"/>
                  </a:lnTo>
                  <a:lnTo>
                    <a:pt x="2835252" y="9632703"/>
                  </a:lnTo>
                  <a:lnTo>
                    <a:pt x="2811424" y="9627938"/>
                  </a:lnTo>
                  <a:lnTo>
                    <a:pt x="2773304" y="9608878"/>
                  </a:lnTo>
                  <a:lnTo>
                    <a:pt x="2730416" y="9599348"/>
                  </a:lnTo>
                  <a:lnTo>
                    <a:pt x="2711356" y="9580287"/>
                  </a:lnTo>
                  <a:lnTo>
                    <a:pt x="2692296" y="9537401"/>
                  </a:lnTo>
                  <a:lnTo>
                    <a:pt x="2678000" y="9504045"/>
                  </a:lnTo>
                  <a:lnTo>
                    <a:pt x="2678000" y="9470689"/>
                  </a:lnTo>
                  <a:lnTo>
                    <a:pt x="2687532" y="9446863"/>
                  </a:lnTo>
                  <a:lnTo>
                    <a:pt x="2697064" y="9432568"/>
                  </a:lnTo>
                  <a:lnTo>
                    <a:pt x="2711356" y="9337266"/>
                  </a:lnTo>
                  <a:lnTo>
                    <a:pt x="2735184" y="9263406"/>
                  </a:lnTo>
                  <a:lnTo>
                    <a:pt x="2787600" y="9182399"/>
                  </a:lnTo>
                  <a:lnTo>
                    <a:pt x="2801896" y="9153808"/>
                  </a:lnTo>
                  <a:lnTo>
                    <a:pt x="2806660" y="9134748"/>
                  </a:lnTo>
                  <a:lnTo>
                    <a:pt x="2806660" y="9125217"/>
                  </a:lnTo>
                  <a:lnTo>
                    <a:pt x="2801896" y="9115687"/>
                  </a:lnTo>
                  <a:lnTo>
                    <a:pt x="2735184" y="9215755"/>
                  </a:lnTo>
                  <a:lnTo>
                    <a:pt x="2692296" y="9225285"/>
                  </a:lnTo>
                  <a:lnTo>
                    <a:pt x="2682768" y="9206225"/>
                  </a:lnTo>
                  <a:lnTo>
                    <a:pt x="2682768" y="9163338"/>
                  </a:lnTo>
                  <a:lnTo>
                    <a:pt x="2692296" y="9153808"/>
                  </a:lnTo>
                  <a:lnTo>
                    <a:pt x="2725652" y="9158573"/>
                  </a:lnTo>
                  <a:lnTo>
                    <a:pt x="2735184" y="9134748"/>
                  </a:lnTo>
                  <a:lnTo>
                    <a:pt x="2716124" y="9101392"/>
                  </a:lnTo>
                  <a:lnTo>
                    <a:pt x="2697064" y="9096627"/>
                  </a:lnTo>
                  <a:lnTo>
                    <a:pt x="2687532" y="9087096"/>
                  </a:lnTo>
                  <a:lnTo>
                    <a:pt x="2711356" y="9058506"/>
                  </a:lnTo>
                  <a:lnTo>
                    <a:pt x="2763772" y="9063271"/>
                  </a:lnTo>
                  <a:lnTo>
                    <a:pt x="2778068" y="9044210"/>
                  </a:lnTo>
                  <a:lnTo>
                    <a:pt x="2797128" y="9025150"/>
                  </a:lnTo>
                  <a:lnTo>
                    <a:pt x="2816192" y="8987029"/>
                  </a:lnTo>
                  <a:lnTo>
                    <a:pt x="2825720" y="8958438"/>
                  </a:lnTo>
                  <a:lnTo>
                    <a:pt x="2825720" y="8929847"/>
                  </a:lnTo>
                  <a:lnTo>
                    <a:pt x="2820956" y="8910787"/>
                  </a:lnTo>
                  <a:lnTo>
                    <a:pt x="2820956" y="8886961"/>
                  </a:lnTo>
                  <a:lnTo>
                    <a:pt x="2825720" y="8867901"/>
                  </a:lnTo>
                  <a:lnTo>
                    <a:pt x="2820956" y="8844075"/>
                  </a:lnTo>
                  <a:lnTo>
                    <a:pt x="2806660" y="8815484"/>
                  </a:lnTo>
                  <a:lnTo>
                    <a:pt x="2773304" y="8791658"/>
                  </a:lnTo>
                  <a:lnTo>
                    <a:pt x="2763772" y="8820249"/>
                  </a:lnTo>
                  <a:lnTo>
                    <a:pt x="2754244" y="8829780"/>
                  </a:lnTo>
                  <a:lnTo>
                    <a:pt x="2739948" y="8834545"/>
                  </a:lnTo>
                  <a:lnTo>
                    <a:pt x="2725652" y="8820249"/>
                  </a:lnTo>
                  <a:lnTo>
                    <a:pt x="2711356" y="8815484"/>
                  </a:lnTo>
                  <a:lnTo>
                    <a:pt x="2697064" y="8805954"/>
                  </a:lnTo>
                  <a:lnTo>
                    <a:pt x="2682768" y="8801189"/>
                  </a:lnTo>
                  <a:lnTo>
                    <a:pt x="2678000" y="8796424"/>
                  </a:lnTo>
                  <a:lnTo>
                    <a:pt x="2678000" y="8767833"/>
                  </a:lnTo>
                  <a:lnTo>
                    <a:pt x="2673236" y="8739242"/>
                  </a:lnTo>
                  <a:lnTo>
                    <a:pt x="2692296" y="8724947"/>
                  </a:lnTo>
                  <a:lnTo>
                    <a:pt x="2711356" y="8710651"/>
                  </a:lnTo>
                  <a:lnTo>
                    <a:pt x="2725652" y="8691591"/>
                  </a:lnTo>
                  <a:lnTo>
                    <a:pt x="2735184" y="8658235"/>
                  </a:lnTo>
                  <a:lnTo>
                    <a:pt x="2739948" y="8620114"/>
                  </a:lnTo>
                  <a:lnTo>
                    <a:pt x="2730416" y="8581993"/>
                  </a:lnTo>
                  <a:lnTo>
                    <a:pt x="2716124" y="8548637"/>
                  </a:lnTo>
                  <a:lnTo>
                    <a:pt x="2682768" y="8581993"/>
                  </a:lnTo>
                  <a:lnTo>
                    <a:pt x="2668472" y="8591523"/>
                  </a:lnTo>
                  <a:lnTo>
                    <a:pt x="2663708" y="8567698"/>
                  </a:lnTo>
                  <a:lnTo>
                    <a:pt x="2658940" y="8548637"/>
                  </a:lnTo>
                  <a:lnTo>
                    <a:pt x="2649412" y="8524811"/>
                  </a:lnTo>
                  <a:lnTo>
                    <a:pt x="2630352" y="8505751"/>
                  </a:lnTo>
                  <a:lnTo>
                    <a:pt x="2611288" y="8496221"/>
                  </a:lnTo>
                  <a:lnTo>
                    <a:pt x="2611288" y="8477160"/>
                  </a:lnTo>
                  <a:lnTo>
                    <a:pt x="2616056" y="8458100"/>
                  </a:lnTo>
                  <a:lnTo>
                    <a:pt x="2620820" y="8434274"/>
                  </a:lnTo>
                  <a:lnTo>
                    <a:pt x="2630352" y="8381857"/>
                  </a:lnTo>
                  <a:lnTo>
                    <a:pt x="2644644" y="8386623"/>
                  </a:lnTo>
                  <a:lnTo>
                    <a:pt x="2654176" y="8381857"/>
                  </a:lnTo>
                  <a:lnTo>
                    <a:pt x="2649412" y="8343737"/>
                  </a:lnTo>
                  <a:lnTo>
                    <a:pt x="2639880" y="8305615"/>
                  </a:lnTo>
                  <a:lnTo>
                    <a:pt x="2630352" y="8286555"/>
                  </a:lnTo>
                  <a:lnTo>
                    <a:pt x="2625584" y="8277025"/>
                  </a:lnTo>
                  <a:lnTo>
                    <a:pt x="2625584" y="8267495"/>
                  </a:lnTo>
                  <a:lnTo>
                    <a:pt x="2616056" y="8243669"/>
                  </a:lnTo>
                  <a:lnTo>
                    <a:pt x="2606524" y="8224609"/>
                  </a:lnTo>
                  <a:lnTo>
                    <a:pt x="2592228" y="8176957"/>
                  </a:lnTo>
                  <a:lnTo>
                    <a:pt x="2582700" y="8153131"/>
                  </a:lnTo>
                  <a:lnTo>
                    <a:pt x="2568404" y="8143601"/>
                  </a:lnTo>
                  <a:lnTo>
                    <a:pt x="2549344" y="8143601"/>
                  </a:lnTo>
                  <a:lnTo>
                    <a:pt x="2525516" y="8157897"/>
                  </a:lnTo>
                  <a:lnTo>
                    <a:pt x="2477868" y="8172192"/>
                  </a:lnTo>
                  <a:lnTo>
                    <a:pt x="2439744" y="8181722"/>
                  </a:lnTo>
                  <a:lnTo>
                    <a:pt x="2434980" y="8176957"/>
                  </a:lnTo>
                  <a:lnTo>
                    <a:pt x="2454040" y="8157897"/>
                  </a:lnTo>
                  <a:lnTo>
                    <a:pt x="2482632" y="8138836"/>
                  </a:lnTo>
                  <a:lnTo>
                    <a:pt x="2515988" y="8124541"/>
                  </a:lnTo>
                  <a:lnTo>
                    <a:pt x="2530284" y="8091185"/>
                  </a:lnTo>
                  <a:lnTo>
                    <a:pt x="2525516" y="8057829"/>
                  </a:lnTo>
                  <a:lnTo>
                    <a:pt x="2525516" y="8034003"/>
                  </a:lnTo>
                  <a:lnTo>
                    <a:pt x="2515988" y="8000647"/>
                  </a:lnTo>
                  <a:lnTo>
                    <a:pt x="2525516" y="7986352"/>
                  </a:lnTo>
                  <a:lnTo>
                    <a:pt x="2558872" y="7967291"/>
                  </a:lnTo>
                  <a:lnTo>
                    <a:pt x="2573168" y="7967291"/>
                  </a:lnTo>
                  <a:lnTo>
                    <a:pt x="2587464" y="7943466"/>
                  </a:lnTo>
                  <a:lnTo>
                    <a:pt x="2544580" y="7895815"/>
                  </a:lnTo>
                  <a:lnTo>
                    <a:pt x="2501692" y="7857693"/>
                  </a:lnTo>
                  <a:lnTo>
                    <a:pt x="2492160" y="7843398"/>
                  </a:lnTo>
                  <a:lnTo>
                    <a:pt x="2482632" y="7824337"/>
                  </a:lnTo>
                  <a:lnTo>
                    <a:pt x="2473100" y="7790982"/>
                  </a:lnTo>
                  <a:lnTo>
                    <a:pt x="2458804" y="7757626"/>
                  </a:lnTo>
                  <a:lnTo>
                    <a:pt x="2439744" y="7729035"/>
                  </a:lnTo>
                  <a:lnTo>
                    <a:pt x="2415920" y="7695679"/>
                  </a:lnTo>
                  <a:lnTo>
                    <a:pt x="2344444" y="7638497"/>
                  </a:lnTo>
                  <a:lnTo>
                    <a:pt x="2320616" y="7600377"/>
                  </a:lnTo>
                  <a:lnTo>
                    <a:pt x="2296792" y="7538430"/>
                  </a:lnTo>
                  <a:lnTo>
                    <a:pt x="2287260" y="7514605"/>
                  </a:lnTo>
                  <a:lnTo>
                    <a:pt x="2277732" y="7495544"/>
                  </a:lnTo>
                  <a:lnTo>
                    <a:pt x="2225316" y="7447893"/>
                  </a:lnTo>
                  <a:lnTo>
                    <a:pt x="2220548" y="7428832"/>
                  </a:lnTo>
                  <a:lnTo>
                    <a:pt x="2272964" y="7376415"/>
                  </a:lnTo>
                  <a:lnTo>
                    <a:pt x="2277732" y="7352590"/>
                  </a:lnTo>
                  <a:lnTo>
                    <a:pt x="2253904" y="7285879"/>
                  </a:lnTo>
                  <a:lnTo>
                    <a:pt x="2234844" y="7238227"/>
                  </a:lnTo>
                  <a:lnTo>
                    <a:pt x="2211020" y="7219167"/>
                  </a:lnTo>
                  <a:lnTo>
                    <a:pt x="2177664" y="7214401"/>
                  </a:lnTo>
                  <a:lnTo>
                    <a:pt x="2144308" y="7190576"/>
                  </a:lnTo>
                  <a:lnTo>
                    <a:pt x="2115716" y="7157220"/>
                  </a:lnTo>
                  <a:lnTo>
                    <a:pt x="2091892" y="7128629"/>
                  </a:lnTo>
                  <a:lnTo>
                    <a:pt x="2049004" y="7104803"/>
                  </a:lnTo>
                  <a:lnTo>
                    <a:pt x="1977528" y="7042857"/>
                  </a:lnTo>
                  <a:lnTo>
                    <a:pt x="1867928" y="6976146"/>
                  </a:lnTo>
                  <a:lnTo>
                    <a:pt x="1815512" y="6938026"/>
                  </a:lnTo>
                  <a:lnTo>
                    <a:pt x="1786924" y="6923729"/>
                  </a:lnTo>
                  <a:lnTo>
                    <a:pt x="1748800" y="6918964"/>
                  </a:lnTo>
                  <a:lnTo>
                    <a:pt x="1677324" y="6880843"/>
                  </a:lnTo>
                  <a:lnTo>
                    <a:pt x="1615380" y="6871313"/>
                  </a:lnTo>
                  <a:lnTo>
                    <a:pt x="1572492" y="6876078"/>
                  </a:lnTo>
                  <a:lnTo>
                    <a:pt x="1562960" y="6871313"/>
                  </a:lnTo>
                  <a:lnTo>
                    <a:pt x="1534372" y="6833192"/>
                  </a:lnTo>
                  <a:lnTo>
                    <a:pt x="1486720" y="6809367"/>
                  </a:lnTo>
                  <a:lnTo>
                    <a:pt x="1467660" y="6818897"/>
                  </a:lnTo>
                  <a:lnTo>
                    <a:pt x="1439068" y="6857018"/>
                  </a:lnTo>
                  <a:lnTo>
                    <a:pt x="1400948" y="6899905"/>
                  </a:lnTo>
                  <a:lnTo>
                    <a:pt x="1381888" y="6904669"/>
                  </a:lnTo>
                  <a:lnTo>
                    <a:pt x="1358060" y="6866548"/>
                  </a:lnTo>
                  <a:lnTo>
                    <a:pt x="1343764" y="6842722"/>
                  </a:lnTo>
                  <a:lnTo>
                    <a:pt x="1329472" y="6833192"/>
                  </a:lnTo>
                  <a:lnTo>
                    <a:pt x="1319940" y="6842722"/>
                  </a:lnTo>
                  <a:lnTo>
                    <a:pt x="1291348" y="6876078"/>
                  </a:lnTo>
                  <a:lnTo>
                    <a:pt x="1267524" y="6899905"/>
                  </a:lnTo>
                  <a:lnTo>
                    <a:pt x="1234168" y="6928494"/>
                  </a:lnTo>
                  <a:lnTo>
                    <a:pt x="1210344" y="6942790"/>
                  </a:lnTo>
                  <a:lnTo>
                    <a:pt x="1172220" y="6942790"/>
                  </a:lnTo>
                  <a:lnTo>
                    <a:pt x="1162692" y="6957086"/>
                  </a:lnTo>
                  <a:lnTo>
                    <a:pt x="1148396" y="6957086"/>
                  </a:lnTo>
                  <a:lnTo>
                    <a:pt x="1134100" y="6947556"/>
                  </a:lnTo>
                  <a:lnTo>
                    <a:pt x="1115040" y="6928494"/>
                  </a:lnTo>
                  <a:lnTo>
                    <a:pt x="1100744" y="6899905"/>
                  </a:lnTo>
                  <a:lnTo>
                    <a:pt x="1086448" y="6885608"/>
                  </a:lnTo>
                  <a:lnTo>
                    <a:pt x="1072152" y="6880843"/>
                  </a:lnTo>
                  <a:lnTo>
                    <a:pt x="1043564" y="6895139"/>
                  </a:lnTo>
                  <a:lnTo>
                    <a:pt x="1010208" y="6938026"/>
                  </a:lnTo>
                  <a:lnTo>
                    <a:pt x="991148" y="6947556"/>
                  </a:lnTo>
                  <a:lnTo>
                    <a:pt x="981616" y="6942790"/>
                  </a:lnTo>
                  <a:lnTo>
                    <a:pt x="962556" y="6933260"/>
                  </a:lnTo>
                  <a:lnTo>
                    <a:pt x="929200" y="6899905"/>
                  </a:lnTo>
                  <a:lnTo>
                    <a:pt x="910140" y="6899905"/>
                  </a:lnTo>
                  <a:lnTo>
                    <a:pt x="895844" y="6914199"/>
                  </a:lnTo>
                  <a:lnTo>
                    <a:pt x="900608" y="6942790"/>
                  </a:lnTo>
                  <a:lnTo>
                    <a:pt x="933964" y="7004737"/>
                  </a:lnTo>
                  <a:lnTo>
                    <a:pt x="962556" y="7052387"/>
                  </a:lnTo>
                  <a:lnTo>
                    <a:pt x="938732" y="7061917"/>
                  </a:lnTo>
                  <a:lnTo>
                    <a:pt x="729064" y="6995207"/>
                  </a:lnTo>
                  <a:lnTo>
                    <a:pt x="705240" y="6980911"/>
                  </a:lnTo>
                  <a:lnTo>
                    <a:pt x="667116" y="6942790"/>
                  </a:lnTo>
                  <a:lnTo>
                    <a:pt x="633760" y="6918964"/>
                  </a:lnTo>
                  <a:lnTo>
                    <a:pt x="581344" y="6857018"/>
                  </a:lnTo>
                  <a:lnTo>
                    <a:pt x="538460" y="6823662"/>
                  </a:lnTo>
                  <a:lnTo>
                    <a:pt x="524164" y="6795071"/>
                  </a:lnTo>
                  <a:lnTo>
                    <a:pt x="519400" y="6776010"/>
                  </a:lnTo>
                  <a:lnTo>
                    <a:pt x="533696" y="6752186"/>
                  </a:lnTo>
                  <a:lnTo>
                    <a:pt x="619468" y="6671178"/>
                  </a:lnTo>
                  <a:lnTo>
                    <a:pt x="648056" y="6652118"/>
                  </a:lnTo>
                  <a:lnTo>
                    <a:pt x="714768" y="6633058"/>
                  </a:lnTo>
                  <a:lnTo>
                    <a:pt x="729064" y="6618761"/>
                  </a:lnTo>
                  <a:lnTo>
                    <a:pt x="733828" y="6609231"/>
                  </a:lnTo>
                  <a:lnTo>
                    <a:pt x="719536" y="6590170"/>
                  </a:lnTo>
                  <a:lnTo>
                    <a:pt x="633760" y="6599701"/>
                  </a:lnTo>
                  <a:lnTo>
                    <a:pt x="557520" y="6585405"/>
                  </a:lnTo>
                  <a:lnTo>
                    <a:pt x="490808" y="6552050"/>
                  </a:lnTo>
                  <a:lnTo>
                    <a:pt x="481276" y="6542520"/>
                  </a:lnTo>
                  <a:lnTo>
                    <a:pt x="471748" y="6518694"/>
                  </a:lnTo>
                  <a:lnTo>
                    <a:pt x="457452" y="6490103"/>
                  </a:lnTo>
                  <a:lnTo>
                    <a:pt x="462216" y="6456748"/>
                  </a:lnTo>
                  <a:lnTo>
                    <a:pt x="476512" y="6418626"/>
                  </a:lnTo>
                  <a:lnTo>
                    <a:pt x="486044" y="6390035"/>
                  </a:lnTo>
                  <a:lnTo>
                    <a:pt x="490808" y="6375740"/>
                  </a:lnTo>
                  <a:lnTo>
                    <a:pt x="405036" y="6471042"/>
                  </a:lnTo>
                  <a:lnTo>
                    <a:pt x="371680" y="6504399"/>
                  </a:lnTo>
                  <a:lnTo>
                    <a:pt x="343088" y="6494869"/>
                  </a:lnTo>
                  <a:lnTo>
                    <a:pt x="324028" y="6475807"/>
                  </a:lnTo>
                  <a:lnTo>
                    <a:pt x="319264" y="6461512"/>
                  </a:lnTo>
                  <a:lnTo>
                    <a:pt x="319264" y="6442451"/>
                  </a:lnTo>
                  <a:lnTo>
                    <a:pt x="319264" y="6428156"/>
                  </a:lnTo>
                  <a:lnTo>
                    <a:pt x="324028" y="6418626"/>
                  </a:lnTo>
                  <a:lnTo>
                    <a:pt x="281144" y="6380505"/>
                  </a:lnTo>
                  <a:lnTo>
                    <a:pt x="262084" y="6351914"/>
                  </a:lnTo>
                  <a:lnTo>
                    <a:pt x="262084" y="6318558"/>
                  </a:lnTo>
                  <a:lnTo>
                    <a:pt x="276376" y="6285202"/>
                  </a:lnTo>
                  <a:lnTo>
                    <a:pt x="290672" y="6261377"/>
                  </a:lnTo>
                  <a:lnTo>
                    <a:pt x="304968" y="6247082"/>
                  </a:lnTo>
                  <a:lnTo>
                    <a:pt x="347856" y="6232786"/>
                  </a:lnTo>
                  <a:lnTo>
                    <a:pt x="495572" y="6208961"/>
                  </a:lnTo>
                  <a:lnTo>
                    <a:pt x="600408" y="6232786"/>
                  </a:lnTo>
                  <a:lnTo>
                    <a:pt x="638528" y="6156544"/>
                  </a:lnTo>
                  <a:lnTo>
                    <a:pt x="662352" y="6127953"/>
                  </a:lnTo>
                  <a:lnTo>
                    <a:pt x="733828" y="6104127"/>
                  </a:lnTo>
                  <a:lnTo>
                    <a:pt x="843428" y="6099363"/>
                  </a:lnTo>
                  <a:lnTo>
                    <a:pt x="919668" y="6113658"/>
                  </a:lnTo>
                  <a:lnTo>
                    <a:pt x="953024" y="6132718"/>
                  </a:lnTo>
                  <a:lnTo>
                    <a:pt x="1005440" y="6175604"/>
                  </a:lnTo>
                  <a:lnTo>
                    <a:pt x="1005440" y="6161309"/>
                  </a:lnTo>
                  <a:lnTo>
                    <a:pt x="995912" y="6123188"/>
                  </a:lnTo>
                  <a:lnTo>
                    <a:pt x="995912" y="6094597"/>
                  </a:lnTo>
                  <a:lnTo>
                    <a:pt x="1014972" y="6037416"/>
                  </a:lnTo>
                  <a:lnTo>
                    <a:pt x="1024504" y="6004061"/>
                  </a:lnTo>
                  <a:lnTo>
                    <a:pt x="1019736" y="5970704"/>
                  </a:lnTo>
                  <a:lnTo>
                    <a:pt x="995912" y="5932584"/>
                  </a:lnTo>
                  <a:lnTo>
                    <a:pt x="957792" y="5884933"/>
                  </a:lnTo>
                  <a:lnTo>
                    <a:pt x="938732" y="5880167"/>
                  </a:lnTo>
                  <a:lnTo>
                    <a:pt x="914904" y="5894463"/>
                  </a:lnTo>
                  <a:lnTo>
                    <a:pt x="886312" y="5918288"/>
                  </a:lnTo>
                  <a:lnTo>
                    <a:pt x="829132" y="5984999"/>
                  </a:lnTo>
                  <a:lnTo>
                    <a:pt x="800540" y="5999295"/>
                  </a:lnTo>
                  <a:lnTo>
                    <a:pt x="757656" y="6004061"/>
                  </a:lnTo>
                  <a:lnTo>
                    <a:pt x="733828" y="5994531"/>
                  </a:lnTo>
                  <a:lnTo>
                    <a:pt x="710004" y="5984999"/>
                  </a:lnTo>
                  <a:lnTo>
                    <a:pt x="671884" y="5946878"/>
                  </a:lnTo>
                  <a:lnTo>
                    <a:pt x="657588" y="5942114"/>
                  </a:lnTo>
                  <a:lnTo>
                    <a:pt x="638528" y="5956409"/>
                  </a:lnTo>
                  <a:lnTo>
                    <a:pt x="619468" y="5994531"/>
                  </a:lnTo>
                  <a:lnTo>
                    <a:pt x="600408" y="6023119"/>
                  </a:lnTo>
                  <a:lnTo>
                    <a:pt x="581344" y="6037416"/>
                  </a:lnTo>
                  <a:lnTo>
                    <a:pt x="567052" y="6042182"/>
                  </a:lnTo>
                  <a:lnTo>
                    <a:pt x="543224" y="6042182"/>
                  </a:lnTo>
                  <a:lnTo>
                    <a:pt x="443156" y="5980234"/>
                  </a:lnTo>
                  <a:lnTo>
                    <a:pt x="424096" y="5956409"/>
                  </a:lnTo>
                  <a:lnTo>
                    <a:pt x="419332" y="5918288"/>
                  </a:lnTo>
                  <a:lnTo>
                    <a:pt x="390740" y="5880167"/>
                  </a:lnTo>
                  <a:lnTo>
                    <a:pt x="357384" y="5870637"/>
                  </a:lnTo>
                  <a:lnTo>
                    <a:pt x="352620" y="5856340"/>
                  </a:lnTo>
                  <a:lnTo>
                    <a:pt x="395504" y="5799159"/>
                  </a:lnTo>
                  <a:lnTo>
                    <a:pt x="428860" y="5775335"/>
                  </a:lnTo>
                  <a:lnTo>
                    <a:pt x="424096" y="5765805"/>
                  </a:lnTo>
                  <a:lnTo>
                    <a:pt x="376444" y="5765805"/>
                  </a:lnTo>
                  <a:lnTo>
                    <a:pt x="343088" y="5799159"/>
                  </a:lnTo>
                  <a:lnTo>
                    <a:pt x="328792" y="5803925"/>
                  </a:lnTo>
                  <a:lnTo>
                    <a:pt x="285908" y="5803925"/>
                  </a:lnTo>
                  <a:lnTo>
                    <a:pt x="243020" y="5789629"/>
                  </a:lnTo>
                  <a:lnTo>
                    <a:pt x="223960" y="5775335"/>
                  </a:lnTo>
                  <a:lnTo>
                    <a:pt x="204900" y="5741977"/>
                  </a:lnTo>
                  <a:lnTo>
                    <a:pt x="181076" y="5722918"/>
                  </a:lnTo>
                  <a:lnTo>
                    <a:pt x="119128" y="5694326"/>
                  </a:lnTo>
                  <a:lnTo>
                    <a:pt x="104832" y="5680031"/>
                  </a:lnTo>
                  <a:lnTo>
                    <a:pt x="90536" y="5656206"/>
                  </a:lnTo>
                  <a:lnTo>
                    <a:pt x="38120" y="5584729"/>
                  </a:lnTo>
                  <a:lnTo>
                    <a:pt x="4764" y="5532312"/>
                  </a:lnTo>
                  <a:lnTo>
                    <a:pt x="0" y="5503722"/>
                  </a:lnTo>
                  <a:lnTo>
                    <a:pt x="38120" y="5437009"/>
                  </a:lnTo>
                  <a:lnTo>
                    <a:pt x="38120" y="5422714"/>
                  </a:lnTo>
                  <a:lnTo>
                    <a:pt x="23824" y="5394123"/>
                  </a:lnTo>
                  <a:lnTo>
                    <a:pt x="14296" y="5370298"/>
                  </a:lnTo>
                  <a:lnTo>
                    <a:pt x="23824" y="5341708"/>
                  </a:lnTo>
                  <a:lnTo>
                    <a:pt x="52416" y="5279760"/>
                  </a:lnTo>
                  <a:lnTo>
                    <a:pt x="66712" y="5260701"/>
                  </a:lnTo>
                  <a:lnTo>
                    <a:pt x="123892" y="5222579"/>
                  </a:lnTo>
                  <a:lnTo>
                    <a:pt x="181076" y="5170163"/>
                  </a:lnTo>
                  <a:lnTo>
                    <a:pt x="204900" y="5155866"/>
                  </a:lnTo>
                  <a:lnTo>
                    <a:pt x="223960" y="5151101"/>
                  </a:lnTo>
                  <a:lnTo>
                    <a:pt x="300204" y="5155866"/>
                  </a:lnTo>
                  <a:lnTo>
                    <a:pt x="324028" y="5141571"/>
                  </a:lnTo>
                  <a:lnTo>
                    <a:pt x="343088" y="5112982"/>
                  </a:lnTo>
                  <a:lnTo>
                    <a:pt x="376444" y="5084390"/>
                  </a:lnTo>
                  <a:lnTo>
                    <a:pt x="443156" y="5046270"/>
                  </a:lnTo>
                  <a:lnTo>
                    <a:pt x="600408" y="4979559"/>
                  </a:lnTo>
                  <a:lnTo>
                    <a:pt x="609936" y="4974792"/>
                  </a:lnTo>
                  <a:lnTo>
                    <a:pt x="609936" y="4960497"/>
                  </a:lnTo>
                  <a:lnTo>
                    <a:pt x="595640" y="4927141"/>
                  </a:lnTo>
                  <a:lnTo>
                    <a:pt x="590876" y="4912846"/>
                  </a:lnTo>
                  <a:lnTo>
                    <a:pt x="624232" y="4879491"/>
                  </a:lnTo>
                  <a:lnTo>
                    <a:pt x="695708" y="4831838"/>
                  </a:lnTo>
                  <a:lnTo>
                    <a:pt x="743360" y="4808013"/>
                  </a:lnTo>
                  <a:lnTo>
                    <a:pt x="771952" y="4808013"/>
                  </a:lnTo>
                  <a:lnTo>
                    <a:pt x="800540" y="4798483"/>
                  </a:lnTo>
                  <a:lnTo>
                    <a:pt x="833896" y="4769892"/>
                  </a:lnTo>
                  <a:lnTo>
                    <a:pt x="852956" y="4765127"/>
                  </a:lnTo>
                  <a:lnTo>
                    <a:pt x="972084" y="4750830"/>
                  </a:lnTo>
                  <a:lnTo>
                    <a:pt x="1029268" y="4765127"/>
                  </a:lnTo>
                  <a:lnTo>
                    <a:pt x="1053092" y="4765127"/>
                  </a:lnTo>
                  <a:lnTo>
                    <a:pt x="1072152" y="4755597"/>
                  </a:lnTo>
                  <a:lnTo>
                    <a:pt x="1091216" y="4722242"/>
                  </a:lnTo>
                  <a:lnTo>
                    <a:pt x="1134100" y="4636468"/>
                  </a:lnTo>
                  <a:lnTo>
                    <a:pt x="1157924" y="4584053"/>
                  </a:lnTo>
                  <a:lnTo>
                    <a:pt x="1176988" y="4498280"/>
                  </a:lnTo>
                  <a:lnTo>
                    <a:pt x="1205576" y="4369621"/>
                  </a:lnTo>
                  <a:lnTo>
                    <a:pt x="1224636" y="4240962"/>
                  </a:lnTo>
                  <a:lnTo>
                    <a:pt x="1238932" y="4112305"/>
                  </a:lnTo>
                  <a:lnTo>
                    <a:pt x="1248464" y="4036063"/>
                  </a:lnTo>
                  <a:lnTo>
                    <a:pt x="1253228" y="4007472"/>
                  </a:lnTo>
                  <a:lnTo>
                    <a:pt x="1277056" y="3969351"/>
                  </a:lnTo>
                  <a:lnTo>
                    <a:pt x="1305644" y="3940760"/>
                  </a:lnTo>
                  <a:lnTo>
                    <a:pt x="1348532" y="3916934"/>
                  </a:lnTo>
                  <a:lnTo>
                    <a:pt x="1343764" y="3907404"/>
                  </a:lnTo>
                  <a:lnTo>
                    <a:pt x="1324704" y="3883578"/>
                  </a:lnTo>
                  <a:lnTo>
                    <a:pt x="1310412" y="3878813"/>
                  </a:lnTo>
                  <a:lnTo>
                    <a:pt x="1291348" y="3883578"/>
                  </a:lnTo>
                  <a:lnTo>
                    <a:pt x="1262760" y="3912169"/>
                  </a:lnTo>
                  <a:lnTo>
                    <a:pt x="1224636" y="3931229"/>
                  </a:lnTo>
                  <a:lnTo>
                    <a:pt x="1186516" y="3926464"/>
                  </a:lnTo>
                  <a:lnTo>
                    <a:pt x="1162692" y="3935994"/>
                  </a:lnTo>
                  <a:lnTo>
                    <a:pt x="1134100" y="3964586"/>
                  </a:lnTo>
                  <a:lnTo>
                    <a:pt x="1095980" y="3983646"/>
                  </a:lnTo>
                  <a:lnTo>
                    <a:pt x="1067388" y="3978880"/>
                  </a:lnTo>
                  <a:lnTo>
                    <a:pt x="1019736" y="3940760"/>
                  </a:lnTo>
                  <a:lnTo>
                    <a:pt x="995912" y="3935994"/>
                  </a:lnTo>
                  <a:lnTo>
                    <a:pt x="933964" y="3935994"/>
                  </a:lnTo>
                  <a:lnTo>
                    <a:pt x="914904" y="3921699"/>
                  </a:lnTo>
                  <a:lnTo>
                    <a:pt x="900608" y="3893109"/>
                  </a:lnTo>
                  <a:lnTo>
                    <a:pt x="886312" y="3854988"/>
                  </a:lnTo>
                  <a:lnTo>
                    <a:pt x="876784" y="3802572"/>
                  </a:lnTo>
                  <a:lnTo>
                    <a:pt x="876784" y="3750155"/>
                  </a:lnTo>
                  <a:lnTo>
                    <a:pt x="900608" y="3654853"/>
                  </a:lnTo>
                  <a:lnTo>
                    <a:pt x="910140" y="3626262"/>
                  </a:lnTo>
                  <a:lnTo>
                    <a:pt x="972084" y="3516663"/>
                  </a:lnTo>
                  <a:lnTo>
                    <a:pt x="1005440" y="3464247"/>
                  </a:lnTo>
                  <a:lnTo>
                    <a:pt x="1043564" y="3426127"/>
                  </a:lnTo>
                  <a:lnTo>
                    <a:pt x="1072152" y="3402301"/>
                  </a:lnTo>
                  <a:lnTo>
                    <a:pt x="1095980" y="3392770"/>
                  </a:lnTo>
                  <a:lnTo>
                    <a:pt x="1119804" y="3368944"/>
                  </a:lnTo>
                  <a:lnTo>
                    <a:pt x="1167456" y="3287938"/>
                  </a:lnTo>
                  <a:lnTo>
                    <a:pt x="1210344" y="3221225"/>
                  </a:lnTo>
                  <a:lnTo>
                    <a:pt x="1267524" y="3092568"/>
                  </a:lnTo>
                  <a:lnTo>
                    <a:pt x="1296116" y="3059211"/>
                  </a:lnTo>
                  <a:lnTo>
                    <a:pt x="1396184" y="3002030"/>
                  </a:lnTo>
                  <a:lnTo>
                    <a:pt x="1420008" y="3002030"/>
                  </a:lnTo>
                  <a:lnTo>
                    <a:pt x="1443832" y="3016325"/>
                  </a:lnTo>
                  <a:lnTo>
                    <a:pt x="1462896" y="3044916"/>
                  </a:lnTo>
                  <a:lnTo>
                    <a:pt x="1524840" y="3173575"/>
                  </a:lnTo>
                  <a:lnTo>
                    <a:pt x="1529604" y="3168809"/>
                  </a:lnTo>
                  <a:lnTo>
                    <a:pt x="1520076" y="3121158"/>
                  </a:lnTo>
                  <a:lnTo>
                    <a:pt x="1496248" y="2973439"/>
                  </a:lnTo>
                  <a:lnTo>
                    <a:pt x="1501016" y="2916258"/>
                  </a:lnTo>
                  <a:lnTo>
                    <a:pt x="1534372" y="2849546"/>
                  </a:lnTo>
                  <a:lnTo>
                    <a:pt x="1548668" y="2840016"/>
                  </a:lnTo>
                  <a:lnTo>
                    <a:pt x="1586788" y="2844781"/>
                  </a:lnTo>
                  <a:lnTo>
                    <a:pt x="1643968" y="2863841"/>
                  </a:lnTo>
                  <a:lnTo>
                    <a:pt x="1682088" y="2887667"/>
                  </a:lnTo>
                  <a:lnTo>
                    <a:pt x="1710680" y="2921023"/>
                  </a:lnTo>
                  <a:lnTo>
                    <a:pt x="1748800" y="2944849"/>
                  </a:lnTo>
                  <a:lnTo>
                    <a:pt x="1767864" y="2940084"/>
                  </a:lnTo>
                  <a:lnTo>
                    <a:pt x="1777392" y="2925788"/>
                  </a:lnTo>
                  <a:lnTo>
                    <a:pt x="1796452" y="2868607"/>
                  </a:lnTo>
                  <a:lnTo>
                    <a:pt x="1820280" y="2773304"/>
                  </a:lnTo>
                  <a:lnTo>
                    <a:pt x="1829808" y="2654176"/>
                  </a:lnTo>
                  <a:lnTo>
                    <a:pt x="1825044" y="2511222"/>
                  </a:lnTo>
                  <a:lnTo>
                    <a:pt x="1820280" y="2406389"/>
                  </a:lnTo>
                  <a:lnTo>
                    <a:pt x="1810748" y="2339678"/>
                  </a:lnTo>
                  <a:lnTo>
                    <a:pt x="1815512" y="2282496"/>
                  </a:lnTo>
                  <a:lnTo>
                    <a:pt x="1844104" y="2211019"/>
                  </a:lnTo>
                  <a:lnTo>
                    <a:pt x="1872696" y="2163368"/>
                  </a:lnTo>
                  <a:lnTo>
                    <a:pt x="1934640" y="2091891"/>
                  </a:lnTo>
                  <a:lnTo>
                    <a:pt x="1987060" y="2072830"/>
                  </a:lnTo>
                  <a:lnTo>
                    <a:pt x="2020412" y="2077596"/>
                  </a:lnTo>
                  <a:lnTo>
                    <a:pt x="2058536" y="2110951"/>
                  </a:lnTo>
                  <a:lnTo>
                    <a:pt x="2115716" y="2130012"/>
                  </a:lnTo>
                  <a:lnTo>
                    <a:pt x="2163368" y="2196724"/>
                  </a:lnTo>
                  <a:lnTo>
                    <a:pt x="2249140" y="2344443"/>
                  </a:lnTo>
                  <a:lnTo>
                    <a:pt x="2301556" y="2415920"/>
                  </a:lnTo>
                  <a:lnTo>
                    <a:pt x="2349208" y="2449275"/>
                  </a:lnTo>
                  <a:lnTo>
                    <a:pt x="2392092" y="2501692"/>
                  </a:lnTo>
                  <a:lnTo>
                    <a:pt x="2458804" y="2620820"/>
                  </a:lnTo>
                  <a:lnTo>
                    <a:pt x="2492160" y="2668471"/>
                  </a:lnTo>
                  <a:lnTo>
                    <a:pt x="2511224" y="2687532"/>
                  </a:lnTo>
                  <a:lnTo>
                    <a:pt x="2530284" y="2687532"/>
                  </a:lnTo>
                  <a:lnTo>
                    <a:pt x="2525516" y="2658941"/>
                  </a:lnTo>
                  <a:lnTo>
                    <a:pt x="2492160" y="2587464"/>
                  </a:lnTo>
                  <a:lnTo>
                    <a:pt x="2444512" y="2511222"/>
                  </a:lnTo>
                  <a:lnTo>
                    <a:pt x="2339676" y="2373033"/>
                  </a:lnTo>
                  <a:lnTo>
                    <a:pt x="2277732" y="2272966"/>
                  </a:lnTo>
                  <a:lnTo>
                    <a:pt x="2225316" y="2158603"/>
                  </a:lnTo>
                  <a:lnTo>
                    <a:pt x="2187192" y="2091891"/>
                  </a:lnTo>
                  <a:lnTo>
                    <a:pt x="2115716" y="2020414"/>
                  </a:lnTo>
                  <a:lnTo>
                    <a:pt x="2120480" y="1991823"/>
                  </a:lnTo>
                  <a:lnTo>
                    <a:pt x="2201488" y="1896520"/>
                  </a:lnTo>
                  <a:lnTo>
                    <a:pt x="2358740" y="1810748"/>
                  </a:lnTo>
                  <a:lnTo>
                    <a:pt x="2535048" y="1744037"/>
                  </a:lnTo>
                  <a:lnTo>
                    <a:pt x="2592228" y="1748801"/>
                  </a:lnTo>
                  <a:lnTo>
                    <a:pt x="2697064" y="1720211"/>
                  </a:lnTo>
                  <a:lnTo>
                    <a:pt x="2706592" y="1677325"/>
                  </a:lnTo>
                  <a:lnTo>
                    <a:pt x="2730416" y="1658264"/>
                  </a:lnTo>
                  <a:lnTo>
                    <a:pt x="2825720" y="1596318"/>
                  </a:lnTo>
                  <a:lnTo>
                    <a:pt x="2854312" y="1601083"/>
                  </a:lnTo>
                  <a:lnTo>
                    <a:pt x="2897196" y="1629674"/>
                  </a:lnTo>
                  <a:lnTo>
                    <a:pt x="2940084" y="1682090"/>
                  </a:lnTo>
                  <a:lnTo>
                    <a:pt x="2963908" y="1729741"/>
                  </a:lnTo>
                  <a:lnTo>
                    <a:pt x="2992500" y="1815514"/>
                  </a:lnTo>
                  <a:lnTo>
                    <a:pt x="3006796" y="1929877"/>
                  </a:lnTo>
                  <a:lnTo>
                    <a:pt x="3002032" y="2292026"/>
                  </a:lnTo>
                  <a:lnTo>
                    <a:pt x="3002032" y="2358738"/>
                  </a:lnTo>
                  <a:lnTo>
                    <a:pt x="3011560" y="2382564"/>
                  </a:lnTo>
                  <a:lnTo>
                    <a:pt x="3030620" y="2344443"/>
                  </a:lnTo>
                  <a:lnTo>
                    <a:pt x="3054448" y="2272966"/>
                  </a:lnTo>
                  <a:lnTo>
                    <a:pt x="3073508" y="2225314"/>
                  </a:lnTo>
                  <a:lnTo>
                    <a:pt x="3087804" y="2144307"/>
                  </a:lnTo>
                  <a:lnTo>
                    <a:pt x="3102096" y="2039475"/>
                  </a:lnTo>
                  <a:lnTo>
                    <a:pt x="3106864" y="1958467"/>
                  </a:lnTo>
                  <a:lnTo>
                    <a:pt x="3078272" y="1867930"/>
                  </a:lnTo>
                  <a:lnTo>
                    <a:pt x="3078272" y="1715446"/>
                  </a:lnTo>
                  <a:lnTo>
                    <a:pt x="3092568" y="1634439"/>
                  </a:lnTo>
                  <a:lnTo>
                    <a:pt x="3130688" y="1634439"/>
                  </a:lnTo>
                  <a:lnTo>
                    <a:pt x="3292704" y="1910816"/>
                  </a:lnTo>
                  <a:lnTo>
                    <a:pt x="3354648" y="1972763"/>
                  </a:lnTo>
                  <a:lnTo>
                    <a:pt x="3426128" y="2120482"/>
                  </a:lnTo>
                  <a:lnTo>
                    <a:pt x="3507132" y="2101421"/>
                  </a:lnTo>
                  <a:lnTo>
                    <a:pt x="3583376" y="2120482"/>
                  </a:lnTo>
                  <a:lnTo>
                    <a:pt x="3621496" y="2115717"/>
                  </a:lnTo>
                  <a:lnTo>
                    <a:pt x="3635792" y="2091891"/>
                  </a:lnTo>
                  <a:lnTo>
                    <a:pt x="3611968" y="2034709"/>
                  </a:lnTo>
                  <a:lnTo>
                    <a:pt x="3502368" y="1863165"/>
                  </a:lnTo>
                  <a:lnTo>
                    <a:pt x="3454716" y="1729741"/>
                  </a:lnTo>
                  <a:lnTo>
                    <a:pt x="3416596" y="1562962"/>
                  </a:lnTo>
                  <a:lnTo>
                    <a:pt x="3411832" y="1467659"/>
                  </a:lnTo>
                  <a:lnTo>
                    <a:pt x="3435656" y="1453364"/>
                  </a:lnTo>
                  <a:lnTo>
                    <a:pt x="3559552" y="1453364"/>
                  </a:lnTo>
                  <a:lnTo>
                    <a:pt x="3740624" y="1534371"/>
                  </a:lnTo>
                  <a:lnTo>
                    <a:pt x="3978880" y="1805983"/>
                  </a:lnTo>
                  <a:lnTo>
                    <a:pt x="4093244" y="1891756"/>
                  </a:lnTo>
                  <a:lnTo>
                    <a:pt x="4302912" y="2191959"/>
                  </a:lnTo>
                  <a:lnTo>
                    <a:pt x="4364856" y="2234845"/>
                  </a:lnTo>
                  <a:lnTo>
                    <a:pt x="4388684" y="2244375"/>
                  </a:lnTo>
                  <a:lnTo>
                    <a:pt x="4407744" y="2211019"/>
                  </a:lnTo>
                  <a:lnTo>
                    <a:pt x="4417272" y="2168133"/>
                  </a:lnTo>
                  <a:lnTo>
                    <a:pt x="4422040" y="2115717"/>
                  </a:lnTo>
                  <a:lnTo>
                    <a:pt x="4407744" y="2049005"/>
                  </a:lnTo>
                  <a:lnTo>
                    <a:pt x="4402976" y="1972763"/>
                  </a:lnTo>
                  <a:lnTo>
                    <a:pt x="4402976" y="1882225"/>
                  </a:lnTo>
                  <a:lnTo>
                    <a:pt x="4417272" y="1705916"/>
                  </a:lnTo>
                  <a:lnTo>
                    <a:pt x="4450628" y="1643969"/>
                  </a:lnTo>
                  <a:lnTo>
                    <a:pt x="4464924" y="1577257"/>
                  </a:lnTo>
                  <a:lnTo>
                    <a:pt x="4450628" y="1458129"/>
                  </a:lnTo>
                  <a:lnTo>
                    <a:pt x="4412508" y="1372357"/>
                  </a:lnTo>
                  <a:lnTo>
                    <a:pt x="4260024" y="1148396"/>
                  </a:lnTo>
                  <a:lnTo>
                    <a:pt x="4260024" y="1119805"/>
                  </a:lnTo>
                  <a:lnTo>
                    <a:pt x="4288616" y="1091214"/>
                  </a:lnTo>
                  <a:lnTo>
                    <a:pt x="4336264" y="1072154"/>
                  </a:lnTo>
                  <a:lnTo>
                    <a:pt x="4712712" y="1129335"/>
                  </a:lnTo>
                  <a:lnTo>
                    <a:pt x="4779424" y="1148396"/>
                  </a:lnTo>
                  <a:lnTo>
                    <a:pt x="4808012" y="1167456"/>
                  </a:lnTo>
                  <a:lnTo>
                    <a:pt x="4817544" y="1191282"/>
                  </a:lnTo>
                  <a:lnTo>
                    <a:pt x="4831840" y="1205577"/>
                  </a:lnTo>
                  <a:lnTo>
                    <a:pt x="4912848" y="1172221"/>
                  </a:lnTo>
                  <a:lnTo>
                    <a:pt x="4912848" y="1119805"/>
                  </a:lnTo>
                  <a:lnTo>
                    <a:pt x="4903316" y="1081684"/>
                  </a:lnTo>
                  <a:lnTo>
                    <a:pt x="4464924" y="986381"/>
                  </a:lnTo>
                  <a:lnTo>
                    <a:pt x="4383916" y="953026"/>
                  </a:lnTo>
                  <a:lnTo>
                    <a:pt x="4341032" y="948260"/>
                  </a:lnTo>
                  <a:lnTo>
                    <a:pt x="4298144" y="972086"/>
                  </a:lnTo>
                  <a:lnTo>
                    <a:pt x="4207608" y="986381"/>
                  </a:lnTo>
                  <a:lnTo>
                    <a:pt x="4169488" y="981616"/>
                  </a:lnTo>
                  <a:lnTo>
                    <a:pt x="4117072" y="862488"/>
                  </a:lnTo>
                  <a:lnTo>
                    <a:pt x="4164720" y="719534"/>
                  </a:lnTo>
                  <a:lnTo>
                    <a:pt x="4202844" y="724299"/>
                  </a:lnTo>
                  <a:lnTo>
                    <a:pt x="4279084" y="781481"/>
                  </a:lnTo>
                  <a:lnTo>
                    <a:pt x="4326736" y="700474"/>
                  </a:lnTo>
                  <a:lnTo>
                    <a:pt x="4398212" y="633762"/>
                  </a:lnTo>
                  <a:lnTo>
                    <a:pt x="4469688" y="614702"/>
                  </a:lnTo>
                  <a:lnTo>
                    <a:pt x="4626940" y="471748"/>
                  </a:lnTo>
                  <a:lnTo>
                    <a:pt x="4655528" y="457452"/>
                  </a:lnTo>
                  <a:lnTo>
                    <a:pt x="4693652" y="466983"/>
                  </a:lnTo>
                  <a:lnTo>
                    <a:pt x="4774656" y="500338"/>
                  </a:lnTo>
                  <a:lnTo>
                    <a:pt x="4808012" y="538460"/>
                  </a:lnTo>
                  <a:lnTo>
                    <a:pt x="4841368" y="609936"/>
                  </a:lnTo>
                  <a:lnTo>
                    <a:pt x="4865196" y="633762"/>
                  </a:lnTo>
                  <a:lnTo>
                    <a:pt x="4889020" y="638527"/>
                  </a:lnTo>
                  <a:lnTo>
                    <a:pt x="4922376" y="671883"/>
                  </a:lnTo>
                  <a:lnTo>
                    <a:pt x="4974792" y="562285"/>
                  </a:lnTo>
                  <a:lnTo>
                    <a:pt x="5017680" y="443157"/>
                  </a:lnTo>
                  <a:lnTo>
                    <a:pt x="5070096" y="366915"/>
                  </a:lnTo>
                  <a:lnTo>
                    <a:pt x="5146336" y="409801"/>
                  </a:lnTo>
                  <a:lnTo>
                    <a:pt x="5189224" y="471748"/>
                  </a:lnTo>
                  <a:lnTo>
                    <a:pt x="5232108" y="538460"/>
                  </a:lnTo>
                  <a:lnTo>
                    <a:pt x="5294056" y="576581"/>
                  </a:lnTo>
                  <a:lnTo>
                    <a:pt x="5394124" y="805307"/>
                  </a:lnTo>
                  <a:lnTo>
                    <a:pt x="5413184" y="805307"/>
                  </a:lnTo>
                  <a:lnTo>
                    <a:pt x="5422716" y="786246"/>
                  </a:lnTo>
                  <a:lnTo>
                    <a:pt x="5432244" y="743360"/>
                  </a:lnTo>
                  <a:lnTo>
                    <a:pt x="5437012" y="681413"/>
                  </a:lnTo>
                  <a:lnTo>
                    <a:pt x="5451304" y="595641"/>
                  </a:lnTo>
                  <a:lnTo>
                    <a:pt x="5441776" y="562285"/>
                  </a:lnTo>
                  <a:lnTo>
                    <a:pt x="5356004" y="466983"/>
                  </a:lnTo>
                  <a:lnTo>
                    <a:pt x="5336944" y="428862"/>
                  </a:lnTo>
                  <a:lnTo>
                    <a:pt x="5322648" y="366915"/>
                  </a:lnTo>
                  <a:lnTo>
                    <a:pt x="5322648" y="314498"/>
                  </a:lnTo>
                  <a:lnTo>
                    <a:pt x="5336944" y="271612"/>
                  </a:lnTo>
                  <a:lnTo>
                    <a:pt x="5356004" y="252552"/>
                  </a:lnTo>
                  <a:lnTo>
                    <a:pt x="5408420" y="271612"/>
                  </a:lnTo>
                  <a:lnTo>
                    <a:pt x="5427480" y="257317"/>
                  </a:lnTo>
                  <a:lnTo>
                    <a:pt x="5446540" y="223961"/>
                  </a:lnTo>
                  <a:lnTo>
                    <a:pt x="5465600" y="157249"/>
                  </a:lnTo>
                  <a:lnTo>
                    <a:pt x="5484660" y="142954"/>
                  </a:lnTo>
                  <a:lnTo>
                    <a:pt x="5518016" y="138189"/>
                  </a:lnTo>
                  <a:lnTo>
                    <a:pt x="5575200" y="181075"/>
                  </a:lnTo>
                  <a:lnTo>
                    <a:pt x="5627616" y="185840"/>
                  </a:lnTo>
                  <a:lnTo>
                    <a:pt x="5641912" y="166780"/>
                  </a:lnTo>
                  <a:lnTo>
                    <a:pt x="5646676" y="123893"/>
                  </a:lnTo>
                  <a:lnTo>
                    <a:pt x="5651440" y="100068"/>
                  </a:lnTo>
                  <a:lnTo>
                    <a:pt x="5656208" y="85772"/>
                  </a:lnTo>
                  <a:lnTo>
                    <a:pt x="5837280" y="85772"/>
                  </a:lnTo>
                  <a:lnTo>
                    <a:pt x="5880168" y="76242"/>
                  </a:lnTo>
                  <a:lnTo>
                    <a:pt x="5918288" y="42886"/>
                  </a:lnTo>
                  <a:lnTo>
                    <a:pt x="5961176" y="38121"/>
                  </a:lnTo>
                  <a:lnTo>
                    <a:pt x="5999296" y="57182"/>
                  </a:lnTo>
                  <a:lnTo>
                    <a:pt x="6042180" y="100068"/>
                  </a:lnTo>
                  <a:lnTo>
                    <a:pt x="6089832" y="95303"/>
                  </a:lnTo>
                  <a:lnTo>
                    <a:pt x="6156544" y="3335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1" name="Google Shape;4778;p64">
              <a:extLst>
                <a:ext uri="{FF2B5EF4-FFF2-40B4-BE49-F238E27FC236}">
                  <a16:creationId xmlns:a16="http://schemas.microsoft.com/office/drawing/2014/main" id="{68E639EE-DEB1-40AA-BA2B-ECCBBDAF0730}"/>
                </a:ext>
              </a:extLst>
            </p:cNvPr>
            <p:cNvSpPr/>
            <p:nvPr/>
          </p:nvSpPr>
          <p:spPr>
            <a:xfrm>
              <a:off x="4929256" y="2529911"/>
              <a:ext cx="10501" cy="13782"/>
            </a:xfrm>
            <a:custGeom>
              <a:avLst/>
              <a:gdLst/>
              <a:ahLst/>
              <a:cxnLst/>
              <a:rect l="l" t="t" r="r" b="b"/>
              <a:pathLst>
                <a:path w="32" h="42" extrusionOk="0">
                  <a:moveTo>
                    <a:pt x="28" y="32"/>
                  </a:moveTo>
                  <a:lnTo>
                    <a:pt x="32" y="16"/>
                  </a:lnTo>
                  <a:lnTo>
                    <a:pt x="30" y="10"/>
                  </a:lnTo>
                  <a:lnTo>
                    <a:pt x="26" y="0"/>
                  </a:lnTo>
                  <a:lnTo>
                    <a:pt x="4" y="2"/>
                  </a:lnTo>
                  <a:lnTo>
                    <a:pt x="0" y="8"/>
                  </a:lnTo>
                  <a:lnTo>
                    <a:pt x="8" y="28"/>
                  </a:lnTo>
                  <a:lnTo>
                    <a:pt x="20" y="42"/>
                  </a:lnTo>
                  <a:lnTo>
                    <a:pt x="28" y="3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312" name="Google Shape;4779;p64">
              <a:extLst>
                <a:ext uri="{FF2B5EF4-FFF2-40B4-BE49-F238E27FC236}">
                  <a16:creationId xmlns:a16="http://schemas.microsoft.com/office/drawing/2014/main" id="{6CBC99E5-4901-9104-09CA-22BB5C8EC863}"/>
                </a:ext>
              </a:extLst>
            </p:cNvPr>
            <p:cNvGrpSpPr/>
            <p:nvPr/>
          </p:nvGrpSpPr>
          <p:grpSpPr>
            <a:xfrm>
              <a:off x="4752052" y="1926103"/>
              <a:ext cx="496174" cy="425948"/>
              <a:chOff x="30275606" y="4799043"/>
              <a:chExt cx="3602437" cy="3092567"/>
            </a:xfrm>
            <a:grpFill/>
          </p:grpSpPr>
          <p:sp>
            <p:nvSpPr>
              <p:cNvPr id="313" name="Google Shape;4780;p64">
                <a:extLst>
                  <a:ext uri="{FF2B5EF4-FFF2-40B4-BE49-F238E27FC236}">
                    <a16:creationId xmlns:a16="http://schemas.microsoft.com/office/drawing/2014/main" id="{37C5969D-763A-6793-A786-8D91382A2CB1}"/>
                  </a:ext>
                </a:extLst>
              </p:cNvPr>
              <p:cNvSpPr/>
              <p:nvPr/>
            </p:nvSpPr>
            <p:spPr>
              <a:xfrm>
                <a:off x="31786150" y="6423951"/>
                <a:ext cx="729064" cy="995912"/>
              </a:xfrm>
              <a:custGeom>
                <a:avLst/>
                <a:gdLst/>
                <a:ahLst/>
                <a:cxnLst/>
                <a:rect l="l" t="t" r="r" b="b"/>
                <a:pathLst>
                  <a:path w="306" h="418" extrusionOk="0">
                    <a:moveTo>
                      <a:pt x="90" y="0"/>
                    </a:moveTo>
                    <a:lnTo>
                      <a:pt x="80" y="0"/>
                    </a:lnTo>
                    <a:lnTo>
                      <a:pt x="54" y="12"/>
                    </a:lnTo>
                    <a:lnTo>
                      <a:pt x="8" y="26"/>
                    </a:lnTo>
                    <a:lnTo>
                      <a:pt x="0" y="38"/>
                    </a:lnTo>
                    <a:lnTo>
                      <a:pt x="10" y="60"/>
                    </a:lnTo>
                    <a:lnTo>
                      <a:pt x="22" y="58"/>
                    </a:lnTo>
                    <a:lnTo>
                      <a:pt x="20" y="88"/>
                    </a:lnTo>
                    <a:lnTo>
                      <a:pt x="36" y="112"/>
                    </a:lnTo>
                    <a:lnTo>
                      <a:pt x="40" y="140"/>
                    </a:lnTo>
                    <a:lnTo>
                      <a:pt x="54" y="174"/>
                    </a:lnTo>
                    <a:lnTo>
                      <a:pt x="64" y="190"/>
                    </a:lnTo>
                    <a:lnTo>
                      <a:pt x="94" y="216"/>
                    </a:lnTo>
                    <a:lnTo>
                      <a:pt x="90" y="218"/>
                    </a:lnTo>
                    <a:lnTo>
                      <a:pt x="80" y="252"/>
                    </a:lnTo>
                    <a:lnTo>
                      <a:pt x="72" y="264"/>
                    </a:lnTo>
                    <a:lnTo>
                      <a:pt x="68" y="282"/>
                    </a:lnTo>
                    <a:lnTo>
                      <a:pt x="64" y="310"/>
                    </a:lnTo>
                    <a:lnTo>
                      <a:pt x="42" y="328"/>
                    </a:lnTo>
                    <a:lnTo>
                      <a:pt x="46" y="360"/>
                    </a:lnTo>
                    <a:lnTo>
                      <a:pt x="54" y="364"/>
                    </a:lnTo>
                    <a:lnTo>
                      <a:pt x="106" y="348"/>
                    </a:lnTo>
                    <a:lnTo>
                      <a:pt x="120" y="346"/>
                    </a:lnTo>
                    <a:lnTo>
                      <a:pt x="134" y="338"/>
                    </a:lnTo>
                    <a:lnTo>
                      <a:pt x="142" y="326"/>
                    </a:lnTo>
                    <a:lnTo>
                      <a:pt x="146" y="326"/>
                    </a:lnTo>
                    <a:lnTo>
                      <a:pt x="158" y="332"/>
                    </a:lnTo>
                    <a:lnTo>
                      <a:pt x="162" y="330"/>
                    </a:lnTo>
                    <a:lnTo>
                      <a:pt x="164" y="336"/>
                    </a:lnTo>
                    <a:lnTo>
                      <a:pt x="160" y="348"/>
                    </a:lnTo>
                    <a:lnTo>
                      <a:pt x="146" y="368"/>
                    </a:lnTo>
                    <a:lnTo>
                      <a:pt x="148" y="390"/>
                    </a:lnTo>
                    <a:lnTo>
                      <a:pt x="146" y="398"/>
                    </a:lnTo>
                    <a:lnTo>
                      <a:pt x="144" y="402"/>
                    </a:lnTo>
                    <a:lnTo>
                      <a:pt x="152" y="418"/>
                    </a:lnTo>
                    <a:lnTo>
                      <a:pt x="168" y="414"/>
                    </a:lnTo>
                    <a:lnTo>
                      <a:pt x="176" y="404"/>
                    </a:lnTo>
                    <a:lnTo>
                      <a:pt x="182" y="390"/>
                    </a:lnTo>
                    <a:lnTo>
                      <a:pt x="188" y="382"/>
                    </a:lnTo>
                    <a:lnTo>
                      <a:pt x="206" y="384"/>
                    </a:lnTo>
                    <a:lnTo>
                      <a:pt x="216" y="378"/>
                    </a:lnTo>
                    <a:lnTo>
                      <a:pt x="230" y="358"/>
                    </a:lnTo>
                    <a:lnTo>
                      <a:pt x="236" y="348"/>
                    </a:lnTo>
                    <a:lnTo>
                      <a:pt x="244" y="330"/>
                    </a:lnTo>
                    <a:lnTo>
                      <a:pt x="252" y="308"/>
                    </a:lnTo>
                    <a:lnTo>
                      <a:pt x="256" y="298"/>
                    </a:lnTo>
                    <a:lnTo>
                      <a:pt x="306" y="268"/>
                    </a:lnTo>
                    <a:lnTo>
                      <a:pt x="284" y="244"/>
                    </a:lnTo>
                    <a:lnTo>
                      <a:pt x="264" y="224"/>
                    </a:lnTo>
                    <a:lnTo>
                      <a:pt x="240" y="236"/>
                    </a:lnTo>
                    <a:lnTo>
                      <a:pt x="226" y="232"/>
                    </a:lnTo>
                    <a:lnTo>
                      <a:pt x="204" y="206"/>
                    </a:lnTo>
                    <a:lnTo>
                      <a:pt x="190" y="196"/>
                    </a:lnTo>
                    <a:lnTo>
                      <a:pt x="192" y="164"/>
                    </a:lnTo>
                    <a:lnTo>
                      <a:pt x="206" y="154"/>
                    </a:lnTo>
                    <a:lnTo>
                      <a:pt x="212" y="146"/>
                    </a:lnTo>
                    <a:lnTo>
                      <a:pt x="204" y="134"/>
                    </a:lnTo>
                    <a:lnTo>
                      <a:pt x="190" y="116"/>
                    </a:lnTo>
                    <a:lnTo>
                      <a:pt x="182" y="112"/>
                    </a:lnTo>
                    <a:lnTo>
                      <a:pt x="164" y="116"/>
                    </a:lnTo>
                    <a:lnTo>
                      <a:pt x="146" y="124"/>
                    </a:lnTo>
                    <a:lnTo>
                      <a:pt x="136" y="120"/>
                    </a:lnTo>
                    <a:lnTo>
                      <a:pt x="130" y="62"/>
                    </a:lnTo>
                    <a:lnTo>
                      <a:pt x="120" y="6"/>
                    </a:lnTo>
                    <a:lnTo>
                      <a:pt x="100" y="8"/>
                    </a:lnTo>
                    <a:lnTo>
                      <a:pt x="9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4" name="Google Shape;4781;p64">
                <a:extLst>
                  <a:ext uri="{FF2B5EF4-FFF2-40B4-BE49-F238E27FC236}">
                    <a16:creationId xmlns:a16="http://schemas.microsoft.com/office/drawing/2014/main" id="{B4CF3582-E088-B97A-2218-D5986A1C716A}"/>
                  </a:ext>
                </a:extLst>
              </p:cNvPr>
              <p:cNvSpPr/>
              <p:nvPr/>
            </p:nvSpPr>
            <p:spPr>
              <a:xfrm>
                <a:off x="32753472" y="6252407"/>
                <a:ext cx="90537" cy="133424"/>
              </a:xfrm>
              <a:custGeom>
                <a:avLst/>
                <a:gdLst/>
                <a:ahLst/>
                <a:cxnLst/>
                <a:rect l="l" t="t" r="r" b="b"/>
                <a:pathLst>
                  <a:path w="38" h="56" extrusionOk="0">
                    <a:moveTo>
                      <a:pt x="30" y="54"/>
                    </a:moveTo>
                    <a:lnTo>
                      <a:pt x="38" y="38"/>
                    </a:lnTo>
                    <a:lnTo>
                      <a:pt x="24" y="30"/>
                    </a:lnTo>
                    <a:lnTo>
                      <a:pt x="10" y="0"/>
                    </a:lnTo>
                    <a:lnTo>
                      <a:pt x="2" y="0"/>
                    </a:lnTo>
                    <a:lnTo>
                      <a:pt x="0" y="10"/>
                    </a:lnTo>
                    <a:lnTo>
                      <a:pt x="2" y="30"/>
                    </a:lnTo>
                    <a:lnTo>
                      <a:pt x="20" y="56"/>
                    </a:lnTo>
                    <a:lnTo>
                      <a:pt x="30" y="5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5" name="Google Shape;4782;p64">
                <a:extLst>
                  <a:ext uri="{FF2B5EF4-FFF2-40B4-BE49-F238E27FC236}">
                    <a16:creationId xmlns:a16="http://schemas.microsoft.com/office/drawing/2014/main" id="{5C4D52B6-78DE-733B-D1F7-C19AE7E08E9F}"/>
                  </a:ext>
                </a:extLst>
              </p:cNvPr>
              <p:cNvSpPr/>
              <p:nvPr/>
            </p:nvSpPr>
            <p:spPr>
              <a:xfrm>
                <a:off x="30275606" y="6176165"/>
                <a:ext cx="243021" cy="533694"/>
              </a:xfrm>
              <a:custGeom>
                <a:avLst/>
                <a:gdLst/>
                <a:ahLst/>
                <a:cxnLst/>
                <a:rect l="l" t="t" r="r" b="b"/>
                <a:pathLst>
                  <a:path w="102" h="224" extrusionOk="0">
                    <a:moveTo>
                      <a:pt x="46" y="100"/>
                    </a:moveTo>
                    <a:lnTo>
                      <a:pt x="40" y="90"/>
                    </a:lnTo>
                    <a:lnTo>
                      <a:pt x="34" y="74"/>
                    </a:lnTo>
                    <a:lnTo>
                      <a:pt x="40" y="62"/>
                    </a:lnTo>
                    <a:lnTo>
                      <a:pt x="38" y="52"/>
                    </a:lnTo>
                    <a:lnTo>
                      <a:pt x="26" y="20"/>
                    </a:lnTo>
                    <a:lnTo>
                      <a:pt x="14" y="6"/>
                    </a:lnTo>
                    <a:lnTo>
                      <a:pt x="0" y="0"/>
                    </a:lnTo>
                    <a:lnTo>
                      <a:pt x="0" y="24"/>
                    </a:lnTo>
                    <a:lnTo>
                      <a:pt x="4" y="52"/>
                    </a:lnTo>
                    <a:lnTo>
                      <a:pt x="16" y="74"/>
                    </a:lnTo>
                    <a:lnTo>
                      <a:pt x="18" y="88"/>
                    </a:lnTo>
                    <a:lnTo>
                      <a:pt x="38" y="148"/>
                    </a:lnTo>
                    <a:lnTo>
                      <a:pt x="42" y="154"/>
                    </a:lnTo>
                    <a:lnTo>
                      <a:pt x="54" y="156"/>
                    </a:lnTo>
                    <a:lnTo>
                      <a:pt x="68" y="172"/>
                    </a:lnTo>
                    <a:lnTo>
                      <a:pt x="78" y="192"/>
                    </a:lnTo>
                    <a:lnTo>
                      <a:pt x="92" y="224"/>
                    </a:lnTo>
                    <a:lnTo>
                      <a:pt x="102" y="222"/>
                    </a:lnTo>
                    <a:lnTo>
                      <a:pt x="98" y="200"/>
                    </a:lnTo>
                    <a:lnTo>
                      <a:pt x="90" y="176"/>
                    </a:lnTo>
                    <a:lnTo>
                      <a:pt x="88" y="166"/>
                    </a:lnTo>
                    <a:lnTo>
                      <a:pt x="84" y="156"/>
                    </a:lnTo>
                    <a:lnTo>
                      <a:pt x="70" y="144"/>
                    </a:lnTo>
                    <a:lnTo>
                      <a:pt x="56" y="120"/>
                    </a:lnTo>
                    <a:lnTo>
                      <a:pt x="46" y="122"/>
                    </a:lnTo>
                    <a:lnTo>
                      <a:pt x="46" y="10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6" name="Google Shape;4783;p64">
                <a:extLst>
                  <a:ext uri="{FF2B5EF4-FFF2-40B4-BE49-F238E27FC236}">
                    <a16:creationId xmlns:a16="http://schemas.microsoft.com/office/drawing/2014/main" id="{BBF90ACB-75AD-2311-FDFE-157E7C4E1C08}"/>
                  </a:ext>
                </a:extLst>
              </p:cNvPr>
              <p:cNvSpPr/>
              <p:nvPr/>
            </p:nvSpPr>
            <p:spPr>
              <a:xfrm>
                <a:off x="32982197" y="6123748"/>
                <a:ext cx="281143" cy="114363"/>
              </a:xfrm>
              <a:custGeom>
                <a:avLst/>
                <a:gdLst/>
                <a:ahLst/>
                <a:cxnLst/>
                <a:rect l="l" t="t" r="r" b="b"/>
                <a:pathLst>
                  <a:path w="118" h="48" extrusionOk="0">
                    <a:moveTo>
                      <a:pt x="76" y="20"/>
                    </a:moveTo>
                    <a:lnTo>
                      <a:pt x="64" y="0"/>
                    </a:lnTo>
                    <a:lnTo>
                      <a:pt x="42" y="2"/>
                    </a:lnTo>
                    <a:lnTo>
                      <a:pt x="34" y="2"/>
                    </a:lnTo>
                    <a:lnTo>
                      <a:pt x="32" y="14"/>
                    </a:lnTo>
                    <a:lnTo>
                      <a:pt x="16" y="22"/>
                    </a:lnTo>
                    <a:lnTo>
                      <a:pt x="0" y="40"/>
                    </a:lnTo>
                    <a:lnTo>
                      <a:pt x="10" y="48"/>
                    </a:lnTo>
                    <a:lnTo>
                      <a:pt x="40" y="28"/>
                    </a:lnTo>
                    <a:lnTo>
                      <a:pt x="66" y="30"/>
                    </a:lnTo>
                    <a:lnTo>
                      <a:pt x="94" y="40"/>
                    </a:lnTo>
                    <a:lnTo>
                      <a:pt x="118" y="22"/>
                    </a:lnTo>
                    <a:lnTo>
                      <a:pt x="116" y="16"/>
                    </a:lnTo>
                    <a:lnTo>
                      <a:pt x="96" y="22"/>
                    </a:lnTo>
                    <a:lnTo>
                      <a:pt x="76" y="2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7" name="Google Shape;4784;p64">
                <a:extLst>
                  <a:ext uri="{FF2B5EF4-FFF2-40B4-BE49-F238E27FC236}">
                    <a16:creationId xmlns:a16="http://schemas.microsoft.com/office/drawing/2014/main" id="{19A91D83-CE50-C1A4-DBE5-0D257F13896B}"/>
                  </a:ext>
                </a:extLst>
              </p:cNvPr>
              <p:cNvSpPr/>
              <p:nvPr/>
            </p:nvSpPr>
            <p:spPr>
              <a:xfrm>
                <a:off x="30294666" y="5194548"/>
                <a:ext cx="1672560" cy="2697062"/>
              </a:xfrm>
              <a:custGeom>
                <a:avLst/>
                <a:gdLst/>
                <a:ahLst/>
                <a:cxnLst/>
                <a:rect l="l" t="t" r="r" b="b"/>
                <a:pathLst>
                  <a:path w="702" h="1132" extrusionOk="0">
                    <a:moveTo>
                      <a:pt x="400" y="54"/>
                    </a:moveTo>
                    <a:lnTo>
                      <a:pt x="384" y="12"/>
                    </a:lnTo>
                    <a:lnTo>
                      <a:pt x="374" y="0"/>
                    </a:lnTo>
                    <a:lnTo>
                      <a:pt x="366" y="0"/>
                    </a:lnTo>
                    <a:lnTo>
                      <a:pt x="356" y="16"/>
                    </a:lnTo>
                    <a:lnTo>
                      <a:pt x="352" y="36"/>
                    </a:lnTo>
                    <a:lnTo>
                      <a:pt x="356" y="64"/>
                    </a:lnTo>
                    <a:lnTo>
                      <a:pt x="346" y="82"/>
                    </a:lnTo>
                    <a:lnTo>
                      <a:pt x="338" y="118"/>
                    </a:lnTo>
                    <a:lnTo>
                      <a:pt x="338" y="128"/>
                    </a:lnTo>
                    <a:lnTo>
                      <a:pt x="336" y="138"/>
                    </a:lnTo>
                    <a:lnTo>
                      <a:pt x="338" y="172"/>
                    </a:lnTo>
                    <a:lnTo>
                      <a:pt x="340" y="198"/>
                    </a:lnTo>
                    <a:lnTo>
                      <a:pt x="350" y="260"/>
                    </a:lnTo>
                    <a:lnTo>
                      <a:pt x="366" y="340"/>
                    </a:lnTo>
                    <a:lnTo>
                      <a:pt x="372" y="388"/>
                    </a:lnTo>
                    <a:lnTo>
                      <a:pt x="368" y="386"/>
                    </a:lnTo>
                    <a:lnTo>
                      <a:pt x="340" y="324"/>
                    </a:lnTo>
                    <a:lnTo>
                      <a:pt x="334" y="320"/>
                    </a:lnTo>
                    <a:lnTo>
                      <a:pt x="326" y="298"/>
                    </a:lnTo>
                    <a:lnTo>
                      <a:pt x="312" y="238"/>
                    </a:lnTo>
                    <a:lnTo>
                      <a:pt x="300" y="188"/>
                    </a:lnTo>
                    <a:lnTo>
                      <a:pt x="286" y="140"/>
                    </a:lnTo>
                    <a:lnTo>
                      <a:pt x="272" y="106"/>
                    </a:lnTo>
                    <a:lnTo>
                      <a:pt x="256" y="94"/>
                    </a:lnTo>
                    <a:lnTo>
                      <a:pt x="242" y="122"/>
                    </a:lnTo>
                    <a:lnTo>
                      <a:pt x="230" y="162"/>
                    </a:lnTo>
                    <a:lnTo>
                      <a:pt x="220" y="172"/>
                    </a:lnTo>
                    <a:lnTo>
                      <a:pt x="220" y="190"/>
                    </a:lnTo>
                    <a:lnTo>
                      <a:pt x="218" y="210"/>
                    </a:lnTo>
                    <a:lnTo>
                      <a:pt x="220" y="230"/>
                    </a:lnTo>
                    <a:lnTo>
                      <a:pt x="222" y="246"/>
                    </a:lnTo>
                    <a:lnTo>
                      <a:pt x="220" y="260"/>
                    </a:lnTo>
                    <a:lnTo>
                      <a:pt x="216" y="262"/>
                    </a:lnTo>
                    <a:lnTo>
                      <a:pt x="206" y="248"/>
                    </a:lnTo>
                    <a:lnTo>
                      <a:pt x="200" y="230"/>
                    </a:lnTo>
                    <a:lnTo>
                      <a:pt x="192" y="220"/>
                    </a:lnTo>
                    <a:lnTo>
                      <a:pt x="180" y="214"/>
                    </a:lnTo>
                    <a:lnTo>
                      <a:pt x="178" y="210"/>
                    </a:lnTo>
                    <a:lnTo>
                      <a:pt x="174" y="176"/>
                    </a:lnTo>
                    <a:lnTo>
                      <a:pt x="166" y="172"/>
                    </a:lnTo>
                    <a:lnTo>
                      <a:pt x="124" y="178"/>
                    </a:lnTo>
                    <a:lnTo>
                      <a:pt x="154" y="136"/>
                    </a:lnTo>
                    <a:lnTo>
                      <a:pt x="204" y="126"/>
                    </a:lnTo>
                    <a:lnTo>
                      <a:pt x="212" y="112"/>
                    </a:lnTo>
                    <a:lnTo>
                      <a:pt x="212" y="108"/>
                    </a:lnTo>
                    <a:lnTo>
                      <a:pt x="212" y="96"/>
                    </a:lnTo>
                    <a:lnTo>
                      <a:pt x="212" y="88"/>
                    </a:lnTo>
                    <a:lnTo>
                      <a:pt x="198" y="72"/>
                    </a:lnTo>
                    <a:lnTo>
                      <a:pt x="160" y="82"/>
                    </a:lnTo>
                    <a:lnTo>
                      <a:pt x="136" y="104"/>
                    </a:lnTo>
                    <a:lnTo>
                      <a:pt x="126" y="104"/>
                    </a:lnTo>
                    <a:lnTo>
                      <a:pt x="106" y="88"/>
                    </a:lnTo>
                    <a:lnTo>
                      <a:pt x="102" y="96"/>
                    </a:lnTo>
                    <a:lnTo>
                      <a:pt x="102" y="112"/>
                    </a:lnTo>
                    <a:lnTo>
                      <a:pt x="106" y="126"/>
                    </a:lnTo>
                    <a:lnTo>
                      <a:pt x="100" y="124"/>
                    </a:lnTo>
                    <a:lnTo>
                      <a:pt x="94" y="118"/>
                    </a:lnTo>
                    <a:lnTo>
                      <a:pt x="68" y="86"/>
                    </a:lnTo>
                    <a:lnTo>
                      <a:pt x="44" y="94"/>
                    </a:lnTo>
                    <a:lnTo>
                      <a:pt x="38" y="100"/>
                    </a:lnTo>
                    <a:lnTo>
                      <a:pt x="34" y="124"/>
                    </a:lnTo>
                    <a:lnTo>
                      <a:pt x="32" y="124"/>
                    </a:lnTo>
                    <a:lnTo>
                      <a:pt x="24" y="110"/>
                    </a:lnTo>
                    <a:lnTo>
                      <a:pt x="12" y="96"/>
                    </a:lnTo>
                    <a:lnTo>
                      <a:pt x="8" y="94"/>
                    </a:lnTo>
                    <a:lnTo>
                      <a:pt x="4" y="98"/>
                    </a:lnTo>
                    <a:lnTo>
                      <a:pt x="0" y="110"/>
                    </a:lnTo>
                    <a:lnTo>
                      <a:pt x="0" y="118"/>
                    </a:lnTo>
                    <a:lnTo>
                      <a:pt x="6" y="134"/>
                    </a:lnTo>
                    <a:lnTo>
                      <a:pt x="8" y="152"/>
                    </a:lnTo>
                    <a:lnTo>
                      <a:pt x="4" y="174"/>
                    </a:lnTo>
                    <a:lnTo>
                      <a:pt x="4" y="184"/>
                    </a:lnTo>
                    <a:lnTo>
                      <a:pt x="4" y="196"/>
                    </a:lnTo>
                    <a:lnTo>
                      <a:pt x="10" y="218"/>
                    </a:lnTo>
                    <a:lnTo>
                      <a:pt x="14" y="234"/>
                    </a:lnTo>
                    <a:lnTo>
                      <a:pt x="16" y="258"/>
                    </a:lnTo>
                    <a:lnTo>
                      <a:pt x="20" y="274"/>
                    </a:lnTo>
                    <a:lnTo>
                      <a:pt x="28" y="298"/>
                    </a:lnTo>
                    <a:lnTo>
                      <a:pt x="36" y="334"/>
                    </a:lnTo>
                    <a:lnTo>
                      <a:pt x="44" y="342"/>
                    </a:lnTo>
                    <a:lnTo>
                      <a:pt x="56" y="328"/>
                    </a:lnTo>
                    <a:lnTo>
                      <a:pt x="62" y="308"/>
                    </a:lnTo>
                    <a:lnTo>
                      <a:pt x="60" y="280"/>
                    </a:lnTo>
                    <a:lnTo>
                      <a:pt x="66" y="278"/>
                    </a:lnTo>
                    <a:lnTo>
                      <a:pt x="86" y="278"/>
                    </a:lnTo>
                    <a:lnTo>
                      <a:pt x="92" y="286"/>
                    </a:lnTo>
                    <a:lnTo>
                      <a:pt x="88" y="306"/>
                    </a:lnTo>
                    <a:lnTo>
                      <a:pt x="80" y="328"/>
                    </a:lnTo>
                    <a:lnTo>
                      <a:pt x="80" y="340"/>
                    </a:lnTo>
                    <a:lnTo>
                      <a:pt x="82" y="354"/>
                    </a:lnTo>
                    <a:lnTo>
                      <a:pt x="86" y="370"/>
                    </a:lnTo>
                    <a:lnTo>
                      <a:pt x="90" y="386"/>
                    </a:lnTo>
                    <a:lnTo>
                      <a:pt x="92" y="388"/>
                    </a:lnTo>
                    <a:lnTo>
                      <a:pt x="104" y="388"/>
                    </a:lnTo>
                    <a:lnTo>
                      <a:pt x="112" y="392"/>
                    </a:lnTo>
                    <a:lnTo>
                      <a:pt x="114" y="396"/>
                    </a:lnTo>
                    <a:lnTo>
                      <a:pt x="108" y="410"/>
                    </a:lnTo>
                    <a:lnTo>
                      <a:pt x="104" y="412"/>
                    </a:lnTo>
                    <a:lnTo>
                      <a:pt x="58" y="386"/>
                    </a:lnTo>
                    <a:lnTo>
                      <a:pt x="50" y="388"/>
                    </a:lnTo>
                    <a:lnTo>
                      <a:pt x="46" y="396"/>
                    </a:lnTo>
                    <a:lnTo>
                      <a:pt x="62" y="420"/>
                    </a:lnTo>
                    <a:lnTo>
                      <a:pt x="78" y="436"/>
                    </a:lnTo>
                    <a:lnTo>
                      <a:pt x="70" y="444"/>
                    </a:lnTo>
                    <a:lnTo>
                      <a:pt x="70" y="460"/>
                    </a:lnTo>
                    <a:lnTo>
                      <a:pt x="72" y="476"/>
                    </a:lnTo>
                    <a:lnTo>
                      <a:pt x="78" y="490"/>
                    </a:lnTo>
                    <a:lnTo>
                      <a:pt x="84" y="500"/>
                    </a:lnTo>
                    <a:lnTo>
                      <a:pt x="96" y="512"/>
                    </a:lnTo>
                    <a:lnTo>
                      <a:pt x="104" y="516"/>
                    </a:lnTo>
                    <a:lnTo>
                      <a:pt x="116" y="554"/>
                    </a:lnTo>
                    <a:lnTo>
                      <a:pt x="130" y="586"/>
                    </a:lnTo>
                    <a:lnTo>
                      <a:pt x="140" y="596"/>
                    </a:lnTo>
                    <a:lnTo>
                      <a:pt x="144" y="602"/>
                    </a:lnTo>
                    <a:lnTo>
                      <a:pt x="146" y="612"/>
                    </a:lnTo>
                    <a:lnTo>
                      <a:pt x="162" y="634"/>
                    </a:lnTo>
                    <a:lnTo>
                      <a:pt x="196" y="630"/>
                    </a:lnTo>
                    <a:lnTo>
                      <a:pt x="212" y="624"/>
                    </a:lnTo>
                    <a:lnTo>
                      <a:pt x="226" y="622"/>
                    </a:lnTo>
                    <a:lnTo>
                      <a:pt x="234" y="610"/>
                    </a:lnTo>
                    <a:lnTo>
                      <a:pt x="242" y="594"/>
                    </a:lnTo>
                    <a:lnTo>
                      <a:pt x="250" y="582"/>
                    </a:lnTo>
                    <a:lnTo>
                      <a:pt x="260" y="576"/>
                    </a:lnTo>
                    <a:lnTo>
                      <a:pt x="254" y="560"/>
                    </a:lnTo>
                    <a:lnTo>
                      <a:pt x="246" y="550"/>
                    </a:lnTo>
                    <a:lnTo>
                      <a:pt x="248" y="534"/>
                    </a:lnTo>
                    <a:lnTo>
                      <a:pt x="252" y="522"/>
                    </a:lnTo>
                    <a:lnTo>
                      <a:pt x="252" y="504"/>
                    </a:lnTo>
                    <a:lnTo>
                      <a:pt x="248" y="490"/>
                    </a:lnTo>
                    <a:lnTo>
                      <a:pt x="256" y="480"/>
                    </a:lnTo>
                    <a:lnTo>
                      <a:pt x="262" y="474"/>
                    </a:lnTo>
                    <a:lnTo>
                      <a:pt x="266" y="474"/>
                    </a:lnTo>
                    <a:lnTo>
                      <a:pt x="270" y="480"/>
                    </a:lnTo>
                    <a:lnTo>
                      <a:pt x="272" y="492"/>
                    </a:lnTo>
                    <a:lnTo>
                      <a:pt x="276" y="502"/>
                    </a:lnTo>
                    <a:lnTo>
                      <a:pt x="284" y="504"/>
                    </a:lnTo>
                    <a:lnTo>
                      <a:pt x="292" y="494"/>
                    </a:lnTo>
                    <a:lnTo>
                      <a:pt x="298" y="470"/>
                    </a:lnTo>
                    <a:lnTo>
                      <a:pt x="304" y="454"/>
                    </a:lnTo>
                    <a:lnTo>
                      <a:pt x="308" y="458"/>
                    </a:lnTo>
                    <a:lnTo>
                      <a:pt x="310" y="474"/>
                    </a:lnTo>
                    <a:lnTo>
                      <a:pt x="306" y="494"/>
                    </a:lnTo>
                    <a:lnTo>
                      <a:pt x="300" y="512"/>
                    </a:lnTo>
                    <a:lnTo>
                      <a:pt x="300" y="518"/>
                    </a:lnTo>
                    <a:lnTo>
                      <a:pt x="302" y="530"/>
                    </a:lnTo>
                    <a:lnTo>
                      <a:pt x="308" y="552"/>
                    </a:lnTo>
                    <a:lnTo>
                      <a:pt x="310" y="556"/>
                    </a:lnTo>
                    <a:lnTo>
                      <a:pt x="328" y="558"/>
                    </a:lnTo>
                    <a:lnTo>
                      <a:pt x="346" y="550"/>
                    </a:lnTo>
                    <a:lnTo>
                      <a:pt x="360" y="536"/>
                    </a:lnTo>
                    <a:lnTo>
                      <a:pt x="378" y="502"/>
                    </a:lnTo>
                    <a:lnTo>
                      <a:pt x="384" y="496"/>
                    </a:lnTo>
                    <a:lnTo>
                      <a:pt x="400" y="494"/>
                    </a:lnTo>
                    <a:lnTo>
                      <a:pt x="394" y="510"/>
                    </a:lnTo>
                    <a:lnTo>
                      <a:pt x="378" y="546"/>
                    </a:lnTo>
                    <a:lnTo>
                      <a:pt x="384" y="564"/>
                    </a:lnTo>
                    <a:lnTo>
                      <a:pt x="396" y="578"/>
                    </a:lnTo>
                    <a:lnTo>
                      <a:pt x="402" y="582"/>
                    </a:lnTo>
                    <a:lnTo>
                      <a:pt x="414" y="580"/>
                    </a:lnTo>
                    <a:lnTo>
                      <a:pt x="426" y="574"/>
                    </a:lnTo>
                    <a:lnTo>
                      <a:pt x="414" y="590"/>
                    </a:lnTo>
                    <a:lnTo>
                      <a:pt x="400" y="596"/>
                    </a:lnTo>
                    <a:lnTo>
                      <a:pt x="358" y="596"/>
                    </a:lnTo>
                    <a:lnTo>
                      <a:pt x="340" y="600"/>
                    </a:lnTo>
                    <a:lnTo>
                      <a:pt x="334" y="604"/>
                    </a:lnTo>
                    <a:lnTo>
                      <a:pt x="326" y="614"/>
                    </a:lnTo>
                    <a:lnTo>
                      <a:pt x="326" y="624"/>
                    </a:lnTo>
                    <a:lnTo>
                      <a:pt x="330" y="636"/>
                    </a:lnTo>
                    <a:lnTo>
                      <a:pt x="318" y="634"/>
                    </a:lnTo>
                    <a:lnTo>
                      <a:pt x="306" y="638"/>
                    </a:lnTo>
                    <a:lnTo>
                      <a:pt x="284" y="660"/>
                    </a:lnTo>
                    <a:lnTo>
                      <a:pt x="234" y="686"/>
                    </a:lnTo>
                    <a:lnTo>
                      <a:pt x="238" y="708"/>
                    </a:lnTo>
                    <a:lnTo>
                      <a:pt x="220" y="688"/>
                    </a:lnTo>
                    <a:lnTo>
                      <a:pt x="214" y="682"/>
                    </a:lnTo>
                    <a:lnTo>
                      <a:pt x="206" y="682"/>
                    </a:lnTo>
                    <a:lnTo>
                      <a:pt x="202" y="686"/>
                    </a:lnTo>
                    <a:lnTo>
                      <a:pt x="200" y="690"/>
                    </a:lnTo>
                    <a:lnTo>
                      <a:pt x="196" y="700"/>
                    </a:lnTo>
                    <a:lnTo>
                      <a:pt x="200" y="734"/>
                    </a:lnTo>
                    <a:lnTo>
                      <a:pt x="202" y="746"/>
                    </a:lnTo>
                    <a:lnTo>
                      <a:pt x="204" y="754"/>
                    </a:lnTo>
                    <a:lnTo>
                      <a:pt x="216" y="772"/>
                    </a:lnTo>
                    <a:lnTo>
                      <a:pt x="224" y="780"/>
                    </a:lnTo>
                    <a:lnTo>
                      <a:pt x="258" y="782"/>
                    </a:lnTo>
                    <a:lnTo>
                      <a:pt x="274" y="778"/>
                    </a:lnTo>
                    <a:lnTo>
                      <a:pt x="290" y="768"/>
                    </a:lnTo>
                    <a:lnTo>
                      <a:pt x="306" y="754"/>
                    </a:lnTo>
                    <a:lnTo>
                      <a:pt x="322" y="750"/>
                    </a:lnTo>
                    <a:lnTo>
                      <a:pt x="338" y="756"/>
                    </a:lnTo>
                    <a:lnTo>
                      <a:pt x="352" y="756"/>
                    </a:lnTo>
                    <a:lnTo>
                      <a:pt x="384" y="746"/>
                    </a:lnTo>
                    <a:lnTo>
                      <a:pt x="406" y="736"/>
                    </a:lnTo>
                    <a:lnTo>
                      <a:pt x="408" y="740"/>
                    </a:lnTo>
                    <a:lnTo>
                      <a:pt x="412" y="758"/>
                    </a:lnTo>
                    <a:lnTo>
                      <a:pt x="416" y="772"/>
                    </a:lnTo>
                    <a:lnTo>
                      <a:pt x="390" y="772"/>
                    </a:lnTo>
                    <a:lnTo>
                      <a:pt x="362" y="776"/>
                    </a:lnTo>
                    <a:lnTo>
                      <a:pt x="278" y="806"/>
                    </a:lnTo>
                    <a:lnTo>
                      <a:pt x="264" y="856"/>
                    </a:lnTo>
                    <a:lnTo>
                      <a:pt x="258" y="852"/>
                    </a:lnTo>
                    <a:lnTo>
                      <a:pt x="250" y="842"/>
                    </a:lnTo>
                    <a:lnTo>
                      <a:pt x="242" y="838"/>
                    </a:lnTo>
                    <a:lnTo>
                      <a:pt x="222" y="844"/>
                    </a:lnTo>
                    <a:lnTo>
                      <a:pt x="220" y="850"/>
                    </a:lnTo>
                    <a:lnTo>
                      <a:pt x="218" y="860"/>
                    </a:lnTo>
                    <a:lnTo>
                      <a:pt x="218" y="880"/>
                    </a:lnTo>
                    <a:lnTo>
                      <a:pt x="222" y="892"/>
                    </a:lnTo>
                    <a:lnTo>
                      <a:pt x="228" y="912"/>
                    </a:lnTo>
                    <a:lnTo>
                      <a:pt x="234" y="928"/>
                    </a:lnTo>
                    <a:lnTo>
                      <a:pt x="242" y="942"/>
                    </a:lnTo>
                    <a:lnTo>
                      <a:pt x="250" y="954"/>
                    </a:lnTo>
                    <a:lnTo>
                      <a:pt x="266" y="964"/>
                    </a:lnTo>
                    <a:lnTo>
                      <a:pt x="292" y="986"/>
                    </a:lnTo>
                    <a:lnTo>
                      <a:pt x="320" y="1044"/>
                    </a:lnTo>
                    <a:lnTo>
                      <a:pt x="350" y="1080"/>
                    </a:lnTo>
                    <a:lnTo>
                      <a:pt x="358" y="1088"/>
                    </a:lnTo>
                    <a:lnTo>
                      <a:pt x="364" y="1098"/>
                    </a:lnTo>
                    <a:lnTo>
                      <a:pt x="372" y="1114"/>
                    </a:lnTo>
                    <a:lnTo>
                      <a:pt x="380" y="1124"/>
                    </a:lnTo>
                    <a:lnTo>
                      <a:pt x="394" y="1132"/>
                    </a:lnTo>
                    <a:lnTo>
                      <a:pt x="410" y="1124"/>
                    </a:lnTo>
                    <a:lnTo>
                      <a:pt x="418" y="1110"/>
                    </a:lnTo>
                    <a:lnTo>
                      <a:pt x="416" y="1092"/>
                    </a:lnTo>
                    <a:lnTo>
                      <a:pt x="414" y="1076"/>
                    </a:lnTo>
                    <a:lnTo>
                      <a:pt x="414" y="1066"/>
                    </a:lnTo>
                    <a:lnTo>
                      <a:pt x="424" y="1042"/>
                    </a:lnTo>
                    <a:lnTo>
                      <a:pt x="430" y="1020"/>
                    </a:lnTo>
                    <a:lnTo>
                      <a:pt x="426" y="1008"/>
                    </a:lnTo>
                    <a:lnTo>
                      <a:pt x="424" y="998"/>
                    </a:lnTo>
                    <a:lnTo>
                      <a:pt x="438" y="966"/>
                    </a:lnTo>
                    <a:lnTo>
                      <a:pt x="444" y="946"/>
                    </a:lnTo>
                    <a:lnTo>
                      <a:pt x="456" y="894"/>
                    </a:lnTo>
                    <a:lnTo>
                      <a:pt x="470" y="864"/>
                    </a:lnTo>
                    <a:lnTo>
                      <a:pt x="490" y="862"/>
                    </a:lnTo>
                    <a:lnTo>
                      <a:pt x="496" y="856"/>
                    </a:lnTo>
                    <a:lnTo>
                      <a:pt x="500" y="840"/>
                    </a:lnTo>
                    <a:lnTo>
                      <a:pt x="504" y="808"/>
                    </a:lnTo>
                    <a:lnTo>
                      <a:pt x="506" y="774"/>
                    </a:lnTo>
                    <a:lnTo>
                      <a:pt x="508" y="726"/>
                    </a:lnTo>
                    <a:lnTo>
                      <a:pt x="508" y="712"/>
                    </a:lnTo>
                    <a:lnTo>
                      <a:pt x="508" y="700"/>
                    </a:lnTo>
                    <a:lnTo>
                      <a:pt x="518" y="694"/>
                    </a:lnTo>
                    <a:lnTo>
                      <a:pt x="526" y="696"/>
                    </a:lnTo>
                    <a:lnTo>
                      <a:pt x="534" y="696"/>
                    </a:lnTo>
                    <a:lnTo>
                      <a:pt x="546" y="682"/>
                    </a:lnTo>
                    <a:lnTo>
                      <a:pt x="546" y="666"/>
                    </a:lnTo>
                    <a:lnTo>
                      <a:pt x="542" y="650"/>
                    </a:lnTo>
                    <a:lnTo>
                      <a:pt x="544" y="634"/>
                    </a:lnTo>
                    <a:lnTo>
                      <a:pt x="550" y="606"/>
                    </a:lnTo>
                    <a:lnTo>
                      <a:pt x="556" y="588"/>
                    </a:lnTo>
                    <a:lnTo>
                      <a:pt x="570" y="554"/>
                    </a:lnTo>
                    <a:lnTo>
                      <a:pt x="586" y="528"/>
                    </a:lnTo>
                    <a:lnTo>
                      <a:pt x="588" y="516"/>
                    </a:lnTo>
                    <a:lnTo>
                      <a:pt x="590" y="512"/>
                    </a:lnTo>
                    <a:lnTo>
                      <a:pt x="596" y="508"/>
                    </a:lnTo>
                    <a:lnTo>
                      <a:pt x="636" y="500"/>
                    </a:lnTo>
                    <a:lnTo>
                      <a:pt x="658" y="490"/>
                    </a:lnTo>
                    <a:lnTo>
                      <a:pt x="682" y="490"/>
                    </a:lnTo>
                    <a:lnTo>
                      <a:pt x="692" y="482"/>
                    </a:lnTo>
                    <a:lnTo>
                      <a:pt x="702" y="468"/>
                    </a:lnTo>
                    <a:lnTo>
                      <a:pt x="700" y="458"/>
                    </a:lnTo>
                    <a:lnTo>
                      <a:pt x="698" y="448"/>
                    </a:lnTo>
                    <a:lnTo>
                      <a:pt x="682" y="430"/>
                    </a:lnTo>
                    <a:lnTo>
                      <a:pt x="658" y="412"/>
                    </a:lnTo>
                    <a:lnTo>
                      <a:pt x="644" y="386"/>
                    </a:lnTo>
                    <a:lnTo>
                      <a:pt x="662" y="360"/>
                    </a:lnTo>
                    <a:lnTo>
                      <a:pt x="652" y="342"/>
                    </a:lnTo>
                    <a:lnTo>
                      <a:pt x="642" y="336"/>
                    </a:lnTo>
                    <a:lnTo>
                      <a:pt x="622" y="330"/>
                    </a:lnTo>
                    <a:lnTo>
                      <a:pt x="618" y="336"/>
                    </a:lnTo>
                    <a:lnTo>
                      <a:pt x="618" y="354"/>
                    </a:lnTo>
                    <a:lnTo>
                      <a:pt x="604" y="360"/>
                    </a:lnTo>
                    <a:lnTo>
                      <a:pt x="594" y="328"/>
                    </a:lnTo>
                    <a:lnTo>
                      <a:pt x="578" y="318"/>
                    </a:lnTo>
                    <a:lnTo>
                      <a:pt x="552" y="326"/>
                    </a:lnTo>
                    <a:lnTo>
                      <a:pt x="544" y="318"/>
                    </a:lnTo>
                    <a:lnTo>
                      <a:pt x="538" y="298"/>
                    </a:lnTo>
                    <a:lnTo>
                      <a:pt x="530" y="290"/>
                    </a:lnTo>
                    <a:lnTo>
                      <a:pt x="524" y="288"/>
                    </a:lnTo>
                    <a:lnTo>
                      <a:pt x="528" y="282"/>
                    </a:lnTo>
                    <a:lnTo>
                      <a:pt x="534" y="274"/>
                    </a:lnTo>
                    <a:lnTo>
                      <a:pt x="534" y="262"/>
                    </a:lnTo>
                    <a:lnTo>
                      <a:pt x="534" y="246"/>
                    </a:lnTo>
                    <a:lnTo>
                      <a:pt x="534" y="230"/>
                    </a:lnTo>
                    <a:lnTo>
                      <a:pt x="532" y="218"/>
                    </a:lnTo>
                    <a:lnTo>
                      <a:pt x="530" y="208"/>
                    </a:lnTo>
                    <a:lnTo>
                      <a:pt x="518" y="178"/>
                    </a:lnTo>
                    <a:lnTo>
                      <a:pt x="506" y="166"/>
                    </a:lnTo>
                    <a:lnTo>
                      <a:pt x="502" y="164"/>
                    </a:lnTo>
                    <a:lnTo>
                      <a:pt x="498" y="168"/>
                    </a:lnTo>
                    <a:lnTo>
                      <a:pt x="472" y="226"/>
                    </a:lnTo>
                    <a:lnTo>
                      <a:pt x="458" y="244"/>
                    </a:lnTo>
                    <a:lnTo>
                      <a:pt x="462" y="228"/>
                    </a:lnTo>
                    <a:lnTo>
                      <a:pt x="462" y="210"/>
                    </a:lnTo>
                    <a:lnTo>
                      <a:pt x="460" y="192"/>
                    </a:lnTo>
                    <a:lnTo>
                      <a:pt x="462" y="178"/>
                    </a:lnTo>
                    <a:lnTo>
                      <a:pt x="472" y="156"/>
                    </a:lnTo>
                    <a:lnTo>
                      <a:pt x="478" y="130"/>
                    </a:lnTo>
                    <a:lnTo>
                      <a:pt x="470" y="94"/>
                    </a:lnTo>
                    <a:lnTo>
                      <a:pt x="460" y="74"/>
                    </a:lnTo>
                    <a:lnTo>
                      <a:pt x="452" y="64"/>
                    </a:lnTo>
                    <a:lnTo>
                      <a:pt x="430" y="42"/>
                    </a:lnTo>
                    <a:lnTo>
                      <a:pt x="412" y="36"/>
                    </a:lnTo>
                    <a:lnTo>
                      <a:pt x="410" y="40"/>
                    </a:lnTo>
                    <a:lnTo>
                      <a:pt x="408" y="52"/>
                    </a:lnTo>
                    <a:lnTo>
                      <a:pt x="404" y="56"/>
                    </a:lnTo>
                    <a:lnTo>
                      <a:pt x="400" y="5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8" name="Google Shape;4785;p64">
                <a:extLst>
                  <a:ext uri="{FF2B5EF4-FFF2-40B4-BE49-F238E27FC236}">
                    <a16:creationId xmlns:a16="http://schemas.microsoft.com/office/drawing/2014/main" id="{3F130114-8EC6-6084-F7A6-12C378A2AB76}"/>
                  </a:ext>
                </a:extLst>
              </p:cNvPr>
              <p:cNvSpPr/>
              <p:nvPr/>
            </p:nvSpPr>
            <p:spPr>
              <a:xfrm>
                <a:off x="33544484" y="5023004"/>
                <a:ext cx="333559" cy="142954"/>
              </a:xfrm>
              <a:custGeom>
                <a:avLst/>
                <a:gdLst/>
                <a:ahLst/>
                <a:cxnLst/>
                <a:rect l="l" t="t" r="r" b="b"/>
                <a:pathLst>
                  <a:path w="140" h="60" extrusionOk="0">
                    <a:moveTo>
                      <a:pt x="68" y="46"/>
                    </a:moveTo>
                    <a:lnTo>
                      <a:pt x="136" y="16"/>
                    </a:lnTo>
                    <a:lnTo>
                      <a:pt x="140" y="8"/>
                    </a:lnTo>
                    <a:lnTo>
                      <a:pt x="124" y="0"/>
                    </a:lnTo>
                    <a:lnTo>
                      <a:pt x="106" y="4"/>
                    </a:lnTo>
                    <a:lnTo>
                      <a:pt x="100" y="8"/>
                    </a:lnTo>
                    <a:lnTo>
                      <a:pt x="0" y="50"/>
                    </a:lnTo>
                    <a:lnTo>
                      <a:pt x="6" y="60"/>
                    </a:lnTo>
                    <a:lnTo>
                      <a:pt x="68" y="4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19" name="Google Shape;4786;p64">
                <a:extLst>
                  <a:ext uri="{FF2B5EF4-FFF2-40B4-BE49-F238E27FC236}">
                    <a16:creationId xmlns:a16="http://schemas.microsoft.com/office/drawing/2014/main" id="{E49A9378-2D61-4591-53B5-C2633CB77C5D}"/>
                  </a:ext>
                </a:extLst>
              </p:cNvPr>
              <p:cNvSpPr/>
              <p:nvPr/>
            </p:nvSpPr>
            <p:spPr>
              <a:xfrm>
                <a:off x="31462122" y="4913406"/>
                <a:ext cx="90537" cy="104833"/>
              </a:xfrm>
              <a:custGeom>
                <a:avLst/>
                <a:gdLst/>
                <a:ahLst/>
                <a:cxnLst/>
                <a:rect l="l" t="t" r="r" b="b"/>
                <a:pathLst>
                  <a:path w="38" h="44" extrusionOk="0">
                    <a:moveTo>
                      <a:pt x="38" y="22"/>
                    </a:moveTo>
                    <a:lnTo>
                      <a:pt x="24" y="4"/>
                    </a:lnTo>
                    <a:lnTo>
                      <a:pt x="10" y="0"/>
                    </a:lnTo>
                    <a:lnTo>
                      <a:pt x="4" y="10"/>
                    </a:lnTo>
                    <a:lnTo>
                      <a:pt x="0" y="28"/>
                    </a:lnTo>
                    <a:lnTo>
                      <a:pt x="24" y="44"/>
                    </a:lnTo>
                    <a:lnTo>
                      <a:pt x="38"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20" name="Google Shape;4787;p64">
                <a:extLst>
                  <a:ext uri="{FF2B5EF4-FFF2-40B4-BE49-F238E27FC236}">
                    <a16:creationId xmlns:a16="http://schemas.microsoft.com/office/drawing/2014/main" id="{AB657928-05F9-F8AB-BDC4-B83ADC5DB30B}"/>
                  </a:ext>
                </a:extLst>
              </p:cNvPr>
              <p:cNvSpPr/>
              <p:nvPr/>
            </p:nvSpPr>
            <p:spPr>
              <a:xfrm>
                <a:off x="31424000" y="4799043"/>
                <a:ext cx="1453364" cy="1138865"/>
              </a:xfrm>
              <a:custGeom>
                <a:avLst/>
                <a:gdLst/>
                <a:ahLst/>
                <a:cxnLst/>
                <a:rect l="l" t="t" r="r" b="b"/>
                <a:pathLst>
                  <a:path w="610" h="478" extrusionOk="0">
                    <a:moveTo>
                      <a:pt x="196" y="90"/>
                    </a:moveTo>
                    <a:lnTo>
                      <a:pt x="182" y="72"/>
                    </a:lnTo>
                    <a:lnTo>
                      <a:pt x="168" y="42"/>
                    </a:lnTo>
                    <a:lnTo>
                      <a:pt x="160" y="32"/>
                    </a:lnTo>
                    <a:lnTo>
                      <a:pt x="144" y="20"/>
                    </a:lnTo>
                    <a:lnTo>
                      <a:pt x="128" y="4"/>
                    </a:lnTo>
                    <a:lnTo>
                      <a:pt x="120" y="0"/>
                    </a:lnTo>
                    <a:lnTo>
                      <a:pt x="112" y="6"/>
                    </a:lnTo>
                    <a:lnTo>
                      <a:pt x="116" y="30"/>
                    </a:lnTo>
                    <a:lnTo>
                      <a:pt x="122" y="50"/>
                    </a:lnTo>
                    <a:lnTo>
                      <a:pt x="124" y="60"/>
                    </a:lnTo>
                    <a:lnTo>
                      <a:pt x="124" y="72"/>
                    </a:lnTo>
                    <a:lnTo>
                      <a:pt x="120" y="98"/>
                    </a:lnTo>
                    <a:lnTo>
                      <a:pt x="108" y="90"/>
                    </a:lnTo>
                    <a:lnTo>
                      <a:pt x="94" y="62"/>
                    </a:lnTo>
                    <a:lnTo>
                      <a:pt x="90" y="56"/>
                    </a:lnTo>
                    <a:lnTo>
                      <a:pt x="84" y="58"/>
                    </a:lnTo>
                    <a:lnTo>
                      <a:pt x="82" y="70"/>
                    </a:lnTo>
                    <a:lnTo>
                      <a:pt x="84" y="84"/>
                    </a:lnTo>
                    <a:lnTo>
                      <a:pt x="94" y="116"/>
                    </a:lnTo>
                    <a:lnTo>
                      <a:pt x="106" y="124"/>
                    </a:lnTo>
                    <a:lnTo>
                      <a:pt x="94" y="142"/>
                    </a:lnTo>
                    <a:lnTo>
                      <a:pt x="82" y="132"/>
                    </a:lnTo>
                    <a:lnTo>
                      <a:pt x="70" y="120"/>
                    </a:lnTo>
                    <a:lnTo>
                      <a:pt x="58" y="112"/>
                    </a:lnTo>
                    <a:lnTo>
                      <a:pt x="12" y="120"/>
                    </a:lnTo>
                    <a:lnTo>
                      <a:pt x="0" y="132"/>
                    </a:lnTo>
                    <a:lnTo>
                      <a:pt x="14" y="150"/>
                    </a:lnTo>
                    <a:lnTo>
                      <a:pt x="28" y="162"/>
                    </a:lnTo>
                    <a:lnTo>
                      <a:pt x="62" y="172"/>
                    </a:lnTo>
                    <a:lnTo>
                      <a:pt x="54" y="186"/>
                    </a:lnTo>
                    <a:lnTo>
                      <a:pt x="44" y="198"/>
                    </a:lnTo>
                    <a:lnTo>
                      <a:pt x="22" y="212"/>
                    </a:lnTo>
                    <a:lnTo>
                      <a:pt x="24" y="228"/>
                    </a:lnTo>
                    <a:lnTo>
                      <a:pt x="28" y="238"/>
                    </a:lnTo>
                    <a:lnTo>
                      <a:pt x="34" y="252"/>
                    </a:lnTo>
                    <a:lnTo>
                      <a:pt x="54" y="274"/>
                    </a:lnTo>
                    <a:lnTo>
                      <a:pt x="68" y="284"/>
                    </a:lnTo>
                    <a:lnTo>
                      <a:pt x="98" y="288"/>
                    </a:lnTo>
                    <a:lnTo>
                      <a:pt x="114" y="286"/>
                    </a:lnTo>
                    <a:lnTo>
                      <a:pt x="130" y="282"/>
                    </a:lnTo>
                    <a:lnTo>
                      <a:pt x="146" y="268"/>
                    </a:lnTo>
                    <a:lnTo>
                      <a:pt x="168" y="270"/>
                    </a:lnTo>
                    <a:lnTo>
                      <a:pt x="188" y="280"/>
                    </a:lnTo>
                    <a:lnTo>
                      <a:pt x="182" y="294"/>
                    </a:lnTo>
                    <a:lnTo>
                      <a:pt x="174" y="300"/>
                    </a:lnTo>
                    <a:lnTo>
                      <a:pt x="170" y="322"/>
                    </a:lnTo>
                    <a:lnTo>
                      <a:pt x="150" y="322"/>
                    </a:lnTo>
                    <a:lnTo>
                      <a:pt x="138" y="318"/>
                    </a:lnTo>
                    <a:lnTo>
                      <a:pt x="126" y="322"/>
                    </a:lnTo>
                    <a:lnTo>
                      <a:pt x="120" y="328"/>
                    </a:lnTo>
                    <a:lnTo>
                      <a:pt x="116" y="338"/>
                    </a:lnTo>
                    <a:lnTo>
                      <a:pt x="130" y="358"/>
                    </a:lnTo>
                    <a:lnTo>
                      <a:pt x="146" y="374"/>
                    </a:lnTo>
                    <a:lnTo>
                      <a:pt x="164" y="382"/>
                    </a:lnTo>
                    <a:lnTo>
                      <a:pt x="188" y="390"/>
                    </a:lnTo>
                    <a:lnTo>
                      <a:pt x="190" y="402"/>
                    </a:lnTo>
                    <a:lnTo>
                      <a:pt x="194" y="406"/>
                    </a:lnTo>
                    <a:lnTo>
                      <a:pt x="262" y="412"/>
                    </a:lnTo>
                    <a:lnTo>
                      <a:pt x="326" y="402"/>
                    </a:lnTo>
                    <a:lnTo>
                      <a:pt x="314" y="430"/>
                    </a:lnTo>
                    <a:lnTo>
                      <a:pt x="320" y="454"/>
                    </a:lnTo>
                    <a:lnTo>
                      <a:pt x="328" y="466"/>
                    </a:lnTo>
                    <a:lnTo>
                      <a:pt x="384" y="474"/>
                    </a:lnTo>
                    <a:lnTo>
                      <a:pt x="396" y="478"/>
                    </a:lnTo>
                    <a:lnTo>
                      <a:pt x="408" y="470"/>
                    </a:lnTo>
                    <a:lnTo>
                      <a:pt x="416" y="454"/>
                    </a:lnTo>
                    <a:lnTo>
                      <a:pt x="424" y="440"/>
                    </a:lnTo>
                    <a:lnTo>
                      <a:pt x="448" y="418"/>
                    </a:lnTo>
                    <a:lnTo>
                      <a:pt x="454" y="418"/>
                    </a:lnTo>
                    <a:lnTo>
                      <a:pt x="474" y="428"/>
                    </a:lnTo>
                    <a:lnTo>
                      <a:pt x="480" y="426"/>
                    </a:lnTo>
                    <a:lnTo>
                      <a:pt x="508" y="404"/>
                    </a:lnTo>
                    <a:lnTo>
                      <a:pt x="512" y="392"/>
                    </a:lnTo>
                    <a:lnTo>
                      <a:pt x="524" y="348"/>
                    </a:lnTo>
                    <a:lnTo>
                      <a:pt x="532" y="328"/>
                    </a:lnTo>
                    <a:lnTo>
                      <a:pt x="544" y="306"/>
                    </a:lnTo>
                    <a:lnTo>
                      <a:pt x="602" y="236"/>
                    </a:lnTo>
                    <a:lnTo>
                      <a:pt x="610" y="220"/>
                    </a:lnTo>
                    <a:lnTo>
                      <a:pt x="606" y="164"/>
                    </a:lnTo>
                    <a:lnTo>
                      <a:pt x="598" y="138"/>
                    </a:lnTo>
                    <a:lnTo>
                      <a:pt x="588" y="124"/>
                    </a:lnTo>
                    <a:lnTo>
                      <a:pt x="560" y="118"/>
                    </a:lnTo>
                    <a:lnTo>
                      <a:pt x="520" y="118"/>
                    </a:lnTo>
                    <a:lnTo>
                      <a:pt x="514" y="114"/>
                    </a:lnTo>
                    <a:lnTo>
                      <a:pt x="508" y="106"/>
                    </a:lnTo>
                    <a:lnTo>
                      <a:pt x="496" y="96"/>
                    </a:lnTo>
                    <a:lnTo>
                      <a:pt x="458" y="80"/>
                    </a:lnTo>
                    <a:lnTo>
                      <a:pt x="452" y="70"/>
                    </a:lnTo>
                    <a:lnTo>
                      <a:pt x="448" y="70"/>
                    </a:lnTo>
                    <a:lnTo>
                      <a:pt x="440" y="76"/>
                    </a:lnTo>
                    <a:lnTo>
                      <a:pt x="436" y="72"/>
                    </a:lnTo>
                    <a:lnTo>
                      <a:pt x="426" y="50"/>
                    </a:lnTo>
                    <a:lnTo>
                      <a:pt x="418" y="46"/>
                    </a:lnTo>
                    <a:lnTo>
                      <a:pt x="418" y="60"/>
                    </a:lnTo>
                    <a:lnTo>
                      <a:pt x="414" y="70"/>
                    </a:lnTo>
                    <a:lnTo>
                      <a:pt x="408" y="72"/>
                    </a:lnTo>
                    <a:lnTo>
                      <a:pt x="396" y="68"/>
                    </a:lnTo>
                    <a:lnTo>
                      <a:pt x="384" y="92"/>
                    </a:lnTo>
                    <a:lnTo>
                      <a:pt x="378" y="106"/>
                    </a:lnTo>
                    <a:lnTo>
                      <a:pt x="356" y="118"/>
                    </a:lnTo>
                    <a:lnTo>
                      <a:pt x="342" y="114"/>
                    </a:lnTo>
                    <a:lnTo>
                      <a:pt x="348" y="64"/>
                    </a:lnTo>
                    <a:lnTo>
                      <a:pt x="350" y="38"/>
                    </a:lnTo>
                    <a:lnTo>
                      <a:pt x="354" y="22"/>
                    </a:lnTo>
                    <a:lnTo>
                      <a:pt x="350" y="14"/>
                    </a:lnTo>
                    <a:lnTo>
                      <a:pt x="334" y="2"/>
                    </a:lnTo>
                    <a:lnTo>
                      <a:pt x="328" y="4"/>
                    </a:lnTo>
                    <a:lnTo>
                      <a:pt x="320" y="18"/>
                    </a:lnTo>
                    <a:lnTo>
                      <a:pt x="312" y="26"/>
                    </a:lnTo>
                    <a:lnTo>
                      <a:pt x="304" y="26"/>
                    </a:lnTo>
                    <a:lnTo>
                      <a:pt x="298" y="30"/>
                    </a:lnTo>
                    <a:lnTo>
                      <a:pt x="296" y="46"/>
                    </a:lnTo>
                    <a:lnTo>
                      <a:pt x="298" y="68"/>
                    </a:lnTo>
                    <a:lnTo>
                      <a:pt x="298" y="114"/>
                    </a:lnTo>
                    <a:lnTo>
                      <a:pt x="294" y="152"/>
                    </a:lnTo>
                    <a:lnTo>
                      <a:pt x="288" y="168"/>
                    </a:lnTo>
                    <a:lnTo>
                      <a:pt x="280" y="162"/>
                    </a:lnTo>
                    <a:lnTo>
                      <a:pt x="262" y="136"/>
                    </a:lnTo>
                    <a:lnTo>
                      <a:pt x="254" y="132"/>
                    </a:lnTo>
                    <a:lnTo>
                      <a:pt x="248" y="126"/>
                    </a:lnTo>
                    <a:lnTo>
                      <a:pt x="246" y="102"/>
                    </a:lnTo>
                    <a:lnTo>
                      <a:pt x="238" y="92"/>
                    </a:lnTo>
                    <a:lnTo>
                      <a:pt x="202" y="94"/>
                    </a:lnTo>
                    <a:lnTo>
                      <a:pt x="196" y="9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21" name="Google Shape;4788;p64">
                <a:extLst>
                  <a:ext uri="{FF2B5EF4-FFF2-40B4-BE49-F238E27FC236}">
                    <a16:creationId xmlns:a16="http://schemas.microsoft.com/office/drawing/2014/main" id="{D5D62733-85CC-C3F1-F3FC-CF4B5B2D7A68}"/>
                  </a:ext>
                </a:extLst>
              </p:cNvPr>
              <p:cNvCxnSpPr/>
              <p:nvPr/>
            </p:nvCxnSpPr>
            <p:spPr>
              <a:xfrm>
                <a:off x="31890984" y="5013474"/>
                <a:ext cx="0" cy="0"/>
              </a:xfrm>
              <a:prstGeom prst="straightConnector1">
                <a:avLst/>
              </a:prstGeom>
              <a:grpFill/>
              <a:ln w="9525" cap="flat" cmpd="sng">
                <a:solidFill>
                  <a:schemeClr val="bg2"/>
                </a:solidFill>
                <a:prstDash val="solid"/>
                <a:round/>
                <a:headEnd type="none" w="med" len="med"/>
                <a:tailEnd type="none" w="med" len="med"/>
              </a:ln>
            </p:spPr>
          </p:cxnSp>
          <p:cxnSp>
            <p:nvCxnSpPr>
              <p:cNvPr id="322" name="Google Shape;4789;p64">
                <a:extLst>
                  <a:ext uri="{FF2B5EF4-FFF2-40B4-BE49-F238E27FC236}">
                    <a16:creationId xmlns:a16="http://schemas.microsoft.com/office/drawing/2014/main" id="{471C5023-B4A6-D581-DE49-C9D64030EEF6}"/>
                  </a:ext>
                </a:extLst>
              </p:cNvPr>
              <p:cNvCxnSpPr/>
              <p:nvPr/>
            </p:nvCxnSpPr>
            <p:spPr>
              <a:xfrm>
                <a:off x="31890984" y="5013474"/>
                <a:ext cx="0" cy="0"/>
              </a:xfrm>
              <a:prstGeom prst="straightConnector1">
                <a:avLst/>
              </a:prstGeom>
              <a:grpFill/>
              <a:ln w="9525" cap="flat" cmpd="sng">
                <a:solidFill>
                  <a:schemeClr val="bg2"/>
                </a:solidFill>
                <a:prstDash val="solid"/>
                <a:round/>
                <a:headEnd type="none" w="med" len="med"/>
                <a:tailEnd type="none" w="med" len="med"/>
              </a:ln>
            </p:spPr>
          </p:cxnSp>
        </p:grpSp>
        <p:sp>
          <p:nvSpPr>
            <p:cNvPr id="323" name="Google Shape;4790;p64">
              <a:extLst>
                <a:ext uri="{FF2B5EF4-FFF2-40B4-BE49-F238E27FC236}">
                  <a16:creationId xmlns:a16="http://schemas.microsoft.com/office/drawing/2014/main" id="{32A1ECE0-67A0-29F2-A0A3-644378012138}"/>
                </a:ext>
              </a:extLst>
            </p:cNvPr>
            <p:cNvSpPr/>
            <p:nvPr/>
          </p:nvSpPr>
          <p:spPr>
            <a:xfrm>
              <a:off x="6247136" y="4302945"/>
              <a:ext cx="174580" cy="98446"/>
            </a:xfrm>
            <a:custGeom>
              <a:avLst/>
              <a:gdLst/>
              <a:ahLst/>
              <a:cxnLst/>
              <a:rect l="l" t="t" r="r" b="b"/>
              <a:pathLst>
                <a:path w="532" h="300" extrusionOk="0">
                  <a:moveTo>
                    <a:pt x="528" y="188"/>
                  </a:moveTo>
                  <a:lnTo>
                    <a:pt x="522" y="188"/>
                  </a:lnTo>
                  <a:lnTo>
                    <a:pt x="516" y="188"/>
                  </a:lnTo>
                  <a:lnTo>
                    <a:pt x="512" y="188"/>
                  </a:lnTo>
                  <a:lnTo>
                    <a:pt x="500" y="192"/>
                  </a:lnTo>
                  <a:lnTo>
                    <a:pt x="496" y="192"/>
                  </a:lnTo>
                  <a:lnTo>
                    <a:pt x="492" y="192"/>
                  </a:lnTo>
                  <a:lnTo>
                    <a:pt x="474" y="192"/>
                  </a:lnTo>
                  <a:lnTo>
                    <a:pt x="464" y="192"/>
                  </a:lnTo>
                  <a:lnTo>
                    <a:pt x="456" y="184"/>
                  </a:lnTo>
                  <a:lnTo>
                    <a:pt x="452" y="182"/>
                  </a:lnTo>
                  <a:lnTo>
                    <a:pt x="446" y="180"/>
                  </a:lnTo>
                  <a:lnTo>
                    <a:pt x="440" y="178"/>
                  </a:lnTo>
                  <a:lnTo>
                    <a:pt x="438" y="174"/>
                  </a:lnTo>
                  <a:lnTo>
                    <a:pt x="436" y="172"/>
                  </a:lnTo>
                  <a:lnTo>
                    <a:pt x="430" y="172"/>
                  </a:lnTo>
                  <a:lnTo>
                    <a:pt x="426" y="172"/>
                  </a:lnTo>
                  <a:lnTo>
                    <a:pt x="424" y="182"/>
                  </a:lnTo>
                  <a:lnTo>
                    <a:pt x="422" y="184"/>
                  </a:lnTo>
                  <a:lnTo>
                    <a:pt x="416" y="184"/>
                  </a:lnTo>
                  <a:lnTo>
                    <a:pt x="412" y="182"/>
                  </a:lnTo>
                  <a:lnTo>
                    <a:pt x="404" y="178"/>
                  </a:lnTo>
                  <a:lnTo>
                    <a:pt x="402" y="172"/>
                  </a:lnTo>
                  <a:lnTo>
                    <a:pt x="400" y="170"/>
                  </a:lnTo>
                  <a:lnTo>
                    <a:pt x="396" y="174"/>
                  </a:lnTo>
                  <a:lnTo>
                    <a:pt x="394" y="180"/>
                  </a:lnTo>
                  <a:lnTo>
                    <a:pt x="394" y="184"/>
                  </a:lnTo>
                  <a:lnTo>
                    <a:pt x="390" y="186"/>
                  </a:lnTo>
                  <a:lnTo>
                    <a:pt x="386" y="184"/>
                  </a:lnTo>
                  <a:lnTo>
                    <a:pt x="384" y="180"/>
                  </a:lnTo>
                  <a:lnTo>
                    <a:pt x="380" y="170"/>
                  </a:lnTo>
                  <a:lnTo>
                    <a:pt x="374" y="162"/>
                  </a:lnTo>
                  <a:lnTo>
                    <a:pt x="368" y="158"/>
                  </a:lnTo>
                  <a:lnTo>
                    <a:pt x="352" y="158"/>
                  </a:lnTo>
                  <a:lnTo>
                    <a:pt x="338" y="158"/>
                  </a:lnTo>
                  <a:lnTo>
                    <a:pt x="332" y="156"/>
                  </a:lnTo>
                  <a:lnTo>
                    <a:pt x="330" y="152"/>
                  </a:lnTo>
                  <a:lnTo>
                    <a:pt x="332" y="144"/>
                  </a:lnTo>
                  <a:lnTo>
                    <a:pt x="334" y="136"/>
                  </a:lnTo>
                  <a:lnTo>
                    <a:pt x="334" y="136"/>
                  </a:lnTo>
                  <a:lnTo>
                    <a:pt x="332" y="134"/>
                  </a:lnTo>
                  <a:lnTo>
                    <a:pt x="328" y="134"/>
                  </a:lnTo>
                  <a:lnTo>
                    <a:pt x="314" y="138"/>
                  </a:lnTo>
                  <a:lnTo>
                    <a:pt x="312" y="138"/>
                  </a:lnTo>
                  <a:lnTo>
                    <a:pt x="308" y="136"/>
                  </a:lnTo>
                  <a:lnTo>
                    <a:pt x="306" y="134"/>
                  </a:lnTo>
                  <a:lnTo>
                    <a:pt x="304" y="132"/>
                  </a:lnTo>
                  <a:lnTo>
                    <a:pt x="302" y="130"/>
                  </a:lnTo>
                  <a:lnTo>
                    <a:pt x="290" y="124"/>
                  </a:lnTo>
                  <a:lnTo>
                    <a:pt x="286" y="120"/>
                  </a:lnTo>
                  <a:lnTo>
                    <a:pt x="280" y="114"/>
                  </a:lnTo>
                  <a:lnTo>
                    <a:pt x="274" y="112"/>
                  </a:lnTo>
                  <a:lnTo>
                    <a:pt x="270" y="102"/>
                  </a:lnTo>
                  <a:lnTo>
                    <a:pt x="268" y="92"/>
                  </a:lnTo>
                  <a:lnTo>
                    <a:pt x="266" y="88"/>
                  </a:lnTo>
                  <a:lnTo>
                    <a:pt x="260" y="86"/>
                  </a:lnTo>
                  <a:lnTo>
                    <a:pt x="254" y="84"/>
                  </a:lnTo>
                  <a:lnTo>
                    <a:pt x="246" y="88"/>
                  </a:lnTo>
                  <a:lnTo>
                    <a:pt x="238" y="90"/>
                  </a:lnTo>
                  <a:lnTo>
                    <a:pt x="232" y="90"/>
                  </a:lnTo>
                  <a:lnTo>
                    <a:pt x="224" y="82"/>
                  </a:lnTo>
                  <a:lnTo>
                    <a:pt x="216" y="72"/>
                  </a:lnTo>
                  <a:lnTo>
                    <a:pt x="208" y="62"/>
                  </a:lnTo>
                  <a:lnTo>
                    <a:pt x="204" y="58"/>
                  </a:lnTo>
                  <a:lnTo>
                    <a:pt x="194" y="58"/>
                  </a:lnTo>
                  <a:lnTo>
                    <a:pt x="184" y="54"/>
                  </a:lnTo>
                  <a:lnTo>
                    <a:pt x="170" y="42"/>
                  </a:lnTo>
                  <a:lnTo>
                    <a:pt x="160" y="34"/>
                  </a:lnTo>
                  <a:lnTo>
                    <a:pt x="142" y="24"/>
                  </a:lnTo>
                  <a:lnTo>
                    <a:pt x="138" y="20"/>
                  </a:lnTo>
                  <a:lnTo>
                    <a:pt x="136" y="18"/>
                  </a:lnTo>
                  <a:lnTo>
                    <a:pt x="134" y="10"/>
                  </a:lnTo>
                  <a:lnTo>
                    <a:pt x="130" y="4"/>
                  </a:lnTo>
                  <a:lnTo>
                    <a:pt x="118" y="2"/>
                  </a:lnTo>
                  <a:lnTo>
                    <a:pt x="104" y="0"/>
                  </a:lnTo>
                  <a:lnTo>
                    <a:pt x="90" y="4"/>
                  </a:lnTo>
                  <a:lnTo>
                    <a:pt x="80" y="22"/>
                  </a:lnTo>
                  <a:lnTo>
                    <a:pt x="74" y="26"/>
                  </a:lnTo>
                  <a:lnTo>
                    <a:pt x="70" y="26"/>
                  </a:lnTo>
                  <a:lnTo>
                    <a:pt x="66" y="22"/>
                  </a:lnTo>
                  <a:lnTo>
                    <a:pt x="62" y="16"/>
                  </a:lnTo>
                  <a:lnTo>
                    <a:pt x="60" y="16"/>
                  </a:lnTo>
                  <a:lnTo>
                    <a:pt x="56" y="16"/>
                  </a:lnTo>
                  <a:lnTo>
                    <a:pt x="52" y="18"/>
                  </a:lnTo>
                  <a:lnTo>
                    <a:pt x="50" y="20"/>
                  </a:lnTo>
                  <a:lnTo>
                    <a:pt x="42" y="30"/>
                  </a:lnTo>
                  <a:lnTo>
                    <a:pt x="36" y="32"/>
                  </a:lnTo>
                  <a:lnTo>
                    <a:pt x="32" y="36"/>
                  </a:lnTo>
                  <a:lnTo>
                    <a:pt x="24" y="50"/>
                  </a:lnTo>
                  <a:lnTo>
                    <a:pt x="18" y="62"/>
                  </a:lnTo>
                  <a:lnTo>
                    <a:pt x="14" y="72"/>
                  </a:lnTo>
                  <a:lnTo>
                    <a:pt x="14" y="80"/>
                  </a:lnTo>
                  <a:lnTo>
                    <a:pt x="12" y="90"/>
                  </a:lnTo>
                  <a:lnTo>
                    <a:pt x="8" y="96"/>
                  </a:lnTo>
                  <a:lnTo>
                    <a:pt x="6" y="98"/>
                  </a:lnTo>
                  <a:lnTo>
                    <a:pt x="2" y="106"/>
                  </a:lnTo>
                  <a:lnTo>
                    <a:pt x="0" y="114"/>
                  </a:lnTo>
                  <a:lnTo>
                    <a:pt x="2" y="118"/>
                  </a:lnTo>
                  <a:lnTo>
                    <a:pt x="6" y="122"/>
                  </a:lnTo>
                  <a:lnTo>
                    <a:pt x="12" y="126"/>
                  </a:lnTo>
                  <a:lnTo>
                    <a:pt x="18" y="130"/>
                  </a:lnTo>
                  <a:lnTo>
                    <a:pt x="24" y="134"/>
                  </a:lnTo>
                  <a:lnTo>
                    <a:pt x="28" y="134"/>
                  </a:lnTo>
                  <a:lnTo>
                    <a:pt x="30" y="132"/>
                  </a:lnTo>
                  <a:lnTo>
                    <a:pt x="30" y="130"/>
                  </a:lnTo>
                  <a:lnTo>
                    <a:pt x="36" y="130"/>
                  </a:lnTo>
                  <a:lnTo>
                    <a:pt x="40" y="134"/>
                  </a:lnTo>
                  <a:lnTo>
                    <a:pt x="44" y="138"/>
                  </a:lnTo>
                  <a:lnTo>
                    <a:pt x="46" y="140"/>
                  </a:lnTo>
                  <a:lnTo>
                    <a:pt x="56" y="144"/>
                  </a:lnTo>
                  <a:lnTo>
                    <a:pt x="64" y="148"/>
                  </a:lnTo>
                  <a:lnTo>
                    <a:pt x="74" y="154"/>
                  </a:lnTo>
                  <a:lnTo>
                    <a:pt x="76" y="158"/>
                  </a:lnTo>
                  <a:lnTo>
                    <a:pt x="78" y="162"/>
                  </a:lnTo>
                  <a:lnTo>
                    <a:pt x="82" y="166"/>
                  </a:lnTo>
                  <a:lnTo>
                    <a:pt x="94" y="174"/>
                  </a:lnTo>
                  <a:lnTo>
                    <a:pt x="104" y="180"/>
                  </a:lnTo>
                  <a:lnTo>
                    <a:pt x="112" y="186"/>
                  </a:lnTo>
                  <a:lnTo>
                    <a:pt x="118" y="190"/>
                  </a:lnTo>
                  <a:lnTo>
                    <a:pt x="122" y="188"/>
                  </a:lnTo>
                  <a:lnTo>
                    <a:pt x="124" y="186"/>
                  </a:lnTo>
                  <a:lnTo>
                    <a:pt x="128" y="186"/>
                  </a:lnTo>
                  <a:lnTo>
                    <a:pt x="130" y="186"/>
                  </a:lnTo>
                  <a:lnTo>
                    <a:pt x="134" y="190"/>
                  </a:lnTo>
                  <a:lnTo>
                    <a:pt x="146" y="198"/>
                  </a:lnTo>
                  <a:lnTo>
                    <a:pt x="158" y="204"/>
                  </a:lnTo>
                  <a:lnTo>
                    <a:pt x="170" y="202"/>
                  </a:lnTo>
                  <a:lnTo>
                    <a:pt x="172" y="204"/>
                  </a:lnTo>
                  <a:lnTo>
                    <a:pt x="174" y="208"/>
                  </a:lnTo>
                  <a:lnTo>
                    <a:pt x="176" y="214"/>
                  </a:lnTo>
                  <a:lnTo>
                    <a:pt x="188" y="218"/>
                  </a:lnTo>
                  <a:lnTo>
                    <a:pt x="198" y="220"/>
                  </a:lnTo>
                  <a:lnTo>
                    <a:pt x="208" y="224"/>
                  </a:lnTo>
                  <a:lnTo>
                    <a:pt x="212" y="226"/>
                  </a:lnTo>
                  <a:lnTo>
                    <a:pt x="218" y="222"/>
                  </a:lnTo>
                  <a:lnTo>
                    <a:pt x="218" y="220"/>
                  </a:lnTo>
                  <a:lnTo>
                    <a:pt x="222" y="218"/>
                  </a:lnTo>
                  <a:lnTo>
                    <a:pt x="230" y="220"/>
                  </a:lnTo>
                  <a:lnTo>
                    <a:pt x="242" y="224"/>
                  </a:lnTo>
                  <a:lnTo>
                    <a:pt x="248" y="226"/>
                  </a:lnTo>
                  <a:lnTo>
                    <a:pt x="252" y="222"/>
                  </a:lnTo>
                  <a:lnTo>
                    <a:pt x="260" y="220"/>
                  </a:lnTo>
                  <a:lnTo>
                    <a:pt x="264" y="216"/>
                  </a:lnTo>
                  <a:lnTo>
                    <a:pt x="274" y="222"/>
                  </a:lnTo>
                  <a:lnTo>
                    <a:pt x="290" y="228"/>
                  </a:lnTo>
                  <a:lnTo>
                    <a:pt x="300" y="232"/>
                  </a:lnTo>
                  <a:lnTo>
                    <a:pt x="300" y="234"/>
                  </a:lnTo>
                  <a:lnTo>
                    <a:pt x="302" y="238"/>
                  </a:lnTo>
                  <a:lnTo>
                    <a:pt x="302" y="246"/>
                  </a:lnTo>
                  <a:lnTo>
                    <a:pt x="304" y="250"/>
                  </a:lnTo>
                  <a:lnTo>
                    <a:pt x="320" y="258"/>
                  </a:lnTo>
                  <a:lnTo>
                    <a:pt x="326" y="262"/>
                  </a:lnTo>
                  <a:lnTo>
                    <a:pt x="330" y="264"/>
                  </a:lnTo>
                  <a:lnTo>
                    <a:pt x="332" y="264"/>
                  </a:lnTo>
                  <a:lnTo>
                    <a:pt x="334" y="264"/>
                  </a:lnTo>
                  <a:lnTo>
                    <a:pt x="336" y="270"/>
                  </a:lnTo>
                  <a:lnTo>
                    <a:pt x="336" y="270"/>
                  </a:lnTo>
                  <a:lnTo>
                    <a:pt x="340" y="272"/>
                  </a:lnTo>
                  <a:lnTo>
                    <a:pt x="344" y="272"/>
                  </a:lnTo>
                  <a:lnTo>
                    <a:pt x="354" y="268"/>
                  </a:lnTo>
                  <a:lnTo>
                    <a:pt x="362" y="264"/>
                  </a:lnTo>
                  <a:lnTo>
                    <a:pt x="368" y="266"/>
                  </a:lnTo>
                  <a:lnTo>
                    <a:pt x="370" y="270"/>
                  </a:lnTo>
                  <a:lnTo>
                    <a:pt x="370" y="274"/>
                  </a:lnTo>
                  <a:lnTo>
                    <a:pt x="372" y="280"/>
                  </a:lnTo>
                  <a:lnTo>
                    <a:pt x="376" y="282"/>
                  </a:lnTo>
                  <a:lnTo>
                    <a:pt x="380" y="282"/>
                  </a:lnTo>
                  <a:lnTo>
                    <a:pt x="390" y="278"/>
                  </a:lnTo>
                  <a:lnTo>
                    <a:pt x="398" y="282"/>
                  </a:lnTo>
                  <a:lnTo>
                    <a:pt x="406" y="282"/>
                  </a:lnTo>
                  <a:lnTo>
                    <a:pt x="414" y="284"/>
                  </a:lnTo>
                  <a:lnTo>
                    <a:pt x="418" y="286"/>
                  </a:lnTo>
                  <a:lnTo>
                    <a:pt x="426" y="290"/>
                  </a:lnTo>
                  <a:lnTo>
                    <a:pt x="436" y="294"/>
                  </a:lnTo>
                  <a:lnTo>
                    <a:pt x="440" y="294"/>
                  </a:lnTo>
                  <a:lnTo>
                    <a:pt x="456" y="286"/>
                  </a:lnTo>
                  <a:lnTo>
                    <a:pt x="458" y="286"/>
                  </a:lnTo>
                  <a:lnTo>
                    <a:pt x="462" y="294"/>
                  </a:lnTo>
                  <a:lnTo>
                    <a:pt x="466" y="298"/>
                  </a:lnTo>
                  <a:lnTo>
                    <a:pt x="474" y="300"/>
                  </a:lnTo>
                  <a:lnTo>
                    <a:pt x="482" y="296"/>
                  </a:lnTo>
                  <a:lnTo>
                    <a:pt x="490" y="296"/>
                  </a:lnTo>
                  <a:lnTo>
                    <a:pt x="498" y="298"/>
                  </a:lnTo>
                  <a:lnTo>
                    <a:pt x="504" y="296"/>
                  </a:lnTo>
                  <a:lnTo>
                    <a:pt x="512" y="294"/>
                  </a:lnTo>
                  <a:lnTo>
                    <a:pt x="520" y="298"/>
                  </a:lnTo>
                  <a:lnTo>
                    <a:pt x="522" y="298"/>
                  </a:lnTo>
                  <a:lnTo>
                    <a:pt x="524" y="294"/>
                  </a:lnTo>
                  <a:lnTo>
                    <a:pt x="528" y="284"/>
                  </a:lnTo>
                  <a:lnTo>
                    <a:pt x="532" y="274"/>
                  </a:lnTo>
                  <a:lnTo>
                    <a:pt x="532" y="268"/>
                  </a:lnTo>
                  <a:lnTo>
                    <a:pt x="528" y="258"/>
                  </a:lnTo>
                  <a:lnTo>
                    <a:pt x="520" y="246"/>
                  </a:lnTo>
                  <a:lnTo>
                    <a:pt x="520" y="244"/>
                  </a:lnTo>
                  <a:lnTo>
                    <a:pt x="522" y="222"/>
                  </a:lnTo>
                  <a:lnTo>
                    <a:pt x="526" y="212"/>
                  </a:lnTo>
                  <a:lnTo>
                    <a:pt x="528" y="206"/>
                  </a:lnTo>
                  <a:lnTo>
                    <a:pt x="530" y="198"/>
                  </a:lnTo>
                  <a:lnTo>
                    <a:pt x="532" y="194"/>
                  </a:lnTo>
                  <a:lnTo>
                    <a:pt x="532" y="190"/>
                  </a:lnTo>
                  <a:lnTo>
                    <a:pt x="528" y="18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24" name="Google Shape;4791;p64">
              <a:extLst>
                <a:ext uri="{FF2B5EF4-FFF2-40B4-BE49-F238E27FC236}">
                  <a16:creationId xmlns:a16="http://schemas.microsoft.com/office/drawing/2014/main" id="{34073AC8-D287-4A7D-61CF-9F07BCCA0AB8}"/>
                </a:ext>
              </a:extLst>
            </p:cNvPr>
            <p:cNvSpPr/>
            <p:nvPr/>
          </p:nvSpPr>
          <p:spPr>
            <a:xfrm>
              <a:off x="8115336" y="4999950"/>
              <a:ext cx="1313" cy="1313"/>
            </a:xfrm>
            <a:custGeom>
              <a:avLst/>
              <a:gdLst/>
              <a:ahLst/>
              <a:cxnLst/>
              <a:rect l="l" t="t" r="r" b="b"/>
              <a:pathLst>
                <a:path w="4" h="4" extrusionOk="0">
                  <a:moveTo>
                    <a:pt x="4" y="2"/>
                  </a:moveTo>
                  <a:lnTo>
                    <a:pt x="4" y="2"/>
                  </a:lnTo>
                  <a:lnTo>
                    <a:pt x="2" y="0"/>
                  </a:lnTo>
                  <a:lnTo>
                    <a:pt x="0" y="2"/>
                  </a:lnTo>
                  <a:lnTo>
                    <a:pt x="0" y="2"/>
                  </a:lnTo>
                  <a:lnTo>
                    <a:pt x="0" y="4"/>
                  </a:lnTo>
                  <a:lnTo>
                    <a:pt x="2" y="4"/>
                  </a:lnTo>
                  <a:lnTo>
                    <a:pt x="4"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25" name="Google Shape;4792;p64">
              <a:extLst>
                <a:ext uri="{FF2B5EF4-FFF2-40B4-BE49-F238E27FC236}">
                  <a16:creationId xmlns:a16="http://schemas.microsoft.com/office/drawing/2014/main" id="{91425FD3-CB89-A043-809A-A53087E6943D}"/>
                </a:ext>
              </a:extLst>
            </p:cNvPr>
            <p:cNvCxnSpPr/>
            <p:nvPr/>
          </p:nvCxnSpPr>
          <p:spPr>
            <a:xfrm>
              <a:off x="8116648" y="5000607"/>
              <a:ext cx="0" cy="0"/>
            </a:xfrm>
            <a:prstGeom prst="straightConnector1">
              <a:avLst/>
            </a:prstGeom>
            <a:grpFill/>
            <a:ln w="9525" cap="flat" cmpd="sng">
              <a:solidFill>
                <a:schemeClr val="bg2"/>
              </a:solidFill>
              <a:prstDash val="solid"/>
              <a:round/>
              <a:headEnd type="none" w="med" len="med"/>
              <a:tailEnd type="none" w="med" len="med"/>
            </a:ln>
          </p:spPr>
        </p:cxnSp>
        <p:cxnSp>
          <p:nvCxnSpPr>
            <p:cNvPr id="326" name="Google Shape;4793;p64">
              <a:extLst>
                <a:ext uri="{FF2B5EF4-FFF2-40B4-BE49-F238E27FC236}">
                  <a16:creationId xmlns:a16="http://schemas.microsoft.com/office/drawing/2014/main" id="{82367B52-E7D7-3BEA-4C71-93CA43180AFA}"/>
                </a:ext>
              </a:extLst>
            </p:cNvPr>
            <p:cNvCxnSpPr/>
            <p:nvPr/>
          </p:nvCxnSpPr>
          <p:spPr>
            <a:xfrm>
              <a:off x="8116648" y="5000607"/>
              <a:ext cx="0" cy="0"/>
            </a:xfrm>
            <a:prstGeom prst="straightConnector1">
              <a:avLst/>
            </a:prstGeom>
            <a:grpFill/>
            <a:ln w="9525" cap="flat" cmpd="sng">
              <a:solidFill>
                <a:schemeClr val="bg2"/>
              </a:solidFill>
              <a:prstDash val="solid"/>
              <a:round/>
              <a:headEnd type="none" w="med" len="med"/>
              <a:tailEnd type="none" w="med" len="med"/>
            </a:ln>
          </p:spPr>
        </p:cxnSp>
        <p:sp>
          <p:nvSpPr>
            <p:cNvPr id="327" name="Google Shape;4794;p64">
              <a:extLst>
                <a:ext uri="{FF2B5EF4-FFF2-40B4-BE49-F238E27FC236}">
                  <a16:creationId xmlns:a16="http://schemas.microsoft.com/office/drawing/2014/main" id="{29AA0231-5FE9-8E81-4B72-C63F1A3456E3}"/>
                </a:ext>
              </a:extLst>
            </p:cNvPr>
            <p:cNvSpPr/>
            <p:nvPr/>
          </p:nvSpPr>
          <p:spPr>
            <a:xfrm>
              <a:off x="5643326" y="4401392"/>
              <a:ext cx="168673" cy="225116"/>
            </a:xfrm>
            <a:custGeom>
              <a:avLst/>
              <a:gdLst/>
              <a:ahLst/>
              <a:cxnLst/>
              <a:rect l="l" t="t" r="r" b="b"/>
              <a:pathLst>
                <a:path w="1224640" h="1634436" extrusionOk="0">
                  <a:moveTo>
                    <a:pt x="1076920" y="967320"/>
                  </a:moveTo>
                  <a:lnTo>
                    <a:pt x="1086448" y="995908"/>
                  </a:lnTo>
                  <a:lnTo>
                    <a:pt x="1072152" y="1010204"/>
                  </a:lnTo>
                  <a:lnTo>
                    <a:pt x="1057860" y="1038796"/>
                  </a:lnTo>
                  <a:lnTo>
                    <a:pt x="1053092" y="1043560"/>
                  </a:lnTo>
                  <a:lnTo>
                    <a:pt x="1043564" y="1048328"/>
                  </a:lnTo>
                  <a:lnTo>
                    <a:pt x="1038800" y="1048328"/>
                  </a:lnTo>
                  <a:lnTo>
                    <a:pt x="1038800" y="1024500"/>
                  </a:lnTo>
                  <a:lnTo>
                    <a:pt x="1062624" y="1000676"/>
                  </a:lnTo>
                  <a:close/>
                  <a:moveTo>
                    <a:pt x="686180" y="238256"/>
                  </a:moveTo>
                  <a:lnTo>
                    <a:pt x="705240" y="285908"/>
                  </a:lnTo>
                  <a:lnTo>
                    <a:pt x="729064" y="328792"/>
                  </a:lnTo>
                  <a:lnTo>
                    <a:pt x="748124" y="347852"/>
                  </a:lnTo>
                  <a:lnTo>
                    <a:pt x="767184" y="381208"/>
                  </a:lnTo>
                  <a:lnTo>
                    <a:pt x="800540" y="409800"/>
                  </a:lnTo>
                  <a:lnTo>
                    <a:pt x="819604" y="419328"/>
                  </a:lnTo>
                  <a:lnTo>
                    <a:pt x="876784" y="443156"/>
                  </a:lnTo>
                  <a:lnTo>
                    <a:pt x="914904" y="447920"/>
                  </a:lnTo>
                  <a:lnTo>
                    <a:pt x="957792" y="457452"/>
                  </a:lnTo>
                  <a:lnTo>
                    <a:pt x="991148" y="471748"/>
                  </a:lnTo>
                  <a:lnTo>
                    <a:pt x="1000676" y="471748"/>
                  </a:lnTo>
                  <a:lnTo>
                    <a:pt x="1019736" y="466980"/>
                  </a:lnTo>
                  <a:lnTo>
                    <a:pt x="1029268" y="466980"/>
                  </a:lnTo>
                  <a:lnTo>
                    <a:pt x="1062624" y="490808"/>
                  </a:lnTo>
                  <a:lnTo>
                    <a:pt x="1067388" y="509868"/>
                  </a:lnTo>
                  <a:lnTo>
                    <a:pt x="1081684" y="519396"/>
                  </a:lnTo>
                  <a:lnTo>
                    <a:pt x="1091216" y="538456"/>
                  </a:lnTo>
                  <a:lnTo>
                    <a:pt x="1100744" y="557520"/>
                  </a:lnTo>
                  <a:lnTo>
                    <a:pt x="1124572" y="581344"/>
                  </a:lnTo>
                  <a:lnTo>
                    <a:pt x="1143632" y="614700"/>
                  </a:lnTo>
                  <a:lnTo>
                    <a:pt x="1162692" y="633760"/>
                  </a:lnTo>
                  <a:lnTo>
                    <a:pt x="1176988" y="648056"/>
                  </a:lnTo>
                  <a:lnTo>
                    <a:pt x="1205576" y="652820"/>
                  </a:lnTo>
                  <a:lnTo>
                    <a:pt x="1224640" y="662352"/>
                  </a:lnTo>
                  <a:lnTo>
                    <a:pt x="1224640" y="676648"/>
                  </a:lnTo>
                  <a:lnTo>
                    <a:pt x="1224640" y="695708"/>
                  </a:lnTo>
                  <a:lnTo>
                    <a:pt x="1219872" y="710004"/>
                  </a:lnTo>
                  <a:lnTo>
                    <a:pt x="1200812" y="738592"/>
                  </a:lnTo>
                  <a:lnTo>
                    <a:pt x="1196048" y="752888"/>
                  </a:lnTo>
                  <a:lnTo>
                    <a:pt x="1176988" y="781480"/>
                  </a:lnTo>
                  <a:lnTo>
                    <a:pt x="1153160" y="829132"/>
                  </a:lnTo>
                  <a:lnTo>
                    <a:pt x="1143632" y="843428"/>
                  </a:lnTo>
                  <a:lnTo>
                    <a:pt x="1105508" y="867252"/>
                  </a:lnTo>
                  <a:lnTo>
                    <a:pt x="1081684" y="895844"/>
                  </a:lnTo>
                  <a:lnTo>
                    <a:pt x="1048328" y="948260"/>
                  </a:lnTo>
                  <a:lnTo>
                    <a:pt x="1024504" y="995912"/>
                  </a:lnTo>
                  <a:lnTo>
                    <a:pt x="1014972" y="1014972"/>
                  </a:lnTo>
                  <a:lnTo>
                    <a:pt x="995912" y="1014972"/>
                  </a:lnTo>
                  <a:lnTo>
                    <a:pt x="981616" y="1014972"/>
                  </a:lnTo>
                  <a:lnTo>
                    <a:pt x="972088" y="1010204"/>
                  </a:lnTo>
                  <a:lnTo>
                    <a:pt x="976852" y="995912"/>
                  </a:lnTo>
                  <a:lnTo>
                    <a:pt x="976852" y="981616"/>
                  </a:lnTo>
                  <a:lnTo>
                    <a:pt x="967320" y="981616"/>
                  </a:lnTo>
                  <a:lnTo>
                    <a:pt x="957792" y="986380"/>
                  </a:lnTo>
                  <a:lnTo>
                    <a:pt x="933964" y="1024500"/>
                  </a:lnTo>
                  <a:lnTo>
                    <a:pt x="919668" y="1038796"/>
                  </a:lnTo>
                  <a:lnTo>
                    <a:pt x="914904" y="1062620"/>
                  </a:lnTo>
                  <a:lnTo>
                    <a:pt x="910140" y="1091212"/>
                  </a:lnTo>
                  <a:lnTo>
                    <a:pt x="900608" y="1115040"/>
                  </a:lnTo>
                  <a:lnTo>
                    <a:pt x="895844" y="1134100"/>
                  </a:lnTo>
                  <a:lnTo>
                    <a:pt x="895844" y="1148396"/>
                  </a:lnTo>
                  <a:lnTo>
                    <a:pt x="900608" y="1176984"/>
                  </a:lnTo>
                  <a:lnTo>
                    <a:pt x="900608" y="1205576"/>
                  </a:lnTo>
                  <a:lnTo>
                    <a:pt x="905376" y="1224636"/>
                  </a:lnTo>
                  <a:lnTo>
                    <a:pt x="910140" y="1243696"/>
                  </a:lnTo>
                  <a:lnTo>
                    <a:pt x="900608" y="1248460"/>
                  </a:lnTo>
                  <a:lnTo>
                    <a:pt x="891080" y="1253228"/>
                  </a:lnTo>
                  <a:lnTo>
                    <a:pt x="852960" y="1257992"/>
                  </a:lnTo>
                  <a:lnTo>
                    <a:pt x="810072" y="1262756"/>
                  </a:lnTo>
                  <a:lnTo>
                    <a:pt x="776716" y="1277052"/>
                  </a:lnTo>
                  <a:lnTo>
                    <a:pt x="757656" y="1286584"/>
                  </a:lnTo>
                  <a:lnTo>
                    <a:pt x="729064" y="1315172"/>
                  </a:lnTo>
                  <a:lnTo>
                    <a:pt x="714768" y="1386652"/>
                  </a:lnTo>
                  <a:lnTo>
                    <a:pt x="686180" y="1415240"/>
                  </a:lnTo>
                  <a:lnTo>
                    <a:pt x="667120" y="1420008"/>
                  </a:lnTo>
                  <a:lnTo>
                    <a:pt x="628996" y="1424772"/>
                  </a:lnTo>
                  <a:lnTo>
                    <a:pt x="567052" y="1429536"/>
                  </a:lnTo>
                  <a:lnTo>
                    <a:pt x="547988" y="1439068"/>
                  </a:lnTo>
                  <a:lnTo>
                    <a:pt x="509868" y="1481952"/>
                  </a:lnTo>
                  <a:lnTo>
                    <a:pt x="509868" y="1491484"/>
                  </a:lnTo>
                  <a:lnTo>
                    <a:pt x="514632" y="1501012"/>
                  </a:lnTo>
                  <a:lnTo>
                    <a:pt x="514632" y="1515308"/>
                  </a:lnTo>
                  <a:lnTo>
                    <a:pt x="514632" y="1524840"/>
                  </a:lnTo>
                  <a:lnTo>
                    <a:pt x="500340" y="1548664"/>
                  </a:lnTo>
                  <a:lnTo>
                    <a:pt x="481276" y="1567724"/>
                  </a:lnTo>
                  <a:lnTo>
                    <a:pt x="433628" y="1582020"/>
                  </a:lnTo>
                  <a:lnTo>
                    <a:pt x="419332" y="1572492"/>
                  </a:lnTo>
                  <a:lnTo>
                    <a:pt x="405036" y="1572492"/>
                  </a:lnTo>
                  <a:lnTo>
                    <a:pt x="371680" y="1572492"/>
                  </a:lnTo>
                  <a:lnTo>
                    <a:pt x="324028" y="1577256"/>
                  </a:lnTo>
                  <a:lnTo>
                    <a:pt x="309732" y="1591552"/>
                  </a:lnTo>
                  <a:lnTo>
                    <a:pt x="281144" y="1601080"/>
                  </a:lnTo>
                  <a:lnTo>
                    <a:pt x="252552" y="1615376"/>
                  </a:lnTo>
                  <a:lnTo>
                    <a:pt x="204900" y="1620140"/>
                  </a:lnTo>
                  <a:lnTo>
                    <a:pt x="171544" y="1634436"/>
                  </a:lnTo>
                  <a:lnTo>
                    <a:pt x="162016" y="1610612"/>
                  </a:lnTo>
                  <a:lnTo>
                    <a:pt x="152484" y="1591552"/>
                  </a:lnTo>
                  <a:lnTo>
                    <a:pt x="142952" y="1567724"/>
                  </a:lnTo>
                  <a:lnTo>
                    <a:pt x="133424" y="1548664"/>
                  </a:lnTo>
                  <a:lnTo>
                    <a:pt x="128660" y="1534368"/>
                  </a:lnTo>
                  <a:lnTo>
                    <a:pt x="114364" y="1524840"/>
                  </a:lnTo>
                  <a:lnTo>
                    <a:pt x="109596" y="1510544"/>
                  </a:lnTo>
                  <a:lnTo>
                    <a:pt x="104832" y="1496248"/>
                  </a:lnTo>
                  <a:lnTo>
                    <a:pt x="81008" y="1443832"/>
                  </a:lnTo>
                  <a:lnTo>
                    <a:pt x="76244" y="1429536"/>
                  </a:lnTo>
                  <a:lnTo>
                    <a:pt x="66712" y="1410476"/>
                  </a:lnTo>
                  <a:lnTo>
                    <a:pt x="52416" y="1381884"/>
                  </a:lnTo>
                  <a:lnTo>
                    <a:pt x="47652" y="1362824"/>
                  </a:lnTo>
                  <a:lnTo>
                    <a:pt x="38120" y="1348528"/>
                  </a:lnTo>
                  <a:lnTo>
                    <a:pt x="33356" y="1329468"/>
                  </a:lnTo>
                  <a:lnTo>
                    <a:pt x="28592" y="1315172"/>
                  </a:lnTo>
                  <a:lnTo>
                    <a:pt x="14296" y="1281816"/>
                  </a:lnTo>
                  <a:lnTo>
                    <a:pt x="4764" y="1262756"/>
                  </a:lnTo>
                  <a:lnTo>
                    <a:pt x="0" y="1248460"/>
                  </a:lnTo>
                  <a:lnTo>
                    <a:pt x="19060" y="1238932"/>
                  </a:lnTo>
                  <a:lnTo>
                    <a:pt x="47652" y="1229400"/>
                  </a:lnTo>
                  <a:lnTo>
                    <a:pt x="100068" y="1210340"/>
                  </a:lnTo>
                  <a:lnTo>
                    <a:pt x="128660" y="1200812"/>
                  </a:lnTo>
                  <a:lnTo>
                    <a:pt x="157248" y="1191280"/>
                  </a:lnTo>
                  <a:lnTo>
                    <a:pt x="181076" y="1181752"/>
                  </a:lnTo>
                  <a:lnTo>
                    <a:pt x="209664" y="1172220"/>
                  </a:lnTo>
                  <a:lnTo>
                    <a:pt x="238256" y="1162688"/>
                  </a:lnTo>
                  <a:lnTo>
                    <a:pt x="262084" y="1153160"/>
                  </a:lnTo>
                  <a:lnTo>
                    <a:pt x="290672" y="1143628"/>
                  </a:lnTo>
                  <a:lnTo>
                    <a:pt x="314500" y="1134100"/>
                  </a:lnTo>
                  <a:lnTo>
                    <a:pt x="343088" y="1124568"/>
                  </a:lnTo>
                  <a:lnTo>
                    <a:pt x="371680" y="1115040"/>
                  </a:lnTo>
                  <a:lnTo>
                    <a:pt x="395504" y="1105508"/>
                  </a:lnTo>
                  <a:lnTo>
                    <a:pt x="424096" y="1095976"/>
                  </a:lnTo>
                  <a:lnTo>
                    <a:pt x="452688" y="1086448"/>
                  </a:lnTo>
                  <a:lnTo>
                    <a:pt x="466984" y="1081684"/>
                  </a:lnTo>
                  <a:lnTo>
                    <a:pt x="476512" y="1062620"/>
                  </a:lnTo>
                  <a:lnTo>
                    <a:pt x="481276" y="1043560"/>
                  </a:lnTo>
                  <a:lnTo>
                    <a:pt x="486044" y="1024500"/>
                  </a:lnTo>
                  <a:lnTo>
                    <a:pt x="509868" y="948260"/>
                  </a:lnTo>
                  <a:lnTo>
                    <a:pt x="514632" y="929200"/>
                  </a:lnTo>
                  <a:lnTo>
                    <a:pt x="519400" y="910136"/>
                  </a:lnTo>
                  <a:lnTo>
                    <a:pt x="533696" y="876780"/>
                  </a:lnTo>
                  <a:lnTo>
                    <a:pt x="538460" y="857720"/>
                  </a:lnTo>
                  <a:lnTo>
                    <a:pt x="547988" y="819600"/>
                  </a:lnTo>
                  <a:lnTo>
                    <a:pt x="552756" y="800540"/>
                  </a:lnTo>
                  <a:lnTo>
                    <a:pt x="562284" y="781480"/>
                  </a:lnTo>
                  <a:lnTo>
                    <a:pt x="567052" y="762420"/>
                  </a:lnTo>
                  <a:lnTo>
                    <a:pt x="571816" y="748124"/>
                  </a:lnTo>
                  <a:lnTo>
                    <a:pt x="562284" y="729064"/>
                  </a:lnTo>
                  <a:lnTo>
                    <a:pt x="547988" y="710004"/>
                  </a:lnTo>
                  <a:lnTo>
                    <a:pt x="533696" y="686176"/>
                  </a:lnTo>
                  <a:lnTo>
                    <a:pt x="519400" y="662352"/>
                  </a:lnTo>
                  <a:lnTo>
                    <a:pt x="509868" y="648056"/>
                  </a:lnTo>
                  <a:lnTo>
                    <a:pt x="500340" y="628996"/>
                  </a:lnTo>
                  <a:lnTo>
                    <a:pt x="500340" y="605168"/>
                  </a:lnTo>
                  <a:lnTo>
                    <a:pt x="500340" y="590876"/>
                  </a:lnTo>
                  <a:lnTo>
                    <a:pt x="500340" y="571812"/>
                  </a:lnTo>
                  <a:lnTo>
                    <a:pt x="514632" y="543224"/>
                  </a:lnTo>
                  <a:lnTo>
                    <a:pt x="524164" y="514632"/>
                  </a:lnTo>
                  <a:lnTo>
                    <a:pt x="538460" y="490808"/>
                  </a:lnTo>
                  <a:lnTo>
                    <a:pt x="543224" y="471748"/>
                  </a:lnTo>
                  <a:lnTo>
                    <a:pt x="552756" y="452684"/>
                  </a:lnTo>
                  <a:lnTo>
                    <a:pt x="552756" y="438392"/>
                  </a:lnTo>
                  <a:lnTo>
                    <a:pt x="552756" y="428860"/>
                  </a:lnTo>
                  <a:lnTo>
                    <a:pt x="547988" y="424096"/>
                  </a:lnTo>
                  <a:lnTo>
                    <a:pt x="543224" y="419328"/>
                  </a:lnTo>
                  <a:lnTo>
                    <a:pt x="557520" y="409800"/>
                  </a:lnTo>
                  <a:lnTo>
                    <a:pt x="581344" y="405036"/>
                  </a:lnTo>
                  <a:lnTo>
                    <a:pt x="590876" y="405036"/>
                  </a:lnTo>
                  <a:lnTo>
                    <a:pt x="609936" y="400268"/>
                  </a:lnTo>
                  <a:lnTo>
                    <a:pt x="624232" y="395504"/>
                  </a:lnTo>
                  <a:lnTo>
                    <a:pt x="624232" y="390740"/>
                  </a:lnTo>
                  <a:lnTo>
                    <a:pt x="624232" y="381208"/>
                  </a:lnTo>
                  <a:lnTo>
                    <a:pt x="614700" y="371680"/>
                  </a:lnTo>
                  <a:lnTo>
                    <a:pt x="595640" y="366912"/>
                  </a:lnTo>
                  <a:lnTo>
                    <a:pt x="590876" y="366912"/>
                  </a:lnTo>
                  <a:lnTo>
                    <a:pt x="595640" y="347852"/>
                  </a:lnTo>
                  <a:lnTo>
                    <a:pt x="595640" y="343088"/>
                  </a:lnTo>
                  <a:lnTo>
                    <a:pt x="595640" y="333556"/>
                  </a:lnTo>
                  <a:lnTo>
                    <a:pt x="590876" y="324028"/>
                  </a:lnTo>
                  <a:lnTo>
                    <a:pt x="590876" y="309732"/>
                  </a:lnTo>
                  <a:lnTo>
                    <a:pt x="595640" y="300200"/>
                  </a:lnTo>
                  <a:lnTo>
                    <a:pt x="595640" y="290672"/>
                  </a:lnTo>
                  <a:lnTo>
                    <a:pt x="595640" y="271612"/>
                  </a:lnTo>
                  <a:lnTo>
                    <a:pt x="595640" y="257316"/>
                  </a:lnTo>
                  <a:lnTo>
                    <a:pt x="600408" y="252552"/>
                  </a:lnTo>
                  <a:lnTo>
                    <a:pt x="605172" y="243020"/>
                  </a:lnTo>
                  <a:lnTo>
                    <a:pt x="614700" y="243020"/>
                  </a:lnTo>
                  <a:lnTo>
                    <a:pt x="619468" y="243020"/>
                  </a:lnTo>
                  <a:lnTo>
                    <a:pt x="628996" y="243020"/>
                  </a:lnTo>
                  <a:lnTo>
                    <a:pt x="628996" y="252552"/>
                  </a:lnTo>
                  <a:lnTo>
                    <a:pt x="628996" y="257316"/>
                  </a:lnTo>
                  <a:lnTo>
                    <a:pt x="624232" y="257316"/>
                  </a:lnTo>
                  <a:lnTo>
                    <a:pt x="624232" y="262080"/>
                  </a:lnTo>
                  <a:lnTo>
                    <a:pt x="628996" y="271612"/>
                  </a:lnTo>
                  <a:lnTo>
                    <a:pt x="638528" y="281140"/>
                  </a:lnTo>
                  <a:lnTo>
                    <a:pt x="643292" y="281140"/>
                  </a:lnTo>
                  <a:lnTo>
                    <a:pt x="652824" y="271612"/>
                  </a:lnTo>
                  <a:lnTo>
                    <a:pt x="657588" y="266844"/>
                  </a:lnTo>
                  <a:lnTo>
                    <a:pt x="667120" y="257316"/>
                  </a:lnTo>
                  <a:lnTo>
                    <a:pt x="676648" y="247784"/>
                  </a:lnTo>
                  <a:lnTo>
                    <a:pt x="681412" y="243020"/>
                  </a:lnTo>
                  <a:close/>
                  <a:moveTo>
                    <a:pt x="662352" y="185840"/>
                  </a:moveTo>
                  <a:lnTo>
                    <a:pt x="671884" y="185840"/>
                  </a:lnTo>
                  <a:lnTo>
                    <a:pt x="671884" y="195370"/>
                  </a:lnTo>
                  <a:lnTo>
                    <a:pt x="667120" y="200136"/>
                  </a:lnTo>
                  <a:lnTo>
                    <a:pt x="662352" y="200136"/>
                  </a:lnTo>
                  <a:lnTo>
                    <a:pt x="662352" y="190604"/>
                  </a:lnTo>
                  <a:close/>
                  <a:moveTo>
                    <a:pt x="686180" y="0"/>
                  </a:moveTo>
                  <a:lnTo>
                    <a:pt x="690944" y="0"/>
                  </a:lnTo>
                  <a:lnTo>
                    <a:pt x="695708" y="4766"/>
                  </a:lnTo>
                  <a:lnTo>
                    <a:pt x="690944" y="28590"/>
                  </a:lnTo>
                  <a:lnTo>
                    <a:pt x="690944" y="42886"/>
                  </a:lnTo>
                  <a:lnTo>
                    <a:pt x="686180" y="95302"/>
                  </a:lnTo>
                  <a:lnTo>
                    <a:pt x="676648" y="104832"/>
                  </a:lnTo>
                  <a:lnTo>
                    <a:pt x="676648" y="114362"/>
                  </a:lnTo>
                  <a:lnTo>
                    <a:pt x="671884" y="123892"/>
                  </a:lnTo>
                  <a:lnTo>
                    <a:pt x="671884" y="128658"/>
                  </a:lnTo>
                  <a:lnTo>
                    <a:pt x="667120" y="128658"/>
                  </a:lnTo>
                  <a:lnTo>
                    <a:pt x="657588" y="123892"/>
                  </a:lnTo>
                  <a:lnTo>
                    <a:pt x="648056" y="114362"/>
                  </a:lnTo>
                  <a:lnTo>
                    <a:pt x="652824" y="104832"/>
                  </a:lnTo>
                  <a:lnTo>
                    <a:pt x="652824" y="90538"/>
                  </a:lnTo>
                  <a:lnTo>
                    <a:pt x="652824" y="71476"/>
                  </a:lnTo>
                  <a:lnTo>
                    <a:pt x="652824" y="52416"/>
                  </a:lnTo>
                  <a:lnTo>
                    <a:pt x="643292" y="52416"/>
                  </a:lnTo>
                  <a:lnTo>
                    <a:pt x="638528" y="52416"/>
                  </a:lnTo>
                  <a:lnTo>
                    <a:pt x="652824" y="28590"/>
                  </a:lnTo>
                  <a:lnTo>
                    <a:pt x="657588" y="23826"/>
                  </a:lnTo>
                  <a:lnTo>
                    <a:pt x="662352" y="23826"/>
                  </a:lnTo>
                  <a:lnTo>
                    <a:pt x="676648" y="23826"/>
                  </a:lnTo>
                  <a:lnTo>
                    <a:pt x="681412"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28" name="Google Shape;4795;p64">
              <a:extLst>
                <a:ext uri="{FF2B5EF4-FFF2-40B4-BE49-F238E27FC236}">
                  <a16:creationId xmlns:a16="http://schemas.microsoft.com/office/drawing/2014/main" id="{DBFCAB7D-0234-B0EC-1A69-E618F96DCA95}"/>
                </a:ext>
              </a:extLst>
            </p:cNvPr>
            <p:cNvCxnSpPr/>
            <p:nvPr/>
          </p:nvCxnSpPr>
          <p:spPr>
            <a:xfrm>
              <a:off x="5739148" y="4402049"/>
              <a:ext cx="0" cy="0"/>
            </a:xfrm>
            <a:prstGeom prst="straightConnector1">
              <a:avLst/>
            </a:prstGeom>
            <a:grpFill/>
            <a:ln w="9525" cap="flat" cmpd="sng">
              <a:solidFill>
                <a:schemeClr val="bg2"/>
              </a:solidFill>
              <a:prstDash val="solid"/>
              <a:round/>
              <a:headEnd type="none" w="med" len="med"/>
              <a:tailEnd type="none" w="med" len="med"/>
            </a:ln>
          </p:spPr>
        </p:cxnSp>
        <p:cxnSp>
          <p:nvCxnSpPr>
            <p:cNvPr id="329" name="Google Shape;4796;p64">
              <a:extLst>
                <a:ext uri="{FF2B5EF4-FFF2-40B4-BE49-F238E27FC236}">
                  <a16:creationId xmlns:a16="http://schemas.microsoft.com/office/drawing/2014/main" id="{B0EBE91C-E8CD-FD7B-40C0-8F28527DFA79}"/>
                </a:ext>
              </a:extLst>
            </p:cNvPr>
            <p:cNvCxnSpPr/>
            <p:nvPr/>
          </p:nvCxnSpPr>
          <p:spPr>
            <a:xfrm>
              <a:off x="5739148" y="4402049"/>
              <a:ext cx="0" cy="0"/>
            </a:xfrm>
            <a:prstGeom prst="straightConnector1">
              <a:avLst/>
            </a:prstGeom>
            <a:grpFill/>
            <a:ln w="9525" cap="flat" cmpd="sng">
              <a:solidFill>
                <a:schemeClr val="bg2"/>
              </a:solidFill>
              <a:prstDash val="solid"/>
              <a:round/>
              <a:headEnd type="none" w="med" len="med"/>
              <a:tailEnd type="none" w="med" len="med"/>
            </a:ln>
          </p:spPr>
        </p:cxnSp>
        <p:sp>
          <p:nvSpPr>
            <p:cNvPr id="330" name="Google Shape;4797;p64">
              <a:extLst>
                <a:ext uri="{FF2B5EF4-FFF2-40B4-BE49-F238E27FC236}">
                  <a16:creationId xmlns:a16="http://schemas.microsoft.com/office/drawing/2014/main" id="{09664C75-7C1E-05B6-685F-00D8F253228B}"/>
                </a:ext>
              </a:extLst>
            </p:cNvPr>
            <p:cNvSpPr/>
            <p:nvPr/>
          </p:nvSpPr>
          <p:spPr>
            <a:xfrm>
              <a:off x="5833658" y="4130991"/>
              <a:ext cx="349159" cy="332095"/>
            </a:xfrm>
            <a:custGeom>
              <a:avLst/>
              <a:gdLst/>
              <a:ahLst/>
              <a:cxnLst/>
              <a:rect l="l" t="t" r="r" b="b"/>
              <a:pathLst>
                <a:path w="1064" h="1012" extrusionOk="0">
                  <a:moveTo>
                    <a:pt x="1044" y="112"/>
                  </a:moveTo>
                  <a:lnTo>
                    <a:pt x="1042" y="110"/>
                  </a:lnTo>
                  <a:lnTo>
                    <a:pt x="1036" y="106"/>
                  </a:lnTo>
                  <a:lnTo>
                    <a:pt x="1032" y="102"/>
                  </a:lnTo>
                  <a:lnTo>
                    <a:pt x="1030" y="92"/>
                  </a:lnTo>
                  <a:lnTo>
                    <a:pt x="1028" y="94"/>
                  </a:lnTo>
                  <a:lnTo>
                    <a:pt x="1020" y="98"/>
                  </a:lnTo>
                  <a:lnTo>
                    <a:pt x="1010" y="100"/>
                  </a:lnTo>
                  <a:lnTo>
                    <a:pt x="1006" y="100"/>
                  </a:lnTo>
                  <a:lnTo>
                    <a:pt x="1004" y="98"/>
                  </a:lnTo>
                  <a:lnTo>
                    <a:pt x="1002" y="88"/>
                  </a:lnTo>
                  <a:lnTo>
                    <a:pt x="998" y="86"/>
                  </a:lnTo>
                  <a:lnTo>
                    <a:pt x="996" y="84"/>
                  </a:lnTo>
                  <a:lnTo>
                    <a:pt x="990" y="82"/>
                  </a:lnTo>
                  <a:lnTo>
                    <a:pt x="988" y="80"/>
                  </a:lnTo>
                  <a:lnTo>
                    <a:pt x="988" y="76"/>
                  </a:lnTo>
                  <a:lnTo>
                    <a:pt x="990" y="74"/>
                  </a:lnTo>
                  <a:lnTo>
                    <a:pt x="992" y="70"/>
                  </a:lnTo>
                  <a:lnTo>
                    <a:pt x="992" y="52"/>
                  </a:lnTo>
                  <a:lnTo>
                    <a:pt x="992" y="46"/>
                  </a:lnTo>
                  <a:lnTo>
                    <a:pt x="990" y="42"/>
                  </a:lnTo>
                  <a:lnTo>
                    <a:pt x="986" y="34"/>
                  </a:lnTo>
                  <a:lnTo>
                    <a:pt x="984" y="32"/>
                  </a:lnTo>
                  <a:lnTo>
                    <a:pt x="980" y="28"/>
                  </a:lnTo>
                  <a:lnTo>
                    <a:pt x="972" y="24"/>
                  </a:lnTo>
                  <a:lnTo>
                    <a:pt x="966" y="22"/>
                  </a:lnTo>
                  <a:lnTo>
                    <a:pt x="960" y="24"/>
                  </a:lnTo>
                  <a:lnTo>
                    <a:pt x="956" y="24"/>
                  </a:lnTo>
                  <a:lnTo>
                    <a:pt x="954" y="12"/>
                  </a:lnTo>
                  <a:lnTo>
                    <a:pt x="952" y="10"/>
                  </a:lnTo>
                  <a:lnTo>
                    <a:pt x="938" y="4"/>
                  </a:lnTo>
                  <a:lnTo>
                    <a:pt x="932" y="4"/>
                  </a:lnTo>
                  <a:lnTo>
                    <a:pt x="926" y="6"/>
                  </a:lnTo>
                  <a:lnTo>
                    <a:pt x="922" y="6"/>
                  </a:lnTo>
                  <a:lnTo>
                    <a:pt x="918" y="4"/>
                  </a:lnTo>
                  <a:lnTo>
                    <a:pt x="914" y="2"/>
                  </a:lnTo>
                  <a:lnTo>
                    <a:pt x="908" y="0"/>
                  </a:lnTo>
                  <a:lnTo>
                    <a:pt x="902" y="0"/>
                  </a:lnTo>
                  <a:lnTo>
                    <a:pt x="898" y="0"/>
                  </a:lnTo>
                  <a:lnTo>
                    <a:pt x="892" y="4"/>
                  </a:lnTo>
                  <a:lnTo>
                    <a:pt x="876" y="10"/>
                  </a:lnTo>
                  <a:lnTo>
                    <a:pt x="866" y="16"/>
                  </a:lnTo>
                  <a:lnTo>
                    <a:pt x="864" y="16"/>
                  </a:lnTo>
                  <a:lnTo>
                    <a:pt x="858" y="14"/>
                  </a:lnTo>
                  <a:lnTo>
                    <a:pt x="848" y="12"/>
                  </a:lnTo>
                  <a:lnTo>
                    <a:pt x="846" y="12"/>
                  </a:lnTo>
                  <a:lnTo>
                    <a:pt x="824" y="12"/>
                  </a:lnTo>
                  <a:lnTo>
                    <a:pt x="806" y="14"/>
                  </a:lnTo>
                  <a:lnTo>
                    <a:pt x="798" y="14"/>
                  </a:lnTo>
                  <a:lnTo>
                    <a:pt x="782" y="16"/>
                  </a:lnTo>
                  <a:lnTo>
                    <a:pt x="774" y="16"/>
                  </a:lnTo>
                  <a:lnTo>
                    <a:pt x="768" y="18"/>
                  </a:lnTo>
                  <a:lnTo>
                    <a:pt x="760" y="22"/>
                  </a:lnTo>
                  <a:lnTo>
                    <a:pt x="754" y="24"/>
                  </a:lnTo>
                  <a:lnTo>
                    <a:pt x="748" y="24"/>
                  </a:lnTo>
                  <a:lnTo>
                    <a:pt x="742" y="26"/>
                  </a:lnTo>
                  <a:lnTo>
                    <a:pt x="738" y="32"/>
                  </a:lnTo>
                  <a:lnTo>
                    <a:pt x="726" y="40"/>
                  </a:lnTo>
                  <a:lnTo>
                    <a:pt x="720" y="44"/>
                  </a:lnTo>
                  <a:lnTo>
                    <a:pt x="718" y="48"/>
                  </a:lnTo>
                  <a:lnTo>
                    <a:pt x="714" y="50"/>
                  </a:lnTo>
                  <a:lnTo>
                    <a:pt x="708" y="48"/>
                  </a:lnTo>
                  <a:lnTo>
                    <a:pt x="702" y="54"/>
                  </a:lnTo>
                  <a:lnTo>
                    <a:pt x="698" y="60"/>
                  </a:lnTo>
                  <a:lnTo>
                    <a:pt x="688" y="70"/>
                  </a:lnTo>
                  <a:lnTo>
                    <a:pt x="682" y="74"/>
                  </a:lnTo>
                  <a:lnTo>
                    <a:pt x="678" y="80"/>
                  </a:lnTo>
                  <a:lnTo>
                    <a:pt x="682" y="84"/>
                  </a:lnTo>
                  <a:lnTo>
                    <a:pt x="690" y="88"/>
                  </a:lnTo>
                  <a:lnTo>
                    <a:pt x="692" y="94"/>
                  </a:lnTo>
                  <a:lnTo>
                    <a:pt x="694" y="98"/>
                  </a:lnTo>
                  <a:lnTo>
                    <a:pt x="698" y="106"/>
                  </a:lnTo>
                  <a:lnTo>
                    <a:pt x="700" y="116"/>
                  </a:lnTo>
                  <a:lnTo>
                    <a:pt x="704" y="120"/>
                  </a:lnTo>
                  <a:lnTo>
                    <a:pt x="706" y="128"/>
                  </a:lnTo>
                  <a:lnTo>
                    <a:pt x="706" y="132"/>
                  </a:lnTo>
                  <a:lnTo>
                    <a:pt x="704" y="134"/>
                  </a:lnTo>
                  <a:lnTo>
                    <a:pt x="702" y="138"/>
                  </a:lnTo>
                  <a:lnTo>
                    <a:pt x="702" y="142"/>
                  </a:lnTo>
                  <a:lnTo>
                    <a:pt x="704" y="144"/>
                  </a:lnTo>
                  <a:lnTo>
                    <a:pt x="706" y="148"/>
                  </a:lnTo>
                  <a:lnTo>
                    <a:pt x="708" y="150"/>
                  </a:lnTo>
                  <a:lnTo>
                    <a:pt x="706" y="152"/>
                  </a:lnTo>
                  <a:lnTo>
                    <a:pt x="702" y="156"/>
                  </a:lnTo>
                  <a:lnTo>
                    <a:pt x="700" y="160"/>
                  </a:lnTo>
                  <a:lnTo>
                    <a:pt x="696" y="166"/>
                  </a:lnTo>
                  <a:lnTo>
                    <a:pt x="690" y="172"/>
                  </a:lnTo>
                  <a:lnTo>
                    <a:pt x="686" y="174"/>
                  </a:lnTo>
                  <a:lnTo>
                    <a:pt x="682" y="182"/>
                  </a:lnTo>
                  <a:lnTo>
                    <a:pt x="674" y="190"/>
                  </a:lnTo>
                  <a:lnTo>
                    <a:pt x="670" y="196"/>
                  </a:lnTo>
                  <a:lnTo>
                    <a:pt x="668" y="200"/>
                  </a:lnTo>
                  <a:lnTo>
                    <a:pt x="664" y="202"/>
                  </a:lnTo>
                  <a:lnTo>
                    <a:pt x="666" y="206"/>
                  </a:lnTo>
                  <a:lnTo>
                    <a:pt x="668" y="210"/>
                  </a:lnTo>
                  <a:lnTo>
                    <a:pt x="674" y="214"/>
                  </a:lnTo>
                  <a:lnTo>
                    <a:pt x="672" y="222"/>
                  </a:lnTo>
                  <a:lnTo>
                    <a:pt x="672" y="228"/>
                  </a:lnTo>
                  <a:lnTo>
                    <a:pt x="672" y="234"/>
                  </a:lnTo>
                  <a:lnTo>
                    <a:pt x="670" y="240"/>
                  </a:lnTo>
                  <a:lnTo>
                    <a:pt x="656" y="246"/>
                  </a:lnTo>
                  <a:lnTo>
                    <a:pt x="644" y="248"/>
                  </a:lnTo>
                  <a:lnTo>
                    <a:pt x="628" y="248"/>
                  </a:lnTo>
                  <a:lnTo>
                    <a:pt x="622" y="246"/>
                  </a:lnTo>
                  <a:lnTo>
                    <a:pt x="618" y="246"/>
                  </a:lnTo>
                  <a:lnTo>
                    <a:pt x="600" y="240"/>
                  </a:lnTo>
                  <a:lnTo>
                    <a:pt x="594" y="244"/>
                  </a:lnTo>
                  <a:lnTo>
                    <a:pt x="592" y="252"/>
                  </a:lnTo>
                  <a:lnTo>
                    <a:pt x="604" y="266"/>
                  </a:lnTo>
                  <a:lnTo>
                    <a:pt x="610" y="274"/>
                  </a:lnTo>
                  <a:lnTo>
                    <a:pt x="616" y="286"/>
                  </a:lnTo>
                  <a:lnTo>
                    <a:pt x="620" y="294"/>
                  </a:lnTo>
                  <a:lnTo>
                    <a:pt x="618" y="300"/>
                  </a:lnTo>
                  <a:lnTo>
                    <a:pt x="608" y="306"/>
                  </a:lnTo>
                  <a:lnTo>
                    <a:pt x="596" y="314"/>
                  </a:lnTo>
                  <a:lnTo>
                    <a:pt x="582" y="316"/>
                  </a:lnTo>
                  <a:lnTo>
                    <a:pt x="572" y="318"/>
                  </a:lnTo>
                  <a:lnTo>
                    <a:pt x="568" y="320"/>
                  </a:lnTo>
                  <a:lnTo>
                    <a:pt x="566" y="336"/>
                  </a:lnTo>
                  <a:lnTo>
                    <a:pt x="562" y="342"/>
                  </a:lnTo>
                  <a:lnTo>
                    <a:pt x="562" y="348"/>
                  </a:lnTo>
                  <a:lnTo>
                    <a:pt x="560" y="354"/>
                  </a:lnTo>
                  <a:lnTo>
                    <a:pt x="554" y="360"/>
                  </a:lnTo>
                  <a:lnTo>
                    <a:pt x="552" y="366"/>
                  </a:lnTo>
                  <a:lnTo>
                    <a:pt x="552" y="380"/>
                  </a:lnTo>
                  <a:lnTo>
                    <a:pt x="554" y="406"/>
                  </a:lnTo>
                  <a:lnTo>
                    <a:pt x="548" y="412"/>
                  </a:lnTo>
                  <a:lnTo>
                    <a:pt x="542" y="420"/>
                  </a:lnTo>
                  <a:lnTo>
                    <a:pt x="534" y="426"/>
                  </a:lnTo>
                  <a:lnTo>
                    <a:pt x="526" y="428"/>
                  </a:lnTo>
                  <a:lnTo>
                    <a:pt x="522" y="428"/>
                  </a:lnTo>
                  <a:lnTo>
                    <a:pt x="516" y="422"/>
                  </a:lnTo>
                  <a:lnTo>
                    <a:pt x="514" y="418"/>
                  </a:lnTo>
                  <a:lnTo>
                    <a:pt x="510" y="416"/>
                  </a:lnTo>
                  <a:lnTo>
                    <a:pt x="504" y="416"/>
                  </a:lnTo>
                  <a:lnTo>
                    <a:pt x="498" y="420"/>
                  </a:lnTo>
                  <a:lnTo>
                    <a:pt x="492" y="418"/>
                  </a:lnTo>
                  <a:lnTo>
                    <a:pt x="484" y="414"/>
                  </a:lnTo>
                  <a:lnTo>
                    <a:pt x="480" y="416"/>
                  </a:lnTo>
                  <a:lnTo>
                    <a:pt x="478" y="418"/>
                  </a:lnTo>
                  <a:lnTo>
                    <a:pt x="472" y="426"/>
                  </a:lnTo>
                  <a:lnTo>
                    <a:pt x="452" y="436"/>
                  </a:lnTo>
                  <a:lnTo>
                    <a:pt x="446" y="436"/>
                  </a:lnTo>
                  <a:lnTo>
                    <a:pt x="442" y="438"/>
                  </a:lnTo>
                  <a:lnTo>
                    <a:pt x="444" y="442"/>
                  </a:lnTo>
                  <a:lnTo>
                    <a:pt x="446" y="446"/>
                  </a:lnTo>
                  <a:lnTo>
                    <a:pt x="452" y="448"/>
                  </a:lnTo>
                  <a:lnTo>
                    <a:pt x="452" y="450"/>
                  </a:lnTo>
                  <a:lnTo>
                    <a:pt x="448" y="454"/>
                  </a:lnTo>
                  <a:lnTo>
                    <a:pt x="444" y="456"/>
                  </a:lnTo>
                  <a:lnTo>
                    <a:pt x="434" y="460"/>
                  </a:lnTo>
                  <a:lnTo>
                    <a:pt x="424" y="460"/>
                  </a:lnTo>
                  <a:lnTo>
                    <a:pt x="412" y="458"/>
                  </a:lnTo>
                  <a:lnTo>
                    <a:pt x="406" y="454"/>
                  </a:lnTo>
                  <a:lnTo>
                    <a:pt x="400" y="454"/>
                  </a:lnTo>
                  <a:lnTo>
                    <a:pt x="394" y="458"/>
                  </a:lnTo>
                  <a:lnTo>
                    <a:pt x="386" y="462"/>
                  </a:lnTo>
                  <a:lnTo>
                    <a:pt x="380" y="474"/>
                  </a:lnTo>
                  <a:lnTo>
                    <a:pt x="378" y="476"/>
                  </a:lnTo>
                  <a:lnTo>
                    <a:pt x="376" y="478"/>
                  </a:lnTo>
                  <a:lnTo>
                    <a:pt x="372" y="480"/>
                  </a:lnTo>
                  <a:lnTo>
                    <a:pt x="364" y="484"/>
                  </a:lnTo>
                  <a:lnTo>
                    <a:pt x="362" y="492"/>
                  </a:lnTo>
                  <a:lnTo>
                    <a:pt x="358" y="508"/>
                  </a:lnTo>
                  <a:lnTo>
                    <a:pt x="358" y="516"/>
                  </a:lnTo>
                  <a:lnTo>
                    <a:pt x="360" y="528"/>
                  </a:lnTo>
                  <a:lnTo>
                    <a:pt x="358" y="538"/>
                  </a:lnTo>
                  <a:lnTo>
                    <a:pt x="354" y="544"/>
                  </a:lnTo>
                  <a:lnTo>
                    <a:pt x="356" y="550"/>
                  </a:lnTo>
                  <a:lnTo>
                    <a:pt x="360" y="556"/>
                  </a:lnTo>
                  <a:lnTo>
                    <a:pt x="358" y="560"/>
                  </a:lnTo>
                  <a:lnTo>
                    <a:pt x="354" y="564"/>
                  </a:lnTo>
                  <a:lnTo>
                    <a:pt x="350" y="566"/>
                  </a:lnTo>
                  <a:lnTo>
                    <a:pt x="336" y="570"/>
                  </a:lnTo>
                  <a:lnTo>
                    <a:pt x="316" y="576"/>
                  </a:lnTo>
                  <a:lnTo>
                    <a:pt x="304" y="580"/>
                  </a:lnTo>
                  <a:lnTo>
                    <a:pt x="286" y="586"/>
                  </a:lnTo>
                  <a:lnTo>
                    <a:pt x="280" y="586"/>
                  </a:lnTo>
                  <a:lnTo>
                    <a:pt x="268" y="586"/>
                  </a:lnTo>
                  <a:lnTo>
                    <a:pt x="262" y="586"/>
                  </a:lnTo>
                  <a:lnTo>
                    <a:pt x="254" y="586"/>
                  </a:lnTo>
                  <a:lnTo>
                    <a:pt x="242" y="586"/>
                  </a:lnTo>
                  <a:lnTo>
                    <a:pt x="234" y="588"/>
                  </a:lnTo>
                  <a:lnTo>
                    <a:pt x="226" y="590"/>
                  </a:lnTo>
                  <a:lnTo>
                    <a:pt x="218" y="594"/>
                  </a:lnTo>
                  <a:lnTo>
                    <a:pt x="216" y="598"/>
                  </a:lnTo>
                  <a:lnTo>
                    <a:pt x="214" y="600"/>
                  </a:lnTo>
                  <a:lnTo>
                    <a:pt x="206" y="596"/>
                  </a:lnTo>
                  <a:lnTo>
                    <a:pt x="180" y="592"/>
                  </a:lnTo>
                  <a:lnTo>
                    <a:pt x="108" y="598"/>
                  </a:lnTo>
                  <a:lnTo>
                    <a:pt x="102" y="596"/>
                  </a:lnTo>
                  <a:lnTo>
                    <a:pt x="76" y="588"/>
                  </a:lnTo>
                  <a:lnTo>
                    <a:pt x="46" y="578"/>
                  </a:lnTo>
                  <a:lnTo>
                    <a:pt x="26" y="572"/>
                  </a:lnTo>
                  <a:lnTo>
                    <a:pt x="0" y="564"/>
                  </a:lnTo>
                  <a:lnTo>
                    <a:pt x="14" y="578"/>
                  </a:lnTo>
                  <a:lnTo>
                    <a:pt x="20" y="588"/>
                  </a:lnTo>
                  <a:lnTo>
                    <a:pt x="32" y="600"/>
                  </a:lnTo>
                  <a:lnTo>
                    <a:pt x="34" y="604"/>
                  </a:lnTo>
                  <a:lnTo>
                    <a:pt x="34" y="608"/>
                  </a:lnTo>
                  <a:lnTo>
                    <a:pt x="44" y="628"/>
                  </a:lnTo>
                  <a:lnTo>
                    <a:pt x="48" y="638"/>
                  </a:lnTo>
                  <a:lnTo>
                    <a:pt x="52" y="644"/>
                  </a:lnTo>
                  <a:lnTo>
                    <a:pt x="60" y="654"/>
                  </a:lnTo>
                  <a:lnTo>
                    <a:pt x="70" y="662"/>
                  </a:lnTo>
                  <a:lnTo>
                    <a:pt x="78" y="666"/>
                  </a:lnTo>
                  <a:lnTo>
                    <a:pt x="86" y="668"/>
                  </a:lnTo>
                  <a:lnTo>
                    <a:pt x="100" y="672"/>
                  </a:lnTo>
                  <a:lnTo>
                    <a:pt x="104" y="676"/>
                  </a:lnTo>
                  <a:lnTo>
                    <a:pt x="114" y="686"/>
                  </a:lnTo>
                  <a:lnTo>
                    <a:pt x="124" y="684"/>
                  </a:lnTo>
                  <a:lnTo>
                    <a:pt x="126" y="684"/>
                  </a:lnTo>
                  <a:lnTo>
                    <a:pt x="126" y="684"/>
                  </a:lnTo>
                  <a:lnTo>
                    <a:pt x="126" y="688"/>
                  </a:lnTo>
                  <a:lnTo>
                    <a:pt x="126" y="704"/>
                  </a:lnTo>
                  <a:lnTo>
                    <a:pt x="128" y="718"/>
                  </a:lnTo>
                  <a:lnTo>
                    <a:pt x="130" y="740"/>
                  </a:lnTo>
                  <a:lnTo>
                    <a:pt x="130" y="744"/>
                  </a:lnTo>
                  <a:lnTo>
                    <a:pt x="126" y="750"/>
                  </a:lnTo>
                  <a:lnTo>
                    <a:pt x="126" y="754"/>
                  </a:lnTo>
                  <a:lnTo>
                    <a:pt x="126" y="758"/>
                  </a:lnTo>
                  <a:lnTo>
                    <a:pt x="126" y="758"/>
                  </a:lnTo>
                  <a:lnTo>
                    <a:pt x="130" y="760"/>
                  </a:lnTo>
                  <a:lnTo>
                    <a:pt x="136" y="762"/>
                  </a:lnTo>
                  <a:lnTo>
                    <a:pt x="154" y="758"/>
                  </a:lnTo>
                  <a:lnTo>
                    <a:pt x="156" y="758"/>
                  </a:lnTo>
                  <a:lnTo>
                    <a:pt x="158" y="762"/>
                  </a:lnTo>
                  <a:lnTo>
                    <a:pt x="162" y="766"/>
                  </a:lnTo>
                  <a:lnTo>
                    <a:pt x="162" y="768"/>
                  </a:lnTo>
                  <a:lnTo>
                    <a:pt x="158" y="772"/>
                  </a:lnTo>
                  <a:lnTo>
                    <a:pt x="158" y="778"/>
                  </a:lnTo>
                  <a:lnTo>
                    <a:pt x="158" y="786"/>
                  </a:lnTo>
                  <a:lnTo>
                    <a:pt x="158" y="788"/>
                  </a:lnTo>
                  <a:lnTo>
                    <a:pt x="154" y="790"/>
                  </a:lnTo>
                  <a:lnTo>
                    <a:pt x="154" y="802"/>
                  </a:lnTo>
                  <a:lnTo>
                    <a:pt x="152" y="802"/>
                  </a:lnTo>
                  <a:lnTo>
                    <a:pt x="148" y="804"/>
                  </a:lnTo>
                  <a:lnTo>
                    <a:pt x="128" y="804"/>
                  </a:lnTo>
                  <a:lnTo>
                    <a:pt x="126" y="804"/>
                  </a:lnTo>
                  <a:lnTo>
                    <a:pt x="118" y="806"/>
                  </a:lnTo>
                  <a:lnTo>
                    <a:pt x="106" y="810"/>
                  </a:lnTo>
                  <a:lnTo>
                    <a:pt x="102" y="810"/>
                  </a:lnTo>
                  <a:lnTo>
                    <a:pt x="98" y="814"/>
                  </a:lnTo>
                  <a:lnTo>
                    <a:pt x="94" y="820"/>
                  </a:lnTo>
                  <a:lnTo>
                    <a:pt x="92" y="824"/>
                  </a:lnTo>
                  <a:lnTo>
                    <a:pt x="92" y="824"/>
                  </a:lnTo>
                  <a:lnTo>
                    <a:pt x="84" y="824"/>
                  </a:lnTo>
                  <a:lnTo>
                    <a:pt x="82" y="828"/>
                  </a:lnTo>
                  <a:lnTo>
                    <a:pt x="68" y="832"/>
                  </a:lnTo>
                  <a:lnTo>
                    <a:pt x="66" y="834"/>
                  </a:lnTo>
                  <a:lnTo>
                    <a:pt x="64" y="838"/>
                  </a:lnTo>
                  <a:lnTo>
                    <a:pt x="62" y="850"/>
                  </a:lnTo>
                  <a:lnTo>
                    <a:pt x="60" y="862"/>
                  </a:lnTo>
                  <a:lnTo>
                    <a:pt x="60" y="864"/>
                  </a:lnTo>
                  <a:lnTo>
                    <a:pt x="54" y="868"/>
                  </a:lnTo>
                  <a:lnTo>
                    <a:pt x="54" y="868"/>
                  </a:lnTo>
                  <a:lnTo>
                    <a:pt x="54" y="872"/>
                  </a:lnTo>
                  <a:lnTo>
                    <a:pt x="52" y="880"/>
                  </a:lnTo>
                  <a:lnTo>
                    <a:pt x="52" y="902"/>
                  </a:lnTo>
                  <a:lnTo>
                    <a:pt x="50" y="908"/>
                  </a:lnTo>
                  <a:lnTo>
                    <a:pt x="48" y="910"/>
                  </a:lnTo>
                  <a:lnTo>
                    <a:pt x="60" y="912"/>
                  </a:lnTo>
                  <a:lnTo>
                    <a:pt x="70" y="914"/>
                  </a:lnTo>
                  <a:lnTo>
                    <a:pt x="82" y="912"/>
                  </a:lnTo>
                  <a:lnTo>
                    <a:pt x="86" y="908"/>
                  </a:lnTo>
                  <a:lnTo>
                    <a:pt x="90" y="906"/>
                  </a:lnTo>
                  <a:lnTo>
                    <a:pt x="92" y="908"/>
                  </a:lnTo>
                  <a:lnTo>
                    <a:pt x="98" y="914"/>
                  </a:lnTo>
                  <a:lnTo>
                    <a:pt x="102" y="912"/>
                  </a:lnTo>
                  <a:lnTo>
                    <a:pt x="106" y="908"/>
                  </a:lnTo>
                  <a:lnTo>
                    <a:pt x="114" y="904"/>
                  </a:lnTo>
                  <a:lnTo>
                    <a:pt x="120" y="904"/>
                  </a:lnTo>
                  <a:lnTo>
                    <a:pt x="144" y="906"/>
                  </a:lnTo>
                  <a:lnTo>
                    <a:pt x="154" y="904"/>
                  </a:lnTo>
                  <a:lnTo>
                    <a:pt x="160" y="906"/>
                  </a:lnTo>
                  <a:lnTo>
                    <a:pt x="174" y="908"/>
                  </a:lnTo>
                  <a:lnTo>
                    <a:pt x="174" y="902"/>
                  </a:lnTo>
                  <a:lnTo>
                    <a:pt x="178" y="898"/>
                  </a:lnTo>
                  <a:lnTo>
                    <a:pt x="190" y="896"/>
                  </a:lnTo>
                  <a:lnTo>
                    <a:pt x="204" y="898"/>
                  </a:lnTo>
                  <a:lnTo>
                    <a:pt x="206" y="898"/>
                  </a:lnTo>
                  <a:lnTo>
                    <a:pt x="212" y="894"/>
                  </a:lnTo>
                  <a:lnTo>
                    <a:pt x="216" y="896"/>
                  </a:lnTo>
                  <a:lnTo>
                    <a:pt x="218" y="898"/>
                  </a:lnTo>
                  <a:lnTo>
                    <a:pt x="244" y="906"/>
                  </a:lnTo>
                  <a:lnTo>
                    <a:pt x="246" y="908"/>
                  </a:lnTo>
                  <a:lnTo>
                    <a:pt x="250" y="910"/>
                  </a:lnTo>
                  <a:lnTo>
                    <a:pt x="258" y="900"/>
                  </a:lnTo>
                  <a:lnTo>
                    <a:pt x="278" y="900"/>
                  </a:lnTo>
                  <a:lnTo>
                    <a:pt x="300" y="896"/>
                  </a:lnTo>
                  <a:lnTo>
                    <a:pt x="318" y="898"/>
                  </a:lnTo>
                  <a:lnTo>
                    <a:pt x="332" y="892"/>
                  </a:lnTo>
                  <a:lnTo>
                    <a:pt x="354" y="890"/>
                  </a:lnTo>
                  <a:lnTo>
                    <a:pt x="360" y="890"/>
                  </a:lnTo>
                  <a:lnTo>
                    <a:pt x="366" y="890"/>
                  </a:lnTo>
                  <a:lnTo>
                    <a:pt x="370" y="890"/>
                  </a:lnTo>
                  <a:lnTo>
                    <a:pt x="366" y="888"/>
                  </a:lnTo>
                  <a:lnTo>
                    <a:pt x="362" y="886"/>
                  </a:lnTo>
                  <a:lnTo>
                    <a:pt x="348" y="888"/>
                  </a:lnTo>
                  <a:lnTo>
                    <a:pt x="350" y="882"/>
                  </a:lnTo>
                  <a:lnTo>
                    <a:pt x="354" y="880"/>
                  </a:lnTo>
                  <a:lnTo>
                    <a:pt x="360" y="880"/>
                  </a:lnTo>
                  <a:lnTo>
                    <a:pt x="366" y="882"/>
                  </a:lnTo>
                  <a:lnTo>
                    <a:pt x="374" y="888"/>
                  </a:lnTo>
                  <a:lnTo>
                    <a:pt x="376" y="896"/>
                  </a:lnTo>
                  <a:lnTo>
                    <a:pt x="384" y="906"/>
                  </a:lnTo>
                  <a:lnTo>
                    <a:pt x="386" y="914"/>
                  </a:lnTo>
                  <a:lnTo>
                    <a:pt x="384" y="928"/>
                  </a:lnTo>
                  <a:lnTo>
                    <a:pt x="384" y="934"/>
                  </a:lnTo>
                  <a:lnTo>
                    <a:pt x="412" y="938"/>
                  </a:lnTo>
                  <a:lnTo>
                    <a:pt x="416" y="940"/>
                  </a:lnTo>
                  <a:lnTo>
                    <a:pt x="424" y="968"/>
                  </a:lnTo>
                  <a:lnTo>
                    <a:pt x="424" y="976"/>
                  </a:lnTo>
                  <a:lnTo>
                    <a:pt x="424" y="982"/>
                  </a:lnTo>
                  <a:lnTo>
                    <a:pt x="428" y="988"/>
                  </a:lnTo>
                  <a:lnTo>
                    <a:pt x="432" y="990"/>
                  </a:lnTo>
                  <a:lnTo>
                    <a:pt x="436" y="994"/>
                  </a:lnTo>
                  <a:lnTo>
                    <a:pt x="438" y="1000"/>
                  </a:lnTo>
                  <a:lnTo>
                    <a:pt x="442" y="1004"/>
                  </a:lnTo>
                  <a:lnTo>
                    <a:pt x="446" y="1000"/>
                  </a:lnTo>
                  <a:lnTo>
                    <a:pt x="446" y="1004"/>
                  </a:lnTo>
                  <a:lnTo>
                    <a:pt x="448" y="1008"/>
                  </a:lnTo>
                  <a:lnTo>
                    <a:pt x="458" y="1008"/>
                  </a:lnTo>
                  <a:lnTo>
                    <a:pt x="460" y="1002"/>
                  </a:lnTo>
                  <a:lnTo>
                    <a:pt x="466" y="1008"/>
                  </a:lnTo>
                  <a:lnTo>
                    <a:pt x="470" y="1008"/>
                  </a:lnTo>
                  <a:lnTo>
                    <a:pt x="472" y="1006"/>
                  </a:lnTo>
                  <a:lnTo>
                    <a:pt x="474" y="1008"/>
                  </a:lnTo>
                  <a:lnTo>
                    <a:pt x="478" y="1012"/>
                  </a:lnTo>
                  <a:lnTo>
                    <a:pt x="480" y="1010"/>
                  </a:lnTo>
                  <a:lnTo>
                    <a:pt x="480" y="1006"/>
                  </a:lnTo>
                  <a:lnTo>
                    <a:pt x="486" y="1002"/>
                  </a:lnTo>
                  <a:lnTo>
                    <a:pt x="488" y="1000"/>
                  </a:lnTo>
                  <a:lnTo>
                    <a:pt x="494" y="998"/>
                  </a:lnTo>
                  <a:lnTo>
                    <a:pt x="502" y="998"/>
                  </a:lnTo>
                  <a:lnTo>
                    <a:pt x="508" y="998"/>
                  </a:lnTo>
                  <a:lnTo>
                    <a:pt x="518" y="998"/>
                  </a:lnTo>
                  <a:lnTo>
                    <a:pt x="518" y="976"/>
                  </a:lnTo>
                  <a:lnTo>
                    <a:pt x="518" y="974"/>
                  </a:lnTo>
                  <a:lnTo>
                    <a:pt x="520" y="974"/>
                  </a:lnTo>
                  <a:lnTo>
                    <a:pt x="522" y="972"/>
                  </a:lnTo>
                  <a:lnTo>
                    <a:pt x="522" y="972"/>
                  </a:lnTo>
                  <a:lnTo>
                    <a:pt x="524" y="976"/>
                  </a:lnTo>
                  <a:lnTo>
                    <a:pt x="526" y="976"/>
                  </a:lnTo>
                  <a:lnTo>
                    <a:pt x="528" y="974"/>
                  </a:lnTo>
                  <a:lnTo>
                    <a:pt x="534" y="976"/>
                  </a:lnTo>
                  <a:lnTo>
                    <a:pt x="538" y="974"/>
                  </a:lnTo>
                  <a:lnTo>
                    <a:pt x="544" y="976"/>
                  </a:lnTo>
                  <a:lnTo>
                    <a:pt x="552" y="976"/>
                  </a:lnTo>
                  <a:lnTo>
                    <a:pt x="564" y="976"/>
                  </a:lnTo>
                  <a:lnTo>
                    <a:pt x="572" y="976"/>
                  </a:lnTo>
                  <a:lnTo>
                    <a:pt x="578" y="978"/>
                  </a:lnTo>
                  <a:lnTo>
                    <a:pt x="582" y="982"/>
                  </a:lnTo>
                  <a:lnTo>
                    <a:pt x="588" y="984"/>
                  </a:lnTo>
                  <a:lnTo>
                    <a:pt x="596" y="982"/>
                  </a:lnTo>
                  <a:lnTo>
                    <a:pt x="602" y="982"/>
                  </a:lnTo>
                  <a:lnTo>
                    <a:pt x="606" y="978"/>
                  </a:lnTo>
                  <a:lnTo>
                    <a:pt x="608" y="974"/>
                  </a:lnTo>
                  <a:lnTo>
                    <a:pt x="620" y="970"/>
                  </a:lnTo>
                  <a:lnTo>
                    <a:pt x="634" y="966"/>
                  </a:lnTo>
                  <a:lnTo>
                    <a:pt x="636" y="964"/>
                  </a:lnTo>
                  <a:lnTo>
                    <a:pt x="638" y="968"/>
                  </a:lnTo>
                  <a:lnTo>
                    <a:pt x="638" y="972"/>
                  </a:lnTo>
                  <a:lnTo>
                    <a:pt x="640" y="976"/>
                  </a:lnTo>
                  <a:lnTo>
                    <a:pt x="644" y="978"/>
                  </a:lnTo>
                  <a:lnTo>
                    <a:pt x="648" y="978"/>
                  </a:lnTo>
                  <a:lnTo>
                    <a:pt x="652" y="978"/>
                  </a:lnTo>
                  <a:lnTo>
                    <a:pt x="654" y="976"/>
                  </a:lnTo>
                  <a:lnTo>
                    <a:pt x="660" y="970"/>
                  </a:lnTo>
                  <a:lnTo>
                    <a:pt x="662" y="968"/>
                  </a:lnTo>
                  <a:lnTo>
                    <a:pt x="666" y="970"/>
                  </a:lnTo>
                  <a:lnTo>
                    <a:pt x="670" y="966"/>
                  </a:lnTo>
                  <a:lnTo>
                    <a:pt x="670" y="964"/>
                  </a:lnTo>
                  <a:lnTo>
                    <a:pt x="668" y="962"/>
                  </a:lnTo>
                  <a:lnTo>
                    <a:pt x="664" y="960"/>
                  </a:lnTo>
                  <a:lnTo>
                    <a:pt x="666" y="958"/>
                  </a:lnTo>
                  <a:lnTo>
                    <a:pt x="664" y="954"/>
                  </a:lnTo>
                  <a:lnTo>
                    <a:pt x="666" y="950"/>
                  </a:lnTo>
                  <a:lnTo>
                    <a:pt x="666" y="948"/>
                  </a:lnTo>
                  <a:lnTo>
                    <a:pt x="670" y="946"/>
                  </a:lnTo>
                  <a:lnTo>
                    <a:pt x="668" y="940"/>
                  </a:lnTo>
                  <a:lnTo>
                    <a:pt x="664" y="930"/>
                  </a:lnTo>
                  <a:lnTo>
                    <a:pt x="658" y="918"/>
                  </a:lnTo>
                  <a:lnTo>
                    <a:pt x="654" y="908"/>
                  </a:lnTo>
                  <a:lnTo>
                    <a:pt x="648" y="898"/>
                  </a:lnTo>
                  <a:lnTo>
                    <a:pt x="644" y="892"/>
                  </a:lnTo>
                  <a:lnTo>
                    <a:pt x="644" y="878"/>
                  </a:lnTo>
                  <a:lnTo>
                    <a:pt x="644" y="874"/>
                  </a:lnTo>
                  <a:lnTo>
                    <a:pt x="642" y="872"/>
                  </a:lnTo>
                  <a:lnTo>
                    <a:pt x="638" y="872"/>
                  </a:lnTo>
                  <a:lnTo>
                    <a:pt x="634" y="874"/>
                  </a:lnTo>
                  <a:lnTo>
                    <a:pt x="630" y="874"/>
                  </a:lnTo>
                  <a:lnTo>
                    <a:pt x="622" y="874"/>
                  </a:lnTo>
                  <a:lnTo>
                    <a:pt x="618" y="872"/>
                  </a:lnTo>
                  <a:lnTo>
                    <a:pt x="608" y="856"/>
                  </a:lnTo>
                  <a:lnTo>
                    <a:pt x="606" y="852"/>
                  </a:lnTo>
                  <a:lnTo>
                    <a:pt x="606" y="846"/>
                  </a:lnTo>
                  <a:lnTo>
                    <a:pt x="610" y="834"/>
                  </a:lnTo>
                  <a:lnTo>
                    <a:pt x="610" y="826"/>
                  </a:lnTo>
                  <a:lnTo>
                    <a:pt x="612" y="816"/>
                  </a:lnTo>
                  <a:lnTo>
                    <a:pt x="610" y="814"/>
                  </a:lnTo>
                  <a:lnTo>
                    <a:pt x="608" y="810"/>
                  </a:lnTo>
                  <a:lnTo>
                    <a:pt x="604" y="808"/>
                  </a:lnTo>
                  <a:lnTo>
                    <a:pt x="596" y="808"/>
                  </a:lnTo>
                  <a:lnTo>
                    <a:pt x="584" y="804"/>
                  </a:lnTo>
                  <a:lnTo>
                    <a:pt x="574" y="800"/>
                  </a:lnTo>
                  <a:lnTo>
                    <a:pt x="568" y="796"/>
                  </a:lnTo>
                  <a:lnTo>
                    <a:pt x="568" y="794"/>
                  </a:lnTo>
                  <a:lnTo>
                    <a:pt x="566" y="792"/>
                  </a:lnTo>
                  <a:lnTo>
                    <a:pt x="568" y="780"/>
                  </a:lnTo>
                  <a:lnTo>
                    <a:pt x="570" y="768"/>
                  </a:lnTo>
                  <a:lnTo>
                    <a:pt x="572" y="764"/>
                  </a:lnTo>
                  <a:lnTo>
                    <a:pt x="576" y="760"/>
                  </a:lnTo>
                  <a:lnTo>
                    <a:pt x="578" y="758"/>
                  </a:lnTo>
                  <a:lnTo>
                    <a:pt x="584" y="754"/>
                  </a:lnTo>
                  <a:lnTo>
                    <a:pt x="594" y="742"/>
                  </a:lnTo>
                  <a:lnTo>
                    <a:pt x="604" y="726"/>
                  </a:lnTo>
                  <a:lnTo>
                    <a:pt x="610" y="714"/>
                  </a:lnTo>
                  <a:lnTo>
                    <a:pt x="614" y="712"/>
                  </a:lnTo>
                  <a:lnTo>
                    <a:pt x="618" y="708"/>
                  </a:lnTo>
                  <a:lnTo>
                    <a:pt x="622" y="704"/>
                  </a:lnTo>
                  <a:lnTo>
                    <a:pt x="628" y="702"/>
                  </a:lnTo>
                  <a:lnTo>
                    <a:pt x="634" y="702"/>
                  </a:lnTo>
                  <a:lnTo>
                    <a:pt x="638" y="704"/>
                  </a:lnTo>
                  <a:lnTo>
                    <a:pt x="642" y="708"/>
                  </a:lnTo>
                  <a:lnTo>
                    <a:pt x="644" y="716"/>
                  </a:lnTo>
                  <a:lnTo>
                    <a:pt x="646" y="720"/>
                  </a:lnTo>
                  <a:lnTo>
                    <a:pt x="650" y="724"/>
                  </a:lnTo>
                  <a:lnTo>
                    <a:pt x="654" y="724"/>
                  </a:lnTo>
                  <a:lnTo>
                    <a:pt x="658" y="724"/>
                  </a:lnTo>
                  <a:lnTo>
                    <a:pt x="678" y="716"/>
                  </a:lnTo>
                  <a:lnTo>
                    <a:pt x="686" y="714"/>
                  </a:lnTo>
                  <a:lnTo>
                    <a:pt x="702" y="712"/>
                  </a:lnTo>
                  <a:lnTo>
                    <a:pt x="714" y="710"/>
                  </a:lnTo>
                  <a:lnTo>
                    <a:pt x="724" y="706"/>
                  </a:lnTo>
                  <a:lnTo>
                    <a:pt x="724" y="700"/>
                  </a:lnTo>
                  <a:lnTo>
                    <a:pt x="728" y="690"/>
                  </a:lnTo>
                  <a:lnTo>
                    <a:pt x="740" y="678"/>
                  </a:lnTo>
                  <a:lnTo>
                    <a:pt x="744" y="672"/>
                  </a:lnTo>
                  <a:lnTo>
                    <a:pt x="748" y="660"/>
                  </a:lnTo>
                  <a:lnTo>
                    <a:pt x="752" y="652"/>
                  </a:lnTo>
                  <a:lnTo>
                    <a:pt x="754" y="648"/>
                  </a:lnTo>
                  <a:lnTo>
                    <a:pt x="774" y="636"/>
                  </a:lnTo>
                  <a:lnTo>
                    <a:pt x="792" y="626"/>
                  </a:lnTo>
                  <a:lnTo>
                    <a:pt x="794" y="622"/>
                  </a:lnTo>
                  <a:lnTo>
                    <a:pt x="806" y="602"/>
                  </a:lnTo>
                  <a:lnTo>
                    <a:pt x="814" y="588"/>
                  </a:lnTo>
                  <a:lnTo>
                    <a:pt x="814" y="582"/>
                  </a:lnTo>
                  <a:lnTo>
                    <a:pt x="822" y="558"/>
                  </a:lnTo>
                  <a:lnTo>
                    <a:pt x="828" y="556"/>
                  </a:lnTo>
                  <a:lnTo>
                    <a:pt x="840" y="550"/>
                  </a:lnTo>
                  <a:lnTo>
                    <a:pt x="850" y="546"/>
                  </a:lnTo>
                  <a:lnTo>
                    <a:pt x="856" y="542"/>
                  </a:lnTo>
                  <a:lnTo>
                    <a:pt x="858" y="536"/>
                  </a:lnTo>
                  <a:lnTo>
                    <a:pt x="858" y="532"/>
                  </a:lnTo>
                  <a:lnTo>
                    <a:pt x="856" y="526"/>
                  </a:lnTo>
                  <a:lnTo>
                    <a:pt x="856" y="524"/>
                  </a:lnTo>
                  <a:lnTo>
                    <a:pt x="856" y="520"/>
                  </a:lnTo>
                  <a:lnTo>
                    <a:pt x="864" y="514"/>
                  </a:lnTo>
                  <a:lnTo>
                    <a:pt x="878" y="494"/>
                  </a:lnTo>
                  <a:lnTo>
                    <a:pt x="886" y="486"/>
                  </a:lnTo>
                  <a:lnTo>
                    <a:pt x="888" y="486"/>
                  </a:lnTo>
                  <a:lnTo>
                    <a:pt x="896" y="480"/>
                  </a:lnTo>
                  <a:lnTo>
                    <a:pt x="904" y="474"/>
                  </a:lnTo>
                  <a:lnTo>
                    <a:pt x="904" y="472"/>
                  </a:lnTo>
                  <a:lnTo>
                    <a:pt x="904" y="468"/>
                  </a:lnTo>
                  <a:lnTo>
                    <a:pt x="898" y="468"/>
                  </a:lnTo>
                  <a:lnTo>
                    <a:pt x="898" y="462"/>
                  </a:lnTo>
                  <a:lnTo>
                    <a:pt x="898" y="458"/>
                  </a:lnTo>
                  <a:lnTo>
                    <a:pt x="902" y="442"/>
                  </a:lnTo>
                  <a:lnTo>
                    <a:pt x="902" y="436"/>
                  </a:lnTo>
                  <a:lnTo>
                    <a:pt x="896" y="422"/>
                  </a:lnTo>
                  <a:lnTo>
                    <a:pt x="898" y="418"/>
                  </a:lnTo>
                  <a:lnTo>
                    <a:pt x="900" y="414"/>
                  </a:lnTo>
                  <a:lnTo>
                    <a:pt x="906" y="408"/>
                  </a:lnTo>
                  <a:lnTo>
                    <a:pt x="912" y="404"/>
                  </a:lnTo>
                  <a:lnTo>
                    <a:pt x="934" y="394"/>
                  </a:lnTo>
                  <a:lnTo>
                    <a:pt x="938" y="392"/>
                  </a:lnTo>
                  <a:lnTo>
                    <a:pt x="946" y="390"/>
                  </a:lnTo>
                  <a:lnTo>
                    <a:pt x="950" y="384"/>
                  </a:lnTo>
                  <a:lnTo>
                    <a:pt x="950" y="378"/>
                  </a:lnTo>
                  <a:lnTo>
                    <a:pt x="948" y="376"/>
                  </a:lnTo>
                  <a:lnTo>
                    <a:pt x="944" y="372"/>
                  </a:lnTo>
                  <a:lnTo>
                    <a:pt x="936" y="368"/>
                  </a:lnTo>
                  <a:lnTo>
                    <a:pt x="928" y="364"/>
                  </a:lnTo>
                  <a:lnTo>
                    <a:pt x="914" y="364"/>
                  </a:lnTo>
                  <a:lnTo>
                    <a:pt x="908" y="362"/>
                  </a:lnTo>
                  <a:lnTo>
                    <a:pt x="906" y="360"/>
                  </a:lnTo>
                  <a:lnTo>
                    <a:pt x="906" y="354"/>
                  </a:lnTo>
                  <a:lnTo>
                    <a:pt x="906" y="342"/>
                  </a:lnTo>
                  <a:lnTo>
                    <a:pt x="904" y="340"/>
                  </a:lnTo>
                  <a:lnTo>
                    <a:pt x="902" y="342"/>
                  </a:lnTo>
                  <a:lnTo>
                    <a:pt x="896" y="340"/>
                  </a:lnTo>
                  <a:lnTo>
                    <a:pt x="886" y="340"/>
                  </a:lnTo>
                  <a:lnTo>
                    <a:pt x="884" y="338"/>
                  </a:lnTo>
                  <a:lnTo>
                    <a:pt x="884" y="334"/>
                  </a:lnTo>
                  <a:lnTo>
                    <a:pt x="884" y="328"/>
                  </a:lnTo>
                  <a:lnTo>
                    <a:pt x="884" y="324"/>
                  </a:lnTo>
                  <a:lnTo>
                    <a:pt x="882" y="322"/>
                  </a:lnTo>
                  <a:lnTo>
                    <a:pt x="878" y="320"/>
                  </a:lnTo>
                  <a:lnTo>
                    <a:pt x="872" y="316"/>
                  </a:lnTo>
                  <a:lnTo>
                    <a:pt x="866" y="312"/>
                  </a:lnTo>
                  <a:lnTo>
                    <a:pt x="864" y="308"/>
                  </a:lnTo>
                  <a:lnTo>
                    <a:pt x="862" y="306"/>
                  </a:lnTo>
                  <a:lnTo>
                    <a:pt x="864" y="304"/>
                  </a:lnTo>
                  <a:lnTo>
                    <a:pt x="866" y="298"/>
                  </a:lnTo>
                  <a:lnTo>
                    <a:pt x="872" y="292"/>
                  </a:lnTo>
                  <a:lnTo>
                    <a:pt x="872" y="286"/>
                  </a:lnTo>
                  <a:lnTo>
                    <a:pt x="874" y="282"/>
                  </a:lnTo>
                  <a:lnTo>
                    <a:pt x="872" y="280"/>
                  </a:lnTo>
                  <a:lnTo>
                    <a:pt x="868" y="276"/>
                  </a:lnTo>
                  <a:lnTo>
                    <a:pt x="864" y="272"/>
                  </a:lnTo>
                  <a:lnTo>
                    <a:pt x="862" y="270"/>
                  </a:lnTo>
                  <a:lnTo>
                    <a:pt x="862" y="266"/>
                  </a:lnTo>
                  <a:lnTo>
                    <a:pt x="864" y="260"/>
                  </a:lnTo>
                  <a:lnTo>
                    <a:pt x="868" y="256"/>
                  </a:lnTo>
                  <a:lnTo>
                    <a:pt x="878" y="252"/>
                  </a:lnTo>
                  <a:lnTo>
                    <a:pt x="880" y="248"/>
                  </a:lnTo>
                  <a:lnTo>
                    <a:pt x="880" y="244"/>
                  </a:lnTo>
                  <a:lnTo>
                    <a:pt x="878" y="244"/>
                  </a:lnTo>
                  <a:lnTo>
                    <a:pt x="870" y="244"/>
                  </a:lnTo>
                  <a:lnTo>
                    <a:pt x="860" y="242"/>
                  </a:lnTo>
                  <a:lnTo>
                    <a:pt x="858" y="240"/>
                  </a:lnTo>
                  <a:lnTo>
                    <a:pt x="858" y="238"/>
                  </a:lnTo>
                  <a:lnTo>
                    <a:pt x="858" y="236"/>
                  </a:lnTo>
                  <a:lnTo>
                    <a:pt x="860" y="232"/>
                  </a:lnTo>
                  <a:lnTo>
                    <a:pt x="862" y="228"/>
                  </a:lnTo>
                  <a:lnTo>
                    <a:pt x="862" y="226"/>
                  </a:lnTo>
                  <a:lnTo>
                    <a:pt x="858" y="222"/>
                  </a:lnTo>
                  <a:lnTo>
                    <a:pt x="850" y="218"/>
                  </a:lnTo>
                  <a:lnTo>
                    <a:pt x="850" y="214"/>
                  </a:lnTo>
                  <a:lnTo>
                    <a:pt x="850" y="210"/>
                  </a:lnTo>
                  <a:lnTo>
                    <a:pt x="854" y="206"/>
                  </a:lnTo>
                  <a:lnTo>
                    <a:pt x="856" y="202"/>
                  </a:lnTo>
                  <a:lnTo>
                    <a:pt x="860" y="192"/>
                  </a:lnTo>
                  <a:lnTo>
                    <a:pt x="866" y="190"/>
                  </a:lnTo>
                  <a:lnTo>
                    <a:pt x="874" y="186"/>
                  </a:lnTo>
                  <a:lnTo>
                    <a:pt x="882" y="184"/>
                  </a:lnTo>
                  <a:lnTo>
                    <a:pt x="896" y="186"/>
                  </a:lnTo>
                  <a:lnTo>
                    <a:pt x="902" y="188"/>
                  </a:lnTo>
                  <a:lnTo>
                    <a:pt x="914" y="190"/>
                  </a:lnTo>
                  <a:lnTo>
                    <a:pt x="926" y="192"/>
                  </a:lnTo>
                  <a:lnTo>
                    <a:pt x="936" y="194"/>
                  </a:lnTo>
                  <a:lnTo>
                    <a:pt x="942" y="194"/>
                  </a:lnTo>
                  <a:lnTo>
                    <a:pt x="946" y="196"/>
                  </a:lnTo>
                  <a:lnTo>
                    <a:pt x="958" y="202"/>
                  </a:lnTo>
                  <a:lnTo>
                    <a:pt x="968" y="204"/>
                  </a:lnTo>
                  <a:lnTo>
                    <a:pt x="976" y="204"/>
                  </a:lnTo>
                  <a:lnTo>
                    <a:pt x="986" y="200"/>
                  </a:lnTo>
                  <a:lnTo>
                    <a:pt x="990" y="196"/>
                  </a:lnTo>
                  <a:lnTo>
                    <a:pt x="998" y="190"/>
                  </a:lnTo>
                  <a:lnTo>
                    <a:pt x="1006" y="190"/>
                  </a:lnTo>
                  <a:lnTo>
                    <a:pt x="1024" y="184"/>
                  </a:lnTo>
                  <a:lnTo>
                    <a:pt x="1028" y="184"/>
                  </a:lnTo>
                  <a:lnTo>
                    <a:pt x="1034" y="186"/>
                  </a:lnTo>
                  <a:lnTo>
                    <a:pt x="1040" y="182"/>
                  </a:lnTo>
                  <a:lnTo>
                    <a:pt x="1044" y="176"/>
                  </a:lnTo>
                  <a:lnTo>
                    <a:pt x="1044" y="174"/>
                  </a:lnTo>
                  <a:lnTo>
                    <a:pt x="1046" y="172"/>
                  </a:lnTo>
                  <a:lnTo>
                    <a:pt x="1052" y="170"/>
                  </a:lnTo>
                  <a:lnTo>
                    <a:pt x="1060" y="164"/>
                  </a:lnTo>
                  <a:lnTo>
                    <a:pt x="1062" y="160"/>
                  </a:lnTo>
                  <a:lnTo>
                    <a:pt x="1064" y="156"/>
                  </a:lnTo>
                  <a:lnTo>
                    <a:pt x="1060" y="148"/>
                  </a:lnTo>
                  <a:lnTo>
                    <a:pt x="1058" y="144"/>
                  </a:lnTo>
                  <a:lnTo>
                    <a:pt x="1056" y="136"/>
                  </a:lnTo>
                  <a:lnTo>
                    <a:pt x="1052" y="130"/>
                  </a:lnTo>
                  <a:lnTo>
                    <a:pt x="1048" y="118"/>
                  </a:lnTo>
                  <a:lnTo>
                    <a:pt x="1044" y="1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31" name="Google Shape;4798;p64">
              <a:extLst>
                <a:ext uri="{FF2B5EF4-FFF2-40B4-BE49-F238E27FC236}">
                  <a16:creationId xmlns:a16="http://schemas.microsoft.com/office/drawing/2014/main" id="{3E7F9BF1-143E-0734-DA34-6BBAF972B476}"/>
                </a:ext>
              </a:extLst>
            </p:cNvPr>
            <p:cNvCxnSpPr/>
            <p:nvPr/>
          </p:nvCxnSpPr>
          <p:spPr>
            <a:xfrm>
              <a:off x="6176254" y="4167744"/>
              <a:ext cx="0" cy="0"/>
            </a:xfrm>
            <a:prstGeom prst="straightConnector1">
              <a:avLst/>
            </a:prstGeom>
            <a:grpFill/>
            <a:ln w="9525" cap="flat" cmpd="sng">
              <a:solidFill>
                <a:schemeClr val="bg2"/>
              </a:solidFill>
              <a:prstDash val="solid"/>
              <a:round/>
              <a:headEnd type="none" w="med" len="med"/>
              <a:tailEnd type="none" w="med" len="med"/>
            </a:ln>
          </p:spPr>
        </p:cxnSp>
        <p:cxnSp>
          <p:nvCxnSpPr>
            <p:cNvPr id="332" name="Google Shape;4799;p64">
              <a:extLst>
                <a:ext uri="{FF2B5EF4-FFF2-40B4-BE49-F238E27FC236}">
                  <a16:creationId xmlns:a16="http://schemas.microsoft.com/office/drawing/2014/main" id="{679FF76E-33C8-7FFF-1126-E3EA1F531BB0}"/>
                </a:ext>
              </a:extLst>
            </p:cNvPr>
            <p:cNvCxnSpPr/>
            <p:nvPr/>
          </p:nvCxnSpPr>
          <p:spPr>
            <a:xfrm>
              <a:off x="6176254" y="4167744"/>
              <a:ext cx="0" cy="0"/>
            </a:xfrm>
            <a:prstGeom prst="straightConnector1">
              <a:avLst/>
            </a:prstGeom>
            <a:grpFill/>
            <a:ln w="9525" cap="flat" cmpd="sng">
              <a:solidFill>
                <a:schemeClr val="bg2"/>
              </a:solidFill>
              <a:prstDash val="solid"/>
              <a:round/>
              <a:headEnd type="none" w="med" len="med"/>
              <a:tailEnd type="none" w="med" len="med"/>
            </a:ln>
          </p:spPr>
        </p:cxnSp>
        <p:sp>
          <p:nvSpPr>
            <p:cNvPr id="333" name="Google Shape;4800;p64">
              <a:extLst>
                <a:ext uri="{FF2B5EF4-FFF2-40B4-BE49-F238E27FC236}">
                  <a16:creationId xmlns:a16="http://schemas.microsoft.com/office/drawing/2014/main" id="{1038292B-541A-BFA6-63EF-3C3618E4FC72}"/>
                </a:ext>
              </a:extLst>
            </p:cNvPr>
            <p:cNvSpPr/>
            <p:nvPr/>
          </p:nvSpPr>
          <p:spPr>
            <a:xfrm>
              <a:off x="2739135" y="4782054"/>
              <a:ext cx="125356" cy="51848"/>
            </a:xfrm>
            <a:custGeom>
              <a:avLst/>
              <a:gdLst/>
              <a:ahLst/>
              <a:cxnLst/>
              <a:rect l="l" t="t" r="r" b="b"/>
              <a:pathLst>
                <a:path w="910139" h="376446" extrusionOk="0">
                  <a:moveTo>
                    <a:pt x="195370" y="314500"/>
                  </a:moveTo>
                  <a:lnTo>
                    <a:pt x="200136" y="314500"/>
                  </a:lnTo>
                  <a:lnTo>
                    <a:pt x="209666" y="328796"/>
                  </a:lnTo>
                  <a:lnTo>
                    <a:pt x="204901" y="333560"/>
                  </a:lnTo>
                  <a:lnTo>
                    <a:pt x="204901" y="343090"/>
                  </a:lnTo>
                  <a:lnTo>
                    <a:pt x="219196" y="352620"/>
                  </a:lnTo>
                  <a:lnTo>
                    <a:pt x="219196" y="357386"/>
                  </a:lnTo>
                  <a:lnTo>
                    <a:pt x="209666" y="357386"/>
                  </a:lnTo>
                  <a:lnTo>
                    <a:pt x="195370" y="352620"/>
                  </a:lnTo>
                  <a:lnTo>
                    <a:pt x="181075" y="338326"/>
                  </a:lnTo>
                  <a:lnTo>
                    <a:pt x="181075" y="333560"/>
                  </a:lnTo>
                  <a:lnTo>
                    <a:pt x="181075" y="328796"/>
                  </a:lnTo>
                  <a:lnTo>
                    <a:pt x="185840" y="319266"/>
                  </a:lnTo>
                  <a:close/>
                  <a:moveTo>
                    <a:pt x="609936" y="204902"/>
                  </a:moveTo>
                  <a:lnTo>
                    <a:pt x="614701" y="204902"/>
                  </a:lnTo>
                  <a:lnTo>
                    <a:pt x="614701" y="214432"/>
                  </a:lnTo>
                  <a:lnTo>
                    <a:pt x="609936" y="219196"/>
                  </a:lnTo>
                  <a:lnTo>
                    <a:pt x="605171" y="214432"/>
                  </a:lnTo>
                  <a:close/>
                  <a:moveTo>
                    <a:pt x="638527" y="181076"/>
                  </a:moveTo>
                  <a:lnTo>
                    <a:pt x="643292" y="181076"/>
                  </a:lnTo>
                  <a:lnTo>
                    <a:pt x="648058" y="181076"/>
                  </a:lnTo>
                  <a:lnTo>
                    <a:pt x="652823" y="200136"/>
                  </a:lnTo>
                  <a:lnTo>
                    <a:pt x="648058" y="204902"/>
                  </a:lnTo>
                  <a:lnTo>
                    <a:pt x="643292" y="209666"/>
                  </a:lnTo>
                  <a:lnTo>
                    <a:pt x="638527" y="219196"/>
                  </a:lnTo>
                  <a:lnTo>
                    <a:pt x="633762" y="200136"/>
                  </a:lnTo>
                  <a:lnTo>
                    <a:pt x="633762" y="185842"/>
                  </a:lnTo>
                  <a:close/>
                  <a:moveTo>
                    <a:pt x="109598" y="28592"/>
                  </a:moveTo>
                  <a:lnTo>
                    <a:pt x="114363" y="28592"/>
                  </a:lnTo>
                  <a:lnTo>
                    <a:pt x="119128" y="28592"/>
                  </a:lnTo>
                  <a:lnTo>
                    <a:pt x="123893" y="33356"/>
                  </a:lnTo>
                  <a:lnTo>
                    <a:pt x="119128" y="42888"/>
                  </a:lnTo>
                  <a:close/>
                  <a:moveTo>
                    <a:pt x="33356" y="0"/>
                  </a:moveTo>
                  <a:lnTo>
                    <a:pt x="47651" y="9532"/>
                  </a:lnTo>
                  <a:lnTo>
                    <a:pt x="57182" y="14296"/>
                  </a:lnTo>
                  <a:lnTo>
                    <a:pt x="61947" y="14296"/>
                  </a:lnTo>
                  <a:lnTo>
                    <a:pt x="66712" y="9532"/>
                  </a:lnTo>
                  <a:lnTo>
                    <a:pt x="71477" y="9532"/>
                  </a:lnTo>
                  <a:lnTo>
                    <a:pt x="71477" y="4766"/>
                  </a:lnTo>
                  <a:lnTo>
                    <a:pt x="81007" y="14296"/>
                  </a:lnTo>
                  <a:lnTo>
                    <a:pt x="100068" y="28592"/>
                  </a:lnTo>
                  <a:lnTo>
                    <a:pt x="100068" y="33356"/>
                  </a:lnTo>
                  <a:lnTo>
                    <a:pt x="100068" y="42888"/>
                  </a:lnTo>
                  <a:lnTo>
                    <a:pt x="104833" y="61948"/>
                  </a:lnTo>
                  <a:lnTo>
                    <a:pt x="114363" y="66712"/>
                  </a:lnTo>
                  <a:lnTo>
                    <a:pt x="128658" y="61948"/>
                  </a:lnTo>
                  <a:lnTo>
                    <a:pt x="128658" y="66712"/>
                  </a:lnTo>
                  <a:lnTo>
                    <a:pt x="123893" y="71478"/>
                  </a:lnTo>
                  <a:lnTo>
                    <a:pt x="119128" y="90538"/>
                  </a:lnTo>
                  <a:lnTo>
                    <a:pt x="138189" y="100068"/>
                  </a:lnTo>
                  <a:lnTo>
                    <a:pt x="147719" y="104834"/>
                  </a:lnTo>
                  <a:lnTo>
                    <a:pt x="176310" y="104834"/>
                  </a:lnTo>
                  <a:lnTo>
                    <a:pt x="185840" y="104834"/>
                  </a:lnTo>
                  <a:lnTo>
                    <a:pt x="190605" y="100068"/>
                  </a:lnTo>
                  <a:lnTo>
                    <a:pt x="185840" y="90538"/>
                  </a:lnTo>
                  <a:lnTo>
                    <a:pt x="171545" y="76244"/>
                  </a:lnTo>
                  <a:lnTo>
                    <a:pt x="176310" y="71478"/>
                  </a:lnTo>
                  <a:lnTo>
                    <a:pt x="181075" y="76244"/>
                  </a:lnTo>
                  <a:lnTo>
                    <a:pt x="190605" y="85774"/>
                  </a:lnTo>
                  <a:lnTo>
                    <a:pt x="204900" y="90538"/>
                  </a:lnTo>
                  <a:lnTo>
                    <a:pt x="228726" y="123894"/>
                  </a:lnTo>
                  <a:lnTo>
                    <a:pt x="257317" y="128660"/>
                  </a:lnTo>
                  <a:lnTo>
                    <a:pt x="281142" y="128660"/>
                  </a:lnTo>
                  <a:lnTo>
                    <a:pt x="304968" y="123894"/>
                  </a:lnTo>
                  <a:lnTo>
                    <a:pt x="338324" y="114364"/>
                  </a:lnTo>
                  <a:lnTo>
                    <a:pt x="366915" y="90538"/>
                  </a:lnTo>
                  <a:lnTo>
                    <a:pt x="385975" y="81008"/>
                  </a:lnTo>
                  <a:lnTo>
                    <a:pt x="452687" y="61948"/>
                  </a:lnTo>
                  <a:lnTo>
                    <a:pt x="476513" y="42888"/>
                  </a:lnTo>
                  <a:lnTo>
                    <a:pt x="486043" y="38122"/>
                  </a:lnTo>
                  <a:lnTo>
                    <a:pt x="490808" y="33356"/>
                  </a:lnTo>
                  <a:lnTo>
                    <a:pt x="514634" y="19062"/>
                  </a:lnTo>
                  <a:lnTo>
                    <a:pt x="524164" y="9532"/>
                  </a:lnTo>
                  <a:lnTo>
                    <a:pt x="538459" y="0"/>
                  </a:lnTo>
                  <a:lnTo>
                    <a:pt x="571815" y="4766"/>
                  </a:lnTo>
                  <a:lnTo>
                    <a:pt x="595641" y="9532"/>
                  </a:lnTo>
                  <a:lnTo>
                    <a:pt x="609936" y="9532"/>
                  </a:lnTo>
                  <a:lnTo>
                    <a:pt x="624231" y="14296"/>
                  </a:lnTo>
                  <a:lnTo>
                    <a:pt x="628997" y="23826"/>
                  </a:lnTo>
                  <a:lnTo>
                    <a:pt x="638527" y="28592"/>
                  </a:lnTo>
                  <a:lnTo>
                    <a:pt x="676648" y="28592"/>
                  </a:lnTo>
                  <a:lnTo>
                    <a:pt x="705239" y="33356"/>
                  </a:lnTo>
                  <a:lnTo>
                    <a:pt x="771950" y="57182"/>
                  </a:lnTo>
                  <a:lnTo>
                    <a:pt x="810071" y="85774"/>
                  </a:lnTo>
                  <a:lnTo>
                    <a:pt x="829132" y="114364"/>
                  </a:lnTo>
                  <a:lnTo>
                    <a:pt x="881548" y="147720"/>
                  </a:lnTo>
                  <a:lnTo>
                    <a:pt x="876783" y="152486"/>
                  </a:lnTo>
                  <a:lnTo>
                    <a:pt x="867253" y="162016"/>
                  </a:lnTo>
                  <a:lnTo>
                    <a:pt x="862488" y="176310"/>
                  </a:lnTo>
                  <a:lnTo>
                    <a:pt x="876783" y="185840"/>
                  </a:lnTo>
                  <a:lnTo>
                    <a:pt x="876783" y="200136"/>
                  </a:lnTo>
                  <a:lnTo>
                    <a:pt x="886313" y="209666"/>
                  </a:lnTo>
                  <a:lnTo>
                    <a:pt x="895844" y="223962"/>
                  </a:lnTo>
                  <a:lnTo>
                    <a:pt x="905374" y="247788"/>
                  </a:lnTo>
                  <a:lnTo>
                    <a:pt x="910139" y="257318"/>
                  </a:lnTo>
                  <a:lnTo>
                    <a:pt x="905374" y="262082"/>
                  </a:lnTo>
                  <a:lnTo>
                    <a:pt x="895844" y="266848"/>
                  </a:lnTo>
                  <a:lnTo>
                    <a:pt x="886313" y="281144"/>
                  </a:lnTo>
                  <a:lnTo>
                    <a:pt x="881548" y="295438"/>
                  </a:lnTo>
                  <a:lnTo>
                    <a:pt x="886313" y="300204"/>
                  </a:lnTo>
                  <a:lnTo>
                    <a:pt x="852958" y="324030"/>
                  </a:lnTo>
                  <a:lnTo>
                    <a:pt x="848192" y="324030"/>
                  </a:lnTo>
                  <a:lnTo>
                    <a:pt x="843427" y="324030"/>
                  </a:lnTo>
                  <a:lnTo>
                    <a:pt x="838662" y="309734"/>
                  </a:lnTo>
                  <a:lnTo>
                    <a:pt x="829132" y="300204"/>
                  </a:lnTo>
                  <a:lnTo>
                    <a:pt x="824367" y="300204"/>
                  </a:lnTo>
                  <a:lnTo>
                    <a:pt x="819602" y="300204"/>
                  </a:lnTo>
                  <a:lnTo>
                    <a:pt x="819602" y="304970"/>
                  </a:lnTo>
                  <a:lnTo>
                    <a:pt x="824367" y="324030"/>
                  </a:lnTo>
                  <a:lnTo>
                    <a:pt x="819602" y="333560"/>
                  </a:lnTo>
                  <a:lnTo>
                    <a:pt x="810071" y="343090"/>
                  </a:lnTo>
                  <a:lnTo>
                    <a:pt x="800541" y="376446"/>
                  </a:lnTo>
                  <a:lnTo>
                    <a:pt x="795776" y="371680"/>
                  </a:lnTo>
                  <a:lnTo>
                    <a:pt x="757655" y="324030"/>
                  </a:lnTo>
                  <a:lnTo>
                    <a:pt x="724299" y="266848"/>
                  </a:lnTo>
                  <a:lnTo>
                    <a:pt x="719534" y="243022"/>
                  </a:lnTo>
                  <a:lnTo>
                    <a:pt x="724299" y="243022"/>
                  </a:lnTo>
                  <a:lnTo>
                    <a:pt x="733829" y="243022"/>
                  </a:lnTo>
                  <a:lnTo>
                    <a:pt x="738594" y="238258"/>
                  </a:lnTo>
                  <a:lnTo>
                    <a:pt x="743360" y="233492"/>
                  </a:lnTo>
                  <a:lnTo>
                    <a:pt x="738594" y="214432"/>
                  </a:lnTo>
                  <a:lnTo>
                    <a:pt x="752890" y="200136"/>
                  </a:lnTo>
                  <a:lnTo>
                    <a:pt x="762420" y="190606"/>
                  </a:lnTo>
                  <a:lnTo>
                    <a:pt x="767185" y="195372"/>
                  </a:lnTo>
                  <a:lnTo>
                    <a:pt x="776716" y="209666"/>
                  </a:lnTo>
                  <a:lnTo>
                    <a:pt x="791011" y="219196"/>
                  </a:lnTo>
                  <a:lnTo>
                    <a:pt x="810071" y="228728"/>
                  </a:lnTo>
                  <a:lnTo>
                    <a:pt x="819602" y="233492"/>
                  </a:lnTo>
                  <a:lnTo>
                    <a:pt x="805306" y="219196"/>
                  </a:lnTo>
                  <a:lnTo>
                    <a:pt x="781481" y="200136"/>
                  </a:lnTo>
                  <a:lnTo>
                    <a:pt x="771950" y="190606"/>
                  </a:lnTo>
                  <a:lnTo>
                    <a:pt x="767185" y="176310"/>
                  </a:lnTo>
                  <a:lnTo>
                    <a:pt x="757655" y="181076"/>
                  </a:lnTo>
                  <a:lnTo>
                    <a:pt x="752890" y="185840"/>
                  </a:lnTo>
                  <a:lnTo>
                    <a:pt x="748125" y="190606"/>
                  </a:lnTo>
                  <a:lnTo>
                    <a:pt x="743360" y="185840"/>
                  </a:lnTo>
                  <a:lnTo>
                    <a:pt x="743360" y="181076"/>
                  </a:lnTo>
                  <a:lnTo>
                    <a:pt x="729064" y="181076"/>
                  </a:lnTo>
                  <a:lnTo>
                    <a:pt x="724299" y="176310"/>
                  </a:lnTo>
                  <a:lnTo>
                    <a:pt x="719534" y="171546"/>
                  </a:lnTo>
                  <a:lnTo>
                    <a:pt x="724299" y="181076"/>
                  </a:lnTo>
                  <a:lnTo>
                    <a:pt x="724299" y="190606"/>
                  </a:lnTo>
                  <a:lnTo>
                    <a:pt x="724299" y="195372"/>
                  </a:lnTo>
                  <a:lnTo>
                    <a:pt x="719534" y="195372"/>
                  </a:lnTo>
                  <a:lnTo>
                    <a:pt x="714769" y="190606"/>
                  </a:lnTo>
                  <a:lnTo>
                    <a:pt x="710004" y="181076"/>
                  </a:lnTo>
                  <a:lnTo>
                    <a:pt x="700474" y="152486"/>
                  </a:lnTo>
                  <a:lnTo>
                    <a:pt x="686178" y="142954"/>
                  </a:lnTo>
                  <a:lnTo>
                    <a:pt x="676648" y="138190"/>
                  </a:lnTo>
                  <a:lnTo>
                    <a:pt x="671883" y="133424"/>
                  </a:lnTo>
                  <a:lnTo>
                    <a:pt x="662352" y="123894"/>
                  </a:lnTo>
                  <a:lnTo>
                    <a:pt x="648057" y="119130"/>
                  </a:lnTo>
                  <a:lnTo>
                    <a:pt x="633762" y="104834"/>
                  </a:lnTo>
                  <a:lnTo>
                    <a:pt x="614701" y="95304"/>
                  </a:lnTo>
                  <a:lnTo>
                    <a:pt x="586110" y="90538"/>
                  </a:lnTo>
                  <a:lnTo>
                    <a:pt x="557520" y="95304"/>
                  </a:lnTo>
                  <a:lnTo>
                    <a:pt x="547989" y="100068"/>
                  </a:lnTo>
                  <a:lnTo>
                    <a:pt x="538459" y="109598"/>
                  </a:lnTo>
                  <a:lnTo>
                    <a:pt x="519399" y="119130"/>
                  </a:lnTo>
                  <a:lnTo>
                    <a:pt x="514634" y="128660"/>
                  </a:lnTo>
                  <a:lnTo>
                    <a:pt x="509868" y="142954"/>
                  </a:lnTo>
                  <a:lnTo>
                    <a:pt x="500338" y="152486"/>
                  </a:lnTo>
                  <a:lnTo>
                    <a:pt x="509868" y="157250"/>
                  </a:lnTo>
                  <a:lnTo>
                    <a:pt x="452687" y="200136"/>
                  </a:lnTo>
                  <a:lnTo>
                    <a:pt x="438392" y="204902"/>
                  </a:lnTo>
                  <a:lnTo>
                    <a:pt x="414566" y="209666"/>
                  </a:lnTo>
                  <a:lnTo>
                    <a:pt x="405036" y="209666"/>
                  </a:lnTo>
                  <a:lnTo>
                    <a:pt x="400271" y="219196"/>
                  </a:lnTo>
                  <a:lnTo>
                    <a:pt x="400271" y="228728"/>
                  </a:lnTo>
                  <a:lnTo>
                    <a:pt x="400271" y="243022"/>
                  </a:lnTo>
                  <a:lnTo>
                    <a:pt x="405036" y="247788"/>
                  </a:lnTo>
                  <a:lnTo>
                    <a:pt x="414566" y="252552"/>
                  </a:lnTo>
                  <a:lnTo>
                    <a:pt x="428861" y="276378"/>
                  </a:lnTo>
                  <a:lnTo>
                    <a:pt x="457452" y="304970"/>
                  </a:lnTo>
                  <a:lnTo>
                    <a:pt x="462217" y="314500"/>
                  </a:lnTo>
                  <a:lnTo>
                    <a:pt x="466982" y="333560"/>
                  </a:lnTo>
                  <a:lnTo>
                    <a:pt x="462217" y="338324"/>
                  </a:lnTo>
                  <a:lnTo>
                    <a:pt x="452687" y="343090"/>
                  </a:lnTo>
                  <a:lnTo>
                    <a:pt x="424096" y="343090"/>
                  </a:lnTo>
                  <a:lnTo>
                    <a:pt x="414566" y="352620"/>
                  </a:lnTo>
                  <a:lnTo>
                    <a:pt x="409801" y="362150"/>
                  </a:lnTo>
                  <a:lnTo>
                    <a:pt x="400271" y="366916"/>
                  </a:lnTo>
                  <a:lnTo>
                    <a:pt x="366915" y="376446"/>
                  </a:lnTo>
                  <a:lnTo>
                    <a:pt x="338324" y="376446"/>
                  </a:lnTo>
                  <a:lnTo>
                    <a:pt x="328794" y="366916"/>
                  </a:lnTo>
                  <a:lnTo>
                    <a:pt x="328794" y="343090"/>
                  </a:lnTo>
                  <a:lnTo>
                    <a:pt x="309733" y="300204"/>
                  </a:lnTo>
                  <a:lnTo>
                    <a:pt x="304968" y="266848"/>
                  </a:lnTo>
                  <a:lnTo>
                    <a:pt x="300203" y="271614"/>
                  </a:lnTo>
                  <a:lnTo>
                    <a:pt x="290673" y="276378"/>
                  </a:lnTo>
                  <a:lnTo>
                    <a:pt x="285908" y="285908"/>
                  </a:lnTo>
                  <a:lnTo>
                    <a:pt x="285908" y="304970"/>
                  </a:lnTo>
                  <a:lnTo>
                    <a:pt x="281142" y="314500"/>
                  </a:lnTo>
                  <a:lnTo>
                    <a:pt x="271612" y="314500"/>
                  </a:lnTo>
                  <a:lnTo>
                    <a:pt x="257317" y="304970"/>
                  </a:lnTo>
                  <a:lnTo>
                    <a:pt x="233491" y="295438"/>
                  </a:lnTo>
                  <a:lnTo>
                    <a:pt x="209666" y="252552"/>
                  </a:lnTo>
                  <a:lnTo>
                    <a:pt x="204900" y="243022"/>
                  </a:lnTo>
                  <a:lnTo>
                    <a:pt x="200135" y="233492"/>
                  </a:lnTo>
                  <a:lnTo>
                    <a:pt x="181075" y="228728"/>
                  </a:lnTo>
                  <a:lnTo>
                    <a:pt x="162014" y="219196"/>
                  </a:lnTo>
                  <a:lnTo>
                    <a:pt x="142954" y="219196"/>
                  </a:lnTo>
                  <a:lnTo>
                    <a:pt x="133424" y="223962"/>
                  </a:lnTo>
                  <a:lnTo>
                    <a:pt x="123893" y="219196"/>
                  </a:lnTo>
                  <a:lnTo>
                    <a:pt x="123893" y="204902"/>
                  </a:lnTo>
                  <a:lnTo>
                    <a:pt x="100068" y="209666"/>
                  </a:lnTo>
                  <a:lnTo>
                    <a:pt x="76242" y="209666"/>
                  </a:lnTo>
                  <a:lnTo>
                    <a:pt x="52416" y="204902"/>
                  </a:lnTo>
                  <a:lnTo>
                    <a:pt x="38121" y="204902"/>
                  </a:lnTo>
                  <a:lnTo>
                    <a:pt x="23826" y="214432"/>
                  </a:lnTo>
                  <a:lnTo>
                    <a:pt x="23826" y="238258"/>
                  </a:lnTo>
                  <a:lnTo>
                    <a:pt x="19061" y="243022"/>
                  </a:lnTo>
                  <a:lnTo>
                    <a:pt x="19061" y="233492"/>
                  </a:lnTo>
                  <a:lnTo>
                    <a:pt x="14295" y="223962"/>
                  </a:lnTo>
                  <a:lnTo>
                    <a:pt x="9530" y="214432"/>
                  </a:lnTo>
                  <a:lnTo>
                    <a:pt x="0" y="204902"/>
                  </a:lnTo>
                  <a:lnTo>
                    <a:pt x="0" y="200136"/>
                  </a:lnTo>
                  <a:lnTo>
                    <a:pt x="4765" y="195372"/>
                  </a:lnTo>
                  <a:lnTo>
                    <a:pt x="23826" y="181076"/>
                  </a:lnTo>
                  <a:lnTo>
                    <a:pt x="28591" y="176310"/>
                  </a:lnTo>
                  <a:lnTo>
                    <a:pt x="28591" y="162016"/>
                  </a:lnTo>
                  <a:lnTo>
                    <a:pt x="23826" y="152486"/>
                  </a:lnTo>
                  <a:lnTo>
                    <a:pt x="14295" y="138190"/>
                  </a:lnTo>
                  <a:lnTo>
                    <a:pt x="19061" y="123894"/>
                  </a:lnTo>
                  <a:lnTo>
                    <a:pt x="33356" y="119130"/>
                  </a:lnTo>
                  <a:lnTo>
                    <a:pt x="42886" y="109598"/>
                  </a:lnTo>
                  <a:lnTo>
                    <a:pt x="42886" y="104834"/>
                  </a:lnTo>
                  <a:lnTo>
                    <a:pt x="38121" y="95304"/>
                  </a:lnTo>
                  <a:lnTo>
                    <a:pt x="19061" y="85774"/>
                  </a:lnTo>
                  <a:lnTo>
                    <a:pt x="9530" y="85774"/>
                  </a:lnTo>
                  <a:lnTo>
                    <a:pt x="9530" y="57182"/>
                  </a:lnTo>
                  <a:lnTo>
                    <a:pt x="9530" y="23826"/>
                  </a:lnTo>
                  <a:lnTo>
                    <a:pt x="14295" y="23826"/>
                  </a:lnTo>
                  <a:lnTo>
                    <a:pt x="19061" y="19062"/>
                  </a:lnTo>
                  <a:lnTo>
                    <a:pt x="23826" y="14296"/>
                  </a:lnTo>
                  <a:lnTo>
                    <a:pt x="28591"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34" name="Google Shape;4801;p64">
              <a:extLst>
                <a:ext uri="{FF2B5EF4-FFF2-40B4-BE49-F238E27FC236}">
                  <a16:creationId xmlns:a16="http://schemas.microsoft.com/office/drawing/2014/main" id="{0403638E-57F8-5F80-C427-E75EE564693F}"/>
                </a:ext>
              </a:extLst>
            </p:cNvPr>
            <p:cNvSpPr/>
            <p:nvPr/>
          </p:nvSpPr>
          <p:spPr>
            <a:xfrm>
              <a:off x="2775232" y="4990762"/>
              <a:ext cx="272370" cy="400024"/>
            </a:xfrm>
            <a:custGeom>
              <a:avLst/>
              <a:gdLst/>
              <a:ahLst/>
              <a:cxnLst/>
              <a:rect l="l" t="t" r="r" b="b"/>
              <a:pathLst>
                <a:path w="830" h="1219" extrusionOk="0">
                  <a:moveTo>
                    <a:pt x="746" y="274"/>
                  </a:moveTo>
                  <a:lnTo>
                    <a:pt x="742" y="270"/>
                  </a:lnTo>
                  <a:lnTo>
                    <a:pt x="738" y="264"/>
                  </a:lnTo>
                  <a:lnTo>
                    <a:pt x="732" y="262"/>
                  </a:lnTo>
                  <a:lnTo>
                    <a:pt x="730" y="258"/>
                  </a:lnTo>
                  <a:lnTo>
                    <a:pt x="728" y="252"/>
                  </a:lnTo>
                  <a:lnTo>
                    <a:pt x="724" y="248"/>
                  </a:lnTo>
                  <a:lnTo>
                    <a:pt x="720" y="246"/>
                  </a:lnTo>
                  <a:lnTo>
                    <a:pt x="718" y="248"/>
                  </a:lnTo>
                  <a:lnTo>
                    <a:pt x="716" y="248"/>
                  </a:lnTo>
                  <a:lnTo>
                    <a:pt x="712" y="250"/>
                  </a:lnTo>
                  <a:lnTo>
                    <a:pt x="708" y="250"/>
                  </a:lnTo>
                  <a:lnTo>
                    <a:pt x="696" y="246"/>
                  </a:lnTo>
                  <a:lnTo>
                    <a:pt x="694" y="244"/>
                  </a:lnTo>
                  <a:lnTo>
                    <a:pt x="702" y="232"/>
                  </a:lnTo>
                  <a:lnTo>
                    <a:pt x="716" y="212"/>
                  </a:lnTo>
                  <a:lnTo>
                    <a:pt x="724" y="198"/>
                  </a:lnTo>
                  <a:lnTo>
                    <a:pt x="734" y="184"/>
                  </a:lnTo>
                  <a:lnTo>
                    <a:pt x="738" y="178"/>
                  </a:lnTo>
                  <a:lnTo>
                    <a:pt x="738" y="176"/>
                  </a:lnTo>
                  <a:lnTo>
                    <a:pt x="738" y="174"/>
                  </a:lnTo>
                  <a:lnTo>
                    <a:pt x="736" y="170"/>
                  </a:lnTo>
                  <a:lnTo>
                    <a:pt x="732" y="170"/>
                  </a:lnTo>
                  <a:lnTo>
                    <a:pt x="728" y="168"/>
                  </a:lnTo>
                  <a:lnTo>
                    <a:pt x="724" y="164"/>
                  </a:lnTo>
                  <a:lnTo>
                    <a:pt x="720" y="162"/>
                  </a:lnTo>
                  <a:lnTo>
                    <a:pt x="716" y="160"/>
                  </a:lnTo>
                  <a:lnTo>
                    <a:pt x="710" y="158"/>
                  </a:lnTo>
                  <a:lnTo>
                    <a:pt x="706" y="156"/>
                  </a:lnTo>
                  <a:lnTo>
                    <a:pt x="700" y="154"/>
                  </a:lnTo>
                  <a:lnTo>
                    <a:pt x="696" y="150"/>
                  </a:lnTo>
                  <a:lnTo>
                    <a:pt x="684" y="142"/>
                  </a:lnTo>
                  <a:lnTo>
                    <a:pt x="680" y="142"/>
                  </a:lnTo>
                  <a:lnTo>
                    <a:pt x="676" y="142"/>
                  </a:lnTo>
                  <a:lnTo>
                    <a:pt x="670" y="144"/>
                  </a:lnTo>
                  <a:lnTo>
                    <a:pt x="664" y="148"/>
                  </a:lnTo>
                  <a:lnTo>
                    <a:pt x="658" y="150"/>
                  </a:lnTo>
                  <a:lnTo>
                    <a:pt x="652" y="150"/>
                  </a:lnTo>
                  <a:lnTo>
                    <a:pt x="648" y="146"/>
                  </a:lnTo>
                  <a:lnTo>
                    <a:pt x="644" y="146"/>
                  </a:lnTo>
                  <a:lnTo>
                    <a:pt x="640" y="142"/>
                  </a:lnTo>
                  <a:lnTo>
                    <a:pt x="634" y="140"/>
                  </a:lnTo>
                  <a:lnTo>
                    <a:pt x="628" y="138"/>
                  </a:lnTo>
                  <a:lnTo>
                    <a:pt x="624" y="138"/>
                  </a:lnTo>
                  <a:lnTo>
                    <a:pt x="620" y="142"/>
                  </a:lnTo>
                  <a:lnTo>
                    <a:pt x="616" y="146"/>
                  </a:lnTo>
                  <a:lnTo>
                    <a:pt x="612" y="150"/>
                  </a:lnTo>
                  <a:lnTo>
                    <a:pt x="608" y="148"/>
                  </a:lnTo>
                  <a:lnTo>
                    <a:pt x="602" y="152"/>
                  </a:lnTo>
                  <a:lnTo>
                    <a:pt x="598" y="154"/>
                  </a:lnTo>
                  <a:lnTo>
                    <a:pt x="592" y="154"/>
                  </a:lnTo>
                  <a:lnTo>
                    <a:pt x="586" y="156"/>
                  </a:lnTo>
                  <a:lnTo>
                    <a:pt x="580" y="154"/>
                  </a:lnTo>
                  <a:lnTo>
                    <a:pt x="574" y="152"/>
                  </a:lnTo>
                  <a:lnTo>
                    <a:pt x="570" y="150"/>
                  </a:lnTo>
                  <a:lnTo>
                    <a:pt x="568" y="152"/>
                  </a:lnTo>
                  <a:lnTo>
                    <a:pt x="566" y="154"/>
                  </a:lnTo>
                  <a:lnTo>
                    <a:pt x="558" y="154"/>
                  </a:lnTo>
                  <a:lnTo>
                    <a:pt x="554" y="154"/>
                  </a:lnTo>
                  <a:lnTo>
                    <a:pt x="550" y="154"/>
                  </a:lnTo>
                  <a:lnTo>
                    <a:pt x="548" y="150"/>
                  </a:lnTo>
                  <a:lnTo>
                    <a:pt x="542" y="148"/>
                  </a:lnTo>
                  <a:lnTo>
                    <a:pt x="536" y="146"/>
                  </a:lnTo>
                  <a:lnTo>
                    <a:pt x="536" y="142"/>
                  </a:lnTo>
                  <a:lnTo>
                    <a:pt x="536" y="138"/>
                  </a:lnTo>
                  <a:lnTo>
                    <a:pt x="538" y="132"/>
                  </a:lnTo>
                  <a:lnTo>
                    <a:pt x="536" y="128"/>
                  </a:lnTo>
                  <a:lnTo>
                    <a:pt x="534" y="120"/>
                  </a:lnTo>
                  <a:lnTo>
                    <a:pt x="534" y="116"/>
                  </a:lnTo>
                  <a:lnTo>
                    <a:pt x="532" y="114"/>
                  </a:lnTo>
                  <a:lnTo>
                    <a:pt x="528" y="112"/>
                  </a:lnTo>
                  <a:lnTo>
                    <a:pt x="524" y="114"/>
                  </a:lnTo>
                  <a:lnTo>
                    <a:pt x="518" y="110"/>
                  </a:lnTo>
                  <a:lnTo>
                    <a:pt x="514" y="108"/>
                  </a:lnTo>
                  <a:lnTo>
                    <a:pt x="512" y="104"/>
                  </a:lnTo>
                  <a:lnTo>
                    <a:pt x="514" y="98"/>
                  </a:lnTo>
                  <a:lnTo>
                    <a:pt x="512" y="92"/>
                  </a:lnTo>
                  <a:lnTo>
                    <a:pt x="508" y="88"/>
                  </a:lnTo>
                  <a:lnTo>
                    <a:pt x="506" y="82"/>
                  </a:lnTo>
                  <a:lnTo>
                    <a:pt x="502" y="78"/>
                  </a:lnTo>
                  <a:lnTo>
                    <a:pt x="498" y="76"/>
                  </a:lnTo>
                  <a:lnTo>
                    <a:pt x="494" y="76"/>
                  </a:lnTo>
                  <a:lnTo>
                    <a:pt x="490" y="74"/>
                  </a:lnTo>
                  <a:lnTo>
                    <a:pt x="486" y="70"/>
                  </a:lnTo>
                  <a:lnTo>
                    <a:pt x="482" y="68"/>
                  </a:lnTo>
                  <a:lnTo>
                    <a:pt x="478" y="64"/>
                  </a:lnTo>
                  <a:lnTo>
                    <a:pt x="470" y="62"/>
                  </a:lnTo>
                  <a:lnTo>
                    <a:pt x="464" y="60"/>
                  </a:lnTo>
                  <a:lnTo>
                    <a:pt x="462" y="58"/>
                  </a:lnTo>
                  <a:lnTo>
                    <a:pt x="460" y="52"/>
                  </a:lnTo>
                  <a:lnTo>
                    <a:pt x="460" y="50"/>
                  </a:lnTo>
                  <a:lnTo>
                    <a:pt x="458" y="46"/>
                  </a:lnTo>
                  <a:lnTo>
                    <a:pt x="456" y="42"/>
                  </a:lnTo>
                  <a:lnTo>
                    <a:pt x="454" y="34"/>
                  </a:lnTo>
                  <a:lnTo>
                    <a:pt x="450" y="30"/>
                  </a:lnTo>
                  <a:lnTo>
                    <a:pt x="444" y="24"/>
                  </a:lnTo>
                  <a:lnTo>
                    <a:pt x="440" y="20"/>
                  </a:lnTo>
                  <a:lnTo>
                    <a:pt x="436" y="18"/>
                  </a:lnTo>
                  <a:lnTo>
                    <a:pt x="432" y="16"/>
                  </a:lnTo>
                  <a:lnTo>
                    <a:pt x="430" y="12"/>
                  </a:lnTo>
                  <a:lnTo>
                    <a:pt x="428" y="10"/>
                  </a:lnTo>
                  <a:lnTo>
                    <a:pt x="426" y="10"/>
                  </a:lnTo>
                  <a:lnTo>
                    <a:pt x="422" y="10"/>
                  </a:lnTo>
                  <a:lnTo>
                    <a:pt x="418" y="8"/>
                  </a:lnTo>
                  <a:lnTo>
                    <a:pt x="414" y="6"/>
                  </a:lnTo>
                  <a:lnTo>
                    <a:pt x="412" y="4"/>
                  </a:lnTo>
                  <a:lnTo>
                    <a:pt x="406" y="0"/>
                  </a:lnTo>
                  <a:lnTo>
                    <a:pt x="404" y="0"/>
                  </a:lnTo>
                  <a:lnTo>
                    <a:pt x="400" y="0"/>
                  </a:lnTo>
                  <a:lnTo>
                    <a:pt x="396" y="4"/>
                  </a:lnTo>
                  <a:lnTo>
                    <a:pt x="394" y="6"/>
                  </a:lnTo>
                  <a:lnTo>
                    <a:pt x="390" y="6"/>
                  </a:lnTo>
                  <a:lnTo>
                    <a:pt x="384" y="6"/>
                  </a:lnTo>
                  <a:lnTo>
                    <a:pt x="378" y="4"/>
                  </a:lnTo>
                  <a:lnTo>
                    <a:pt x="374" y="4"/>
                  </a:lnTo>
                  <a:lnTo>
                    <a:pt x="374" y="6"/>
                  </a:lnTo>
                  <a:lnTo>
                    <a:pt x="384" y="12"/>
                  </a:lnTo>
                  <a:lnTo>
                    <a:pt x="384" y="18"/>
                  </a:lnTo>
                  <a:lnTo>
                    <a:pt x="388" y="24"/>
                  </a:lnTo>
                  <a:lnTo>
                    <a:pt x="394" y="30"/>
                  </a:lnTo>
                  <a:lnTo>
                    <a:pt x="398" y="32"/>
                  </a:lnTo>
                  <a:lnTo>
                    <a:pt x="398" y="36"/>
                  </a:lnTo>
                  <a:lnTo>
                    <a:pt x="398" y="40"/>
                  </a:lnTo>
                  <a:lnTo>
                    <a:pt x="396" y="42"/>
                  </a:lnTo>
                  <a:lnTo>
                    <a:pt x="398" y="58"/>
                  </a:lnTo>
                  <a:lnTo>
                    <a:pt x="398" y="60"/>
                  </a:lnTo>
                  <a:lnTo>
                    <a:pt x="396" y="60"/>
                  </a:lnTo>
                  <a:lnTo>
                    <a:pt x="392" y="60"/>
                  </a:lnTo>
                  <a:lnTo>
                    <a:pt x="390" y="58"/>
                  </a:lnTo>
                  <a:lnTo>
                    <a:pt x="388" y="58"/>
                  </a:lnTo>
                  <a:lnTo>
                    <a:pt x="388" y="60"/>
                  </a:lnTo>
                  <a:lnTo>
                    <a:pt x="386" y="66"/>
                  </a:lnTo>
                  <a:lnTo>
                    <a:pt x="382" y="82"/>
                  </a:lnTo>
                  <a:lnTo>
                    <a:pt x="378" y="96"/>
                  </a:lnTo>
                  <a:lnTo>
                    <a:pt x="374" y="102"/>
                  </a:lnTo>
                  <a:lnTo>
                    <a:pt x="366" y="110"/>
                  </a:lnTo>
                  <a:lnTo>
                    <a:pt x="358" y="120"/>
                  </a:lnTo>
                  <a:lnTo>
                    <a:pt x="344" y="136"/>
                  </a:lnTo>
                  <a:lnTo>
                    <a:pt x="334" y="144"/>
                  </a:lnTo>
                  <a:lnTo>
                    <a:pt x="326" y="150"/>
                  </a:lnTo>
                  <a:lnTo>
                    <a:pt x="316" y="156"/>
                  </a:lnTo>
                  <a:lnTo>
                    <a:pt x="306" y="164"/>
                  </a:lnTo>
                  <a:lnTo>
                    <a:pt x="292" y="170"/>
                  </a:lnTo>
                  <a:lnTo>
                    <a:pt x="274" y="176"/>
                  </a:lnTo>
                  <a:lnTo>
                    <a:pt x="260" y="180"/>
                  </a:lnTo>
                  <a:lnTo>
                    <a:pt x="250" y="184"/>
                  </a:lnTo>
                  <a:lnTo>
                    <a:pt x="240" y="188"/>
                  </a:lnTo>
                  <a:lnTo>
                    <a:pt x="228" y="192"/>
                  </a:lnTo>
                  <a:lnTo>
                    <a:pt x="222" y="196"/>
                  </a:lnTo>
                  <a:lnTo>
                    <a:pt x="214" y="206"/>
                  </a:lnTo>
                  <a:lnTo>
                    <a:pt x="210" y="212"/>
                  </a:lnTo>
                  <a:lnTo>
                    <a:pt x="206" y="216"/>
                  </a:lnTo>
                  <a:lnTo>
                    <a:pt x="206" y="218"/>
                  </a:lnTo>
                  <a:lnTo>
                    <a:pt x="206" y="220"/>
                  </a:lnTo>
                  <a:lnTo>
                    <a:pt x="208" y="222"/>
                  </a:lnTo>
                  <a:lnTo>
                    <a:pt x="208" y="224"/>
                  </a:lnTo>
                  <a:lnTo>
                    <a:pt x="206" y="226"/>
                  </a:lnTo>
                  <a:lnTo>
                    <a:pt x="204" y="226"/>
                  </a:lnTo>
                  <a:lnTo>
                    <a:pt x="202" y="224"/>
                  </a:lnTo>
                  <a:lnTo>
                    <a:pt x="202" y="222"/>
                  </a:lnTo>
                  <a:lnTo>
                    <a:pt x="200" y="220"/>
                  </a:lnTo>
                  <a:lnTo>
                    <a:pt x="198" y="218"/>
                  </a:lnTo>
                  <a:lnTo>
                    <a:pt x="196" y="220"/>
                  </a:lnTo>
                  <a:lnTo>
                    <a:pt x="196" y="222"/>
                  </a:lnTo>
                  <a:lnTo>
                    <a:pt x="192" y="232"/>
                  </a:lnTo>
                  <a:lnTo>
                    <a:pt x="192" y="238"/>
                  </a:lnTo>
                  <a:lnTo>
                    <a:pt x="192" y="240"/>
                  </a:lnTo>
                  <a:lnTo>
                    <a:pt x="192" y="244"/>
                  </a:lnTo>
                  <a:lnTo>
                    <a:pt x="188" y="248"/>
                  </a:lnTo>
                  <a:lnTo>
                    <a:pt x="186" y="252"/>
                  </a:lnTo>
                  <a:lnTo>
                    <a:pt x="186" y="256"/>
                  </a:lnTo>
                  <a:lnTo>
                    <a:pt x="182" y="258"/>
                  </a:lnTo>
                  <a:lnTo>
                    <a:pt x="182" y="262"/>
                  </a:lnTo>
                  <a:lnTo>
                    <a:pt x="178" y="270"/>
                  </a:lnTo>
                  <a:lnTo>
                    <a:pt x="176" y="276"/>
                  </a:lnTo>
                  <a:lnTo>
                    <a:pt x="174" y="280"/>
                  </a:lnTo>
                  <a:lnTo>
                    <a:pt x="174" y="284"/>
                  </a:lnTo>
                  <a:lnTo>
                    <a:pt x="176" y="286"/>
                  </a:lnTo>
                  <a:lnTo>
                    <a:pt x="176" y="290"/>
                  </a:lnTo>
                  <a:lnTo>
                    <a:pt x="174" y="294"/>
                  </a:lnTo>
                  <a:lnTo>
                    <a:pt x="174" y="296"/>
                  </a:lnTo>
                  <a:lnTo>
                    <a:pt x="170" y="298"/>
                  </a:lnTo>
                  <a:lnTo>
                    <a:pt x="162" y="302"/>
                  </a:lnTo>
                  <a:lnTo>
                    <a:pt x="160" y="306"/>
                  </a:lnTo>
                  <a:lnTo>
                    <a:pt x="158" y="310"/>
                  </a:lnTo>
                  <a:lnTo>
                    <a:pt x="158" y="312"/>
                  </a:lnTo>
                  <a:lnTo>
                    <a:pt x="158" y="316"/>
                  </a:lnTo>
                  <a:lnTo>
                    <a:pt x="154" y="316"/>
                  </a:lnTo>
                  <a:lnTo>
                    <a:pt x="154" y="318"/>
                  </a:lnTo>
                  <a:lnTo>
                    <a:pt x="150" y="322"/>
                  </a:lnTo>
                  <a:lnTo>
                    <a:pt x="148" y="324"/>
                  </a:lnTo>
                  <a:lnTo>
                    <a:pt x="140" y="322"/>
                  </a:lnTo>
                  <a:lnTo>
                    <a:pt x="136" y="322"/>
                  </a:lnTo>
                  <a:lnTo>
                    <a:pt x="132" y="320"/>
                  </a:lnTo>
                  <a:lnTo>
                    <a:pt x="124" y="310"/>
                  </a:lnTo>
                  <a:lnTo>
                    <a:pt x="120" y="304"/>
                  </a:lnTo>
                  <a:lnTo>
                    <a:pt x="120" y="294"/>
                  </a:lnTo>
                  <a:lnTo>
                    <a:pt x="116" y="292"/>
                  </a:lnTo>
                  <a:lnTo>
                    <a:pt x="112" y="288"/>
                  </a:lnTo>
                  <a:lnTo>
                    <a:pt x="106" y="290"/>
                  </a:lnTo>
                  <a:lnTo>
                    <a:pt x="100" y="290"/>
                  </a:lnTo>
                  <a:lnTo>
                    <a:pt x="98" y="288"/>
                  </a:lnTo>
                  <a:lnTo>
                    <a:pt x="90" y="284"/>
                  </a:lnTo>
                  <a:lnTo>
                    <a:pt x="84" y="280"/>
                  </a:lnTo>
                  <a:lnTo>
                    <a:pt x="78" y="278"/>
                  </a:lnTo>
                  <a:lnTo>
                    <a:pt x="74" y="280"/>
                  </a:lnTo>
                  <a:lnTo>
                    <a:pt x="72" y="282"/>
                  </a:lnTo>
                  <a:lnTo>
                    <a:pt x="68" y="286"/>
                  </a:lnTo>
                  <a:lnTo>
                    <a:pt x="62" y="290"/>
                  </a:lnTo>
                  <a:lnTo>
                    <a:pt x="60" y="290"/>
                  </a:lnTo>
                  <a:lnTo>
                    <a:pt x="56" y="288"/>
                  </a:lnTo>
                  <a:lnTo>
                    <a:pt x="56" y="284"/>
                  </a:lnTo>
                  <a:lnTo>
                    <a:pt x="58" y="280"/>
                  </a:lnTo>
                  <a:lnTo>
                    <a:pt x="64" y="272"/>
                  </a:lnTo>
                  <a:lnTo>
                    <a:pt x="58" y="272"/>
                  </a:lnTo>
                  <a:lnTo>
                    <a:pt x="56" y="270"/>
                  </a:lnTo>
                  <a:lnTo>
                    <a:pt x="56" y="266"/>
                  </a:lnTo>
                  <a:lnTo>
                    <a:pt x="54" y="264"/>
                  </a:lnTo>
                  <a:lnTo>
                    <a:pt x="56" y="260"/>
                  </a:lnTo>
                  <a:lnTo>
                    <a:pt x="58" y="258"/>
                  </a:lnTo>
                  <a:lnTo>
                    <a:pt x="64" y="260"/>
                  </a:lnTo>
                  <a:lnTo>
                    <a:pt x="68" y="260"/>
                  </a:lnTo>
                  <a:lnTo>
                    <a:pt x="70" y="256"/>
                  </a:lnTo>
                  <a:lnTo>
                    <a:pt x="72" y="254"/>
                  </a:lnTo>
                  <a:lnTo>
                    <a:pt x="74" y="252"/>
                  </a:lnTo>
                  <a:lnTo>
                    <a:pt x="76" y="252"/>
                  </a:lnTo>
                  <a:lnTo>
                    <a:pt x="74" y="246"/>
                  </a:lnTo>
                  <a:lnTo>
                    <a:pt x="72" y="242"/>
                  </a:lnTo>
                  <a:lnTo>
                    <a:pt x="74" y="240"/>
                  </a:lnTo>
                  <a:lnTo>
                    <a:pt x="74" y="236"/>
                  </a:lnTo>
                  <a:lnTo>
                    <a:pt x="74" y="234"/>
                  </a:lnTo>
                  <a:lnTo>
                    <a:pt x="72" y="232"/>
                  </a:lnTo>
                  <a:lnTo>
                    <a:pt x="72" y="228"/>
                  </a:lnTo>
                  <a:lnTo>
                    <a:pt x="70" y="226"/>
                  </a:lnTo>
                  <a:lnTo>
                    <a:pt x="70" y="224"/>
                  </a:lnTo>
                  <a:lnTo>
                    <a:pt x="70" y="222"/>
                  </a:lnTo>
                  <a:lnTo>
                    <a:pt x="68" y="220"/>
                  </a:lnTo>
                  <a:lnTo>
                    <a:pt x="66" y="218"/>
                  </a:lnTo>
                  <a:lnTo>
                    <a:pt x="54" y="226"/>
                  </a:lnTo>
                  <a:lnTo>
                    <a:pt x="44" y="236"/>
                  </a:lnTo>
                  <a:lnTo>
                    <a:pt x="36" y="242"/>
                  </a:lnTo>
                  <a:lnTo>
                    <a:pt x="28" y="252"/>
                  </a:lnTo>
                  <a:lnTo>
                    <a:pt x="6" y="274"/>
                  </a:lnTo>
                  <a:lnTo>
                    <a:pt x="4" y="280"/>
                  </a:lnTo>
                  <a:lnTo>
                    <a:pt x="0" y="302"/>
                  </a:lnTo>
                  <a:lnTo>
                    <a:pt x="2" y="310"/>
                  </a:lnTo>
                  <a:lnTo>
                    <a:pt x="10" y="316"/>
                  </a:lnTo>
                  <a:lnTo>
                    <a:pt x="14" y="326"/>
                  </a:lnTo>
                  <a:lnTo>
                    <a:pt x="12" y="332"/>
                  </a:lnTo>
                  <a:lnTo>
                    <a:pt x="10" y="336"/>
                  </a:lnTo>
                  <a:lnTo>
                    <a:pt x="26" y="356"/>
                  </a:lnTo>
                  <a:lnTo>
                    <a:pt x="30" y="366"/>
                  </a:lnTo>
                  <a:lnTo>
                    <a:pt x="30" y="374"/>
                  </a:lnTo>
                  <a:lnTo>
                    <a:pt x="26" y="380"/>
                  </a:lnTo>
                  <a:lnTo>
                    <a:pt x="22" y="382"/>
                  </a:lnTo>
                  <a:lnTo>
                    <a:pt x="16" y="378"/>
                  </a:lnTo>
                  <a:lnTo>
                    <a:pt x="12" y="382"/>
                  </a:lnTo>
                  <a:lnTo>
                    <a:pt x="10" y="386"/>
                  </a:lnTo>
                  <a:lnTo>
                    <a:pt x="12" y="394"/>
                  </a:lnTo>
                  <a:lnTo>
                    <a:pt x="18" y="400"/>
                  </a:lnTo>
                  <a:lnTo>
                    <a:pt x="34" y="410"/>
                  </a:lnTo>
                  <a:lnTo>
                    <a:pt x="80" y="434"/>
                  </a:lnTo>
                  <a:lnTo>
                    <a:pt x="88" y="442"/>
                  </a:lnTo>
                  <a:lnTo>
                    <a:pt x="94" y="450"/>
                  </a:lnTo>
                  <a:lnTo>
                    <a:pt x="104" y="460"/>
                  </a:lnTo>
                  <a:lnTo>
                    <a:pt x="112" y="476"/>
                  </a:lnTo>
                  <a:lnTo>
                    <a:pt x="114" y="484"/>
                  </a:lnTo>
                  <a:lnTo>
                    <a:pt x="128" y="512"/>
                  </a:lnTo>
                  <a:lnTo>
                    <a:pt x="132" y="518"/>
                  </a:lnTo>
                  <a:lnTo>
                    <a:pt x="142" y="526"/>
                  </a:lnTo>
                  <a:lnTo>
                    <a:pt x="152" y="536"/>
                  </a:lnTo>
                  <a:lnTo>
                    <a:pt x="158" y="550"/>
                  </a:lnTo>
                  <a:lnTo>
                    <a:pt x="168" y="564"/>
                  </a:lnTo>
                  <a:lnTo>
                    <a:pt x="170" y="572"/>
                  </a:lnTo>
                  <a:lnTo>
                    <a:pt x="176" y="586"/>
                  </a:lnTo>
                  <a:lnTo>
                    <a:pt x="180" y="600"/>
                  </a:lnTo>
                  <a:lnTo>
                    <a:pt x="190" y="614"/>
                  </a:lnTo>
                  <a:lnTo>
                    <a:pt x="196" y="632"/>
                  </a:lnTo>
                  <a:lnTo>
                    <a:pt x="200" y="642"/>
                  </a:lnTo>
                  <a:lnTo>
                    <a:pt x="206" y="662"/>
                  </a:lnTo>
                  <a:lnTo>
                    <a:pt x="212" y="672"/>
                  </a:lnTo>
                  <a:lnTo>
                    <a:pt x="236" y="712"/>
                  </a:lnTo>
                  <a:lnTo>
                    <a:pt x="240" y="724"/>
                  </a:lnTo>
                  <a:lnTo>
                    <a:pt x="242" y="736"/>
                  </a:lnTo>
                  <a:lnTo>
                    <a:pt x="242" y="742"/>
                  </a:lnTo>
                  <a:lnTo>
                    <a:pt x="264" y="758"/>
                  </a:lnTo>
                  <a:lnTo>
                    <a:pt x="270" y="766"/>
                  </a:lnTo>
                  <a:lnTo>
                    <a:pt x="274" y="784"/>
                  </a:lnTo>
                  <a:lnTo>
                    <a:pt x="274" y="794"/>
                  </a:lnTo>
                  <a:lnTo>
                    <a:pt x="280" y="796"/>
                  </a:lnTo>
                  <a:lnTo>
                    <a:pt x="282" y="800"/>
                  </a:lnTo>
                  <a:lnTo>
                    <a:pt x="284" y="804"/>
                  </a:lnTo>
                  <a:lnTo>
                    <a:pt x="296" y="812"/>
                  </a:lnTo>
                  <a:lnTo>
                    <a:pt x="300" y="824"/>
                  </a:lnTo>
                  <a:lnTo>
                    <a:pt x="308" y="838"/>
                  </a:lnTo>
                  <a:lnTo>
                    <a:pt x="314" y="844"/>
                  </a:lnTo>
                  <a:lnTo>
                    <a:pt x="316" y="855"/>
                  </a:lnTo>
                  <a:lnTo>
                    <a:pt x="322" y="863"/>
                  </a:lnTo>
                  <a:lnTo>
                    <a:pt x="334" y="881"/>
                  </a:lnTo>
                  <a:lnTo>
                    <a:pt x="338" y="891"/>
                  </a:lnTo>
                  <a:lnTo>
                    <a:pt x="332" y="909"/>
                  </a:lnTo>
                  <a:lnTo>
                    <a:pt x="328" y="911"/>
                  </a:lnTo>
                  <a:lnTo>
                    <a:pt x="324" y="913"/>
                  </a:lnTo>
                  <a:lnTo>
                    <a:pt x="330" y="919"/>
                  </a:lnTo>
                  <a:lnTo>
                    <a:pt x="330" y="931"/>
                  </a:lnTo>
                  <a:lnTo>
                    <a:pt x="338" y="937"/>
                  </a:lnTo>
                  <a:lnTo>
                    <a:pt x="340" y="945"/>
                  </a:lnTo>
                  <a:lnTo>
                    <a:pt x="350" y="957"/>
                  </a:lnTo>
                  <a:lnTo>
                    <a:pt x="354" y="965"/>
                  </a:lnTo>
                  <a:lnTo>
                    <a:pt x="366" y="975"/>
                  </a:lnTo>
                  <a:lnTo>
                    <a:pt x="380" y="983"/>
                  </a:lnTo>
                  <a:lnTo>
                    <a:pt x="390" y="997"/>
                  </a:lnTo>
                  <a:lnTo>
                    <a:pt x="398" y="1003"/>
                  </a:lnTo>
                  <a:lnTo>
                    <a:pt x="402" y="1011"/>
                  </a:lnTo>
                  <a:lnTo>
                    <a:pt x="408" y="1019"/>
                  </a:lnTo>
                  <a:lnTo>
                    <a:pt x="444" y="1037"/>
                  </a:lnTo>
                  <a:lnTo>
                    <a:pt x="456" y="1047"/>
                  </a:lnTo>
                  <a:lnTo>
                    <a:pt x="472" y="1053"/>
                  </a:lnTo>
                  <a:lnTo>
                    <a:pt x="492" y="1069"/>
                  </a:lnTo>
                  <a:lnTo>
                    <a:pt x="498" y="1073"/>
                  </a:lnTo>
                  <a:lnTo>
                    <a:pt x="520" y="1079"/>
                  </a:lnTo>
                  <a:lnTo>
                    <a:pt x="530" y="1085"/>
                  </a:lnTo>
                  <a:lnTo>
                    <a:pt x="550" y="1093"/>
                  </a:lnTo>
                  <a:lnTo>
                    <a:pt x="560" y="1101"/>
                  </a:lnTo>
                  <a:lnTo>
                    <a:pt x="582" y="1107"/>
                  </a:lnTo>
                  <a:lnTo>
                    <a:pt x="588" y="1111"/>
                  </a:lnTo>
                  <a:lnTo>
                    <a:pt x="594" y="1119"/>
                  </a:lnTo>
                  <a:lnTo>
                    <a:pt x="604" y="1127"/>
                  </a:lnTo>
                  <a:lnTo>
                    <a:pt x="614" y="1131"/>
                  </a:lnTo>
                  <a:lnTo>
                    <a:pt x="620" y="1137"/>
                  </a:lnTo>
                  <a:lnTo>
                    <a:pt x="626" y="1141"/>
                  </a:lnTo>
                  <a:lnTo>
                    <a:pt x="642" y="1147"/>
                  </a:lnTo>
                  <a:lnTo>
                    <a:pt x="650" y="1151"/>
                  </a:lnTo>
                  <a:lnTo>
                    <a:pt x="652" y="1155"/>
                  </a:lnTo>
                  <a:lnTo>
                    <a:pt x="654" y="1169"/>
                  </a:lnTo>
                  <a:lnTo>
                    <a:pt x="656" y="1173"/>
                  </a:lnTo>
                  <a:lnTo>
                    <a:pt x="674" y="1187"/>
                  </a:lnTo>
                  <a:lnTo>
                    <a:pt x="682" y="1191"/>
                  </a:lnTo>
                  <a:lnTo>
                    <a:pt x="690" y="1199"/>
                  </a:lnTo>
                  <a:lnTo>
                    <a:pt x="710" y="1215"/>
                  </a:lnTo>
                  <a:lnTo>
                    <a:pt x="716" y="1219"/>
                  </a:lnTo>
                  <a:lnTo>
                    <a:pt x="718" y="1219"/>
                  </a:lnTo>
                  <a:lnTo>
                    <a:pt x="724" y="1219"/>
                  </a:lnTo>
                  <a:lnTo>
                    <a:pt x="732" y="1219"/>
                  </a:lnTo>
                  <a:lnTo>
                    <a:pt x="740" y="1215"/>
                  </a:lnTo>
                  <a:lnTo>
                    <a:pt x="748" y="1209"/>
                  </a:lnTo>
                  <a:lnTo>
                    <a:pt x="754" y="1203"/>
                  </a:lnTo>
                  <a:lnTo>
                    <a:pt x="756" y="1195"/>
                  </a:lnTo>
                  <a:lnTo>
                    <a:pt x="756" y="1189"/>
                  </a:lnTo>
                  <a:lnTo>
                    <a:pt x="754" y="1181"/>
                  </a:lnTo>
                  <a:lnTo>
                    <a:pt x="752" y="1175"/>
                  </a:lnTo>
                  <a:lnTo>
                    <a:pt x="756" y="1173"/>
                  </a:lnTo>
                  <a:lnTo>
                    <a:pt x="764" y="1171"/>
                  </a:lnTo>
                  <a:lnTo>
                    <a:pt x="770" y="1167"/>
                  </a:lnTo>
                  <a:lnTo>
                    <a:pt x="776" y="1161"/>
                  </a:lnTo>
                  <a:lnTo>
                    <a:pt x="776" y="1159"/>
                  </a:lnTo>
                  <a:lnTo>
                    <a:pt x="774" y="1153"/>
                  </a:lnTo>
                  <a:lnTo>
                    <a:pt x="772" y="1149"/>
                  </a:lnTo>
                  <a:lnTo>
                    <a:pt x="768" y="1147"/>
                  </a:lnTo>
                  <a:lnTo>
                    <a:pt x="766" y="1143"/>
                  </a:lnTo>
                  <a:lnTo>
                    <a:pt x="768" y="1141"/>
                  </a:lnTo>
                  <a:lnTo>
                    <a:pt x="776" y="1133"/>
                  </a:lnTo>
                  <a:lnTo>
                    <a:pt x="780" y="1133"/>
                  </a:lnTo>
                  <a:lnTo>
                    <a:pt x="782" y="1129"/>
                  </a:lnTo>
                  <a:lnTo>
                    <a:pt x="784" y="1127"/>
                  </a:lnTo>
                  <a:lnTo>
                    <a:pt x="792" y="1117"/>
                  </a:lnTo>
                  <a:lnTo>
                    <a:pt x="796" y="1111"/>
                  </a:lnTo>
                  <a:lnTo>
                    <a:pt x="800" y="1107"/>
                  </a:lnTo>
                  <a:lnTo>
                    <a:pt x="806" y="1105"/>
                  </a:lnTo>
                  <a:lnTo>
                    <a:pt x="808" y="1103"/>
                  </a:lnTo>
                  <a:lnTo>
                    <a:pt x="806" y="1095"/>
                  </a:lnTo>
                  <a:lnTo>
                    <a:pt x="806" y="1095"/>
                  </a:lnTo>
                  <a:lnTo>
                    <a:pt x="806" y="1095"/>
                  </a:lnTo>
                  <a:lnTo>
                    <a:pt x="804" y="1093"/>
                  </a:lnTo>
                  <a:lnTo>
                    <a:pt x="802" y="1091"/>
                  </a:lnTo>
                  <a:lnTo>
                    <a:pt x="806" y="1087"/>
                  </a:lnTo>
                  <a:lnTo>
                    <a:pt x="806" y="1083"/>
                  </a:lnTo>
                  <a:lnTo>
                    <a:pt x="806" y="1081"/>
                  </a:lnTo>
                  <a:lnTo>
                    <a:pt x="806" y="1077"/>
                  </a:lnTo>
                  <a:lnTo>
                    <a:pt x="808" y="1075"/>
                  </a:lnTo>
                  <a:lnTo>
                    <a:pt x="810" y="1075"/>
                  </a:lnTo>
                  <a:lnTo>
                    <a:pt x="806" y="1073"/>
                  </a:lnTo>
                  <a:lnTo>
                    <a:pt x="800" y="1073"/>
                  </a:lnTo>
                  <a:lnTo>
                    <a:pt x="800" y="1075"/>
                  </a:lnTo>
                  <a:lnTo>
                    <a:pt x="798" y="1075"/>
                  </a:lnTo>
                  <a:lnTo>
                    <a:pt x="794" y="1075"/>
                  </a:lnTo>
                  <a:lnTo>
                    <a:pt x="792" y="1075"/>
                  </a:lnTo>
                  <a:lnTo>
                    <a:pt x="788" y="1075"/>
                  </a:lnTo>
                  <a:lnTo>
                    <a:pt x="784" y="1073"/>
                  </a:lnTo>
                  <a:lnTo>
                    <a:pt x="782" y="1073"/>
                  </a:lnTo>
                  <a:lnTo>
                    <a:pt x="780" y="1071"/>
                  </a:lnTo>
                  <a:lnTo>
                    <a:pt x="776" y="1071"/>
                  </a:lnTo>
                  <a:lnTo>
                    <a:pt x="776" y="1069"/>
                  </a:lnTo>
                  <a:lnTo>
                    <a:pt x="780" y="1065"/>
                  </a:lnTo>
                  <a:lnTo>
                    <a:pt x="780" y="1063"/>
                  </a:lnTo>
                  <a:lnTo>
                    <a:pt x="780" y="1061"/>
                  </a:lnTo>
                  <a:lnTo>
                    <a:pt x="776" y="1059"/>
                  </a:lnTo>
                  <a:lnTo>
                    <a:pt x="772" y="1057"/>
                  </a:lnTo>
                  <a:lnTo>
                    <a:pt x="768" y="1057"/>
                  </a:lnTo>
                  <a:lnTo>
                    <a:pt x="764" y="1055"/>
                  </a:lnTo>
                  <a:lnTo>
                    <a:pt x="764" y="1053"/>
                  </a:lnTo>
                  <a:lnTo>
                    <a:pt x="762" y="1051"/>
                  </a:lnTo>
                  <a:lnTo>
                    <a:pt x="760" y="1051"/>
                  </a:lnTo>
                  <a:lnTo>
                    <a:pt x="758" y="1049"/>
                  </a:lnTo>
                  <a:lnTo>
                    <a:pt x="756" y="1047"/>
                  </a:lnTo>
                  <a:lnTo>
                    <a:pt x="754" y="1045"/>
                  </a:lnTo>
                  <a:lnTo>
                    <a:pt x="754" y="1047"/>
                  </a:lnTo>
                  <a:lnTo>
                    <a:pt x="752" y="1047"/>
                  </a:lnTo>
                  <a:lnTo>
                    <a:pt x="752" y="1049"/>
                  </a:lnTo>
                  <a:lnTo>
                    <a:pt x="754" y="1051"/>
                  </a:lnTo>
                  <a:lnTo>
                    <a:pt x="754" y="1051"/>
                  </a:lnTo>
                  <a:lnTo>
                    <a:pt x="754" y="1053"/>
                  </a:lnTo>
                  <a:lnTo>
                    <a:pt x="754" y="1053"/>
                  </a:lnTo>
                  <a:lnTo>
                    <a:pt x="752" y="1053"/>
                  </a:lnTo>
                  <a:lnTo>
                    <a:pt x="752" y="1053"/>
                  </a:lnTo>
                  <a:lnTo>
                    <a:pt x="750" y="1051"/>
                  </a:lnTo>
                  <a:lnTo>
                    <a:pt x="748" y="1051"/>
                  </a:lnTo>
                  <a:lnTo>
                    <a:pt x="746" y="1049"/>
                  </a:lnTo>
                  <a:lnTo>
                    <a:pt x="744" y="1047"/>
                  </a:lnTo>
                  <a:lnTo>
                    <a:pt x="742" y="1047"/>
                  </a:lnTo>
                  <a:lnTo>
                    <a:pt x="742" y="1045"/>
                  </a:lnTo>
                  <a:lnTo>
                    <a:pt x="742" y="1043"/>
                  </a:lnTo>
                  <a:lnTo>
                    <a:pt x="742" y="1041"/>
                  </a:lnTo>
                  <a:lnTo>
                    <a:pt x="742" y="1039"/>
                  </a:lnTo>
                  <a:lnTo>
                    <a:pt x="744" y="1037"/>
                  </a:lnTo>
                  <a:lnTo>
                    <a:pt x="746" y="1035"/>
                  </a:lnTo>
                  <a:lnTo>
                    <a:pt x="748" y="1033"/>
                  </a:lnTo>
                  <a:lnTo>
                    <a:pt x="752" y="1035"/>
                  </a:lnTo>
                  <a:lnTo>
                    <a:pt x="756" y="1037"/>
                  </a:lnTo>
                  <a:lnTo>
                    <a:pt x="756" y="1037"/>
                  </a:lnTo>
                  <a:lnTo>
                    <a:pt x="756" y="1033"/>
                  </a:lnTo>
                  <a:lnTo>
                    <a:pt x="752" y="1027"/>
                  </a:lnTo>
                  <a:lnTo>
                    <a:pt x="748" y="1019"/>
                  </a:lnTo>
                  <a:lnTo>
                    <a:pt x="748" y="1017"/>
                  </a:lnTo>
                  <a:lnTo>
                    <a:pt x="748" y="1015"/>
                  </a:lnTo>
                  <a:lnTo>
                    <a:pt x="752" y="1013"/>
                  </a:lnTo>
                  <a:lnTo>
                    <a:pt x="754" y="1013"/>
                  </a:lnTo>
                  <a:lnTo>
                    <a:pt x="754" y="1011"/>
                  </a:lnTo>
                  <a:lnTo>
                    <a:pt x="756" y="1011"/>
                  </a:lnTo>
                  <a:lnTo>
                    <a:pt x="758" y="1009"/>
                  </a:lnTo>
                  <a:lnTo>
                    <a:pt x="760" y="1009"/>
                  </a:lnTo>
                  <a:lnTo>
                    <a:pt x="764" y="1009"/>
                  </a:lnTo>
                  <a:lnTo>
                    <a:pt x="768" y="1013"/>
                  </a:lnTo>
                  <a:lnTo>
                    <a:pt x="774" y="1015"/>
                  </a:lnTo>
                  <a:lnTo>
                    <a:pt x="780" y="1023"/>
                  </a:lnTo>
                  <a:lnTo>
                    <a:pt x="784" y="1025"/>
                  </a:lnTo>
                  <a:lnTo>
                    <a:pt x="788" y="1017"/>
                  </a:lnTo>
                  <a:lnTo>
                    <a:pt x="792" y="1013"/>
                  </a:lnTo>
                  <a:lnTo>
                    <a:pt x="798" y="1007"/>
                  </a:lnTo>
                  <a:lnTo>
                    <a:pt x="796" y="1003"/>
                  </a:lnTo>
                  <a:lnTo>
                    <a:pt x="788" y="993"/>
                  </a:lnTo>
                  <a:lnTo>
                    <a:pt x="784" y="987"/>
                  </a:lnTo>
                  <a:lnTo>
                    <a:pt x="784" y="983"/>
                  </a:lnTo>
                  <a:lnTo>
                    <a:pt x="786" y="977"/>
                  </a:lnTo>
                  <a:lnTo>
                    <a:pt x="790" y="973"/>
                  </a:lnTo>
                  <a:lnTo>
                    <a:pt x="792" y="967"/>
                  </a:lnTo>
                  <a:lnTo>
                    <a:pt x="794" y="963"/>
                  </a:lnTo>
                  <a:lnTo>
                    <a:pt x="796" y="961"/>
                  </a:lnTo>
                  <a:lnTo>
                    <a:pt x="798" y="959"/>
                  </a:lnTo>
                  <a:lnTo>
                    <a:pt x="800" y="955"/>
                  </a:lnTo>
                  <a:lnTo>
                    <a:pt x="806" y="951"/>
                  </a:lnTo>
                  <a:lnTo>
                    <a:pt x="808" y="947"/>
                  </a:lnTo>
                  <a:lnTo>
                    <a:pt x="808" y="941"/>
                  </a:lnTo>
                  <a:lnTo>
                    <a:pt x="810" y="939"/>
                  </a:lnTo>
                  <a:lnTo>
                    <a:pt x="816" y="935"/>
                  </a:lnTo>
                  <a:lnTo>
                    <a:pt x="818" y="935"/>
                  </a:lnTo>
                  <a:lnTo>
                    <a:pt x="816" y="929"/>
                  </a:lnTo>
                  <a:lnTo>
                    <a:pt x="812" y="923"/>
                  </a:lnTo>
                  <a:lnTo>
                    <a:pt x="810" y="921"/>
                  </a:lnTo>
                  <a:lnTo>
                    <a:pt x="808" y="907"/>
                  </a:lnTo>
                  <a:lnTo>
                    <a:pt x="804" y="901"/>
                  </a:lnTo>
                  <a:lnTo>
                    <a:pt x="806" y="899"/>
                  </a:lnTo>
                  <a:lnTo>
                    <a:pt x="808" y="895"/>
                  </a:lnTo>
                  <a:lnTo>
                    <a:pt x="810" y="889"/>
                  </a:lnTo>
                  <a:lnTo>
                    <a:pt x="810" y="881"/>
                  </a:lnTo>
                  <a:lnTo>
                    <a:pt x="810" y="854"/>
                  </a:lnTo>
                  <a:lnTo>
                    <a:pt x="810" y="848"/>
                  </a:lnTo>
                  <a:lnTo>
                    <a:pt x="814" y="844"/>
                  </a:lnTo>
                  <a:lnTo>
                    <a:pt x="818" y="840"/>
                  </a:lnTo>
                  <a:lnTo>
                    <a:pt x="822" y="838"/>
                  </a:lnTo>
                  <a:lnTo>
                    <a:pt x="824" y="836"/>
                  </a:lnTo>
                  <a:lnTo>
                    <a:pt x="824" y="830"/>
                  </a:lnTo>
                  <a:lnTo>
                    <a:pt x="826" y="826"/>
                  </a:lnTo>
                  <a:lnTo>
                    <a:pt x="830" y="822"/>
                  </a:lnTo>
                  <a:lnTo>
                    <a:pt x="820" y="808"/>
                  </a:lnTo>
                  <a:lnTo>
                    <a:pt x="812" y="794"/>
                  </a:lnTo>
                  <a:lnTo>
                    <a:pt x="806" y="780"/>
                  </a:lnTo>
                  <a:lnTo>
                    <a:pt x="798" y="766"/>
                  </a:lnTo>
                  <a:lnTo>
                    <a:pt x="792" y="756"/>
                  </a:lnTo>
                  <a:lnTo>
                    <a:pt x="784" y="744"/>
                  </a:lnTo>
                  <a:lnTo>
                    <a:pt x="770" y="720"/>
                  </a:lnTo>
                  <a:lnTo>
                    <a:pt x="764" y="720"/>
                  </a:lnTo>
                  <a:lnTo>
                    <a:pt x="754" y="718"/>
                  </a:lnTo>
                  <a:lnTo>
                    <a:pt x="746" y="718"/>
                  </a:lnTo>
                  <a:lnTo>
                    <a:pt x="738" y="720"/>
                  </a:lnTo>
                  <a:lnTo>
                    <a:pt x="728" y="726"/>
                  </a:lnTo>
                  <a:lnTo>
                    <a:pt x="724" y="726"/>
                  </a:lnTo>
                  <a:lnTo>
                    <a:pt x="720" y="726"/>
                  </a:lnTo>
                  <a:lnTo>
                    <a:pt x="718" y="726"/>
                  </a:lnTo>
                  <a:lnTo>
                    <a:pt x="714" y="724"/>
                  </a:lnTo>
                  <a:lnTo>
                    <a:pt x="708" y="718"/>
                  </a:lnTo>
                  <a:lnTo>
                    <a:pt x="704" y="720"/>
                  </a:lnTo>
                  <a:lnTo>
                    <a:pt x="700" y="722"/>
                  </a:lnTo>
                  <a:lnTo>
                    <a:pt x="702" y="712"/>
                  </a:lnTo>
                  <a:lnTo>
                    <a:pt x="702" y="654"/>
                  </a:lnTo>
                  <a:lnTo>
                    <a:pt x="702" y="644"/>
                  </a:lnTo>
                  <a:lnTo>
                    <a:pt x="704" y="640"/>
                  </a:lnTo>
                  <a:lnTo>
                    <a:pt x="706" y="636"/>
                  </a:lnTo>
                  <a:lnTo>
                    <a:pt x="704" y="630"/>
                  </a:lnTo>
                  <a:lnTo>
                    <a:pt x="704" y="626"/>
                  </a:lnTo>
                  <a:lnTo>
                    <a:pt x="706" y="622"/>
                  </a:lnTo>
                  <a:lnTo>
                    <a:pt x="708" y="618"/>
                  </a:lnTo>
                  <a:lnTo>
                    <a:pt x="704" y="620"/>
                  </a:lnTo>
                  <a:lnTo>
                    <a:pt x="702" y="620"/>
                  </a:lnTo>
                  <a:lnTo>
                    <a:pt x="700" y="624"/>
                  </a:lnTo>
                  <a:lnTo>
                    <a:pt x="694" y="626"/>
                  </a:lnTo>
                  <a:lnTo>
                    <a:pt x="690" y="630"/>
                  </a:lnTo>
                  <a:lnTo>
                    <a:pt x="686" y="634"/>
                  </a:lnTo>
                  <a:lnTo>
                    <a:pt x="680" y="640"/>
                  </a:lnTo>
                  <a:lnTo>
                    <a:pt x="674" y="644"/>
                  </a:lnTo>
                  <a:lnTo>
                    <a:pt x="670" y="646"/>
                  </a:lnTo>
                  <a:lnTo>
                    <a:pt x="662" y="654"/>
                  </a:lnTo>
                  <a:lnTo>
                    <a:pt x="656" y="654"/>
                  </a:lnTo>
                  <a:lnTo>
                    <a:pt x="638" y="656"/>
                  </a:lnTo>
                  <a:lnTo>
                    <a:pt x="620" y="656"/>
                  </a:lnTo>
                  <a:lnTo>
                    <a:pt x="600" y="656"/>
                  </a:lnTo>
                  <a:lnTo>
                    <a:pt x="600" y="650"/>
                  </a:lnTo>
                  <a:lnTo>
                    <a:pt x="600" y="646"/>
                  </a:lnTo>
                  <a:lnTo>
                    <a:pt x="594" y="640"/>
                  </a:lnTo>
                  <a:lnTo>
                    <a:pt x="594" y="634"/>
                  </a:lnTo>
                  <a:lnTo>
                    <a:pt x="594" y="630"/>
                  </a:lnTo>
                  <a:lnTo>
                    <a:pt x="592" y="626"/>
                  </a:lnTo>
                  <a:lnTo>
                    <a:pt x="588" y="622"/>
                  </a:lnTo>
                  <a:lnTo>
                    <a:pt x="582" y="622"/>
                  </a:lnTo>
                  <a:lnTo>
                    <a:pt x="572" y="618"/>
                  </a:lnTo>
                  <a:lnTo>
                    <a:pt x="558" y="616"/>
                  </a:lnTo>
                  <a:lnTo>
                    <a:pt x="546" y="616"/>
                  </a:lnTo>
                  <a:lnTo>
                    <a:pt x="532" y="616"/>
                  </a:lnTo>
                  <a:lnTo>
                    <a:pt x="540" y="606"/>
                  </a:lnTo>
                  <a:lnTo>
                    <a:pt x="548" y="598"/>
                  </a:lnTo>
                  <a:lnTo>
                    <a:pt x="548" y="588"/>
                  </a:lnTo>
                  <a:lnTo>
                    <a:pt x="542" y="582"/>
                  </a:lnTo>
                  <a:lnTo>
                    <a:pt x="538" y="576"/>
                  </a:lnTo>
                  <a:lnTo>
                    <a:pt x="534" y="570"/>
                  </a:lnTo>
                  <a:lnTo>
                    <a:pt x="526" y="566"/>
                  </a:lnTo>
                  <a:lnTo>
                    <a:pt x="522" y="560"/>
                  </a:lnTo>
                  <a:lnTo>
                    <a:pt x="524" y="556"/>
                  </a:lnTo>
                  <a:lnTo>
                    <a:pt x="522" y="554"/>
                  </a:lnTo>
                  <a:lnTo>
                    <a:pt x="520" y="552"/>
                  </a:lnTo>
                  <a:lnTo>
                    <a:pt x="518" y="550"/>
                  </a:lnTo>
                  <a:lnTo>
                    <a:pt x="514" y="548"/>
                  </a:lnTo>
                  <a:lnTo>
                    <a:pt x="510" y="546"/>
                  </a:lnTo>
                  <a:lnTo>
                    <a:pt x="510" y="542"/>
                  </a:lnTo>
                  <a:lnTo>
                    <a:pt x="510" y="540"/>
                  </a:lnTo>
                  <a:lnTo>
                    <a:pt x="506" y="536"/>
                  </a:lnTo>
                  <a:lnTo>
                    <a:pt x="506" y="532"/>
                  </a:lnTo>
                  <a:lnTo>
                    <a:pt x="504" y="528"/>
                  </a:lnTo>
                  <a:lnTo>
                    <a:pt x="502" y="524"/>
                  </a:lnTo>
                  <a:lnTo>
                    <a:pt x="500" y="522"/>
                  </a:lnTo>
                  <a:lnTo>
                    <a:pt x="496" y="518"/>
                  </a:lnTo>
                  <a:lnTo>
                    <a:pt x="496" y="516"/>
                  </a:lnTo>
                  <a:lnTo>
                    <a:pt x="498" y="514"/>
                  </a:lnTo>
                  <a:lnTo>
                    <a:pt x="500" y="512"/>
                  </a:lnTo>
                  <a:lnTo>
                    <a:pt x="500" y="508"/>
                  </a:lnTo>
                  <a:lnTo>
                    <a:pt x="496" y="506"/>
                  </a:lnTo>
                  <a:lnTo>
                    <a:pt x="492" y="506"/>
                  </a:lnTo>
                  <a:lnTo>
                    <a:pt x="488" y="500"/>
                  </a:lnTo>
                  <a:lnTo>
                    <a:pt x="484" y="498"/>
                  </a:lnTo>
                  <a:lnTo>
                    <a:pt x="482" y="496"/>
                  </a:lnTo>
                  <a:lnTo>
                    <a:pt x="480" y="494"/>
                  </a:lnTo>
                  <a:lnTo>
                    <a:pt x="482" y="492"/>
                  </a:lnTo>
                  <a:lnTo>
                    <a:pt x="484" y="490"/>
                  </a:lnTo>
                  <a:lnTo>
                    <a:pt x="484" y="486"/>
                  </a:lnTo>
                  <a:lnTo>
                    <a:pt x="484" y="484"/>
                  </a:lnTo>
                  <a:lnTo>
                    <a:pt x="484" y="482"/>
                  </a:lnTo>
                  <a:lnTo>
                    <a:pt x="486" y="480"/>
                  </a:lnTo>
                  <a:lnTo>
                    <a:pt x="488" y="482"/>
                  </a:lnTo>
                  <a:lnTo>
                    <a:pt x="490" y="480"/>
                  </a:lnTo>
                  <a:lnTo>
                    <a:pt x="494" y="480"/>
                  </a:lnTo>
                  <a:lnTo>
                    <a:pt x="498" y="478"/>
                  </a:lnTo>
                  <a:lnTo>
                    <a:pt x="500" y="476"/>
                  </a:lnTo>
                  <a:lnTo>
                    <a:pt x="498" y="474"/>
                  </a:lnTo>
                  <a:lnTo>
                    <a:pt x="496" y="468"/>
                  </a:lnTo>
                  <a:lnTo>
                    <a:pt x="494" y="466"/>
                  </a:lnTo>
                  <a:lnTo>
                    <a:pt x="494" y="462"/>
                  </a:lnTo>
                  <a:lnTo>
                    <a:pt x="496" y="454"/>
                  </a:lnTo>
                  <a:lnTo>
                    <a:pt x="496" y="450"/>
                  </a:lnTo>
                  <a:lnTo>
                    <a:pt x="500" y="446"/>
                  </a:lnTo>
                  <a:lnTo>
                    <a:pt x="514" y="436"/>
                  </a:lnTo>
                  <a:lnTo>
                    <a:pt x="526" y="428"/>
                  </a:lnTo>
                  <a:lnTo>
                    <a:pt x="530" y="428"/>
                  </a:lnTo>
                  <a:lnTo>
                    <a:pt x="534" y="426"/>
                  </a:lnTo>
                  <a:lnTo>
                    <a:pt x="538" y="422"/>
                  </a:lnTo>
                  <a:lnTo>
                    <a:pt x="538" y="418"/>
                  </a:lnTo>
                  <a:lnTo>
                    <a:pt x="538" y="414"/>
                  </a:lnTo>
                  <a:lnTo>
                    <a:pt x="536" y="408"/>
                  </a:lnTo>
                  <a:lnTo>
                    <a:pt x="534" y="400"/>
                  </a:lnTo>
                  <a:lnTo>
                    <a:pt x="530" y="396"/>
                  </a:lnTo>
                  <a:lnTo>
                    <a:pt x="532" y="392"/>
                  </a:lnTo>
                  <a:lnTo>
                    <a:pt x="536" y="386"/>
                  </a:lnTo>
                  <a:lnTo>
                    <a:pt x="542" y="376"/>
                  </a:lnTo>
                  <a:lnTo>
                    <a:pt x="548" y="366"/>
                  </a:lnTo>
                  <a:lnTo>
                    <a:pt x="548" y="364"/>
                  </a:lnTo>
                  <a:lnTo>
                    <a:pt x="550" y="358"/>
                  </a:lnTo>
                  <a:lnTo>
                    <a:pt x="552" y="344"/>
                  </a:lnTo>
                  <a:lnTo>
                    <a:pt x="554" y="338"/>
                  </a:lnTo>
                  <a:lnTo>
                    <a:pt x="552" y="336"/>
                  </a:lnTo>
                  <a:lnTo>
                    <a:pt x="554" y="332"/>
                  </a:lnTo>
                  <a:lnTo>
                    <a:pt x="558" y="330"/>
                  </a:lnTo>
                  <a:lnTo>
                    <a:pt x="566" y="330"/>
                  </a:lnTo>
                  <a:lnTo>
                    <a:pt x="572" y="326"/>
                  </a:lnTo>
                  <a:lnTo>
                    <a:pt x="582" y="318"/>
                  </a:lnTo>
                  <a:lnTo>
                    <a:pt x="588" y="310"/>
                  </a:lnTo>
                  <a:lnTo>
                    <a:pt x="596" y="308"/>
                  </a:lnTo>
                  <a:lnTo>
                    <a:pt x="606" y="302"/>
                  </a:lnTo>
                  <a:lnTo>
                    <a:pt x="614" y="296"/>
                  </a:lnTo>
                  <a:lnTo>
                    <a:pt x="622" y="292"/>
                  </a:lnTo>
                  <a:lnTo>
                    <a:pt x="634" y="292"/>
                  </a:lnTo>
                  <a:lnTo>
                    <a:pt x="644" y="290"/>
                  </a:lnTo>
                  <a:lnTo>
                    <a:pt x="648" y="288"/>
                  </a:lnTo>
                  <a:lnTo>
                    <a:pt x="656" y="286"/>
                  </a:lnTo>
                  <a:lnTo>
                    <a:pt x="662" y="284"/>
                  </a:lnTo>
                  <a:lnTo>
                    <a:pt x="668" y="284"/>
                  </a:lnTo>
                  <a:lnTo>
                    <a:pt x="680" y="282"/>
                  </a:lnTo>
                  <a:lnTo>
                    <a:pt x="684" y="278"/>
                  </a:lnTo>
                  <a:lnTo>
                    <a:pt x="686" y="274"/>
                  </a:lnTo>
                  <a:lnTo>
                    <a:pt x="690" y="270"/>
                  </a:lnTo>
                  <a:lnTo>
                    <a:pt x="696" y="270"/>
                  </a:lnTo>
                  <a:lnTo>
                    <a:pt x="702" y="270"/>
                  </a:lnTo>
                  <a:lnTo>
                    <a:pt x="708" y="270"/>
                  </a:lnTo>
                  <a:lnTo>
                    <a:pt x="716" y="268"/>
                  </a:lnTo>
                  <a:lnTo>
                    <a:pt x="720" y="272"/>
                  </a:lnTo>
                  <a:lnTo>
                    <a:pt x="722" y="276"/>
                  </a:lnTo>
                  <a:lnTo>
                    <a:pt x="728" y="278"/>
                  </a:lnTo>
                  <a:lnTo>
                    <a:pt x="732" y="278"/>
                  </a:lnTo>
                  <a:lnTo>
                    <a:pt x="734" y="278"/>
                  </a:lnTo>
                  <a:lnTo>
                    <a:pt x="740" y="280"/>
                  </a:lnTo>
                  <a:lnTo>
                    <a:pt x="742" y="280"/>
                  </a:lnTo>
                  <a:lnTo>
                    <a:pt x="744" y="278"/>
                  </a:lnTo>
                  <a:lnTo>
                    <a:pt x="746" y="27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35" name="Google Shape;4802;p64">
              <a:extLst>
                <a:ext uri="{FF2B5EF4-FFF2-40B4-BE49-F238E27FC236}">
                  <a16:creationId xmlns:a16="http://schemas.microsoft.com/office/drawing/2014/main" id="{B8807389-A1FB-6563-BC5D-E6A077A47465}"/>
                </a:ext>
              </a:extLst>
            </p:cNvPr>
            <p:cNvSpPr/>
            <p:nvPr/>
          </p:nvSpPr>
          <p:spPr>
            <a:xfrm>
              <a:off x="7040949" y="4530686"/>
              <a:ext cx="207396" cy="349816"/>
            </a:xfrm>
            <a:custGeom>
              <a:avLst/>
              <a:gdLst/>
              <a:ahLst/>
              <a:cxnLst/>
              <a:rect l="l" t="t" r="r" b="b"/>
              <a:pathLst>
                <a:path w="1505784" h="2539810" extrusionOk="0">
                  <a:moveTo>
                    <a:pt x="500340" y="2496926"/>
                  </a:moveTo>
                  <a:lnTo>
                    <a:pt x="505104" y="2496926"/>
                  </a:lnTo>
                  <a:lnTo>
                    <a:pt x="509872" y="2506454"/>
                  </a:lnTo>
                  <a:lnTo>
                    <a:pt x="514636" y="2511222"/>
                  </a:lnTo>
                  <a:lnTo>
                    <a:pt x="509872" y="2520750"/>
                  </a:lnTo>
                  <a:lnTo>
                    <a:pt x="505104" y="2525514"/>
                  </a:lnTo>
                  <a:lnTo>
                    <a:pt x="495576" y="2520750"/>
                  </a:lnTo>
                  <a:lnTo>
                    <a:pt x="490812" y="2515986"/>
                  </a:lnTo>
                  <a:lnTo>
                    <a:pt x="490812" y="2525514"/>
                  </a:lnTo>
                  <a:lnTo>
                    <a:pt x="476516" y="2525514"/>
                  </a:lnTo>
                  <a:lnTo>
                    <a:pt x="466984" y="2539810"/>
                  </a:lnTo>
                  <a:lnTo>
                    <a:pt x="452688" y="2539810"/>
                  </a:lnTo>
                  <a:lnTo>
                    <a:pt x="447924" y="2539810"/>
                  </a:lnTo>
                  <a:lnTo>
                    <a:pt x="447924" y="2530282"/>
                  </a:lnTo>
                  <a:lnTo>
                    <a:pt x="471748" y="2515986"/>
                  </a:lnTo>
                  <a:lnTo>
                    <a:pt x="486044" y="2511222"/>
                  </a:lnTo>
                  <a:close/>
                  <a:moveTo>
                    <a:pt x="633764" y="2377798"/>
                  </a:moveTo>
                  <a:lnTo>
                    <a:pt x="652824" y="2382562"/>
                  </a:lnTo>
                  <a:lnTo>
                    <a:pt x="662356" y="2392094"/>
                  </a:lnTo>
                  <a:lnTo>
                    <a:pt x="671884" y="2387326"/>
                  </a:lnTo>
                  <a:lnTo>
                    <a:pt x="690944" y="2392094"/>
                  </a:lnTo>
                  <a:lnTo>
                    <a:pt x="695712" y="2396858"/>
                  </a:lnTo>
                  <a:lnTo>
                    <a:pt x="695712" y="2401622"/>
                  </a:lnTo>
                  <a:lnTo>
                    <a:pt x="676648" y="2415918"/>
                  </a:lnTo>
                  <a:lnTo>
                    <a:pt x="662356" y="2401622"/>
                  </a:lnTo>
                  <a:lnTo>
                    <a:pt x="643292" y="2411154"/>
                  </a:lnTo>
                  <a:lnTo>
                    <a:pt x="633764" y="2406386"/>
                  </a:lnTo>
                  <a:lnTo>
                    <a:pt x="619468" y="2411154"/>
                  </a:lnTo>
                  <a:lnTo>
                    <a:pt x="609936" y="2401622"/>
                  </a:lnTo>
                  <a:lnTo>
                    <a:pt x="614704" y="2392094"/>
                  </a:lnTo>
                  <a:close/>
                  <a:moveTo>
                    <a:pt x="795776" y="2277730"/>
                  </a:moveTo>
                  <a:lnTo>
                    <a:pt x="829132" y="2292026"/>
                  </a:lnTo>
                  <a:lnTo>
                    <a:pt x="838664" y="2296790"/>
                  </a:lnTo>
                  <a:lnTo>
                    <a:pt x="824368" y="2301554"/>
                  </a:lnTo>
                  <a:lnTo>
                    <a:pt x="819604" y="2315850"/>
                  </a:lnTo>
                  <a:lnTo>
                    <a:pt x="800544" y="2325378"/>
                  </a:lnTo>
                  <a:lnTo>
                    <a:pt x="786248" y="2330146"/>
                  </a:lnTo>
                  <a:lnTo>
                    <a:pt x="781484" y="2325378"/>
                  </a:lnTo>
                  <a:lnTo>
                    <a:pt x="767188" y="2311086"/>
                  </a:lnTo>
                  <a:lnTo>
                    <a:pt x="767188" y="2306318"/>
                  </a:lnTo>
                  <a:lnTo>
                    <a:pt x="757656" y="2296790"/>
                  </a:lnTo>
                  <a:lnTo>
                    <a:pt x="762424" y="2287258"/>
                  </a:lnTo>
                  <a:lnTo>
                    <a:pt x="771952" y="2287258"/>
                  </a:lnTo>
                  <a:close/>
                  <a:moveTo>
                    <a:pt x="1367592" y="2206254"/>
                  </a:moveTo>
                  <a:lnTo>
                    <a:pt x="1377124" y="2215782"/>
                  </a:lnTo>
                  <a:lnTo>
                    <a:pt x="1377124" y="2239606"/>
                  </a:lnTo>
                  <a:lnTo>
                    <a:pt x="1377124" y="2249138"/>
                  </a:lnTo>
                  <a:lnTo>
                    <a:pt x="1367592" y="2230078"/>
                  </a:lnTo>
                  <a:lnTo>
                    <a:pt x="1362828" y="2225314"/>
                  </a:lnTo>
                  <a:close/>
                  <a:moveTo>
                    <a:pt x="914908" y="2168130"/>
                  </a:moveTo>
                  <a:lnTo>
                    <a:pt x="924436" y="2172898"/>
                  </a:lnTo>
                  <a:lnTo>
                    <a:pt x="929200" y="2168130"/>
                  </a:lnTo>
                  <a:lnTo>
                    <a:pt x="933968" y="2172898"/>
                  </a:lnTo>
                  <a:lnTo>
                    <a:pt x="933968" y="2177662"/>
                  </a:lnTo>
                  <a:lnTo>
                    <a:pt x="919672" y="2187194"/>
                  </a:lnTo>
                  <a:lnTo>
                    <a:pt x="910140" y="2187194"/>
                  </a:lnTo>
                  <a:lnTo>
                    <a:pt x="910140" y="2172898"/>
                  </a:lnTo>
                  <a:close/>
                  <a:moveTo>
                    <a:pt x="4768" y="2068066"/>
                  </a:moveTo>
                  <a:lnTo>
                    <a:pt x="19064" y="2068066"/>
                  </a:lnTo>
                  <a:lnTo>
                    <a:pt x="19064" y="2096654"/>
                  </a:lnTo>
                  <a:lnTo>
                    <a:pt x="9532" y="2110950"/>
                  </a:lnTo>
                  <a:lnTo>
                    <a:pt x="0" y="2096654"/>
                  </a:lnTo>
                  <a:lnTo>
                    <a:pt x="0" y="2077594"/>
                  </a:lnTo>
                  <a:close/>
                  <a:moveTo>
                    <a:pt x="47652" y="2029942"/>
                  </a:moveTo>
                  <a:lnTo>
                    <a:pt x="57184" y="2029942"/>
                  </a:lnTo>
                  <a:lnTo>
                    <a:pt x="61948" y="2034710"/>
                  </a:lnTo>
                  <a:lnTo>
                    <a:pt x="61948" y="2044238"/>
                  </a:lnTo>
                  <a:lnTo>
                    <a:pt x="47652" y="2049006"/>
                  </a:lnTo>
                  <a:lnTo>
                    <a:pt x="47652" y="2039474"/>
                  </a:lnTo>
                  <a:close/>
                  <a:moveTo>
                    <a:pt x="1210344" y="1882226"/>
                  </a:moveTo>
                  <a:lnTo>
                    <a:pt x="1215108" y="1882226"/>
                  </a:lnTo>
                  <a:lnTo>
                    <a:pt x="1219876" y="1891754"/>
                  </a:lnTo>
                  <a:lnTo>
                    <a:pt x="1224640" y="1896518"/>
                  </a:lnTo>
                  <a:lnTo>
                    <a:pt x="1219876" y="1906050"/>
                  </a:lnTo>
                  <a:lnTo>
                    <a:pt x="1200816" y="1901286"/>
                  </a:lnTo>
                  <a:lnTo>
                    <a:pt x="1200816" y="1891754"/>
                  </a:lnTo>
                  <a:lnTo>
                    <a:pt x="1200816" y="1886990"/>
                  </a:lnTo>
                  <a:close/>
                  <a:moveTo>
                    <a:pt x="1038800" y="1877458"/>
                  </a:moveTo>
                  <a:lnTo>
                    <a:pt x="1043564" y="1877458"/>
                  </a:lnTo>
                  <a:lnTo>
                    <a:pt x="1053096" y="1882226"/>
                  </a:lnTo>
                  <a:lnTo>
                    <a:pt x="1053096" y="1901286"/>
                  </a:lnTo>
                  <a:lnTo>
                    <a:pt x="1038800" y="1906050"/>
                  </a:lnTo>
                  <a:lnTo>
                    <a:pt x="1024504" y="1901286"/>
                  </a:lnTo>
                  <a:lnTo>
                    <a:pt x="1019740" y="1891754"/>
                  </a:lnTo>
                  <a:lnTo>
                    <a:pt x="1019740" y="1886990"/>
                  </a:lnTo>
                  <a:lnTo>
                    <a:pt x="1024504" y="1886990"/>
                  </a:lnTo>
                  <a:close/>
                  <a:moveTo>
                    <a:pt x="1405712" y="1801218"/>
                  </a:moveTo>
                  <a:lnTo>
                    <a:pt x="1410480" y="1810746"/>
                  </a:lnTo>
                  <a:lnTo>
                    <a:pt x="1405712" y="1825042"/>
                  </a:lnTo>
                  <a:lnTo>
                    <a:pt x="1405712" y="1829810"/>
                  </a:lnTo>
                  <a:lnTo>
                    <a:pt x="1400948" y="1820278"/>
                  </a:lnTo>
                  <a:close/>
                  <a:moveTo>
                    <a:pt x="1329472" y="1801218"/>
                  </a:moveTo>
                  <a:lnTo>
                    <a:pt x="1334236" y="1801218"/>
                  </a:lnTo>
                  <a:lnTo>
                    <a:pt x="1353296" y="1815514"/>
                  </a:lnTo>
                  <a:lnTo>
                    <a:pt x="1391420" y="1839338"/>
                  </a:lnTo>
                  <a:lnTo>
                    <a:pt x="1405716" y="1853634"/>
                  </a:lnTo>
                  <a:lnTo>
                    <a:pt x="1410480" y="1867930"/>
                  </a:lnTo>
                  <a:lnTo>
                    <a:pt x="1424776" y="1877458"/>
                  </a:lnTo>
                  <a:lnTo>
                    <a:pt x="1439072" y="1877458"/>
                  </a:lnTo>
                  <a:lnTo>
                    <a:pt x="1439072" y="1901286"/>
                  </a:lnTo>
                  <a:lnTo>
                    <a:pt x="1443836" y="1906050"/>
                  </a:lnTo>
                  <a:lnTo>
                    <a:pt x="1458132" y="1929874"/>
                  </a:lnTo>
                  <a:lnTo>
                    <a:pt x="1462896" y="1944170"/>
                  </a:lnTo>
                  <a:lnTo>
                    <a:pt x="1453364" y="1958466"/>
                  </a:lnTo>
                  <a:lnTo>
                    <a:pt x="1443836" y="1967998"/>
                  </a:lnTo>
                  <a:lnTo>
                    <a:pt x="1434304" y="1977526"/>
                  </a:lnTo>
                  <a:lnTo>
                    <a:pt x="1434304" y="1982290"/>
                  </a:lnTo>
                  <a:lnTo>
                    <a:pt x="1439072" y="1991822"/>
                  </a:lnTo>
                  <a:lnTo>
                    <a:pt x="1453364" y="1991822"/>
                  </a:lnTo>
                  <a:lnTo>
                    <a:pt x="1467660" y="2001354"/>
                  </a:lnTo>
                  <a:lnTo>
                    <a:pt x="1472428" y="2025178"/>
                  </a:lnTo>
                  <a:lnTo>
                    <a:pt x="1481956" y="2044238"/>
                  </a:lnTo>
                  <a:lnTo>
                    <a:pt x="1481956" y="2053770"/>
                  </a:lnTo>
                  <a:lnTo>
                    <a:pt x="1477192" y="2091890"/>
                  </a:lnTo>
                  <a:lnTo>
                    <a:pt x="1477192" y="2106186"/>
                  </a:lnTo>
                  <a:lnTo>
                    <a:pt x="1486720" y="2115714"/>
                  </a:lnTo>
                  <a:lnTo>
                    <a:pt x="1496252" y="2120482"/>
                  </a:lnTo>
                  <a:lnTo>
                    <a:pt x="1501016" y="2130010"/>
                  </a:lnTo>
                  <a:lnTo>
                    <a:pt x="1505784" y="2149070"/>
                  </a:lnTo>
                  <a:lnTo>
                    <a:pt x="1505784" y="2182426"/>
                  </a:lnTo>
                  <a:lnTo>
                    <a:pt x="1501016" y="2196722"/>
                  </a:lnTo>
                  <a:lnTo>
                    <a:pt x="1496252" y="2206254"/>
                  </a:lnTo>
                  <a:lnTo>
                    <a:pt x="1477192" y="2234842"/>
                  </a:lnTo>
                  <a:lnTo>
                    <a:pt x="1458132" y="2253902"/>
                  </a:lnTo>
                  <a:lnTo>
                    <a:pt x="1443836" y="2253902"/>
                  </a:lnTo>
                  <a:lnTo>
                    <a:pt x="1439072" y="2258670"/>
                  </a:lnTo>
                  <a:lnTo>
                    <a:pt x="1448600" y="2277730"/>
                  </a:lnTo>
                  <a:lnTo>
                    <a:pt x="1443836" y="2315850"/>
                  </a:lnTo>
                  <a:lnTo>
                    <a:pt x="1439072" y="2344442"/>
                  </a:lnTo>
                  <a:lnTo>
                    <a:pt x="1434304" y="2330146"/>
                  </a:lnTo>
                  <a:lnTo>
                    <a:pt x="1429540" y="2315850"/>
                  </a:lnTo>
                  <a:lnTo>
                    <a:pt x="1424776" y="2277730"/>
                  </a:lnTo>
                  <a:lnTo>
                    <a:pt x="1420008" y="2258670"/>
                  </a:lnTo>
                  <a:lnTo>
                    <a:pt x="1410480" y="2244374"/>
                  </a:lnTo>
                  <a:lnTo>
                    <a:pt x="1405716" y="2230078"/>
                  </a:lnTo>
                  <a:lnTo>
                    <a:pt x="1396184" y="2215782"/>
                  </a:lnTo>
                  <a:lnTo>
                    <a:pt x="1381888" y="2182426"/>
                  </a:lnTo>
                  <a:lnTo>
                    <a:pt x="1377124" y="2187194"/>
                  </a:lnTo>
                  <a:lnTo>
                    <a:pt x="1362828" y="2191958"/>
                  </a:lnTo>
                  <a:lnTo>
                    <a:pt x="1358064" y="2201486"/>
                  </a:lnTo>
                  <a:lnTo>
                    <a:pt x="1358064" y="2211018"/>
                  </a:lnTo>
                  <a:lnTo>
                    <a:pt x="1353296" y="2220546"/>
                  </a:lnTo>
                  <a:lnTo>
                    <a:pt x="1339004" y="2234842"/>
                  </a:lnTo>
                  <a:lnTo>
                    <a:pt x="1329472" y="2249138"/>
                  </a:lnTo>
                  <a:lnTo>
                    <a:pt x="1315176" y="2268198"/>
                  </a:lnTo>
                  <a:lnTo>
                    <a:pt x="1315176" y="2282494"/>
                  </a:lnTo>
                  <a:lnTo>
                    <a:pt x="1319940" y="2296790"/>
                  </a:lnTo>
                  <a:lnTo>
                    <a:pt x="1329472" y="2301554"/>
                  </a:lnTo>
                  <a:lnTo>
                    <a:pt x="1343768" y="2315850"/>
                  </a:lnTo>
                  <a:lnTo>
                    <a:pt x="1348532" y="2320614"/>
                  </a:lnTo>
                  <a:lnTo>
                    <a:pt x="1358064" y="2358738"/>
                  </a:lnTo>
                  <a:lnTo>
                    <a:pt x="1358064" y="2396858"/>
                  </a:lnTo>
                  <a:lnTo>
                    <a:pt x="1348532" y="2415918"/>
                  </a:lnTo>
                  <a:lnTo>
                    <a:pt x="1324708" y="2444510"/>
                  </a:lnTo>
                  <a:lnTo>
                    <a:pt x="1310412" y="2454038"/>
                  </a:lnTo>
                  <a:lnTo>
                    <a:pt x="1300880" y="2449274"/>
                  </a:lnTo>
                  <a:lnTo>
                    <a:pt x="1291352" y="2430214"/>
                  </a:lnTo>
                  <a:lnTo>
                    <a:pt x="1291352" y="2425450"/>
                  </a:lnTo>
                  <a:lnTo>
                    <a:pt x="1296116" y="2406386"/>
                  </a:lnTo>
                  <a:lnTo>
                    <a:pt x="1296116" y="2387326"/>
                  </a:lnTo>
                  <a:lnTo>
                    <a:pt x="1291352" y="2382562"/>
                  </a:lnTo>
                  <a:lnTo>
                    <a:pt x="1286588" y="2382562"/>
                  </a:lnTo>
                  <a:lnTo>
                    <a:pt x="1281820" y="2387326"/>
                  </a:lnTo>
                  <a:lnTo>
                    <a:pt x="1267524" y="2406386"/>
                  </a:lnTo>
                  <a:lnTo>
                    <a:pt x="1257996" y="2415918"/>
                  </a:lnTo>
                  <a:lnTo>
                    <a:pt x="1253232" y="2415918"/>
                  </a:lnTo>
                  <a:lnTo>
                    <a:pt x="1243700" y="2411154"/>
                  </a:lnTo>
                  <a:lnTo>
                    <a:pt x="1196048" y="2392094"/>
                  </a:lnTo>
                  <a:lnTo>
                    <a:pt x="1162692" y="2373030"/>
                  </a:lnTo>
                  <a:lnTo>
                    <a:pt x="1134100" y="2358738"/>
                  </a:lnTo>
                  <a:lnTo>
                    <a:pt x="1110276" y="2330146"/>
                  </a:lnTo>
                  <a:lnTo>
                    <a:pt x="1105512" y="2311086"/>
                  </a:lnTo>
                  <a:lnTo>
                    <a:pt x="1105512" y="2287258"/>
                  </a:lnTo>
                  <a:lnTo>
                    <a:pt x="1095980" y="2258670"/>
                  </a:lnTo>
                  <a:lnTo>
                    <a:pt x="1095980" y="2249138"/>
                  </a:lnTo>
                  <a:lnTo>
                    <a:pt x="1095980" y="2234842"/>
                  </a:lnTo>
                  <a:lnTo>
                    <a:pt x="1105512" y="2220546"/>
                  </a:lnTo>
                  <a:lnTo>
                    <a:pt x="1115040" y="2206254"/>
                  </a:lnTo>
                  <a:lnTo>
                    <a:pt x="1124572" y="2201486"/>
                  </a:lnTo>
                  <a:lnTo>
                    <a:pt x="1129336" y="2191958"/>
                  </a:lnTo>
                  <a:lnTo>
                    <a:pt x="1134100" y="2182426"/>
                  </a:lnTo>
                  <a:lnTo>
                    <a:pt x="1129336" y="2172898"/>
                  </a:lnTo>
                  <a:lnTo>
                    <a:pt x="1124572" y="2168130"/>
                  </a:lnTo>
                  <a:lnTo>
                    <a:pt x="1110276" y="2144306"/>
                  </a:lnTo>
                  <a:lnTo>
                    <a:pt x="1095980" y="2130010"/>
                  </a:lnTo>
                  <a:lnTo>
                    <a:pt x="1062624" y="2120482"/>
                  </a:lnTo>
                  <a:lnTo>
                    <a:pt x="1053096" y="2110950"/>
                  </a:lnTo>
                  <a:lnTo>
                    <a:pt x="1048328" y="2106186"/>
                  </a:lnTo>
                  <a:lnTo>
                    <a:pt x="1038800" y="2106186"/>
                  </a:lnTo>
                  <a:lnTo>
                    <a:pt x="1029268" y="2106186"/>
                  </a:lnTo>
                  <a:lnTo>
                    <a:pt x="1019740" y="2110950"/>
                  </a:lnTo>
                  <a:lnTo>
                    <a:pt x="1014972" y="2115714"/>
                  </a:lnTo>
                  <a:lnTo>
                    <a:pt x="1019740" y="2125246"/>
                  </a:lnTo>
                  <a:lnTo>
                    <a:pt x="1014972" y="2130010"/>
                  </a:lnTo>
                  <a:lnTo>
                    <a:pt x="1005444" y="2172898"/>
                  </a:lnTo>
                  <a:lnTo>
                    <a:pt x="986384" y="2163366"/>
                  </a:lnTo>
                  <a:lnTo>
                    <a:pt x="972088" y="2153838"/>
                  </a:lnTo>
                  <a:lnTo>
                    <a:pt x="967324" y="2144306"/>
                  </a:lnTo>
                  <a:lnTo>
                    <a:pt x="962556" y="2134774"/>
                  </a:lnTo>
                  <a:lnTo>
                    <a:pt x="962556" y="2130010"/>
                  </a:lnTo>
                  <a:lnTo>
                    <a:pt x="957792" y="2125246"/>
                  </a:lnTo>
                  <a:lnTo>
                    <a:pt x="948260" y="2139542"/>
                  </a:lnTo>
                  <a:lnTo>
                    <a:pt x="938732" y="2149070"/>
                  </a:lnTo>
                  <a:lnTo>
                    <a:pt x="929200" y="2153838"/>
                  </a:lnTo>
                  <a:lnTo>
                    <a:pt x="919672" y="2153838"/>
                  </a:lnTo>
                  <a:lnTo>
                    <a:pt x="914904" y="2149070"/>
                  </a:lnTo>
                  <a:lnTo>
                    <a:pt x="910140" y="2120482"/>
                  </a:lnTo>
                  <a:lnTo>
                    <a:pt x="895844" y="2115714"/>
                  </a:lnTo>
                  <a:lnTo>
                    <a:pt x="881548" y="2115714"/>
                  </a:lnTo>
                  <a:lnTo>
                    <a:pt x="862488" y="2130010"/>
                  </a:lnTo>
                  <a:lnTo>
                    <a:pt x="862488" y="2134774"/>
                  </a:lnTo>
                  <a:lnTo>
                    <a:pt x="857724" y="2149070"/>
                  </a:lnTo>
                  <a:lnTo>
                    <a:pt x="838664" y="2182426"/>
                  </a:lnTo>
                  <a:lnTo>
                    <a:pt x="824368" y="2211018"/>
                  </a:lnTo>
                  <a:lnTo>
                    <a:pt x="814840" y="2234842"/>
                  </a:lnTo>
                  <a:lnTo>
                    <a:pt x="810072" y="2244374"/>
                  </a:lnTo>
                  <a:lnTo>
                    <a:pt x="800544" y="2249138"/>
                  </a:lnTo>
                  <a:lnTo>
                    <a:pt x="791012" y="2249138"/>
                  </a:lnTo>
                  <a:lnTo>
                    <a:pt x="781484" y="2239610"/>
                  </a:lnTo>
                  <a:lnTo>
                    <a:pt x="771952" y="2225314"/>
                  </a:lnTo>
                  <a:lnTo>
                    <a:pt x="771952" y="2206254"/>
                  </a:lnTo>
                  <a:lnTo>
                    <a:pt x="786248" y="2191958"/>
                  </a:lnTo>
                  <a:lnTo>
                    <a:pt x="795776" y="2177662"/>
                  </a:lnTo>
                  <a:lnTo>
                    <a:pt x="805308" y="2130010"/>
                  </a:lnTo>
                  <a:lnTo>
                    <a:pt x="805308" y="2115714"/>
                  </a:lnTo>
                  <a:lnTo>
                    <a:pt x="805308" y="2106186"/>
                  </a:lnTo>
                  <a:lnTo>
                    <a:pt x="824368" y="2087126"/>
                  </a:lnTo>
                  <a:lnTo>
                    <a:pt x="838664" y="2072830"/>
                  </a:lnTo>
                  <a:lnTo>
                    <a:pt x="848196" y="2072830"/>
                  </a:lnTo>
                  <a:lnTo>
                    <a:pt x="876784" y="2063298"/>
                  </a:lnTo>
                  <a:lnTo>
                    <a:pt x="891080" y="2058534"/>
                  </a:lnTo>
                  <a:lnTo>
                    <a:pt x="910140" y="2058534"/>
                  </a:lnTo>
                  <a:lnTo>
                    <a:pt x="929200" y="2053770"/>
                  </a:lnTo>
                  <a:lnTo>
                    <a:pt x="943496" y="2044238"/>
                  </a:lnTo>
                  <a:lnTo>
                    <a:pt x="943496" y="2034710"/>
                  </a:lnTo>
                  <a:lnTo>
                    <a:pt x="943496" y="2020414"/>
                  </a:lnTo>
                  <a:lnTo>
                    <a:pt x="943496" y="2015646"/>
                  </a:lnTo>
                  <a:lnTo>
                    <a:pt x="948260" y="2010882"/>
                  </a:lnTo>
                  <a:lnTo>
                    <a:pt x="957792" y="2001354"/>
                  </a:lnTo>
                  <a:lnTo>
                    <a:pt x="967324" y="1996586"/>
                  </a:lnTo>
                  <a:lnTo>
                    <a:pt x="986384" y="1991822"/>
                  </a:lnTo>
                  <a:lnTo>
                    <a:pt x="995912" y="1987058"/>
                  </a:lnTo>
                  <a:lnTo>
                    <a:pt x="1000680" y="1982290"/>
                  </a:lnTo>
                  <a:lnTo>
                    <a:pt x="1010208" y="1967998"/>
                  </a:lnTo>
                  <a:lnTo>
                    <a:pt x="1019740" y="1972762"/>
                  </a:lnTo>
                  <a:lnTo>
                    <a:pt x="1029268" y="1977526"/>
                  </a:lnTo>
                  <a:lnTo>
                    <a:pt x="1048328" y="1982290"/>
                  </a:lnTo>
                  <a:lnTo>
                    <a:pt x="1062624" y="1991822"/>
                  </a:lnTo>
                  <a:lnTo>
                    <a:pt x="1076920" y="2010882"/>
                  </a:lnTo>
                  <a:lnTo>
                    <a:pt x="1076920" y="2020414"/>
                  </a:lnTo>
                  <a:lnTo>
                    <a:pt x="1081684" y="2049002"/>
                  </a:lnTo>
                  <a:lnTo>
                    <a:pt x="1076920" y="2053770"/>
                  </a:lnTo>
                  <a:lnTo>
                    <a:pt x="1057860" y="2068062"/>
                  </a:lnTo>
                  <a:lnTo>
                    <a:pt x="1067392" y="2072830"/>
                  </a:lnTo>
                  <a:lnTo>
                    <a:pt x="1086452" y="2058534"/>
                  </a:lnTo>
                  <a:lnTo>
                    <a:pt x="1095980" y="2053770"/>
                  </a:lnTo>
                  <a:lnTo>
                    <a:pt x="1124572" y="2049002"/>
                  </a:lnTo>
                  <a:lnTo>
                    <a:pt x="1129336" y="2044238"/>
                  </a:lnTo>
                  <a:lnTo>
                    <a:pt x="1134100" y="2034710"/>
                  </a:lnTo>
                  <a:lnTo>
                    <a:pt x="1143632" y="2015646"/>
                  </a:lnTo>
                  <a:lnTo>
                    <a:pt x="1148396" y="1996586"/>
                  </a:lnTo>
                  <a:lnTo>
                    <a:pt x="1153164" y="1991822"/>
                  </a:lnTo>
                  <a:lnTo>
                    <a:pt x="1162692" y="1982290"/>
                  </a:lnTo>
                  <a:lnTo>
                    <a:pt x="1167456" y="1982290"/>
                  </a:lnTo>
                  <a:lnTo>
                    <a:pt x="1196048" y="1996586"/>
                  </a:lnTo>
                  <a:lnTo>
                    <a:pt x="1215108" y="1991822"/>
                  </a:lnTo>
                  <a:lnTo>
                    <a:pt x="1219876" y="1967998"/>
                  </a:lnTo>
                  <a:lnTo>
                    <a:pt x="1219876" y="1939406"/>
                  </a:lnTo>
                  <a:lnTo>
                    <a:pt x="1224640" y="1934642"/>
                  </a:lnTo>
                  <a:lnTo>
                    <a:pt x="1234168" y="1925110"/>
                  </a:lnTo>
                  <a:lnTo>
                    <a:pt x="1248464" y="1925110"/>
                  </a:lnTo>
                  <a:lnTo>
                    <a:pt x="1262760" y="1939406"/>
                  </a:lnTo>
                  <a:lnTo>
                    <a:pt x="1277056" y="1939406"/>
                  </a:lnTo>
                  <a:lnTo>
                    <a:pt x="1281820" y="1934642"/>
                  </a:lnTo>
                  <a:lnTo>
                    <a:pt x="1286588" y="1915578"/>
                  </a:lnTo>
                  <a:lnTo>
                    <a:pt x="1291352" y="1915578"/>
                  </a:lnTo>
                  <a:lnTo>
                    <a:pt x="1315176" y="1920346"/>
                  </a:lnTo>
                  <a:lnTo>
                    <a:pt x="1334236" y="1915578"/>
                  </a:lnTo>
                  <a:lnTo>
                    <a:pt x="1339004" y="1896518"/>
                  </a:lnTo>
                  <a:lnTo>
                    <a:pt x="1334236" y="1877458"/>
                  </a:lnTo>
                  <a:lnTo>
                    <a:pt x="1319940" y="1815514"/>
                  </a:lnTo>
                  <a:close/>
                  <a:moveTo>
                    <a:pt x="1424776" y="1753566"/>
                  </a:moveTo>
                  <a:lnTo>
                    <a:pt x="1429540" y="1772626"/>
                  </a:lnTo>
                  <a:lnTo>
                    <a:pt x="1429540" y="1777390"/>
                  </a:lnTo>
                  <a:lnTo>
                    <a:pt x="1429540" y="1782154"/>
                  </a:lnTo>
                  <a:lnTo>
                    <a:pt x="1439072" y="1791686"/>
                  </a:lnTo>
                  <a:lnTo>
                    <a:pt x="1434304" y="1796450"/>
                  </a:lnTo>
                  <a:lnTo>
                    <a:pt x="1420008" y="1801218"/>
                  </a:lnTo>
                  <a:lnTo>
                    <a:pt x="1410480" y="1786922"/>
                  </a:lnTo>
                  <a:lnTo>
                    <a:pt x="1410480" y="1772626"/>
                  </a:lnTo>
                  <a:close/>
                  <a:moveTo>
                    <a:pt x="1277056" y="1739270"/>
                  </a:moveTo>
                  <a:lnTo>
                    <a:pt x="1281820" y="1739270"/>
                  </a:lnTo>
                  <a:lnTo>
                    <a:pt x="1291352" y="1744034"/>
                  </a:lnTo>
                  <a:lnTo>
                    <a:pt x="1300880" y="1763094"/>
                  </a:lnTo>
                  <a:lnTo>
                    <a:pt x="1300880" y="1772626"/>
                  </a:lnTo>
                  <a:lnTo>
                    <a:pt x="1281820" y="1753566"/>
                  </a:lnTo>
                  <a:close/>
                  <a:moveTo>
                    <a:pt x="1153164" y="1734506"/>
                  </a:moveTo>
                  <a:lnTo>
                    <a:pt x="1153164" y="1739270"/>
                  </a:lnTo>
                  <a:lnTo>
                    <a:pt x="1157928" y="1739270"/>
                  </a:lnTo>
                  <a:lnTo>
                    <a:pt x="1162692" y="1744034"/>
                  </a:lnTo>
                  <a:lnTo>
                    <a:pt x="1176988" y="1753566"/>
                  </a:lnTo>
                  <a:lnTo>
                    <a:pt x="1191284" y="1758330"/>
                  </a:lnTo>
                  <a:lnTo>
                    <a:pt x="1186516" y="1782158"/>
                  </a:lnTo>
                  <a:lnTo>
                    <a:pt x="1191284" y="1791686"/>
                  </a:lnTo>
                  <a:lnTo>
                    <a:pt x="1191284" y="1796450"/>
                  </a:lnTo>
                  <a:lnTo>
                    <a:pt x="1191284" y="1801218"/>
                  </a:lnTo>
                  <a:lnTo>
                    <a:pt x="1176988" y="1801218"/>
                  </a:lnTo>
                  <a:lnTo>
                    <a:pt x="1172224" y="1801218"/>
                  </a:lnTo>
                  <a:lnTo>
                    <a:pt x="1162692" y="1815510"/>
                  </a:lnTo>
                  <a:lnTo>
                    <a:pt x="1153164" y="1820278"/>
                  </a:lnTo>
                  <a:lnTo>
                    <a:pt x="1119808" y="1825042"/>
                  </a:lnTo>
                  <a:lnTo>
                    <a:pt x="1086452" y="1820278"/>
                  </a:lnTo>
                  <a:lnTo>
                    <a:pt x="1076920" y="1815510"/>
                  </a:lnTo>
                  <a:lnTo>
                    <a:pt x="1072156" y="1801218"/>
                  </a:lnTo>
                  <a:lnTo>
                    <a:pt x="1072156" y="1791686"/>
                  </a:lnTo>
                  <a:lnTo>
                    <a:pt x="1076920" y="1782158"/>
                  </a:lnTo>
                  <a:lnTo>
                    <a:pt x="1086452" y="1772626"/>
                  </a:lnTo>
                  <a:lnTo>
                    <a:pt x="1110276" y="1763094"/>
                  </a:lnTo>
                  <a:lnTo>
                    <a:pt x="1115040" y="1753566"/>
                  </a:lnTo>
                  <a:lnTo>
                    <a:pt x="1124572" y="1739270"/>
                  </a:lnTo>
                  <a:close/>
                  <a:moveTo>
                    <a:pt x="1358064" y="1691618"/>
                  </a:moveTo>
                  <a:lnTo>
                    <a:pt x="1362828" y="1701150"/>
                  </a:lnTo>
                  <a:lnTo>
                    <a:pt x="1358064" y="1724974"/>
                  </a:lnTo>
                  <a:lnTo>
                    <a:pt x="1362828" y="1748802"/>
                  </a:lnTo>
                  <a:lnTo>
                    <a:pt x="1362828" y="1767862"/>
                  </a:lnTo>
                  <a:lnTo>
                    <a:pt x="1362828" y="1772626"/>
                  </a:lnTo>
                  <a:lnTo>
                    <a:pt x="1362828" y="1777390"/>
                  </a:lnTo>
                  <a:lnTo>
                    <a:pt x="1358064" y="1782158"/>
                  </a:lnTo>
                  <a:lnTo>
                    <a:pt x="1358064" y="1772626"/>
                  </a:lnTo>
                  <a:lnTo>
                    <a:pt x="1348532" y="1763094"/>
                  </a:lnTo>
                  <a:lnTo>
                    <a:pt x="1339004" y="1748802"/>
                  </a:lnTo>
                  <a:lnTo>
                    <a:pt x="1334236" y="1744034"/>
                  </a:lnTo>
                  <a:lnTo>
                    <a:pt x="1334236" y="1729738"/>
                  </a:lnTo>
                  <a:lnTo>
                    <a:pt x="1339004" y="1715446"/>
                  </a:lnTo>
                  <a:lnTo>
                    <a:pt x="1343768" y="1705914"/>
                  </a:lnTo>
                  <a:lnTo>
                    <a:pt x="1348532" y="1701150"/>
                  </a:lnTo>
                  <a:close/>
                  <a:moveTo>
                    <a:pt x="452688" y="1658262"/>
                  </a:moveTo>
                  <a:lnTo>
                    <a:pt x="466984" y="1667794"/>
                  </a:lnTo>
                  <a:lnTo>
                    <a:pt x="476512" y="1672558"/>
                  </a:lnTo>
                  <a:lnTo>
                    <a:pt x="471748" y="1677322"/>
                  </a:lnTo>
                  <a:lnTo>
                    <a:pt x="462220" y="1686854"/>
                  </a:lnTo>
                  <a:lnTo>
                    <a:pt x="443160" y="1691618"/>
                  </a:lnTo>
                  <a:lnTo>
                    <a:pt x="438392" y="1672558"/>
                  </a:lnTo>
                  <a:close/>
                  <a:moveTo>
                    <a:pt x="1153160" y="1648734"/>
                  </a:moveTo>
                  <a:lnTo>
                    <a:pt x="1157928" y="1653498"/>
                  </a:lnTo>
                  <a:lnTo>
                    <a:pt x="1157928" y="1663026"/>
                  </a:lnTo>
                  <a:lnTo>
                    <a:pt x="1148396" y="1667794"/>
                  </a:lnTo>
                  <a:lnTo>
                    <a:pt x="1143632" y="1667794"/>
                  </a:lnTo>
                  <a:close/>
                  <a:moveTo>
                    <a:pt x="891080" y="1643966"/>
                  </a:moveTo>
                  <a:lnTo>
                    <a:pt x="895844" y="1643966"/>
                  </a:lnTo>
                  <a:lnTo>
                    <a:pt x="900612" y="1648734"/>
                  </a:lnTo>
                  <a:lnTo>
                    <a:pt x="900612" y="1658262"/>
                  </a:lnTo>
                  <a:lnTo>
                    <a:pt x="891080" y="1682086"/>
                  </a:lnTo>
                  <a:lnTo>
                    <a:pt x="886316" y="1686854"/>
                  </a:lnTo>
                  <a:lnTo>
                    <a:pt x="881552" y="1691618"/>
                  </a:lnTo>
                  <a:lnTo>
                    <a:pt x="881552" y="1686854"/>
                  </a:lnTo>
                  <a:lnTo>
                    <a:pt x="872020" y="1696382"/>
                  </a:lnTo>
                  <a:lnTo>
                    <a:pt x="867256" y="1682086"/>
                  </a:lnTo>
                  <a:lnTo>
                    <a:pt x="872020" y="1667794"/>
                  </a:lnTo>
                  <a:lnTo>
                    <a:pt x="886316" y="1653498"/>
                  </a:lnTo>
                  <a:lnTo>
                    <a:pt x="886316" y="1648734"/>
                  </a:lnTo>
                  <a:close/>
                  <a:moveTo>
                    <a:pt x="976852" y="1605846"/>
                  </a:moveTo>
                  <a:lnTo>
                    <a:pt x="981616" y="1605846"/>
                  </a:lnTo>
                  <a:lnTo>
                    <a:pt x="1024504" y="1615378"/>
                  </a:lnTo>
                  <a:lnTo>
                    <a:pt x="1029268" y="1634438"/>
                  </a:lnTo>
                  <a:lnTo>
                    <a:pt x="1029268" y="1639202"/>
                  </a:lnTo>
                  <a:lnTo>
                    <a:pt x="1024504" y="1658262"/>
                  </a:lnTo>
                  <a:lnTo>
                    <a:pt x="1019740" y="1667794"/>
                  </a:lnTo>
                  <a:lnTo>
                    <a:pt x="1005444" y="1691618"/>
                  </a:lnTo>
                  <a:lnTo>
                    <a:pt x="995912" y="1710678"/>
                  </a:lnTo>
                  <a:lnTo>
                    <a:pt x="986384" y="1744034"/>
                  </a:lnTo>
                  <a:lnTo>
                    <a:pt x="986384" y="1753566"/>
                  </a:lnTo>
                  <a:lnTo>
                    <a:pt x="972088" y="1772626"/>
                  </a:lnTo>
                  <a:lnTo>
                    <a:pt x="967324" y="1782154"/>
                  </a:lnTo>
                  <a:lnTo>
                    <a:pt x="967324" y="1805982"/>
                  </a:lnTo>
                  <a:lnTo>
                    <a:pt x="967324" y="1815510"/>
                  </a:lnTo>
                  <a:lnTo>
                    <a:pt x="967324" y="1825042"/>
                  </a:lnTo>
                  <a:lnTo>
                    <a:pt x="991148" y="1863162"/>
                  </a:lnTo>
                  <a:lnTo>
                    <a:pt x="991148" y="1872694"/>
                  </a:lnTo>
                  <a:lnTo>
                    <a:pt x="991148" y="1877458"/>
                  </a:lnTo>
                  <a:lnTo>
                    <a:pt x="986384" y="1886990"/>
                  </a:lnTo>
                  <a:lnTo>
                    <a:pt x="976852" y="1901282"/>
                  </a:lnTo>
                  <a:lnTo>
                    <a:pt x="972088" y="1906050"/>
                  </a:lnTo>
                  <a:lnTo>
                    <a:pt x="962556" y="1910814"/>
                  </a:lnTo>
                  <a:lnTo>
                    <a:pt x="953028" y="1910814"/>
                  </a:lnTo>
                  <a:lnTo>
                    <a:pt x="943496" y="1910814"/>
                  </a:lnTo>
                  <a:lnTo>
                    <a:pt x="933968" y="1906050"/>
                  </a:lnTo>
                  <a:lnTo>
                    <a:pt x="919672" y="1867926"/>
                  </a:lnTo>
                  <a:lnTo>
                    <a:pt x="905376" y="1863162"/>
                  </a:lnTo>
                  <a:lnTo>
                    <a:pt x="891080" y="1853634"/>
                  </a:lnTo>
                  <a:lnTo>
                    <a:pt x="881548" y="1848866"/>
                  </a:lnTo>
                  <a:lnTo>
                    <a:pt x="876784" y="1844102"/>
                  </a:lnTo>
                  <a:lnTo>
                    <a:pt x="848192" y="1810746"/>
                  </a:lnTo>
                  <a:lnTo>
                    <a:pt x="848192" y="1791686"/>
                  </a:lnTo>
                  <a:lnTo>
                    <a:pt x="852960" y="1777390"/>
                  </a:lnTo>
                  <a:lnTo>
                    <a:pt x="862488" y="1767862"/>
                  </a:lnTo>
                  <a:lnTo>
                    <a:pt x="867256" y="1763094"/>
                  </a:lnTo>
                  <a:lnTo>
                    <a:pt x="886316" y="1763094"/>
                  </a:lnTo>
                  <a:lnTo>
                    <a:pt x="895844" y="1763094"/>
                  </a:lnTo>
                  <a:lnTo>
                    <a:pt x="919672" y="1748798"/>
                  </a:lnTo>
                  <a:lnTo>
                    <a:pt x="919672" y="1744034"/>
                  </a:lnTo>
                  <a:lnTo>
                    <a:pt x="919672" y="1715442"/>
                  </a:lnTo>
                  <a:lnTo>
                    <a:pt x="919672" y="1701150"/>
                  </a:lnTo>
                  <a:lnTo>
                    <a:pt x="914904" y="1682090"/>
                  </a:lnTo>
                  <a:lnTo>
                    <a:pt x="919672" y="1672558"/>
                  </a:lnTo>
                  <a:lnTo>
                    <a:pt x="929200" y="1667794"/>
                  </a:lnTo>
                  <a:lnTo>
                    <a:pt x="933968" y="1653498"/>
                  </a:lnTo>
                  <a:lnTo>
                    <a:pt x="938732" y="1639202"/>
                  </a:lnTo>
                  <a:lnTo>
                    <a:pt x="938732" y="1629670"/>
                  </a:lnTo>
                  <a:lnTo>
                    <a:pt x="938732" y="1620142"/>
                  </a:lnTo>
                  <a:lnTo>
                    <a:pt x="948260" y="1615378"/>
                  </a:lnTo>
                  <a:close/>
                  <a:moveTo>
                    <a:pt x="1105512" y="1558194"/>
                  </a:moveTo>
                  <a:lnTo>
                    <a:pt x="1110276" y="1567726"/>
                  </a:lnTo>
                  <a:lnTo>
                    <a:pt x="1105512" y="1586786"/>
                  </a:lnTo>
                  <a:lnTo>
                    <a:pt x="1105512" y="1596318"/>
                  </a:lnTo>
                  <a:lnTo>
                    <a:pt x="1105512" y="1615378"/>
                  </a:lnTo>
                  <a:lnTo>
                    <a:pt x="1100744" y="1639202"/>
                  </a:lnTo>
                  <a:lnTo>
                    <a:pt x="1105512" y="1667794"/>
                  </a:lnTo>
                  <a:lnTo>
                    <a:pt x="1100744" y="1696382"/>
                  </a:lnTo>
                  <a:lnTo>
                    <a:pt x="1091216" y="1710678"/>
                  </a:lnTo>
                  <a:lnTo>
                    <a:pt x="1076920" y="1720210"/>
                  </a:lnTo>
                  <a:lnTo>
                    <a:pt x="1067388" y="1724974"/>
                  </a:lnTo>
                  <a:lnTo>
                    <a:pt x="1053096" y="1739270"/>
                  </a:lnTo>
                  <a:lnTo>
                    <a:pt x="1043564" y="1758330"/>
                  </a:lnTo>
                  <a:lnTo>
                    <a:pt x="1043564" y="1772626"/>
                  </a:lnTo>
                  <a:lnTo>
                    <a:pt x="1019740" y="1829806"/>
                  </a:lnTo>
                  <a:lnTo>
                    <a:pt x="1000680" y="1848866"/>
                  </a:lnTo>
                  <a:lnTo>
                    <a:pt x="995912" y="1853634"/>
                  </a:lnTo>
                  <a:lnTo>
                    <a:pt x="991148" y="1844102"/>
                  </a:lnTo>
                  <a:lnTo>
                    <a:pt x="995912" y="1829806"/>
                  </a:lnTo>
                  <a:lnTo>
                    <a:pt x="1005444" y="1777390"/>
                  </a:lnTo>
                  <a:lnTo>
                    <a:pt x="1000680" y="1767862"/>
                  </a:lnTo>
                  <a:lnTo>
                    <a:pt x="1024504" y="1739270"/>
                  </a:lnTo>
                  <a:lnTo>
                    <a:pt x="1034036" y="1715446"/>
                  </a:lnTo>
                  <a:lnTo>
                    <a:pt x="1053096" y="1686854"/>
                  </a:lnTo>
                  <a:lnTo>
                    <a:pt x="1057860" y="1672558"/>
                  </a:lnTo>
                  <a:lnTo>
                    <a:pt x="1072156" y="1643966"/>
                  </a:lnTo>
                  <a:lnTo>
                    <a:pt x="1086452" y="1610610"/>
                  </a:lnTo>
                  <a:lnTo>
                    <a:pt x="1086452" y="1596318"/>
                  </a:lnTo>
                  <a:lnTo>
                    <a:pt x="1091216" y="1591550"/>
                  </a:lnTo>
                  <a:lnTo>
                    <a:pt x="1091216" y="1582022"/>
                  </a:lnTo>
                  <a:lnTo>
                    <a:pt x="1095980" y="1572490"/>
                  </a:lnTo>
                  <a:close/>
                  <a:moveTo>
                    <a:pt x="1057860" y="1558194"/>
                  </a:moveTo>
                  <a:lnTo>
                    <a:pt x="1062624" y="1558194"/>
                  </a:lnTo>
                  <a:lnTo>
                    <a:pt x="1072156" y="1577258"/>
                  </a:lnTo>
                  <a:lnTo>
                    <a:pt x="1057860" y="1577258"/>
                  </a:lnTo>
                  <a:lnTo>
                    <a:pt x="1053096" y="1562962"/>
                  </a:lnTo>
                  <a:close/>
                  <a:moveTo>
                    <a:pt x="395508" y="1548666"/>
                  </a:moveTo>
                  <a:lnTo>
                    <a:pt x="405036" y="1553430"/>
                  </a:lnTo>
                  <a:lnTo>
                    <a:pt x="405036" y="1562962"/>
                  </a:lnTo>
                  <a:lnTo>
                    <a:pt x="400272" y="1577254"/>
                  </a:lnTo>
                  <a:lnTo>
                    <a:pt x="400272" y="1586786"/>
                  </a:lnTo>
                  <a:lnTo>
                    <a:pt x="405036" y="1596318"/>
                  </a:lnTo>
                  <a:lnTo>
                    <a:pt x="400272" y="1610610"/>
                  </a:lnTo>
                  <a:lnTo>
                    <a:pt x="414568" y="1648734"/>
                  </a:lnTo>
                  <a:lnTo>
                    <a:pt x="424096" y="1672558"/>
                  </a:lnTo>
                  <a:lnTo>
                    <a:pt x="424096" y="1682090"/>
                  </a:lnTo>
                  <a:lnTo>
                    <a:pt x="409804" y="1696386"/>
                  </a:lnTo>
                  <a:lnTo>
                    <a:pt x="400272" y="1701150"/>
                  </a:lnTo>
                  <a:lnTo>
                    <a:pt x="385976" y="1705914"/>
                  </a:lnTo>
                  <a:lnTo>
                    <a:pt x="376448" y="1710678"/>
                  </a:lnTo>
                  <a:lnTo>
                    <a:pt x="362152" y="1720210"/>
                  </a:lnTo>
                  <a:lnTo>
                    <a:pt x="352620" y="1739270"/>
                  </a:lnTo>
                  <a:lnTo>
                    <a:pt x="352620" y="1748802"/>
                  </a:lnTo>
                  <a:lnTo>
                    <a:pt x="347856" y="1753566"/>
                  </a:lnTo>
                  <a:lnTo>
                    <a:pt x="309736" y="1763094"/>
                  </a:lnTo>
                  <a:lnTo>
                    <a:pt x="290676" y="1772626"/>
                  </a:lnTo>
                  <a:lnTo>
                    <a:pt x="285908" y="1777390"/>
                  </a:lnTo>
                  <a:lnTo>
                    <a:pt x="281144" y="1782158"/>
                  </a:lnTo>
                  <a:lnTo>
                    <a:pt x="281144" y="1801218"/>
                  </a:lnTo>
                  <a:lnTo>
                    <a:pt x="252552" y="1853634"/>
                  </a:lnTo>
                  <a:lnTo>
                    <a:pt x="238260" y="1867930"/>
                  </a:lnTo>
                  <a:lnTo>
                    <a:pt x="228728" y="1877458"/>
                  </a:lnTo>
                  <a:lnTo>
                    <a:pt x="214432" y="1886990"/>
                  </a:lnTo>
                  <a:lnTo>
                    <a:pt x="195372" y="1891754"/>
                  </a:lnTo>
                  <a:lnTo>
                    <a:pt x="181076" y="1906050"/>
                  </a:lnTo>
                  <a:lnTo>
                    <a:pt x="171548" y="1920346"/>
                  </a:lnTo>
                  <a:lnTo>
                    <a:pt x="162016" y="1939406"/>
                  </a:lnTo>
                  <a:lnTo>
                    <a:pt x="142956" y="1953702"/>
                  </a:lnTo>
                  <a:lnTo>
                    <a:pt x="128660" y="1963230"/>
                  </a:lnTo>
                  <a:lnTo>
                    <a:pt x="109600" y="1972762"/>
                  </a:lnTo>
                  <a:lnTo>
                    <a:pt x="95304" y="1977526"/>
                  </a:lnTo>
                  <a:lnTo>
                    <a:pt x="90540" y="1982290"/>
                  </a:lnTo>
                  <a:lnTo>
                    <a:pt x="85776" y="1991822"/>
                  </a:lnTo>
                  <a:lnTo>
                    <a:pt x="81008" y="1996586"/>
                  </a:lnTo>
                  <a:lnTo>
                    <a:pt x="71480" y="2001354"/>
                  </a:lnTo>
                  <a:lnTo>
                    <a:pt x="52420" y="2010882"/>
                  </a:lnTo>
                  <a:lnTo>
                    <a:pt x="38124" y="2020414"/>
                  </a:lnTo>
                  <a:lnTo>
                    <a:pt x="42888" y="2006118"/>
                  </a:lnTo>
                  <a:lnTo>
                    <a:pt x="42888" y="1991822"/>
                  </a:lnTo>
                  <a:lnTo>
                    <a:pt x="61948" y="1967998"/>
                  </a:lnTo>
                  <a:lnTo>
                    <a:pt x="71480" y="1958466"/>
                  </a:lnTo>
                  <a:lnTo>
                    <a:pt x="85776" y="1934642"/>
                  </a:lnTo>
                  <a:lnTo>
                    <a:pt x="100068" y="1925110"/>
                  </a:lnTo>
                  <a:lnTo>
                    <a:pt x="123896" y="1906050"/>
                  </a:lnTo>
                  <a:lnTo>
                    <a:pt x="142956" y="1882226"/>
                  </a:lnTo>
                  <a:lnTo>
                    <a:pt x="152484" y="1882226"/>
                  </a:lnTo>
                  <a:lnTo>
                    <a:pt x="157252" y="1882226"/>
                  </a:lnTo>
                  <a:lnTo>
                    <a:pt x="166780" y="1877458"/>
                  </a:lnTo>
                  <a:lnTo>
                    <a:pt x="181076" y="1867930"/>
                  </a:lnTo>
                  <a:lnTo>
                    <a:pt x="214432" y="1825042"/>
                  </a:lnTo>
                  <a:lnTo>
                    <a:pt x="243024" y="1796450"/>
                  </a:lnTo>
                  <a:lnTo>
                    <a:pt x="276380" y="1758330"/>
                  </a:lnTo>
                  <a:lnTo>
                    <a:pt x="290676" y="1744034"/>
                  </a:lnTo>
                  <a:lnTo>
                    <a:pt x="295440" y="1739270"/>
                  </a:lnTo>
                  <a:lnTo>
                    <a:pt x="319264" y="1705914"/>
                  </a:lnTo>
                  <a:lnTo>
                    <a:pt x="328796" y="1701150"/>
                  </a:lnTo>
                  <a:lnTo>
                    <a:pt x="338324" y="1696386"/>
                  </a:lnTo>
                  <a:lnTo>
                    <a:pt x="347856" y="1691618"/>
                  </a:lnTo>
                  <a:lnTo>
                    <a:pt x="352620" y="1686854"/>
                  </a:lnTo>
                  <a:lnTo>
                    <a:pt x="362152" y="1672558"/>
                  </a:lnTo>
                  <a:lnTo>
                    <a:pt x="366916" y="1653498"/>
                  </a:lnTo>
                  <a:lnTo>
                    <a:pt x="362152" y="1643966"/>
                  </a:lnTo>
                  <a:lnTo>
                    <a:pt x="357388" y="1629674"/>
                  </a:lnTo>
                  <a:lnTo>
                    <a:pt x="366916" y="1605846"/>
                  </a:lnTo>
                  <a:lnTo>
                    <a:pt x="371680" y="1596318"/>
                  </a:lnTo>
                  <a:lnTo>
                    <a:pt x="390744" y="1558194"/>
                  </a:lnTo>
                  <a:close/>
                  <a:moveTo>
                    <a:pt x="1148396" y="1520074"/>
                  </a:moveTo>
                  <a:lnTo>
                    <a:pt x="1157928" y="1520074"/>
                  </a:lnTo>
                  <a:lnTo>
                    <a:pt x="1167456" y="1529606"/>
                  </a:lnTo>
                  <a:lnTo>
                    <a:pt x="1176988" y="1534370"/>
                  </a:lnTo>
                  <a:lnTo>
                    <a:pt x="1186520" y="1539134"/>
                  </a:lnTo>
                  <a:lnTo>
                    <a:pt x="1186520" y="1548666"/>
                  </a:lnTo>
                  <a:lnTo>
                    <a:pt x="1200812" y="1553430"/>
                  </a:lnTo>
                  <a:lnTo>
                    <a:pt x="1210344" y="1553430"/>
                  </a:lnTo>
                  <a:lnTo>
                    <a:pt x="1229404" y="1539134"/>
                  </a:lnTo>
                  <a:lnTo>
                    <a:pt x="1243700" y="1543898"/>
                  </a:lnTo>
                  <a:lnTo>
                    <a:pt x="1253228" y="1562962"/>
                  </a:lnTo>
                  <a:lnTo>
                    <a:pt x="1257996" y="1567726"/>
                  </a:lnTo>
                  <a:lnTo>
                    <a:pt x="1262760" y="1582022"/>
                  </a:lnTo>
                  <a:lnTo>
                    <a:pt x="1262760" y="1610610"/>
                  </a:lnTo>
                  <a:lnTo>
                    <a:pt x="1257996" y="1639202"/>
                  </a:lnTo>
                  <a:lnTo>
                    <a:pt x="1257996" y="1643966"/>
                  </a:lnTo>
                  <a:lnTo>
                    <a:pt x="1267524" y="1648734"/>
                  </a:lnTo>
                  <a:lnTo>
                    <a:pt x="1277056" y="1653498"/>
                  </a:lnTo>
                  <a:lnTo>
                    <a:pt x="1281820" y="1663026"/>
                  </a:lnTo>
                  <a:lnTo>
                    <a:pt x="1281820" y="1667794"/>
                  </a:lnTo>
                  <a:lnTo>
                    <a:pt x="1286584" y="1691618"/>
                  </a:lnTo>
                  <a:lnTo>
                    <a:pt x="1296116" y="1705914"/>
                  </a:lnTo>
                  <a:lnTo>
                    <a:pt x="1296116" y="1715442"/>
                  </a:lnTo>
                  <a:lnTo>
                    <a:pt x="1296116" y="1720210"/>
                  </a:lnTo>
                  <a:lnTo>
                    <a:pt x="1277056" y="1720210"/>
                  </a:lnTo>
                  <a:lnTo>
                    <a:pt x="1277056" y="1724974"/>
                  </a:lnTo>
                  <a:lnTo>
                    <a:pt x="1277056" y="1734506"/>
                  </a:lnTo>
                  <a:lnTo>
                    <a:pt x="1272292" y="1724974"/>
                  </a:lnTo>
                  <a:lnTo>
                    <a:pt x="1262760" y="1710678"/>
                  </a:lnTo>
                  <a:lnTo>
                    <a:pt x="1253228" y="1705914"/>
                  </a:lnTo>
                  <a:lnTo>
                    <a:pt x="1257996" y="1729738"/>
                  </a:lnTo>
                  <a:lnTo>
                    <a:pt x="1257996" y="1744034"/>
                  </a:lnTo>
                  <a:lnTo>
                    <a:pt x="1257996" y="1758330"/>
                  </a:lnTo>
                  <a:lnTo>
                    <a:pt x="1243700" y="1748798"/>
                  </a:lnTo>
                  <a:lnTo>
                    <a:pt x="1224640" y="1739270"/>
                  </a:lnTo>
                  <a:lnTo>
                    <a:pt x="1219872" y="1734506"/>
                  </a:lnTo>
                  <a:lnTo>
                    <a:pt x="1219872" y="1720210"/>
                  </a:lnTo>
                  <a:lnTo>
                    <a:pt x="1219872" y="1710678"/>
                  </a:lnTo>
                  <a:lnTo>
                    <a:pt x="1215108" y="1691618"/>
                  </a:lnTo>
                  <a:lnTo>
                    <a:pt x="1224640" y="1653498"/>
                  </a:lnTo>
                  <a:lnTo>
                    <a:pt x="1224640" y="1643966"/>
                  </a:lnTo>
                  <a:lnTo>
                    <a:pt x="1219872" y="1639202"/>
                  </a:lnTo>
                  <a:lnTo>
                    <a:pt x="1215108" y="1620142"/>
                  </a:lnTo>
                  <a:lnTo>
                    <a:pt x="1200812" y="1610610"/>
                  </a:lnTo>
                  <a:lnTo>
                    <a:pt x="1196048" y="1610610"/>
                  </a:lnTo>
                  <a:lnTo>
                    <a:pt x="1176988" y="1620142"/>
                  </a:lnTo>
                  <a:lnTo>
                    <a:pt x="1167456" y="1615378"/>
                  </a:lnTo>
                  <a:lnTo>
                    <a:pt x="1162692" y="1577254"/>
                  </a:lnTo>
                  <a:lnTo>
                    <a:pt x="1157928" y="1543898"/>
                  </a:lnTo>
                  <a:lnTo>
                    <a:pt x="1148396" y="1534370"/>
                  </a:lnTo>
                  <a:lnTo>
                    <a:pt x="1148396" y="1524838"/>
                  </a:lnTo>
                  <a:close/>
                  <a:moveTo>
                    <a:pt x="447924" y="1520074"/>
                  </a:moveTo>
                  <a:lnTo>
                    <a:pt x="452688" y="1520074"/>
                  </a:lnTo>
                  <a:lnTo>
                    <a:pt x="457456" y="1529606"/>
                  </a:lnTo>
                  <a:lnTo>
                    <a:pt x="452688" y="1539134"/>
                  </a:lnTo>
                  <a:lnTo>
                    <a:pt x="447924" y="1543902"/>
                  </a:lnTo>
                  <a:lnTo>
                    <a:pt x="443160" y="1539134"/>
                  </a:lnTo>
                  <a:lnTo>
                    <a:pt x="433628" y="1534370"/>
                  </a:lnTo>
                  <a:lnTo>
                    <a:pt x="428864" y="1529606"/>
                  </a:lnTo>
                  <a:lnTo>
                    <a:pt x="438392" y="1529606"/>
                  </a:lnTo>
                  <a:close/>
                  <a:moveTo>
                    <a:pt x="1167460" y="1491482"/>
                  </a:moveTo>
                  <a:lnTo>
                    <a:pt x="1176988" y="1496250"/>
                  </a:lnTo>
                  <a:lnTo>
                    <a:pt x="1186520" y="1501014"/>
                  </a:lnTo>
                  <a:lnTo>
                    <a:pt x="1196048" y="1515310"/>
                  </a:lnTo>
                  <a:lnTo>
                    <a:pt x="1196048" y="1524838"/>
                  </a:lnTo>
                  <a:lnTo>
                    <a:pt x="1172224" y="1524838"/>
                  </a:lnTo>
                  <a:lnTo>
                    <a:pt x="1167460" y="1520074"/>
                  </a:lnTo>
                  <a:lnTo>
                    <a:pt x="1153164" y="1496250"/>
                  </a:lnTo>
                  <a:close/>
                  <a:moveTo>
                    <a:pt x="1215108" y="1486718"/>
                  </a:moveTo>
                  <a:lnTo>
                    <a:pt x="1219876" y="1496250"/>
                  </a:lnTo>
                  <a:lnTo>
                    <a:pt x="1229404" y="1501014"/>
                  </a:lnTo>
                  <a:lnTo>
                    <a:pt x="1234168" y="1510542"/>
                  </a:lnTo>
                  <a:lnTo>
                    <a:pt x="1229404" y="1515310"/>
                  </a:lnTo>
                  <a:lnTo>
                    <a:pt x="1224640" y="1515310"/>
                  </a:lnTo>
                  <a:lnTo>
                    <a:pt x="1219876" y="1510542"/>
                  </a:lnTo>
                  <a:lnTo>
                    <a:pt x="1215108" y="1496250"/>
                  </a:lnTo>
                  <a:close/>
                  <a:moveTo>
                    <a:pt x="781484" y="1458126"/>
                  </a:moveTo>
                  <a:lnTo>
                    <a:pt x="791012" y="1462894"/>
                  </a:lnTo>
                  <a:lnTo>
                    <a:pt x="800544" y="1467658"/>
                  </a:lnTo>
                  <a:lnTo>
                    <a:pt x="833900" y="1481954"/>
                  </a:lnTo>
                  <a:lnTo>
                    <a:pt x="848196" y="1491482"/>
                  </a:lnTo>
                  <a:lnTo>
                    <a:pt x="862488" y="1505778"/>
                  </a:lnTo>
                  <a:lnTo>
                    <a:pt x="881548" y="1515310"/>
                  </a:lnTo>
                  <a:lnTo>
                    <a:pt x="900612" y="1505778"/>
                  </a:lnTo>
                  <a:lnTo>
                    <a:pt x="919672" y="1510542"/>
                  </a:lnTo>
                  <a:lnTo>
                    <a:pt x="929200" y="1520074"/>
                  </a:lnTo>
                  <a:lnTo>
                    <a:pt x="929200" y="1524838"/>
                  </a:lnTo>
                  <a:lnTo>
                    <a:pt x="924436" y="1534370"/>
                  </a:lnTo>
                  <a:lnTo>
                    <a:pt x="957792" y="1515310"/>
                  </a:lnTo>
                  <a:lnTo>
                    <a:pt x="967320" y="1520074"/>
                  </a:lnTo>
                  <a:lnTo>
                    <a:pt x="967320" y="1534370"/>
                  </a:lnTo>
                  <a:lnTo>
                    <a:pt x="967320" y="1543898"/>
                  </a:lnTo>
                  <a:lnTo>
                    <a:pt x="962556" y="1558194"/>
                  </a:lnTo>
                  <a:lnTo>
                    <a:pt x="953028" y="1572490"/>
                  </a:lnTo>
                  <a:lnTo>
                    <a:pt x="943496" y="1586786"/>
                  </a:lnTo>
                  <a:lnTo>
                    <a:pt x="933968" y="1596314"/>
                  </a:lnTo>
                  <a:lnTo>
                    <a:pt x="919672" y="1601082"/>
                  </a:lnTo>
                  <a:lnTo>
                    <a:pt x="910140" y="1605846"/>
                  </a:lnTo>
                  <a:lnTo>
                    <a:pt x="910140" y="1610610"/>
                  </a:lnTo>
                  <a:lnTo>
                    <a:pt x="910140" y="1620142"/>
                  </a:lnTo>
                  <a:lnTo>
                    <a:pt x="905376" y="1629670"/>
                  </a:lnTo>
                  <a:lnTo>
                    <a:pt x="891080" y="1634438"/>
                  </a:lnTo>
                  <a:lnTo>
                    <a:pt x="867256" y="1653498"/>
                  </a:lnTo>
                  <a:lnTo>
                    <a:pt x="819604" y="1663026"/>
                  </a:lnTo>
                  <a:lnTo>
                    <a:pt x="805308" y="1672558"/>
                  </a:lnTo>
                  <a:lnTo>
                    <a:pt x="795776" y="1682086"/>
                  </a:lnTo>
                  <a:lnTo>
                    <a:pt x="786248" y="1691618"/>
                  </a:lnTo>
                  <a:lnTo>
                    <a:pt x="781484" y="1691618"/>
                  </a:lnTo>
                  <a:lnTo>
                    <a:pt x="776716" y="1686854"/>
                  </a:lnTo>
                  <a:lnTo>
                    <a:pt x="776716" y="1682086"/>
                  </a:lnTo>
                  <a:lnTo>
                    <a:pt x="781484" y="1658262"/>
                  </a:lnTo>
                  <a:lnTo>
                    <a:pt x="781484" y="1653498"/>
                  </a:lnTo>
                  <a:lnTo>
                    <a:pt x="776716" y="1643966"/>
                  </a:lnTo>
                  <a:lnTo>
                    <a:pt x="781484" y="1624906"/>
                  </a:lnTo>
                  <a:lnTo>
                    <a:pt x="791012" y="1605846"/>
                  </a:lnTo>
                  <a:lnTo>
                    <a:pt x="795776" y="1586786"/>
                  </a:lnTo>
                  <a:lnTo>
                    <a:pt x="795776" y="1553430"/>
                  </a:lnTo>
                  <a:lnTo>
                    <a:pt x="800544" y="1501014"/>
                  </a:lnTo>
                  <a:lnTo>
                    <a:pt x="800544" y="1496246"/>
                  </a:lnTo>
                  <a:lnTo>
                    <a:pt x="795776" y="1486718"/>
                  </a:lnTo>
                  <a:lnTo>
                    <a:pt x="776716" y="1481954"/>
                  </a:lnTo>
                  <a:lnTo>
                    <a:pt x="767188" y="1477186"/>
                  </a:lnTo>
                  <a:lnTo>
                    <a:pt x="771952" y="1467658"/>
                  </a:lnTo>
                  <a:close/>
                  <a:moveTo>
                    <a:pt x="452688" y="1448598"/>
                  </a:moveTo>
                  <a:lnTo>
                    <a:pt x="462220" y="1448598"/>
                  </a:lnTo>
                  <a:lnTo>
                    <a:pt x="466984" y="1448598"/>
                  </a:lnTo>
                  <a:lnTo>
                    <a:pt x="471748" y="1453362"/>
                  </a:lnTo>
                  <a:lnTo>
                    <a:pt x="481280" y="1458126"/>
                  </a:lnTo>
                  <a:lnTo>
                    <a:pt x="486044" y="1467658"/>
                  </a:lnTo>
                  <a:lnTo>
                    <a:pt x="481280" y="1472422"/>
                  </a:lnTo>
                  <a:lnTo>
                    <a:pt x="486044" y="1477186"/>
                  </a:lnTo>
                  <a:lnTo>
                    <a:pt x="481280" y="1491482"/>
                  </a:lnTo>
                  <a:lnTo>
                    <a:pt x="466984" y="1496250"/>
                  </a:lnTo>
                  <a:lnTo>
                    <a:pt x="466984" y="1491482"/>
                  </a:lnTo>
                  <a:lnTo>
                    <a:pt x="462220" y="1486718"/>
                  </a:lnTo>
                  <a:lnTo>
                    <a:pt x="462220" y="1481954"/>
                  </a:lnTo>
                  <a:close/>
                  <a:moveTo>
                    <a:pt x="462220" y="1391418"/>
                  </a:moveTo>
                  <a:lnTo>
                    <a:pt x="466984" y="1400946"/>
                  </a:lnTo>
                  <a:lnTo>
                    <a:pt x="486044" y="1410478"/>
                  </a:lnTo>
                  <a:lnTo>
                    <a:pt x="490808" y="1415242"/>
                  </a:lnTo>
                  <a:lnTo>
                    <a:pt x="495576" y="1420006"/>
                  </a:lnTo>
                  <a:lnTo>
                    <a:pt x="505104" y="1415242"/>
                  </a:lnTo>
                  <a:lnTo>
                    <a:pt x="509872" y="1410478"/>
                  </a:lnTo>
                  <a:lnTo>
                    <a:pt x="514636" y="1420006"/>
                  </a:lnTo>
                  <a:lnTo>
                    <a:pt x="528932" y="1429538"/>
                  </a:lnTo>
                  <a:lnTo>
                    <a:pt x="524164" y="1443834"/>
                  </a:lnTo>
                  <a:lnTo>
                    <a:pt x="509872" y="1443834"/>
                  </a:lnTo>
                  <a:lnTo>
                    <a:pt x="500340" y="1439066"/>
                  </a:lnTo>
                  <a:lnTo>
                    <a:pt x="490808" y="1443834"/>
                  </a:lnTo>
                  <a:lnTo>
                    <a:pt x="476516" y="1443834"/>
                  </a:lnTo>
                  <a:lnTo>
                    <a:pt x="466984" y="1434302"/>
                  </a:lnTo>
                  <a:lnTo>
                    <a:pt x="457456" y="1415242"/>
                  </a:lnTo>
                  <a:lnTo>
                    <a:pt x="452688" y="1410478"/>
                  </a:lnTo>
                  <a:lnTo>
                    <a:pt x="452688" y="1405710"/>
                  </a:lnTo>
                  <a:lnTo>
                    <a:pt x="457456" y="1400946"/>
                  </a:lnTo>
                  <a:lnTo>
                    <a:pt x="457456" y="1396182"/>
                  </a:lnTo>
                  <a:close/>
                  <a:moveTo>
                    <a:pt x="862492" y="1362826"/>
                  </a:moveTo>
                  <a:lnTo>
                    <a:pt x="881552" y="1367590"/>
                  </a:lnTo>
                  <a:lnTo>
                    <a:pt x="891080" y="1377122"/>
                  </a:lnTo>
                  <a:lnTo>
                    <a:pt x="891080" y="1381886"/>
                  </a:lnTo>
                  <a:lnTo>
                    <a:pt x="886316" y="1396182"/>
                  </a:lnTo>
                  <a:lnTo>
                    <a:pt x="881552" y="1396182"/>
                  </a:lnTo>
                  <a:lnTo>
                    <a:pt x="862492" y="1381886"/>
                  </a:lnTo>
                  <a:lnTo>
                    <a:pt x="852960" y="1377122"/>
                  </a:lnTo>
                  <a:lnTo>
                    <a:pt x="852960" y="1372354"/>
                  </a:lnTo>
                  <a:close/>
                  <a:moveTo>
                    <a:pt x="1143632" y="1353294"/>
                  </a:moveTo>
                  <a:lnTo>
                    <a:pt x="1186520" y="1358062"/>
                  </a:lnTo>
                  <a:lnTo>
                    <a:pt x="1229404" y="1358062"/>
                  </a:lnTo>
                  <a:lnTo>
                    <a:pt x="1277056" y="1353294"/>
                  </a:lnTo>
                  <a:lnTo>
                    <a:pt x="1291352" y="1358062"/>
                  </a:lnTo>
                  <a:lnTo>
                    <a:pt x="1305648" y="1372354"/>
                  </a:lnTo>
                  <a:lnTo>
                    <a:pt x="1305648" y="1381886"/>
                  </a:lnTo>
                  <a:lnTo>
                    <a:pt x="1305648" y="1391414"/>
                  </a:lnTo>
                  <a:lnTo>
                    <a:pt x="1310412" y="1396182"/>
                  </a:lnTo>
                  <a:lnTo>
                    <a:pt x="1319940" y="1396182"/>
                  </a:lnTo>
                  <a:lnTo>
                    <a:pt x="1329472" y="1405710"/>
                  </a:lnTo>
                  <a:lnTo>
                    <a:pt x="1339004" y="1415242"/>
                  </a:lnTo>
                  <a:lnTo>
                    <a:pt x="1334236" y="1420006"/>
                  </a:lnTo>
                  <a:lnTo>
                    <a:pt x="1334236" y="1434302"/>
                  </a:lnTo>
                  <a:lnTo>
                    <a:pt x="1324708" y="1453362"/>
                  </a:lnTo>
                  <a:lnTo>
                    <a:pt x="1329472" y="1481954"/>
                  </a:lnTo>
                  <a:lnTo>
                    <a:pt x="1334236" y="1491482"/>
                  </a:lnTo>
                  <a:lnTo>
                    <a:pt x="1334236" y="1501014"/>
                  </a:lnTo>
                  <a:lnTo>
                    <a:pt x="1329472" y="1510542"/>
                  </a:lnTo>
                  <a:lnTo>
                    <a:pt x="1334236" y="1515310"/>
                  </a:lnTo>
                  <a:lnTo>
                    <a:pt x="1348532" y="1543898"/>
                  </a:lnTo>
                  <a:lnTo>
                    <a:pt x="1348532" y="1553430"/>
                  </a:lnTo>
                  <a:lnTo>
                    <a:pt x="1348532" y="1558194"/>
                  </a:lnTo>
                  <a:lnTo>
                    <a:pt x="1343768" y="1562962"/>
                  </a:lnTo>
                  <a:lnTo>
                    <a:pt x="1353296" y="1567726"/>
                  </a:lnTo>
                  <a:lnTo>
                    <a:pt x="1362828" y="1577254"/>
                  </a:lnTo>
                  <a:lnTo>
                    <a:pt x="1372360" y="1591550"/>
                  </a:lnTo>
                  <a:lnTo>
                    <a:pt x="1367592" y="1596318"/>
                  </a:lnTo>
                  <a:lnTo>
                    <a:pt x="1358064" y="1582022"/>
                  </a:lnTo>
                  <a:lnTo>
                    <a:pt x="1353296" y="1582022"/>
                  </a:lnTo>
                  <a:lnTo>
                    <a:pt x="1319940" y="1586786"/>
                  </a:lnTo>
                  <a:lnTo>
                    <a:pt x="1305648" y="1582022"/>
                  </a:lnTo>
                  <a:lnTo>
                    <a:pt x="1291352" y="1582022"/>
                  </a:lnTo>
                  <a:lnTo>
                    <a:pt x="1277056" y="1562962"/>
                  </a:lnTo>
                  <a:lnTo>
                    <a:pt x="1267524" y="1558194"/>
                  </a:lnTo>
                  <a:lnTo>
                    <a:pt x="1257996" y="1548666"/>
                  </a:lnTo>
                  <a:lnTo>
                    <a:pt x="1248464" y="1524838"/>
                  </a:lnTo>
                  <a:lnTo>
                    <a:pt x="1243700" y="1515310"/>
                  </a:lnTo>
                  <a:lnTo>
                    <a:pt x="1253228" y="1501014"/>
                  </a:lnTo>
                  <a:lnTo>
                    <a:pt x="1253228" y="1491482"/>
                  </a:lnTo>
                  <a:lnTo>
                    <a:pt x="1253228" y="1481954"/>
                  </a:lnTo>
                  <a:lnTo>
                    <a:pt x="1243700" y="1481954"/>
                  </a:lnTo>
                  <a:lnTo>
                    <a:pt x="1238936" y="1481954"/>
                  </a:lnTo>
                  <a:lnTo>
                    <a:pt x="1229404" y="1467658"/>
                  </a:lnTo>
                  <a:lnTo>
                    <a:pt x="1224640" y="1458126"/>
                  </a:lnTo>
                  <a:lnTo>
                    <a:pt x="1215108" y="1453362"/>
                  </a:lnTo>
                  <a:lnTo>
                    <a:pt x="1205580" y="1439066"/>
                  </a:lnTo>
                  <a:lnTo>
                    <a:pt x="1186520" y="1434302"/>
                  </a:lnTo>
                  <a:lnTo>
                    <a:pt x="1181752" y="1429538"/>
                  </a:lnTo>
                  <a:lnTo>
                    <a:pt x="1167456" y="1420006"/>
                  </a:lnTo>
                  <a:lnTo>
                    <a:pt x="1157928" y="1405710"/>
                  </a:lnTo>
                  <a:lnTo>
                    <a:pt x="1148396" y="1377122"/>
                  </a:lnTo>
                  <a:close/>
                  <a:moveTo>
                    <a:pt x="981620" y="1348530"/>
                  </a:moveTo>
                  <a:lnTo>
                    <a:pt x="995912" y="1358058"/>
                  </a:lnTo>
                  <a:lnTo>
                    <a:pt x="1014976" y="1362826"/>
                  </a:lnTo>
                  <a:lnTo>
                    <a:pt x="1029268" y="1372354"/>
                  </a:lnTo>
                  <a:lnTo>
                    <a:pt x="1034036" y="1377118"/>
                  </a:lnTo>
                  <a:lnTo>
                    <a:pt x="1053096" y="1396182"/>
                  </a:lnTo>
                  <a:lnTo>
                    <a:pt x="1086452" y="1415242"/>
                  </a:lnTo>
                  <a:lnTo>
                    <a:pt x="1105512" y="1448598"/>
                  </a:lnTo>
                  <a:lnTo>
                    <a:pt x="1105512" y="1472422"/>
                  </a:lnTo>
                  <a:lnTo>
                    <a:pt x="1105512" y="1481954"/>
                  </a:lnTo>
                  <a:lnTo>
                    <a:pt x="1095980" y="1472422"/>
                  </a:lnTo>
                  <a:lnTo>
                    <a:pt x="1076920" y="1458126"/>
                  </a:lnTo>
                  <a:lnTo>
                    <a:pt x="1062624" y="1453362"/>
                  </a:lnTo>
                  <a:lnTo>
                    <a:pt x="1057860" y="1453362"/>
                  </a:lnTo>
                  <a:lnTo>
                    <a:pt x="1057860" y="1443830"/>
                  </a:lnTo>
                  <a:lnTo>
                    <a:pt x="1048332" y="1434302"/>
                  </a:lnTo>
                  <a:lnTo>
                    <a:pt x="1038800" y="1429538"/>
                  </a:lnTo>
                  <a:lnTo>
                    <a:pt x="1024504" y="1410474"/>
                  </a:lnTo>
                  <a:lnTo>
                    <a:pt x="1014976" y="1410474"/>
                  </a:lnTo>
                  <a:lnTo>
                    <a:pt x="1005444" y="1410474"/>
                  </a:lnTo>
                  <a:lnTo>
                    <a:pt x="986384" y="1439066"/>
                  </a:lnTo>
                  <a:lnTo>
                    <a:pt x="967324" y="1458126"/>
                  </a:lnTo>
                  <a:lnTo>
                    <a:pt x="967324" y="1448598"/>
                  </a:lnTo>
                  <a:lnTo>
                    <a:pt x="976852" y="1424770"/>
                  </a:lnTo>
                  <a:lnTo>
                    <a:pt x="981620" y="1391414"/>
                  </a:lnTo>
                  <a:lnTo>
                    <a:pt x="986384" y="1381886"/>
                  </a:lnTo>
                  <a:lnTo>
                    <a:pt x="981620" y="1362826"/>
                  </a:lnTo>
                  <a:close/>
                  <a:moveTo>
                    <a:pt x="829136" y="1348530"/>
                  </a:moveTo>
                  <a:lnTo>
                    <a:pt x="833900" y="1358058"/>
                  </a:lnTo>
                  <a:lnTo>
                    <a:pt x="829136" y="1362826"/>
                  </a:lnTo>
                  <a:lnTo>
                    <a:pt x="824368" y="1353294"/>
                  </a:lnTo>
                  <a:close/>
                  <a:moveTo>
                    <a:pt x="800544" y="1338998"/>
                  </a:moveTo>
                  <a:lnTo>
                    <a:pt x="810072" y="1338998"/>
                  </a:lnTo>
                  <a:lnTo>
                    <a:pt x="805308" y="1343766"/>
                  </a:lnTo>
                  <a:lnTo>
                    <a:pt x="805308" y="1358058"/>
                  </a:lnTo>
                  <a:lnTo>
                    <a:pt x="800544" y="1386650"/>
                  </a:lnTo>
                  <a:lnTo>
                    <a:pt x="786248" y="1424770"/>
                  </a:lnTo>
                  <a:lnTo>
                    <a:pt x="781484" y="1415242"/>
                  </a:lnTo>
                  <a:lnTo>
                    <a:pt x="781484" y="1405710"/>
                  </a:lnTo>
                  <a:lnTo>
                    <a:pt x="776716" y="1396182"/>
                  </a:lnTo>
                  <a:lnTo>
                    <a:pt x="771952" y="1391414"/>
                  </a:lnTo>
                  <a:lnTo>
                    <a:pt x="776716" y="1381886"/>
                  </a:lnTo>
                  <a:lnTo>
                    <a:pt x="786248" y="1372354"/>
                  </a:lnTo>
                  <a:lnTo>
                    <a:pt x="786248" y="1348530"/>
                  </a:lnTo>
                  <a:close/>
                  <a:moveTo>
                    <a:pt x="1038800" y="1334234"/>
                  </a:moveTo>
                  <a:lnTo>
                    <a:pt x="1053096" y="1348530"/>
                  </a:lnTo>
                  <a:lnTo>
                    <a:pt x="1062624" y="1372354"/>
                  </a:lnTo>
                  <a:lnTo>
                    <a:pt x="1062624" y="1386650"/>
                  </a:lnTo>
                  <a:lnTo>
                    <a:pt x="1057860" y="1381886"/>
                  </a:lnTo>
                  <a:lnTo>
                    <a:pt x="1038800" y="1353294"/>
                  </a:lnTo>
                  <a:lnTo>
                    <a:pt x="1034032" y="1343766"/>
                  </a:lnTo>
                  <a:close/>
                  <a:moveTo>
                    <a:pt x="933968" y="1267522"/>
                  </a:moveTo>
                  <a:lnTo>
                    <a:pt x="943496" y="1267522"/>
                  </a:lnTo>
                  <a:lnTo>
                    <a:pt x="948264" y="1267522"/>
                  </a:lnTo>
                  <a:lnTo>
                    <a:pt x="976852" y="1300878"/>
                  </a:lnTo>
                  <a:lnTo>
                    <a:pt x="986384" y="1305642"/>
                  </a:lnTo>
                  <a:lnTo>
                    <a:pt x="1000680" y="1329470"/>
                  </a:lnTo>
                  <a:lnTo>
                    <a:pt x="986384" y="1315174"/>
                  </a:lnTo>
                  <a:lnTo>
                    <a:pt x="967324" y="1305642"/>
                  </a:lnTo>
                  <a:lnTo>
                    <a:pt x="953028" y="1286582"/>
                  </a:lnTo>
                  <a:lnTo>
                    <a:pt x="938732" y="1277054"/>
                  </a:lnTo>
                  <a:lnTo>
                    <a:pt x="933968" y="1277054"/>
                  </a:lnTo>
                  <a:close/>
                  <a:moveTo>
                    <a:pt x="538460" y="1200810"/>
                  </a:moveTo>
                  <a:lnTo>
                    <a:pt x="547992" y="1200810"/>
                  </a:lnTo>
                  <a:lnTo>
                    <a:pt x="576584" y="1205578"/>
                  </a:lnTo>
                  <a:lnTo>
                    <a:pt x="586112" y="1205578"/>
                  </a:lnTo>
                  <a:lnTo>
                    <a:pt x="590876" y="1210342"/>
                  </a:lnTo>
                  <a:lnTo>
                    <a:pt x="614704" y="1205578"/>
                  </a:lnTo>
                  <a:lnTo>
                    <a:pt x="629000" y="1205578"/>
                  </a:lnTo>
                  <a:lnTo>
                    <a:pt x="633764" y="1215106"/>
                  </a:lnTo>
                  <a:lnTo>
                    <a:pt x="643296" y="1219870"/>
                  </a:lnTo>
                  <a:lnTo>
                    <a:pt x="648060" y="1224638"/>
                  </a:lnTo>
                  <a:lnTo>
                    <a:pt x="662356" y="1215106"/>
                  </a:lnTo>
                  <a:lnTo>
                    <a:pt x="676648" y="1224638"/>
                  </a:lnTo>
                  <a:lnTo>
                    <a:pt x="686180" y="1243698"/>
                  </a:lnTo>
                  <a:lnTo>
                    <a:pt x="700476" y="1253226"/>
                  </a:lnTo>
                  <a:lnTo>
                    <a:pt x="710004" y="1262758"/>
                  </a:lnTo>
                  <a:lnTo>
                    <a:pt x="714772" y="1267522"/>
                  </a:lnTo>
                  <a:lnTo>
                    <a:pt x="705240" y="1281818"/>
                  </a:lnTo>
                  <a:lnTo>
                    <a:pt x="705240" y="1296114"/>
                  </a:lnTo>
                  <a:lnTo>
                    <a:pt x="705240" y="1310410"/>
                  </a:lnTo>
                  <a:lnTo>
                    <a:pt x="714772" y="1343766"/>
                  </a:lnTo>
                  <a:lnTo>
                    <a:pt x="710004" y="1348530"/>
                  </a:lnTo>
                  <a:lnTo>
                    <a:pt x="700476" y="1362826"/>
                  </a:lnTo>
                  <a:lnTo>
                    <a:pt x="695712" y="1377122"/>
                  </a:lnTo>
                  <a:lnTo>
                    <a:pt x="695712" y="1381886"/>
                  </a:lnTo>
                  <a:lnTo>
                    <a:pt x="690944" y="1386650"/>
                  </a:lnTo>
                  <a:lnTo>
                    <a:pt x="690944" y="1396182"/>
                  </a:lnTo>
                  <a:lnTo>
                    <a:pt x="686180" y="1396182"/>
                  </a:lnTo>
                  <a:lnTo>
                    <a:pt x="681416" y="1396182"/>
                  </a:lnTo>
                  <a:lnTo>
                    <a:pt x="676648" y="1400946"/>
                  </a:lnTo>
                  <a:lnTo>
                    <a:pt x="667120" y="1410478"/>
                  </a:lnTo>
                  <a:lnTo>
                    <a:pt x="652824" y="1405710"/>
                  </a:lnTo>
                  <a:lnTo>
                    <a:pt x="648060" y="1405710"/>
                  </a:lnTo>
                  <a:lnTo>
                    <a:pt x="648060" y="1396182"/>
                  </a:lnTo>
                  <a:lnTo>
                    <a:pt x="643296" y="1391418"/>
                  </a:lnTo>
                  <a:lnTo>
                    <a:pt x="638528" y="1386650"/>
                  </a:lnTo>
                  <a:lnTo>
                    <a:pt x="624232" y="1372354"/>
                  </a:lnTo>
                  <a:lnTo>
                    <a:pt x="619468" y="1362826"/>
                  </a:lnTo>
                  <a:lnTo>
                    <a:pt x="619468" y="1348530"/>
                  </a:lnTo>
                  <a:lnTo>
                    <a:pt x="614704" y="1338998"/>
                  </a:lnTo>
                  <a:lnTo>
                    <a:pt x="609940" y="1329470"/>
                  </a:lnTo>
                  <a:lnTo>
                    <a:pt x="600408" y="1324706"/>
                  </a:lnTo>
                  <a:lnTo>
                    <a:pt x="595644" y="1319938"/>
                  </a:lnTo>
                  <a:lnTo>
                    <a:pt x="595644" y="1310410"/>
                  </a:lnTo>
                  <a:lnTo>
                    <a:pt x="590876" y="1286582"/>
                  </a:lnTo>
                  <a:lnTo>
                    <a:pt x="581348" y="1262758"/>
                  </a:lnTo>
                  <a:lnTo>
                    <a:pt x="576584" y="1257994"/>
                  </a:lnTo>
                  <a:lnTo>
                    <a:pt x="562288" y="1248462"/>
                  </a:lnTo>
                  <a:lnTo>
                    <a:pt x="552756" y="1243698"/>
                  </a:lnTo>
                  <a:lnTo>
                    <a:pt x="547992" y="1234166"/>
                  </a:lnTo>
                  <a:lnTo>
                    <a:pt x="543228" y="1219870"/>
                  </a:lnTo>
                  <a:lnTo>
                    <a:pt x="533696" y="1219870"/>
                  </a:lnTo>
                  <a:lnTo>
                    <a:pt x="528932" y="1215106"/>
                  </a:lnTo>
                  <a:lnTo>
                    <a:pt x="528932" y="1210342"/>
                  </a:lnTo>
                  <a:close/>
                  <a:moveTo>
                    <a:pt x="767188" y="1191282"/>
                  </a:moveTo>
                  <a:lnTo>
                    <a:pt x="771952" y="1196046"/>
                  </a:lnTo>
                  <a:lnTo>
                    <a:pt x="781484" y="1196046"/>
                  </a:lnTo>
                  <a:lnTo>
                    <a:pt x="786248" y="1196046"/>
                  </a:lnTo>
                  <a:lnTo>
                    <a:pt x="805308" y="1210342"/>
                  </a:lnTo>
                  <a:lnTo>
                    <a:pt x="805308" y="1215106"/>
                  </a:lnTo>
                  <a:lnTo>
                    <a:pt x="805308" y="1224638"/>
                  </a:lnTo>
                  <a:lnTo>
                    <a:pt x="795776" y="1238930"/>
                  </a:lnTo>
                  <a:lnTo>
                    <a:pt x="791012" y="1243698"/>
                  </a:lnTo>
                  <a:lnTo>
                    <a:pt x="786248" y="1253226"/>
                  </a:lnTo>
                  <a:lnTo>
                    <a:pt x="767188" y="1238930"/>
                  </a:lnTo>
                  <a:lnTo>
                    <a:pt x="757656" y="1229402"/>
                  </a:lnTo>
                  <a:lnTo>
                    <a:pt x="757656" y="1215106"/>
                  </a:lnTo>
                  <a:close/>
                  <a:moveTo>
                    <a:pt x="490808" y="1148394"/>
                  </a:moveTo>
                  <a:lnTo>
                    <a:pt x="505104" y="1153158"/>
                  </a:lnTo>
                  <a:lnTo>
                    <a:pt x="514636" y="1162690"/>
                  </a:lnTo>
                  <a:lnTo>
                    <a:pt x="514636" y="1172222"/>
                  </a:lnTo>
                  <a:lnTo>
                    <a:pt x="490808" y="1157926"/>
                  </a:lnTo>
                  <a:lnTo>
                    <a:pt x="490808" y="1153158"/>
                  </a:lnTo>
                  <a:close/>
                  <a:moveTo>
                    <a:pt x="1134104" y="1110274"/>
                  </a:moveTo>
                  <a:lnTo>
                    <a:pt x="1148396" y="1129334"/>
                  </a:lnTo>
                  <a:lnTo>
                    <a:pt x="1153164" y="1134098"/>
                  </a:lnTo>
                  <a:lnTo>
                    <a:pt x="1162692" y="1143630"/>
                  </a:lnTo>
                  <a:lnTo>
                    <a:pt x="1162692" y="1162690"/>
                  </a:lnTo>
                  <a:lnTo>
                    <a:pt x="1162692" y="1172218"/>
                  </a:lnTo>
                  <a:lnTo>
                    <a:pt x="1153164" y="1181750"/>
                  </a:lnTo>
                  <a:lnTo>
                    <a:pt x="1148396" y="1191278"/>
                  </a:lnTo>
                  <a:lnTo>
                    <a:pt x="1143632" y="1191278"/>
                  </a:lnTo>
                  <a:lnTo>
                    <a:pt x="1138868" y="1191278"/>
                  </a:lnTo>
                  <a:lnTo>
                    <a:pt x="1124572" y="1200810"/>
                  </a:lnTo>
                  <a:lnTo>
                    <a:pt x="1110276" y="1186514"/>
                  </a:lnTo>
                  <a:lnTo>
                    <a:pt x="1105512" y="1176986"/>
                  </a:lnTo>
                  <a:lnTo>
                    <a:pt x="1119808" y="1157926"/>
                  </a:lnTo>
                  <a:lnTo>
                    <a:pt x="1119808" y="1124570"/>
                  </a:lnTo>
                  <a:lnTo>
                    <a:pt x="1124572" y="1119802"/>
                  </a:lnTo>
                  <a:lnTo>
                    <a:pt x="1129336" y="1115038"/>
                  </a:lnTo>
                  <a:close/>
                  <a:moveTo>
                    <a:pt x="781484" y="1086450"/>
                  </a:moveTo>
                  <a:lnTo>
                    <a:pt x="814840" y="1115038"/>
                  </a:lnTo>
                  <a:lnTo>
                    <a:pt x="814840" y="1124570"/>
                  </a:lnTo>
                  <a:lnTo>
                    <a:pt x="781484" y="1095978"/>
                  </a:lnTo>
                  <a:lnTo>
                    <a:pt x="776720" y="1095978"/>
                  </a:lnTo>
                  <a:lnTo>
                    <a:pt x="776720" y="1091214"/>
                  </a:lnTo>
                  <a:close/>
                  <a:moveTo>
                    <a:pt x="781484" y="953026"/>
                  </a:moveTo>
                  <a:lnTo>
                    <a:pt x="791012" y="962554"/>
                  </a:lnTo>
                  <a:lnTo>
                    <a:pt x="795776" y="967318"/>
                  </a:lnTo>
                  <a:lnTo>
                    <a:pt x="791012" y="967318"/>
                  </a:lnTo>
                  <a:lnTo>
                    <a:pt x="781484" y="976850"/>
                  </a:lnTo>
                  <a:lnTo>
                    <a:pt x="791012" y="1000674"/>
                  </a:lnTo>
                  <a:lnTo>
                    <a:pt x="786248" y="1014970"/>
                  </a:lnTo>
                  <a:lnTo>
                    <a:pt x="776716" y="1014970"/>
                  </a:lnTo>
                  <a:lnTo>
                    <a:pt x="771952" y="1014970"/>
                  </a:lnTo>
                  <a:lnTo>
                    <a:pt x="771952" y="1010206"/>
                  </a:lnTo>
                  <a:lnTo>
                    <a:pt x="776716" y="1005442"/>
                  </a:lnTo>
                  <a:lnTo>
                    <a:pt x="771952" y="995910"/>
                  </a:lnTo>
                  <a:lnTo>
                    <a:pt x="767188" y="986382"/>
                  </a:lnTo>
                  <a:lnTo>
                    <a:pt x="767188" y="976850"/>
                  </a:lnTo>
                  <a:lnTo>
                    <a:pt x="757656" y="967318"/>
                  </a:lnTo>
                  <a:lnTo>
                    <a:pt x="762424" y="957790"/>
                  </a:lnTo>
                  <a:close/>
                  <a:moveTo>
                    <a:pt x="600408" y="371678"/>
                  </a:moveTo>
                  <a:lnTo>
                    <a:pt x="609936" y="376442"/>
                  </a:lnTo>
                  <a:lnTo>
                    <a:pt x="619468" y="376442"/>
                  </a:lnTo>
                  <a:lnTo>
                    <a:pt x="638528" y="371678"/>
                  </a:lnTo>
                  <a:lnTo>
                    <a:pt x="648060" y="371678"/>
                  </a:lnTo>
                  <a:lnTo>
                    <a:pt x="671884" y="381210"/>
                  </a:lnTo>
                  <a:lnTo>
                    <a:pt x="724300" y="409798"/>
                  </a:lnTo>
                  <a:lnTo>
                    <a:pt x="743360" y="419330"/>
                  </a:lnTo>
                  <a:lnTo>
                    <a:pt x="762420" y="424094"/>
                  </a:lnTo>
                  <a:lnTo>
                    <a:pt x="776716" y="424094"/>
                  </a:lnTo>
                  <a:lnTo>
                    <a:pt x="791012" y="419330"/>
                  </a:lnTo>
                  <a:lnTo>
                    <a:pt x="800544" y="409798"/>
                  </a:lnTo>
                  <a:lnTo>
                    <a:pt x="810072" y="390738"/>
                  </a:lnTo>
                  <a:lnTo>
                    <a:pt x="819604" y="390738"/>
                  </a:lnTo>
                  <a:lnTo>
                    <a:pt x="829132" y="400270"/>
                  </a:lnTo>
                  <a:lnTo>
                    <a:pt x="833900" y="405034"/>
                  </a:lnTo>
                  <a:lnTo>
                    <a:pt x="833900" y="419330"/>
                  </a:lnTo>
                  <a:lnTo>
                    <a:pt x="833900" y="433626"/>
                  </a:lnTo>
                  <a:lnTo>
                    <a:pt x="819604" y="447922"/>
                  </a:lnTo>
                  <a:lnTo>
                    <a:pt x="814836" y="462214"/>
                  </a:lnTo>
                  <a:lnTo>
                    <a:pt x="810072" y="514630"/>
                  </a:lnTo>
                  <a:lnTo>
                    <a:pt x="810072" y="528926"/>
                  </a:lnTo>
                  <a:lnTo>
                    <a:pt x="814836" y="543222"/>
                  </a:lnTo>
                  <a:lnTo>
                    <a:pt x="824368" y="567050"/>
                  </a:lnTo>
                  <a:lnTo>
                    <a:pt x="829132" y="571814"/>
                  </a:lnTo>
                  <a:lnTo>
                    <a:pt x="843428" y="581342"/>
                  </a:lnTo>
                  <a:lnTo>
                    <a:pt x="848192" y="586110"/>
                  </a:lnTo>
                  <a:lnTo>
                    <a:pt x="848192" y="600406"/>
                  </a:lnTo>
                  <a:lnTo>
                    <a:pt x="848192" y="609934"/>
                  </a:lnTo>
                  <a:lnTo>
                    <a:pt x="857724" y="609934"/>
                  </a:lnTo>
                  <a:lnTo>
                    <a:pt x="867256" y="614698"/>
                  </a:lnTo>
                  <a:lnTo>
                    <a:pt x="862488" y="628994"/>
                  </a:lnTo>
                  <a:lnTo>
                    <a:pt x="857724" y="638526"/>
                  </a:lnTo>
                  <a:lnTo>
                    <a:pt x="852960" y="667114"/>
                  </a:lnTo>
                  <a:lnTo>
                    <a:pt x="819604" y="729062"/>
                  </a:lnTo>
                  <a:lnTo>
                    <a:pt x="819604" y="743358"/>
                  </a:lnTo>
                  <a:lnTo>
                    <a:pt x="805308" y="771950"/>
                  </a:lnTo>
                  <a:lnTo>
                    <a:pt x="781484" y="771950"/>
                  </a:lnTo>
                  <a:lnTo>
                    <a:pt x="752892" y="786242"/>
                  </a:lnTo>
                  <a:lnTo>
                    <a:pt x="738596" y="795774"/>
                  </a:lnTo>
                  <a:lnTo>
                    <a:pt x="724300" y="810070"/>
                  </a:lnTo>
                  <a:lnTo>
                    <a:pt x="719536" y="829130"/>
                  </a:lnTo>
                  <a:lnTo>
                    <a:pt x="724300" y="833894"/>
                  </a:lnTo>
                  <a:lnTo>
                    <a:pt x="724300" y="843426"/>
                  </a:lnTo>
                  <a:lnTo>
                    <a:pt x="724300" y="852954"/>
                  </a:lnTo>
                  <a:lnTo>
                    <a:pt x="719536" y="862486"/>
                  </a:lnTo>
                  <a:lnTo>
                    <a:pt x="705240" y="881546"/>
                  </a:lnTo>
                  <a:lnTo>
                    <a:pt x="700476" y="895842"/>
                  </a:lnTo>
                  <a:lnTo>
                    <a:pt x="695708" y="900606"/>
                  </a:lnTo>
                  <a:lnTo>
                    <a:pt x="690944" y="910138"/>
                  </a:lnTo>
                  <a:lnTo>
                    <a:pt x="690944" y="919666"/>
                  </a:lnTo>
                  <a:lnTo>
                    <a:pt x="700476" y="929198"/>
                  </a:lnTo>
                  <a:lnTo>
                    <a:pt x="714772" y="962554"/>
                  </a:lnTo>
                  <a:lnTo>
                    <a:pt x="733832" y="995910"/>
                  </a:lnTo>
                  <a:lnTo>
                    <a:pt x="738596" y="1000674"/>
                  </a:lnTo>
                  <a:lnTo>
                    <a:pt x="738596" y="1005438"/>
                  </a:lnTo>
                  <a:lnTo>
                    <a:pt x="729064" y="1014970"/>
                  </a:lnTo>
                  <a:lnTo>
                    <a:pt x="729064" y="1029266"/>
                  </a:lnTo>
                  <a:lnTo>
                    <a:pt x="729064" y="1043562"/>
                  </a:lnTo>
                  <a:lnTo>
                    <a:pt x="748128" y="1086446"/>
                  </a:lnTo>
                  <a:lnTo>
                    <a:pt x="748128" y="1095978"/>
                  </a:lnTo>
                  <a:lnTo>
                    <a:pt x="752892" y="1105506"/>
                  </a:lnTo>
                  <a:lnTo>
                    <a:pt x="762420" y="1115038"/>
                  </a:lnTo>
                  <a:lnTo>
                    <a:pt x="771952" y="1119802"/>
                  </a:lnTo>
                  <a:lnTo>
                    <a:pt x="800544" y="1129334"/>
                  </a:lnTo>
                  <a:lnTo>
                    <a:pt x="810072" y="1134098"/>
                  </a:lnTo>
                  <a:lnTo>
                    <a:pt x="819604" y="1134098"/>
                  </a:lnTo>
                  <a:lnTo>
                    <a:pt x="824368" y="1124566"/>
                  </a:lnTo>
                  <a:lnTo>
                    <a:pt x="829132" y="1124566"/>
                  </a:lnTo>
                  <a:lnTo>
                    <a:pt x="829132" y="1115038"/>
                  </a:lnTo>
                  <a:lnTo>
                    <a:pt x="819604" y="1105506"/>
                  </a:lnTo>
                  <a:lnTo>
                    <a:pt x="819604" y="1100742"/>
                  </a:lnTo>
                  <a:lnTo>
                    <a:pt x="824368" y="1095978"/>
                  </a:lnTo>
                  <a:lnTo>
                    <a:pt x="829132" y="1091214"/>
                  </a:lnTo>
                  <a:lnTo>
                    <a:pt x="848192" y="1081682"/>
                  </a:lnTo>
                  <a:lnTo>
                    <a:pt x="862488" y="1072150"/>
                  </a:lnTo>
                  <a:lnTo>
                    <a:pt x="886316" y="1072150"/>
                  </a:lnTo>
                  <a:lnTo>
                    <a:pt x="905376" y="1076918"/>
                  </a:lnTo>
                  <a:lnTo>
                    <a:pt x="919672" y="1081682"/>
                  </a:lnTo>
                  <a:lnTo>
                    <a:pt x="933968" y="1091214"/>
                  </a:lnTo>
                  <a:lnTo>
                    <a:pt x="943496" y="1110274"/>
                  </a:lnTo>
                  <a:lnTo>
                    <a:pt x="953028" y="1129334"/>
                  </a:lnTo>
                  <a:lnTo>
                    <a:pt x="953028" y="1138862"/>
                  </a:lnTo>
                  <a:lnTo>
                    <a:pt x="953028" y="1148394"/>
                  </a:lnTo>
                  <a:lnTo>
                    <a:pt x="953028" y="1157922"/>
                  </a:lnTo>
                  <a:lnTo>
                    <a:pt x="957792" y="1162690"/>
                  </a:lnTo>
                  <a:lnTo>
                    <a:pt x="976852" y="1162690"/>
                  </a:lnTo>
                  <a:lnTo>
                    <a:pt x="986384" y="1148394"/>
                  </a:lnTo>
                  <a:lnTo>
                    <a:pt x="991148" y="1134098"/>
                  </a:lnTo>
                  <a:lnTo>
                    <a:pt x="981616" y="1129334"/>
                  </a:lnTo>
                  <a:lnTo>
                    <a:pt x="986384" y="1119802"/>
                  </a:lnTo>
                  <a:lnTo>
                    <a:pt x="991148" y="1115038"/>
                  </a:lnTo>
                  <a:lnTo>
                    <a:pt x="1000676" y="1119802"/>
                  </a:lnTo>
                  <a:lnTo>
                    <a:pt x="1010208" y="1129334"/>
                  </a:lnTo>
                  <a:lnTo>
                    <a:pt x="1043564" y="1138862"/>
                  </a:lnTo>
                  <a:lnTo>
                    <a:pt x="1048328" y="1138862"/>
                  </a:lnTo>
                  <a:lnTo>
                    <a:pt x="1057860" y="1143630"/>
                  </a:lnTo>
                  <a:lnTo>
                    <a:pt x="1072156" y="1148394"/>
                  </a:lnTo>
                  <a:lnTo>
                    <a:pt x="1076920" y="1153158"/>
                  </a:lnTo>
                  <a:lnTo>
                    <a:pt x="1067388" y="1167454"/>
                  </a:lnTo>
                  <a:lnTo>
                    <a:pt x="1038800" y="1172218"/>
                  </a:lnTo>
                  <a:lnTo>
                    <a:pt x="1029268" y="1181750"/>
                  </a:lnTo>
                  <a:lnTo>
                    <a:pt x="1038800" y="1200810"/>
                  </a:lnTo>
                  <a:lnTo>
                    <a:pt x="1053096" y="1215106"/>
                  </a:lnTo>
                  <a:lnTo>
                    <a:pt x="1062624" y="1229402"/>
                  </a:lnTo>
                  <a:lnTo>
                    <a:pt x="1072156" y="1238930"/>
                  </a:lnTo>
                  <a:lnTo>
                    <a:pt x="1072156" y="1253226"/>
                  </a:lnTo>
                  <a:lnTo>
                    <a:pt x="1067388" y="1267522"/>
                  </a:lnTo>
                  <a:lnTo>
                    <a:pt x="1076920" y="1267522"/>
                  </a:lnTo>
                  <a:lnTo>
                    <a:pt x="1091216" y="1267522"/>
                  </a:lnTo>
                  <a:lnTo>
                    <a:pt x="1110276" y="1277054"/>
                  </a:lnTo>
                  <a:lnTo>
                    <a:pt x="1115040" y="1281818"/>
                  </a:lnTo>
                  <a:lnTo>
                    <a:pt x="1119808" y="1277054"/>
                  </a:lnTo>
                  <a:lnTo>
                    <a:pt x="1119808" y="1319938"/>
                  </a:lnTo>
                  <a:lnTo>
                    <a:pt x="1110276" y="1353294"/>
                  </a:lnTo>
                  <a:lnTo>
                    <a:pt x="1091216" y="1348530"/>
                  </a:lnTo>
                  <a:lnTo>
                    <a:pt x="1081684" y="1334234"/>
                  </a:lnTo>
                  <a:lnTo>
                    <a:pt x="1081684" y="1315174"/>
                  </a:lnTo>
                  <a:lnTo>
                    <a:pt x="1091216" y="1296114"/>
                  </a:lnTo>
                  <a:lnTo>
                    <a:pt x="1086452" y="1291346"/>
                  </a:lnTo>
                  <a:lnTo>
                    <a:pt x="1076920" y="1296114"/>
                  </a:lnTo>
                  <a:lnTo>
                    <a:pt x="1067388" y="1300878"/>
                  </a:lnTo>
                  <a:lnTo>
                    <a:pt x="1057860" y="1300878"/>
                  </a:lnTo>
                  <a:lnTo>
                    <a:pt x="1038800" y="1296114"/>
                  </a:lnTo>
                  <a:lnTo>
                    <a:pt x="1005444" y="1277054"/>
                  </a:lnTo>
                  <a:lnTo>
                    <a:pt x="991148" y="1277054"/>
                  </a:lnTo>
                  <a:lnTo>
                    <a:pt x="986384" y="1267522"/>
                  </a:lnTo>
                  <a:lnTo>
                    <a:pt x="986384" y="1248462"/>
                  </a:lnTo>
                  <a:lnTo>
                    <a:pt x="976852" y="1229402"/>
                  </a:lnTo>
                  <a:lnTo>
                    <a:pt x="972088" y="1219870"/>
                  </a:lnTo>
                  <a:lnTo>
                    <a:pt x="967320" y="1215106"/>
                  </a:lnTo>
                  <a:lnTo>
                    <a:pt x="924436" y="1186514"/>
                  </a:lnTo>
                  <a:lnTo>
                    <a:pt x="919672" y="1186514"/>
                  </a:lnTo>
                  <a:lnTo>
                    <a:pt x="910140" y="1167454"/>
                  </a:lnTo>
                  <a:lnTo>
                    <a:pt x="881548" y="1138862"/>
                  </a:lnTo>
                  <a:lnTo>
                    <a:pt x="872020" y="1134098"/>
                  </a:lnTo>
                  <a:lnTo>
                    <a:pt x="862488" y="1134098"/>
                  </a:lnTo>
                  <a:lnTo>
                    <a:pt x="857724" y="1143630"/>
                  </a:lnTo>
                  <a:lnTo>
                    <a:pt x="862488" y="1153158"/>
                  </a:lnTo>
                  <a:lnTo>
                    <a:pt x="867256" y="1162690"/>
                  </a:lnTo>
                  <a:lnTo>
                    <a:pt x="862488" y="1172218"/>
                  </a:lnTo>
                  <a:lnTo>
                    <a:pt x="867256" y="1176986"/>
                  </a:lnTo>
                  <a:lnTo>
                    <a:pt x="881548" y="1191278"/>
                  </a:lnTo>
                  <a:lnTo>
                    <a:pt x="881548" y="1200810"/>
                  </a:lnTo>
                  <a:lnTo>
                    <a:pt x="891080" y="1219870"/>
                  </a:lnTo>
                  <a:lnTo>
                    <a:pt x="891080" y="1243698"/>
                  </a:lnTo>
                  <a:lnTo>
                    <a:pt x="881548" y="1253226"/>
                  </a:lnTo>
                  <a:lnTo>
                    <a:pt x="867256" y="1243698"/>
                  </a:lnTo>
                  <a:lnTo>
                    <a:pt x="867256" y="1234166"/>
                  </a:lnTo>
                  <a:lnTo>
                    <a:pt x="862488" y="1224634"/>
                  </a:lnTo>
                  <a:lnTo>
                    <a:pt x="848192" y="1205574"/>
                  </a:lnTo>
                  <a:lnTo>
                    <a:pt x="843428" y="1200810"/>
                  </a:lnTo>
                  <a:lnTo>
                    <a:pt x="819604" y="1181750"/>
                  </a:lnTo>
                  <a:lnTo>
                    <a:pt x="795776" y="1157922"/>
                  </a:lnTo>
                  <a:lnTo>
                    <a:pt x="752892" y="1134098"/>
                  </a:lnTo>
                  <a:lnTo>
                    <a:pt x="748128" y="1134098"/>
                  </a:lnTo>
                  <a:lnTo>
                    <a:pt x="738596" y="1134098"/>
                  </a:lnTo>
                  <a:lnTo>
                    <a:pt x="729064" y="1138862"/>
                  </a:lnTo>
                  <a:lnTo>
                    <a:pt x="710004" y="1148394"/>
                  </a:lnTo>
                  <a:lnTo>
                    <a:pt x="700476" y="1157922"/>
                  </a:lnTo>
                  <a:lnTo>
                    <a:pt x="700476" y="1167454"/>
                  </a:lnTo>
                  <a:lnTo>
                    <a:pt x="686180" y="1181750"/>
                  </a:lnTo>
                  <a:lnTo>
                    <a:pt x="662352" y="1181750"/>
                  </a:lnTo>
                  <a:lnTo>
                    <a:pt x="643292" y="1172218"/>
                  </a:lnTo>
                  <a:lnTo>
                    <a:pt x="629000" y="1162690"/>
                  </a:lnTo>
                  <a:lnTo>
                    <a:pt x="619468" y="1162690"/>
                  </a:lnTo>
                  <a:lnTo>
                    <a:pt x="605172" y="1143630"/>
                  </a:lnTo>
                  <a:lnTo>
                    <a:pt x="586112" y="1138862"/>
                  </a:lnTo>
                  <a:lnTo>
                    <a:pt x="571816" y="1153158"/>
                  </a:lnTo>
                  <a:lnTo>
                    <a:pt x="571816" y="1124566"/>
                  </a:lnTo>
                  <a:lnTo>
                    <a:pt x="571816" y="1091214"/>
                  </a:lnTo>
                  <a:lnTo>
                    <a:pt x="576580" y="1086446"/>
                  </a:lnTo>
                  <a:lnTo>
                    <a:pt x="581348" y="1076918"/>
                  </a:lnTo>
                  <a:lnTo>
                    <a:pt x="619468" y="1043562"/>
                  </a:lnTo>
                  <a:lnTo>
                    <a:pt x="624232" y="1034030"/>
                  </a:lnTo>
                  <a:lnTo>
                    <a:pt x="619468" y="1019734"/>
                  </a:lnTo>
                  <a:lnTo>
                    <a:pt x="614704" y="1010206"/>
                  </a:lnTo>
                  <a:lnTo>
                    <a:pt x="600408" y="1000674"/>
                  </a:lnTo>
                  <a:lnTo>
                    <a:pt x="586112" y="995910"/>
                  </a:lnTo>
                  <a:lnTo>
                    <a:pt x="571816" y="991146"/>
                  </a:lnTo>
                  <a:lnTo>
                    <a:pt x="567052" y="981614"/>
                  </a:lnTo>
                  <a:lnTo>
                    <a:pt x="557520" y="1000674"/>
                  </a:lnTo>
                  <a:lnTo>
                    <a:pt x="567052" y="1029266"/>
                  </a:lnTo>
                  <a:lnTo>
                    <a:pt x="567052" y="1043562"/>
                  </a:lnTo>
                  <a:lnTo>
                    <a:pt x="562288" y="1053090"/>
                  </a:lnTo>
                  <a:lnTo>
                    <a:pt x="552756" y="1053090"/>
                  </a:lnTo>
                  <a:lnTo>
                    <a:pt x="543224" y="1048326"/>
                  </a:lnTo>
                  <a:lnTo>
                    <a:pt x="533696" y="1043562"/>
                  </a:lnTo>
                  <a:lnTo>
                    <a:pt x="528932" y="1024502"/>
                  </a:lnTo>
                  <a:lnTo>
                    <a:pt x="519400" y="1014970"/>
                  </a:lnTo>
                  <a:lnTo>
                    <a:pt x="514636" y="995910"/>
                  </a:lnTo>
                  <a:lnTo>
                    <a:pt x="509868" y="991146"/>
                  </a:lnTo>
                  <a:lnTo>
                    <a:pt x="495576" y="995910"/>
                  </a:lnTo>
                  <a:lnTo>
                    <a:pt x="486044" y="986378"/>
                  </a:lnTo>
                  <a:lnTo>
                    <a:pt x="481280" y="967318"/>
                  </a:lnTo>
                  <a:lnTo>
                    <a:pt x="481280" y="943494"/>
                  </a:lnTo>
                  <a:lnTo>
                    <a:pt x="476516" y="924434"/>
                  </a:lnTo>
                  <a:lnTo>
                    <a:pt x="466984" y="905374"/>
                  </a:lnTo>
                  <a:lnTo>
                    <a:pt x="462220" y="891078"/>
                  </a:lnTo>
                  <a:lnTo>
                    <a:pt x="457452" y="824366"/>
                  </a:lnTo>
                  <a:lnTo>
                    <a:pt x="457452" y="819598"/>
                  </a:lnTo>
                  <a:lnTo>
                    <a:pt x="452688" y="814834"/>
                  </a:lnTo>
                  <a:lnTo>
                    <a:pt x="443160" y="810070"/>
                  </a:lnTo>
                  <a:lnTo>
                    <a:pt x="438392" y="800538"/>
                  </a:lnTo>
                  <a:lnTo>
                    <a:pt x="438392" y="791010"/>
                  </a:lnTo>
                  <a:lnTo>
                    <a:pt x="438392" y="757654"/>
                  </a:lnTo>
                  <a:lnTo>
                    <a:pt x="443160" y="752890"/>
                  </a:lnTo>
                  <a:lnTo>
                    <a:pt x="447924" y="748122"/>
                  </a:lnTo>
                  <a:lnTo>
                    <a:pt x="457452" y="752890"/>
                  </a:lnTo>
                  <a:lnTo>
                    <a:pt x="462220" y="762418"/>
                  </a:lnTo>
                  <a:lnTo>
                    <a:pt x="471748" y="762418"/>
                  </a:lnTo>
                  <a:lnTo>
                    <a:pt x="481280" y="771950"/>
                  </a:lnTo>
                  <a:lnTo>
                    <a:pt x="495576" y="791010"/>
                  </a:lnTo>
                  <a:lnTo>
                    <a:pt x="500340" y="791010"/>
                  </a:lnTo>
                  <a:lnTo>
                    <a:pt x="514636" y="791010"/>
                  </a:lnTo>
                  <a:lnTo>
                    <a:pt x="528932" y="791010"/>
                  </a:lnTo>
                  <a:lnTo>
                    <a:pt x="533696" y="781478"/>
                  </a:lnTo>
                  <a:lnTo>
                    <a:pt x="533696" y="771950"/>
                  </a:lnTo>
                  <a:lnTo>
                    <a:pt x="533696" y="762418"/>
                  </a:lnTo>
                  <a:lnTo>
                    <a:pt x="524164" y="733826"/>
                  </a:lnTo>
                  <a:lnTo>
                    <a:pt x="519400" y="714766"/>
                  </a:lnTo>
                  <a:lnTo>
                    <a:pt x="519400" y="695706"/>
                  </a:lnTo>
                  <a:lnTo>
                    <a:pt x="524164" y="676646"/>
                  </a:lnTo>
                  <a:lnTo>
                    <a:pt x="538460" y="643290"/>
                  </a:lnTo>
                  <a:lnTo>
                    <a:pt x="538460" y="624230"/>
                  </a:lnTo>
                  <a:lnTo>
                    <a:pt x="538460" y="590874"/>
                  </a:lnTo>
                  <a:lnTo>
                    <a:pt x="543224" y="576578"/>
                  </a:lnTo>
                  <a:lnTo>
                    <a:pt x="538460" y="567050"/>
                  </a:lnTo>
                  <a:lnTo>
                    <a:pt x="533696" y="547986"/>
                  </a:lnTo>
                  <a:lnTo>
                    <a:pt x="528932" y="533694"/>
                  </a:lnTo>
                  <a:lnTo>
                    <a:pt x="552756" y="447922"/>
                  </a:lnTo>
                  <a:lnTo>
                    <a:pt x="557520" y="428858"/>
                  </a:lnTo>
                  <a:lnTo>
                    <a:pt x="567052" y="414566"/>
                  </a:lnTo>
                  <a:lnTo>
                    <a:pt x="567052" y="390738"/>
                  </a:lnTo>
                  <a:lnTo>
                    <a:pt x="586112" y="381210"/>
                  </a:lnTo>
                  <a:close/>
                  <a:moveTo>
                    <a:pt x="776716" y="304966"/>
                  </a:moveTo>
                  <a:lnTo>
                    <a:pt x="786248" y="314498"/>
                  </a:lnTo>
                  <a:lnTo>
                    <a:pt x="771952" y="324026"/>
                  </a:lnTo>
                  <a:lnTo>
                    <a:pt x="762424" y="338322"/>
                  </a:lnTo>
                  <a:lnTo>
                    <a:pt x="757656" y="333558"/>
                  </a:lnTo>
                  <a:lnTo>
                    <a:pt x="762424" y="324026"/>
                  </a:lnTo>
                  <a:lnTo>
                    <a:pt x="762424" y="319262"/>
                  </a:lnTo>
                  <a:lnTo>
                    <a:pt x="767188" y="309734"/>
                  </a:lnTo>
                  <a:close/>
                  <a:moveTo>
                    <a:pt x="662352" y="276378"/>
                  </a:moveTo>
                  <a:lnTo>
                    <a:pt x="667120" y="285906"/>
                  </a:lnTo>
                  <a:lnTo>
                    <a:pt x="671884" y="295438"/>
                  </a:lnTo>
                  <a:lnTo>
                    <a:pt x="667120" y="304966"/>
                  </a:lnTo>
                  <a:lnTo>
                    <a:pt x="662352" y="300202"/>
                  </a:lnTo>
                  <a:lnTo>
                    <a:pt x="657588" y="290670"/>
                  </a:lnTo>
                  <a:lnTo>
                    <a:pt x="662352" y="285906"/>
                  </a:lnTo>
                  <a:close/>
                  <a:moveTo>
                    <a:pt x="690944" y="243022"/>
                  </a:moveTo>
                  <a:lnTo>
                    <a:pt x="710004" y="247786"/>
                  </a:lnTo>
                  <a:lnTo>
                    <a:pt x="714772" y="262082"/>
                  </a:lnTo>
                  <a:lnTo>
                    <a:pt x="705240" y="262082"/>
                  </a:lnTo>
                  <a:lnTo>
                    <a:pt x="690944" y="252550"/>
                  </a:lnTo>
                  <a:lnTo>
                    <a:pt x="690944" y="247786"/>
                  </a:lnTo>
                  <a:close/>
                  <a:moveTo>
                    <a:pt x="786248" y="61946"/>
                  </a:moveTo>
                  <a:lnTo>
                    <a:pt x="791012" y="66712"/>
                  </a:lnTo>
                  <a:lnTo>
                    <a:pt x="781484" y="81006"/>
                  </a:lnTo>
                  <a:lnTo>
                    <a:pt x="776716" y="85772"/>
                  </a:lnTo>
                  <a:lnTo>
                    <a:pt x="771952" y="81006"/>
                  </a:lnTo>
                  <a:lnTo>
                    <a:pt x="776716" y="66712"/>
                  </a:lnTo>
                  <a:close/>
                  <a:moveTo>
                    <a:pt x="762424" y="0"/>
                  </a:moveTo>
                  <a:lnTo>
                    <a:pt x="767188" y="4766"/>
                  </a:lnTo>
                  <a:lnTo>
                    <a:pt x="767188" y="14294"/>
                  </a:lnTo>
                  <a:lnTo>
                    <a:pt x="767188" y="14296"/>
                  </a:lnTo>
                  <a:lnTo>
                    <a:pt x="757656" y="28590"/>
                  </a:lnTo>
                  <a:lnTo>
                    <a:pt x="752892" y="23826"/>
                  </a:lnTo>
                  <a:lnTo>
                    <a:pt x="752892" y="1906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36" name="Google Shape;4803;p64">
              <a:extLst>
                <a:ext uri="{FF2B5EF4-FFF2-40B4-BE49-F238E27FC236}">
                  <a16:creationId xmlns:a16="http://schemas.microsoft.com/office/drawing/2014/main" id="{AB0FB73C-9F1F-E0F4-A158-08CE20A06C8D}"/>
                </a:ext>
              </a:extLst>
            </p:cNvPr>
            <p:cNvSpPr/>
            <p:nvPr/>
          </p:nvSpPr>
          <p:spPr>
            <a:xfrm>
              <a:off x="7418330" y="4823402"/>
              <a:ext cx="3281" cy="7220"/>
            </a:xfrm>
            <a:custGeom>
              <a:avLst/>
              <a:gdLst/>
              <a:ahLst/>
              <a:cxnLst/>
              <a:rect l="l" t="t" r="r" b="b"/>
              <a:pathLst>
                <a:path w="10" h="22" extrusionOk="0">
                  <a:moveTo>
                    <a:pt x="6" y="22"/>
                  </a:moveTo>
                  <a:lnTo>
                    <a:pt x="6" y="18"/>
                  </a:lnTo>
                  <a:lnTo>
                    <a:pt x="8" y="14"/>
                  </a:lnTo>
                  <a:lnTo>
                    <a:pt x="10" y="2"/>
                  </a:lnTo>
                  <a:lnTo>
                    <a:pt x="10" y="0"/>
                  </a:lnTo>
                  <a:lnTo>
                    <a:pt x="6" y="6"/>
                  </a:lnTo>
                  <a:lnTo>
                    <a:pt x="6" y="6"/>
                  </a:lnTo>
                  <a:lnTo>
                    <a:pt x="4" y="8"/>
                  </a:lnTo>
                  <a:lnTo>
                    <a:pt x="0" y="12"/>
                  </a:lnTo>
                  <a:lnTo>
                    <a:pt x="0" y="18"/>
                  </a:lnTo>
                  <a:lnTo>
                    <a:pt x="2" y="22"/>
                  </a:lnTo>
                  <a:lnTo>
                    <a:pt x="6"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37" name="Google Shape;4804;p64">
              <a:extLst>
                <a:ext uri="{FF2B5EF4-FFF2-40B4-BE49-F238E27FC236}">
                  <a16:creationId xmlns:a16="http://schemas.microsoft.com/office/drawing/2014/main" id="{D6B5FA3E-4B29-57FF-63B8-ACB768AF32EB}"/>
                </a:ext>
              </a:extLst>
            </p:cNvPr>
            <p:cNvCxnSpPr/>
            <p:nvPr/>
          </p:nvCxnSpPr>
          <p:spPr>
            <a:xfrm>
              <a:off x="7420299" y="4830621"/>
              <a:ext cx="0" cy="0"/>
            </a:xfrm>
            <a:prstGeom prst="straightConnector1">
              <a:avLst/>
            </a:prstGeom>
            <a:grpFill/>
            <a:ln w="9525" cap="flat" cmpd="sng">
              <a:solidFill>
                <a:schemeClr val="bg2"/>
              </a:solidFill>
              <a:prstDash val="solid"/>
              <a:round/>
              <a:headEnd type="none" w="med" len="med"/>
              <a:tailEnd type="none" w="med" len="med"/>
            </a:ln>
          </p:spPr>
        </p:cxnSp>
        <p:sp>
          <p:nvSpPr>
            <p:cNvPr id="338" name="Google Shape;4805;p64">
              <a:extLst>
                <a:ext uri="{FF2B5EF4-FFF2-40B4-BE49-F238E27FC236}">
                  <a16:creationId xmlns:a16="http://schemas.microsoft.com/office/drawing/2014/main" id="{37671459-7332-C166-9D35-A394EA8110F2}"/>
                </a:ext>
              </a:extLst>
            </p:cNvPr>
            <p:cNvSpPr/>
            <p:nvPr/>
          </p:nvSpPr>
          <p:spPr>
            <a:xfrm>
              <a:off x="4828841" y="3573123"/>
              <a:ext cx="214615" cy="203458"/>
            </a:xfrm>
            <a:custGeom>
              <a:avLst/>
              <a:gdLst/>
              <a:ahLst/>
              <a:cxnLst/>
              <a:rect l="l" t="t" r="r" b="b"/>
              <a:pathLst>
                <a:path w="654" h="620" extrusionOk="0">
                  <a:moveTo>
                    <a:pt x="360" y="42"/>
                  </a:moveTo>
                  <a:lnTo>
                    <a:pt x="356" y="46"/>
                  </a:lnTo>
                  <a:lnTo>
                    <a:pt x="346" y="50"/>
                  </a:lnTo>
                  <a:lnTo>
                    <a:pt x="318" y="54"/>
                  </a:lnTo>
                  <a:lnTo>
                    <a:pt x="308" y="52"/>
                  </a:lnTo>
                  <a:lnTo>
                    <a:pt x="298" y="46"/>
                  </a:lnTo>
                  <a:lnTo>
                    <a:pt x="292" y="36"/>
                  </a:lnTo>
                  <a:lnTo>
                    <a:pt x="282" y="10"/>
                  </a:lnTo>
                  <a:lnTo>
                    <a:pt x="288" y="10"/>
                  </a:lnTo>
                  <a:lnTo>
                    <a:pt x="298" y="20"/>
                  </a:lnTo>
                  <a:lnTo>
                    <a:pt x="306" y="22"/>
                  </a:lnTo>
                  <a:lnTo>
                    <a:pt x="304" y="16"/>
                  </a:lnTo>
                  <a:lnTo>
                    <a:pt x="290" y="8"/>
                  </a:lnTo>
                  <a:lnTo>
                    <a:pt x="276" y="0"/>
                  </a:lnTo>
                  <a:lnTo>
                    <a:pt x="260" y="0"/>
                  </a:lnTo>
                  <a:lnTo>
                    <a:pt x="244" y="2"/>
                  </a:lnTo>
                  <a:lnTo>
                    <a:pt x="206" y="12"/>
                  </a:lnTo>
                  <a:lnTo>
                    <a:pt x="190" y="20"/>
                  </a:lnTo>
                  <a:lnTo>
                    <a:pt x="182" y="26"/>
                  </a:lnTo>
                  <a:lnTo>
                    <a:pt x="160" y="32"/>
                  </a:lnTo>
                  <a:lnTo>
                    <a:pt x="148" y="44"/>
                  </a:lnTo>
                  <a:lnTo>
                    <a:pt x="142" y="54"/>
                  </a:lnTo>
                  <a:lnTo>
                    <a:pt x="138" y="56"/>
                  </a:lnTo>
                  <a:lnTo>
                    <a:pt x="136" y="62"/>
                  </a:lnTo>
                  <a:lnTo>
                    <a:pt x="126" y="64"/>
                  </a:lnTo>
                  <a:lnTo>
                    <a:pt x="116" y="66"/>
                  </a:lnTo>
                  <a:lnTo>
                    <a:pt x="76" y="78"/>
                  </a:lnTo>
                  <a:lnTo>
                    <a:pt x="38" y="92"/>
                  </a:lnTo>
                  <a:lnTo>
                    <a:pt x="18" y="102"/>
                  </a:lnTo>
                  <a:lnTo>
                    <a:pt x="8" y="102"/>
                  </a:lnTo>
                  <a:lnTo>
                    <a:pt x="6" y="100"/>
                  </a:lnTo>
                  <a:lnTo>
                    <a:pt x="4" y="104"/>
                  </a:lnTo>
                  <a:lnTo>
                    <a:pt x="6" y="108"/>
                  </a:lnTo>
                  <a:lnTo>
                    <a:pt x="16" y="110"/>
                  </a:lnTo>
                  <a:lnTo>
                    <a:pt x="28" y="114"/>
                  </a:lnTo>
                  <a:lnTo>
                    <a:pt x="28" y="122"/>
                  </a:lnTo>
                  <a:lnTo>
                    <a:pt x="28" y="126"/>
                  </a:lnTo>
                  <a:lnTo>
                    <a:pt x="30" y="130"/>
                  </a:lnTo>
                  <a:lnTo>
                    <a:pt x="30" y="134"/>
                  </a:lnTo>
                  <a:lnTo>
                    <a:pt x="24" y="130"/>
                  </a:lnTo>
                  <a:lnTo>
                    <a:pt x="8" y="124"/>
                  </a:lnTo>
                  <a:lnTo>
                    <a:pt x="10" y="126"/>
                  </a:lnTo>
                  <a:lnTo>
                    <a:pt x="10" y="136"/>
                  </a:lnTo>
                  <a:lnTo>
                    <a:pt x="12" y="144"/>
                  </a:lnTo>
                  <a:lnTo>
                    <a:pt x="20" y="174"/>
                  </a:lnTo>
                  <a:lnTo>
                    <a:pt x="18" y="180"/>
                  </a:lnTo>
                  <a:lnTo>
                    <a:pt x="18" y="182"/>
                  </a:lnTo>
                  <a:lnTo>
                    <a:pt x="16" y="192"/>
                  </a:lnTo>
                  <a:lnTo>
                    <a:pt x="12" y="202"/>
                  </a:lnTo>
                  <a:lnTo>
                    <a:pt x="4" y="206"/>
                  </a:lnTo>
                  <a:lnTo>
                    <a:pt x="2" y="212"/>
                  </a:lnTo>
                  <a:lnTo>
                    <a:pt x="0" y="218"/>
                  </a:lnTo>
                  <a:lnTo>
                    <a:pt x="8" y="228"/>
                  </a:lnTo>
                  <a:lnTo>
                    <a:pt x="26" y="242"/>
                  </a:lnTo>
                  <a:lnTo>
                    <a:pt x="32" y="256"/>
                  </a:lnTo>
                  <a:lnTo>
                    <a:pt x="30" y="266"/>
                  </a:lnTo>
                  <a:lnTo>
                    <a:pt x="28" y="274"/>
                  </a:lnTo>
                  <a:lnTo>
                    <a:pt x="30" y="278"/>
                  </a:lnTo>
                  <a:lnTo>
                    <a:pt x="32" y="282"/>
                  </a:lnTo>
                  <a:lnTo>
                    <a:pt x="36" y="286"/>
                  </a:lnTo>
                  <a:lnTo>
                    <a:pt x="38" y="290"/>
                  </a:lnTo>
                  <a:lnTo>
                    <a:pt x="38" y="296"/>
                  </a:lnTo>
                  <a:lnTo>
                    <a:pt x="38" y="300"/>
                  </a:lnTo>
                  <a:lnTo>
                    <a:pt x="42" y="304"/>
                  </a:lnTo>
                  <a:lnTo>
                    <a:pt x="42" y="304"/>
                  </a:lnTo>
                  <a:lnTo>
                    <a:pt x="40" y="308"/>
                  </a:lnTo>
                  <a:lnTo>
                    <a:pt x="38" y="316"/>
                  </a:lnTo>
                  <a:lnTo>
                    <a:pt x="36" y="322"/>
                  </a:lnTo>
                  <a:lnTo>
                    <a:pt x="32" y="330"/>
                  </a:lnTo>
                  <a:lnTo>
                    <a:pt x="32" y="336"/>
                  </a:lnTo>
                  <a:lnTo>
                    <a:pt x="36" y="344"/>
                  </a:lnTo>
                  <a:lnTo>
                    <a:pt x="40" y="348"/>
                  </a:lnTo>
                  <a:lnTo>
                    <a:pt x="40" y="352"/>
                  </a:lnTo>
                  <a:lnTo>
                    <a:pt x="38" y="360"/>
                  </a:lnTo>
                  <a:lnTo>
                    <a:pt x="40" y="362"/>
                  </a:lnTo>
                  <a:lnTo>
                    <a:pt x="52" y="368"/>
                  </a:lnTo>
                  <a:lnTo>
                    <a:pt x="54" y="372"/>
                  </a:lnTo>
                  <a:lnTo>
                    <a:pt x="54" y="378"/>
                  </a:lnTo>
                  <a:lnTo>
                    <a:pt x="58" y="390"/>
                  </a:lnTo>
                  <a:lnTo>
                    <a:pt x="56" y="408"/>
                  </a:lnTo>
                  <a:lnTo>
                    <a:pt x="52" y="416"/>
                  </a:lnTo>
                  <a:lnTo>
                    <a:pt x="46" y="430"/>
                  </a:lnTo>
                  <a:lnTo>
                    <a:pt x="44" y="432"/>
                  </a:lnTo>
                  <a:lnTo>
                    <a:pt x="50" y="432"/>
                  </a:lnTo>
                  <a:lnTo>
                    <a:pt x="56" y="428"/>
                  </a:lnTo>
                  <a:lnTo>
                    <a:pt x="56" y="424"/>
                  </a:lnTo>
                  <a:lnTo>
                    <a:pt x="56" y="416"/>
                  </a:lnTo>
                  <a:lnTo>
                    <a:pt x="58" y="416"/>
                  </a:lnTo>
                  <a:lnTo>
                    <a:pt x="66" y="418"/>
                  </a:lnTo>
                  <a:lnTo>
                    <a:pt x="74" y="422"/>
                  </a:lnTo>
                  <a:lnTo>
                    <a:pt x="76" y="430"/>
                  </a:lnTo>
                  <a:lnTo>
                    <a:pt x="78" y="434"/>
                  </a:lnTo>
                  <a:lnTo>
                    <a:pt x="80" y="436"/>
                  </a:lnTo>
                  <a:lnTo>
                    <a:pt x="84" y="438"/>
                  </a:lnTo>
                  <a:lnTo>
                    <a:pt x="88" y="438"/>
                  </a:lnTo>
                  <a:lnTo>
                    <a:pt x="100" y="444"/>
                  </a:lnTo>
                  <a:lnTo>
                    <a:pt x="106" y="444"/>
                  </a:lnTo>
                  <a:lnTo>
                    <a:pt x="112" y="448"/>
                  </a:lnTo>
                  <a:lnTo>
                    <a:pt x="116" y="450"/>
                  </a:lnTo>
                  <a:lnTo>
                    <a:pt x="120" y="452"/>
                  </a:lnTo>
                  <a:lnTo>
                    <a:pt x="122" y="454"/>
                  </a:lnTo>
                  <a:lnTo>
                    <a:pt x="124" y="458"/>
                  </a:lnTo>
                  <a:lnTo>
                    <a:pt x="128" y="456"/>
                  </a:lnTo>
                  <a:lnTo>
                    <a:pt x="142" y="452"/>
                  </a:lnTo>
                  <a:lnTo>
                    <a:pt x="146" y="456"/>
                  </a:lnTo>
                  <a:lnTo>
                    <a:pt x="150" y="460"/>
                  </a:lnTo>
                  <a:lnTo>
                    <a:pt x="150" y="462"/>
                  </a:lnTo>
                  <a:lnTo>
                    <a:pt x="148" y="464"/>
                  </a:lnTo>
                  <a:lnTo>
                    <a:pt x="148" y="468"/>
                  </a:lnTo>
                  <a:lnTo>
                    <a:pt x="146" y="468"/>
                  </a:lnTo>
                  <a:lnTo>
                    <a:pt x="142" y="470"/>
                  </a:lnTo>
                  <a:lnTo>
                    <a:pt x="138" y="474"/>
                  </a:lnTo>
                  <a:lnTo>
                    <a:pt x="136" y="476"/>
                  </a:lnTo>
                  <a:lnTo>
                    <a:pt x="138" y="480"/>
                  </a:lnTo>
                  <a:lnTo>
                    <a:pt x="142" y="482"/>
                  </a:lnTo>
                  <a:lnTo>
                    <a:pt x="144" y="482"/>
                  </a:lnTo>
                  <a:lnTo>
                    <a:pt x="146" y="484"/>
                  </a:lnTo>
                  <a:lnTo>
                    <a:pt x="156" y="494"/>
                  </a:lnTo>
                  <a:lnTo>
                    <a:pt x="162" y="508"/>
                  </a:lnTo>
                  <a:lnTo>
                    <a:pt x="164" y="510"/>
                  </a:lnTo>
                  <a:lnTo>
                    <a:pt x="168" y="510"/>
                  </a:lnTo>
                  <a:lnTo>
                    <a:pt x="170" y="508"/>
                  </a:lnTo>
                  <a:lnTo>
                    <a:pt x="174" y="504"/>
                  </a:lnTo>
                  <a:lnTo>
                    <a:pt x="178" y="502"/>
                  </a:lnTo>
                  <a:lnTo>
                    <a:pt x="182" y="500"/>
                  </a:lnTo>
                  <a:lnTo>
                    <a:pt x="188" y="496"/>
                  </a:lnTo>
                  <a:lnTo>
                    <a:pt x="188" y="494"/>
                  </a:lnTo>
                  <a:lnTo>
                    <a:pt x="182" y="484"/>
                  </a:lnTo>
                  <a:lnTo>
                    <a:pt x="180" y="478"/>
                  </a:lnTo>
                  <a:lnTo>
                    <a:pt x="180" y="476"/>
                  </a:lnTo>
                  <a:lnTo>
                    <a:pt x="188" y="478"/>
                  </a:lnTo>
                  <a:lnTo>
                    <a:pt x="198" y="482"/>
                  </a:lnTo>
                  <a:lnTo>
                    <a:pt x="216" y="494"/>
                  </a:lnTo>
                  <a:lnTo>
                    <a:pt x="220" y="494"/>
                  </a:lnTo>
                  <a:lnTo>
                    <a:pt x="224" y="494"/>
                  </a:lnTo>
                  <a:lnTo>
                    <a:pt x="232" y="492"/>
                  </a:lnTo>
                  <a:lnTo>
                    <a:pt x="234" y="488"/>
                  </a:lnTo>
                  <a:lnTo>
                    <a:pt x="236" y="490"/>
                  </a:lnTo>
                  <a:lnTo>
                    <a:pt x="236" y="496"/>
                  </a:lnTo>
                  <a:lnTo>
                    <a:pt x="236" y="500"/>
                  </a:lnTo>
                  <a:lnTo>
                    <a:pt x="228" y="504"/>
                  </a:lnTo>
                  <a:lnTo>
                    <a:pt x="228" y="506"/>
                  </a:lnTo>
                  <a:lnTo>
                    <a:pt x="230" y="508"/>
                  </a:lnTo>
                  <a:lnTo>
                    <a:pt x="234" y="510"/>
                  </a:lnTo>
                  <a:lnTo>
                    <a:pt x="238" y="514"/>
                  </a:lnTo>
                  <a:lnTo>
                    <a:pt x="240" y="520"/>
                  </a:lnTo>
                  <a:lnTo>
                    <a:pt x="242" y="522"/>
                  </a:lnTo>
                  <a:lnTo>
                    <a:pt x="246" y="524"/>
                  </a:lnTo>
                  <a:lnTo>
                    <a:pt x="254" y="520"/>
                  </a:lnTo>
                  <a:lnTo>
                    <a:pt x="256" y="518"/>
                  </a:lnTo>
                  <a:lnTo>
                    <a:pt x="256" y="516"/>
                  </a:lnTo>
                  <a:lnTo>
                    <a:pt x="258" y="518"/>
                  </a:lnTo>
                  <a:lnTo>
                    <a:pt x="260" y="520"/>
                  </a:lnTo>
                  <a:lnTo>
                    <a:pt x="260" y="520"/>
                  </a:lnTo>
                  <a:lnTo>
                    <a:pt x="268" y="524"/>
                  </a:lnTo>
                  <a:lnTo>
                    <a:pt x="272" y="528"/>
                  </a:lnTo>
                  <a:lnTo>
                    <a:pt x="274" y="528"/>
                  </a:lnTo>
                  <a:lnTo>
                    <a:pt x="276" y="528"/>
                  </a:lnTo>
                  <a:lnTo>
                    <a:pt x="288" y="530"/>
                  </a:lnTo>
                  <a:lnTo>
                    <a:pt x="290" y="532"/>
                  </a:lnTo>
                  <a:lnTo>
                    <a:pt x="292" y="536"/>
                  </a:lnTo>
                  <a:lnTo>
                    <a:pt x="292" y="538"/>
                  </a:lnTo>
                  <a:lnTo>
                    <a:pt x="292" y="544"/>
                  </a:lnTo>
                  <a:lnTo>
                    <a:pt x="306" y="560"/>
                  </a:lnTo>
                  <a:lnTo>
                    <a:pt x="308" y="566"/>
                  </a:lnTo>
                  <a:lnTo>
                    <a:pt x="308" y="570"/>
                  </a:lnTo>
                  <a:lnTo>
                    <a:pt x="316" y="572"/>
                  </a:lnTo>
                  <a:lnTo>
                    <a:pt x="316" y="576"/>
                  </a:lnTo>
                  <a:lnTo>
                    <a:pt x="318" y="582"/>
                  </a:lnTo>
                  <a:lnTo>
                    <a:pt x="330" y="582"/>
                  </a:lnTo>
                  <a:lnTo>
                    <a:pt x="336" y="570"/>
                  </a:lnTo>
                  <a:lnTo>
                    <a:pt x="340" y="568"/>
                  </a:lnTo>
                  <a:lnTo>
                    <a:pt x="346" y="564"/>
                  </a:lnTo>
                  <a:lnTo>
                    <a:pt x="348" y="562"/>
                  </a:lnTo>
                  <a:lnTo>
                    <a:pt x="352" y="564"/>
                  </a:lnTo>
                  <a:lnTo>
                    <a:pt x="354" y="570"/>
                  </a:lnTo>
                  <a:lnTo>
                    <a:pt x="358" y="576"/>
                  </a:lnTo>
                  <a:lnTo>
                    <a:pt x="360" y="578"/>
                  </a:lnTo>
                  <a:lnTo>
                    <a:pt x="362" y="580"/>
                  </a:lnTo>
                  <a:lnTo>
                    <a:pt x="364" y="582"/>
                  </a:lnTo>
                  <a:lnTo>
                    <a:pt x="368" y="582"/>
                  </a:lnTo>
                  <a:lnTo>
                    <a:pt x="370" y="584"/>
                  </a:lnTo>
                  <a:lnTo>
                    <a:pt x="372" y="590"/>
                  </a:lnTo>
                  <a:lnTo>
                    <a:pt x="372" y="594"/>
                  </a:lnTo>
                  <a:lnTo>
                    <a:pt x="370" y="598"/>
                  </a:lnTo>
                  <a:lnTo>
                    <a:pt x="370" y="600"/>
                  </a:lnTo>
                  <a:lnTo>
                    <a:pt x="372" y="602"/>
                  </a:lnTo>
                  <a:lnTo>
                    <a:pt x="376" y="600"/>
                  </a:lnTo>
                  <a:lnTo>
                    <a:pt x="380" y="600"/>
                  </a:lnTo>
                  <a:lnTo>
                    <a:pt x="388" y="602"/>
                  </a:lnTo>
                  <a:lnTo>
                    <a:pt x="392" y="594"/>
                  </a:lnTo>
                  <a:lnTo>
                    <a:pt x="396" y="590"/>
                  </a:lnTo>
                  <a:lnTo>
                    <a:pt x="400" y="588"/>
                  </a:lnTo>
                  <a:lnTo>
                    <a:pt x="406" y="584"/>
                  </a:lnTo>
                  <a:lnTo>
                    <a:pt x="408" y="582"/>
                  </a:lnTo>
                  <a:lnTo>
                    <a:pt x="412" y="582"/>
                  </a:lnTo>
                  <a:lnTo>
                    <a:pt x="412" y="582"/>
                  </a:lnTo>
                  <a:lnTo>
                    <a:pt x="416" y="582"/>
                  </a:lnTo>
                  <a:lnTo>
                    <a:pt x="420" y="582"/>
                  </a:lnTo>
                  <a:lnTo>
                    <a:pt x="426" y="582"/>
                  </a:lnTo>
                  <a:lnTo>
                    <a:pt x="434" y="584"/>
                  </a:lnTo>
                  <a:lnTo>
                    <a:pt x="438" y="588"/>
                  </a:lnTo>
                  <a:lnTo>
                    <a:pt x="442" y="590"/>
                  </a:lnTo>
                  <a:lnTo>
                    <a:pt x="448" y="590"/>
                  </a:lnTo>
                  <a:lnTo>
                    <a:pt x="450" y="586"/>
                  </a:lnTo>
                  <a:lnTo>
                    <a:pt x="456" y="580"/>
                  </a:lnTo>
                  <a:lnTo>
                    <a:pt x="460" y="580"/>
                  </a:lnTo>
                  <a:lnTo>
                    <a:pt x="466" y="578"/>
                  </a:lnTo>
                  <a:lnTo>
                    <a:pt x="474" y="578"/>
                  </a:lnTo>
                  <a:lnTo>
                    <a:pt x="492" y="580"/>
                  </a:lnTo>
                  <a:lnTo>
                    <a:pt x="498" y="582"/>
                  </a:lnTo>
                  <a:lnTo>
                    <a:pt x="510" y="586"/>
                  </a:lnTo>
                  <a:lnTo>
                    <a:pt x="514" y="592"/>
                  </a:lnTo>
                  <a:lnTo>
                    <a:pt x="516" y="596"/>
                  </a:lnTo>
                  <a:lnTo>
                    <a:pt x="518" y="600"/>
                  </a:lnTo>
                  <a:lnTo>
                    <a:pt x="530" y="606"/>
                  </a:lnTo>
                  <a:lnTo>
                    <a:pt x="548" y="614"/>
                  </a:lnTo>
                  <a:lnTo>
                    <a:pt x="552" y="614"/>
                  </a:lnTo>
                  <a:lnTo>
                    <a:pt x="554" y="614"/>
                  </a:lnTo>
                  <a:lnTo>
                    <a:pt x="562" y="618"/>
                  </a:lnTo>
                  <a:lnTo>
                    <a:pt x="570" y="620"/>
                  </a:lnTo>
                  <a:lnTo>
                    <a:pt x="572" y="618"/>
                  </a:lnTo>
                  <a:lnTo>
                    <a:pt x="572" y="614"/>
                  </a:lnTo>
                  <a:lnTo>
                    <a:pt x="572" y="614"/>
                  </a:lnTo>
                  <a:lnTo>
                    <a:pt x="566" y="608"/>
                  </a:lnTo>
                  <a:lnTo>
                    <a:pt x="562" y="604"/>
                  </a:lnTo>
                  <a:lnTo>
                    <a:pt x="562" y="602"/>
                  </a:lnTo>
                  <a:lnTo>
                    <a:pt x="564" y="598"/>
                  </a:lnTo>
                  <a:lnTo>
                    <a:pt x="564" y="592"/>
                  </a:lnTo>
                  <a:lnTo>
                    <a:pt x="564" y="586"/>
                  </a:lnTo>
                  <a:lnTo>
                    <a:pt x="560" y="572"/>
                  </a:lnTo>
                  <a:lnTo>
                    <a:pt x="558" y="568"/>
                  </a:lnTo>
                  <a:lnTo>
                    <a:pt x="562" y="560"/>
                  </a:lnTo>
                  <a:lnTo>
                    <a:pt x="574" y="544"/>
                  </a:lnTo>
                  <a:lnTo>
                    <a:pt x="578" y="538"/>
                  </a:lnTo>
                  <a:lnTo>
                    <a:pt x="584" y="530"/>
                  </a:lnTo>
                  <a:lnTo>
                    <a:pt x="600" y="512"/>
                  </a:lnTo>
                  <a:lnTo>
                    <a:pt x="608" y="502"/>
                  </a:lnTo>
                  <a:lnTo>
                    <a:pt x="616" y="496"/>
                  </a:lnTo>
                  <a:lnTo>
                    <a:pt x="624" y="486"/>
                  </a:lnTo>
                  <a:lnTo>
                    <a:pt x="628" y="482"/>
                  </a:lnTo>
                  <a:lnTo>
                    <a:pt x="646" y="478"/>
                  </a:lnTo>
                  <a:lnTo>
                    <a:pt x="648" y="474"/>
                  </a:lnTo>
                  <a:lnTo>
                    <a:pt x="650" y="468"/>
                  </a:lnTo>
                  <a:lnTo>
                    <a:pt x="654" y="466"/>
                  </a:lnTo>
                  <a:lnTo>
                    <a:pt x="654" y="456"/>
                  </a:lnTo>
                  <a:lnTo>
                    <a:pt x="650" y="446"/>
                  </a:lnTo>
                  <a:lnTo>
                    <a:pt x="648" y="442"/>
                  </a:lnTo>
                  <a:lnTo>
                    <a:pt x="646" y="440"/>
                  </a:lnTo>
                  <a:lnTo>
                    <a:pt x="648" y="436"/>
                  </a:lnTo>
                  <a:lnTo>
                    <a:pt x="650" y="436"/>
                  </a:lnTo>
                  <a:lnTo>
                    <a:pt x="652" y="436"/>
                  </a:lnTo>
                  <a:lnTo>
                    <a:pt x="654" y="434"/>
                  </a:lnTo>
                  <a:lnTo>
                    <a:pt x="654" y="430"/>
                  </a:lnTo>
                  <a:lnTo>
                    <a:pt x="646" y="424"/>
                  </a:lnTo>
                  <a:lnTo>
                    <a:pt x="644" y="418"/>
                  </a:lnTo>
                  <a:lnTo>
                    <a:pt x="638" y="404"/>
                  </a:lnTo>
                  <a:lnTo>
                    <a:pt x="628" y="390"/>
                  </a:lnTo>
                  <a:lnTo>
                    <a:pt x="626" y="384"/>
                  </a:lnTo>
                  <a:lnTo>
                    <a:pt x="626" y="380"/>
                  </a:lnTo>
                  <a:lnTo>
                    <a:pt x="626" y="376"/>
                  </a:lnTo>
                  <a:lnTo>
                    <a:pt x="626" y="370"/>
                  </a:lnTo>
                  <a:lnTo>
                    <a:pt x="622" y="362"/>
                  </a:lnTo>
                  <a:lnTo>
                    <a:pt x="618" y="352"/>
                  </a:lnTo>
                  <a:lnTo>
                    <a:pt x="618" y="342"/>
                  </a:lnTo>
                  <a:lnTo>
                    <a:pt x="620" y="338"/>
                  </a:lnTo>
                  <a:lnTo>
                    <a:pt x="624" y="332"/>
                  </a:lnTo>
                  <a:lnTo>
                    <a:pt x="622" y="324"/>
                  </a:lnTo>
                  <a:lnTo>
                    <a:pt x="624" y="314"/>
                  </a:lnTo>
                  <a:lnTo>
                    <a:pt x="624" y="308"/>
                  </a:lnTo>
                  <a:lnTo>
                    <a:pt x="624" y="304"/>
                  </a:lnTo>
                  <a:lnTo>
                    <a:pt x="620" y="300"/>
                  </a:lnTo>
                  <a:lnTo>
                    <a:pt x="614" y="296"/>
                  </a:lnTo>
                  <a:lnTo>
                    <a:pt x="612" y="294"/>
                  </a:lnTo>
                  <a:lnTo>
                    <a:pt x="604" y="290"/>
                  </a:lnTo>
                  <a:lnTo>
                    <a:pt x="594" y="284"/>
                  </a:lnTo>
                  <a:lnTo>
                    <a:pt x="594" y="282"/>
                  </a:lnTo>
                  <a:lnTo>
                    <a:pt x="594" y="280"/>
                  </a:lnTo>
                  <a:lnTo>
                    <a:pt x="596" y="276"/>
                  </a:lnTo>
                  <a:lnTo>
                    <a:pt x="602" y="266"/>
                  </a:lnTo>
                  <a:lnTo>
                    <a:pt x="608" y="256"/>
                  </a:lnTo>
                  <a:lnTo>
                    <a:pt x="614" y="252"/>
                  </a:lnTo>
                  <a:lnTo>
                    <a:pt x="638" y="240"/>
                  </a:lnTo>
                  <a:lnTo>
                    <a:pt x="642" y="236"/>
                  </a:lnTo>
                  <a:lnTo>
                    <a:pt x="642" y="230"/>
                  </a:lnTo>
                  <a:lnTo>
                    <a:pt x="642" y="224"/>
                  </a:lnTo>
                  <a:lnTo>
                    <a:pt x="642" y="214"/>
                  </a:lnTo>
                  <a:lnTo>
                    <a:pt x="640" y="202"/>
                  </a:lnTo>
                  <a:lnTo>
                    <a:pt x="638" y="192"/>
                  </a:lnTo>
                  <a:lnTo>
                    <a:pt x="634" y="174"/>
                  </a:lnTo>
                  <a:lnTo>
                    <a:pt x="622" y="138"/>
                  </a:lnTo>
                  <a:lnTo>
                    <a:pt x="614" y="100"/>
                  </a:lnTo>
                  <a:lnTo>
                    <a:pt x="614" y="98"/>
                  </a:lnTo>
                  <a:lnTo>
                    <a:pt x="614" y="94"/>
                  </a:lnTo>
                  <a:lnTo>
                    <a:pt x="614" y="86"/>
                  </a:lnTo>
                  <a:lnTo>
                    <a:pt x="612" y="78"/>
                  </a:lnTo>
                  <a:lnTo>
                    <a:pt x="606" y="72"/>
                  </a:lnTo>
                  <a:lnTo>
                    <a:pt x="600" y="68"/>
                  </a:lnTo>
                  <a:lnTo>
                    <a:pt x="594" y="62"/>
                  </a:lnTo>
                  <a:lnTo>
                    <a:pt x="588" y="60"/>
                  </a:lnTo>
                  <a:lnTo>
                    <a:pt x="584" y="60"/>
                  </a:lnTo>
                  <a:lnTo>
                    <a:pt x="584" y="58"/>
                  </a:lnTo>
                  <a:lnTo>
                    <a:pt x="582" y="56"/>
                  </a:lnTo>
                  <a:lnTo>
                    <a:pt x="580" y="52"/>
                  </a:lnTo>
                  <a:lnTo>
                    <a:pt x="576" y="50"/>
                  </a:lnTo>
                  <a:lnTo>
                    <a:pt x="570" y="50"/>
                  </a:lnTo>
                  <a:lnTo>
                    <a:pt x="566" y="54"/>
                  </a:lnTo>
                  <a:lnTo>
                    <a:pt x="564" y="54"/>
                  </a:lnTo>
                  <a:lnTo>
                    <a:pt x="528" y="54"/>
                  </a:lnTo>
                  <a:lnTo>
                    <a:pt x="492" y="52"/>
                  </a:lnTo>
                  <a:lnTo>
                    <a:pt x="460" y="50"/>
                  </a:lnTo>
                  <a:lnTo>
                    <a:pt x="428" y="48"/>
                  </a:lnTo>
                  <a:lnTo>
                    <a:pt x="398" y="46"/>
                  </a:lnTo>
                  <a:lnTo>
                    <a:pt x="380" y="46"/>
                  </a:lnTo>
                  <a:lnTo>
                    <a:pt x="362" y="44"/>
                  </a:lnTo>
                  <a:lnTo>
                    <a:pt x="360" y="4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39" name="Google Shape;4806;p64">
              <a:extLst>
                <a:ext uri="{FF2B5EF4-FFF2-40B4-BE49-F238E27FC236}">
                  <a16:creationId xmlns:a16="http://schemas.microsoft.com/office/drawing/2014/main" id="{188EFAE7-68B9-947D-3E08-C5A12DE2A6DC}"/>
                </a:ext>
              </a:extLst>
            </p:cNvPr>
            <p:cNvSpPr/>
            <p:nvPr/>
          </p:nvSpPr>
          <p:spPr>
            <a:xfrm>
              <a:off x="3063354" y="4583847"/>
              <a:ext cx="57100" cy="13126"/>
            </a:xfrm>
            <a:custGeom>
              <a:avLst/>
              <a:gdLst/>
              <a:ahLst/>
              <a:cxnLst/>
              <a:rect l="l" t="t" r="r" b="b"/>
              <a:pathLst>
                <a:path w="414568" h="95304" extrusionOk="0">
                  <a:moveTo>
                    <a:pt x="0" y="66712"/>
                  </a:moveTo>
                  <a:lnTo>
                    <a:pt x="4766" y="66712"/>
                  </a:lnTo>
                  <a:lnTo>
                    <a:pt x="14296" y="66712"/>
                  </a:lnTo>
                  <a:lnTo>
                    <a:pt x="14296" y="71478"/>
                  </a:lnTo>
                  <a:lnTo>
                    <a:pt x="14296" y="76244"/>
                  </a:lnTo>
                  <a:lnTo>
                    <a:pt x="9532" y="76244"/>
                  </a:lnTo>
                  <a:lnTo>
                    <a:pt x="4766" y="76244"/>
                  </a:lnTo>
                  <a:lnTo>
                    <a:pt x="0" y="71478"/>
                  </a:lnTo>
                  <a:close/>
                  <a:moveTo>
                    <a:pt x="385976" y="61948"/>
                  </a:moveTo>
                  <a:lnTo>
                    <a:pt x="400272" y="61948"/>
                  </a:lnTo>
                  <a:lnTo>
                    <a:pt x="414568" y="61948"/>
                  </a:lnTo>
                  <a:lnTo>
                    <a:pt x="414568" y="66712"/>
                  </a:lnTo>
                  <a:lnTo>
                    <a:pt x="395504" y="71476"/>
                  </a:lnTo>
                  <a:lnTo>
                    <a:pt x="381212" y="71476"/>
                  </a:lnTo>
                  <a:lnTo>
                    <a:pt x="371680" y="71476"/>
                  </a:lnTo>
                  <a:lnTo>
                    <a:pt x="371680" y="66712"/>
                  </a:lnTo>
                  <a:close/>
                  <a:moveTo>
                    <a:pt x="138188" y="0"/>
                  </a:moveTo>
                  <a:lnTo>
                    <a:pt x="176308" y="4764"/>
                  </a:lnTo>
                  <a:lnTo>
                    <a:pt x="276376" y="9532"/>
                  </a:lnTo>
                  <a:lnTo>
                    <a:pt x="281144" y="9532"/>
                  </a:lnTo>
                  <a:lnTo>
                    <a:pt x="281144" y="14296"/>
                  </a:lnTo>
                  <a:lnTo>
                    <a:pt x="285908" y="19060"/>
                  </a:lnTo>
                  <a:lnTo>
                    <a:pt x="290672" y="19060"/>
                  </a:lnTo>
                  <a:lnTo>
                    <a:pt x="290672" y="9532"/>
                  </a:lnTo>
                  <a:lnTo>
                    <a:pt x="324028" y="14296"/>
                  </a:lnTo>
                  <a:lnTo>
                    <a:pt x="343088" y="19060"/>
                  </a:lnTo>
                  <a:lnTo>
                    <a:pt x="362152" y="23824"/>
                  </a:lnTo>
                  <a:lnTo>
                    <a:pt x="362152" y="47652"/>
                  </a:lnTo>
                  <a:lnTo>
                    <a:pt x="347856" y="57180"/>
                  </a:lnTo>
                  <a:lnTo>
                    <a:pt x="338324" y="66712"/>
                  </a:lnTo>
                  <a:lnTo>
                    <a:pt x="328796" y="76244"/>
                  </a:lnTo>
                  <a:lnTo>
                    <a:pt x="309732" y="90536"/>
                  </a:lnTo>
                  <a:lnTo>
                    <a:pt x="281144" y="95304"/>
                  </a:lnTo>
                  <a:lnTo>
                    <a:pt x="266848" y="95304"/>
                  </a:lnTo>
                  <a:lnTo>
                    <a:pt x="257316" y="95304"/>
                  </a:lnTo>
                  <a:lnTo>
                    <a:pt x="252552" y="95304"/>
                  </a:lnTo>
                  <a:lnTo>
                    <a:pt x="238256" y="95304"/>
                  </a:lnTo>
                  <a:lnTo>
                    <a:pt x="223960" y="90536"/>
                  </a:lnTo>
                  <a:lnTo>
                    <a:pt x="209664" y="90536"/>
                  </a:lnTo>
                  <a:lnTo>
                    <a:pt x="181076" y="90536"/>
                  </a:lnTo>
                  <a:lnTo>
                    <a:pt x="171544" y="95304"/>
                  </a:lnTo>
                  <a:lnTo>
                    <a:pt x="162016" y="95304"/>
                  </a:lnTo>
                  <a:lnTo>
                    <a:pt x="152484" y="95304"/>
                  </a:lnTo>
                  <a:lnTo>
                    <a:pt x="142956" y="90536"/>
                  </a:lnTo>
                  <a:lnTo>
                    <a:pt x="123892" y="90536"/>
                  </a:lnTo>
                  <a:lnTo>
                    <a:pt x="114364" y="90536"/>
                  </a:lnTo>
                  <a:lnTo>
                    <a:pt x="119128" y="61948"/>
                  </a:lnTo>
                  <a:lnTo>
                    <a:pt x="119128" y="52416"/>
                  </a:lnTo>
                  <a:lnTo>
                    <a:pt x="114364" y="42888"/>
                  </a:lnTo>
                  <a:lnTo>
                    <a:pt x="109600" y="33356"/>
                  </a:lnTo>
                  <a:lnTo>
                    <a:pt x="104832" y="28592"/>
                  </a:lnTo>
                  <a:lnTo>
                    <a:pt x="114364" y="23824"/>
                  </a:lnTo>
                  <a:lnTo>
                    <a:pt x="119128" y="14296"/>
                  </a:lnTo>
                  <a:lnTo>
                    <a:pt x="123892" y="4764"/>
                  </a:lnTo>
                  <a:lnTo>
                    <a:pt x="12866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40" name="Google Shape;4807;p64">
              <a:extLst>
                <a:ext uri="{FF2B5EF4-FFF2-40B4-BE49-F238E27FC236}">
                  <a16:creationId xmlns:a16="http://schemas.microsoft.com/office/drawing/2014/main" id="{600E1D32-0EC6-5C97-A944-DBE628E25085}"/>
                </a:ext>
              </a:extLst>
            </p:cNvPr>
            <p:cNvCxnSpPr/>
            <p:nvPr/>
          </p:nvCxnSpPr>
          <p:spPr>
            <a:xfrm>
              <a:off x="3102076" y="4585816"/>
              <a:ext cx="0" cy="0"/>
            </a:xfrm>
            <a:prstGeom prst="straightConnector1">
              <a:avLst/>
            </a:prstGeom>
            <a:grpFill/>
            <a:ln w="9525" cap="flat" cmpd="sng">
              <a:solidFill>
                <a:schemeClr val="bg2"/>
              </a:solidFill>
              <a:prstDash val="solid"/>
              <a:round/>
              <a:headEnd type="none" w="med" len="med"/>
              <a:tailEnd type="none" w="med" len="med"/>
            </a:ln>
          </p:spPr>
        </p:cxnSp>
        <p:cxnSp>
          <p:nvCxnSpPr>
            <p:cNvPr id="341" name="Google Shape;4808;p64">
              <a:extLst>
                <a:ext uri="{FF2B5EF4-FFF2-40B4-BE49-F238E27FC236}">
                  <a16:creationId xmlns:a16="http://schemas.microsoft.com/office/drawing/2014/main" id="{54099F03-A825-D6A9-2C05-27EAC07DE558}"/>
                </a:ext>
              </a:extLst>
            </p:cNvPr>
            <p:cNvCxnSpPr/>
            <p:nvPr/>
          </p:nvCxnSpPr>
          <p:spPr>
            <a:xfrm>
              <a:off x="3102076" y="4585816"/>
              <a:ext cx="0" cy="0"/>
            </a:xfrm>
            <a:prstGeom prst="straightConnector1">
              <a:avLst/>
            </a:prstGeom>
            <a:grpFill/>
            <a:ln w="9525" cap="flat" cmpd="sng">
              <a:solidFill>
                <a:schemeClr val="bg2"/>
              </a:solidFill>
              <a:prstDash val="solid"/>
              <a:round/>
              <a:headEnd type="none" w="med" len="med"/>
              <a:tailEnd type="none" w="med" len="med"/>
            </a:ln>
          </p:spPr>
        </p:cxnSp>
        <p:sp>
          <p:nvSpPr>
            <p:cNvPr id="342" name="Google Shape;4809;p64">
              <a:extLst>
                <a:ext uri="{FF2B5EF4-FFF2-40B4-BE49-F238E27FC236}">
                  <a16:creationId xmlns:a16="http://schemas.microsoft.com/office/drawing/2014/main" id="{F29F60F5-AFAA-ACCB-2947-E1CE943CE95F}"/>
                </a:ext>
              </a:extLst>
            </p:cNvPr>
            <p:cNvSpPr/>
            <p:nvPr/>
          </p:nvSpPr>
          <p:spPr>
            <a:xfrm>
              <a:off x="7199776" y="3962974"/>
              <a:ext cx="136514" cy="148983"/>
            </a:xfrm>
            <a:custGeom>
              <a:avLst/>
              <a:gdLst/>
              <a:ahLst/>
              <a:cxnLst/>
              <a:rect l="l" t="t" r="r" b="b"/>
              <a:pathLst>
                <a:path w="991144" h="1081684" extrusionOk="0">
                  <a:moveTo>
                    <a:pt x="85772" y="705238"/>
                  </a:moveTo>
                  <a:lnTo>
                    <a:pt x="90536" y="705238"/>
                  </a:lnTo>
                  <a:lnTo>
                    <a:pt x="85772" y="719534"/>
                  </a:lnTo>
                  <a:lnTo>
                    <a:pt x="76240" y="724300"/>
                  </a:lnTo>
                  <a:lnTo>
                    <a:pt x="76240" y="714768"/>
                  </a:lnTo>
                  <a:close/>
                  <a:moveTo>
                    <a:pt x="867252" y="0"/>
                  </a:moveTo>
                  <a:lnTo>
                    <a:pt x="872016" y="0"/>
                  </a:lnTo>
                  <a:lnTo>
                    <a:pt x="881548" y="4764"/>
                  </a:lnTo>
                  <a:lnTo>
                    <a:pt x="886312" y="9530"/>
                  </a:lnTo>
                  <a:lnTo>
                    <a:pt x="895844" y="4764"/>
                  </a:lnTo>
                  <a:lnTo>
                    <a:pt x="900608" y="9530"/>
                  </a:lnTo>
                  <a:lnTo>
                    <a:pt x="905372" y="19060"/>
                  </a:lnTo>
                  <a:lnTo>
                    <a:pt x="919668" y="23824"/>
                  </a:lnTo>
                  <a:lnTo>
                    <a:pt x="919668" y="28590"/>
                  </a:lnTo>
                  <a:lnTo>
                    <a:pt x="919668" y="57180"/>
                  </a:lnTo>
                  <a:lnTo>
                    <a:pt x="929200" y="66710"/>
                  </a:lnTo>
                  <a:lnTo>
                    <a:pt x="938728" y="81006"/>
                  </a:lnTo>
                  <a:lnTo>
                    <a:pt x="953024" y="90536"/>
                  </a:lnTo>
                  <a:lnTo>
                    <a:pt x="962556" y="90536"/>
                  </a:lnTo>
                  <a:lnTo>
                    <a:pt x="967320" y="100066"/>
                  </a:lnTo>
                  <a:lnTo>
                    <a:pt x="967320" y="114362"/>
                  </a:lnTo>
                  <a:lnTo>
                    <a:pt x="981616" y="123892"/>
                  </a:lnTo>
                  <a:lnTo>
                    <a:pt x="986380" y="133422"/>
                  </a:lnTo>
                  <a:lnTo>
                    <a:pt x="986380" y="142952"/>
                  </a:lnTo>
                  <a:lnTo>
                    <a:pt x="991144" y="147718"/>
                  </a:lnTo>
                  <a:lnTo>
                    <a:pt x="981616" y="152484"/>
                  </a:lnTo>
                  <a:lnTo>
                    <a:pt x="972084" y="152484"/>
                  </a:lnTo>
                  <a:lnTo>
                    <a:pt x="953024" y="147718"/>
                  </a:lnTo>
                  <a:lnTo>
                    <a:pt x="933964" y="166778"/>
                  </a:lnTo>
                  <a:lnTo>
                    <a:pt x="919668" y="176308"/>
                  </a:lnTo>
                  <a:lnTo>
                    <a:pt x="910136" y="190604"/>
                  </a:lnTo>
                  <a:lnTo>
                    <a:pt x="895844" y="204900"/>
                  </a:lnTo>
                  <a:lnTo>
                    <a:pt x="886312" y="214430"/>
                  </a:lnTo>
                  <a:lnTo>
                    <a:pt x="872016" y="233490"/>
                  </a:lnTo>
                  <a:lnTo>
                    <a:pt x="862488" y="252550"/>
                  </a:lnTo>
                  <a:lnTo>
                    <a:pt x="843428" y="271612"/>
                  </a:lnTo>
                  <a:lnTo>
                    <a:pt x="833896" y="295436"/>
                  </a:lnTo>
                  <a:lnTo>
                    <a:pt x="833896" y="319262"/>
                  </a:lnTo>
                  <a:lnTo>
                    <a:pt x="843428" y="338324"/>
                  </a:lnTo>
                  <a:lnTo>
                    <a:pt x="848192" y="357384"/>
                  </a:lnTo>
                  <a:lnTo>
                    <a:pt x="838660" y="395504"/>
                  </a:lnTo>
                  <a:lnTo>
                    <a:pt x="843428" y="433626"/>
                  </a:lnTo>
                  <a:lnTo>
                    <a:pt x="838660" y="452686"/>
                  </a:lnTo>
                  <a:lnTo>
                    <a:pt x="781480" y="476512"/>
                  </a:lnTo>
                  <a:lnTo>
                    <a:pt x="767184" y="490808"/>
                  </a:lnTo>
                  <a:lnTo>
                    <a:pt x="743360" y="524164"/>
                  </a:lnTo>
                  <a:lnTo>
                    <a:pt x="719532" y="538458"/>
                  </a:lnTo>
                  <a:lnTo>
                    <a:pt x="700472" y="552754"/>
                  </a:lnTo>
                  <a:lnTo>
                    <a:pt x="681412" y="562284"/>
                  </a:lnTo>
                  <a:lnTo>
                    <a:pt x="667116" y="586110"/>
                  </a:lnTo>
                  <a:lnTo>
                    <a:pt x="648056" y="600406"/>
                  </a:lnTo>
                  <a:lnTo>
                    <a:pt x="633760" y="609936"/>
                  </a:lnTo>
                  <a:lnTo>
                    <a:pt x="619464" y="619466"/>
                  </a:lnTo>
                  <a:lnTo>
                    <a:pt x="586108" y="619466"/>
                  </a:lnTo>
                  <a:lnTo>
                    <a:pt x="567048" y="628996"/>
                  </a:lnTo>
                  <a:lnTo>
                    <a:pt x="547988" y="648056"/>
                  </a:lnTo>
                  <a:lnTo>
                    <a:pt x="505104" y="671882"/>
                  </a:lnTo>
                  <a:lnTo>
                    <a:pt x="495572" y="686178"/>
                  </a:lnTo>
                  <a:lnTo>
                    <a:pt x="500336" y="714768"/>
                  </a:lnTo>
                  <a:lnTo>
                    <a:pt x="500336" y="733828"/>
                  </a:lnTo>
                  <a:lnTo>
                    <a:pt x="495572" y="752890"/>
                  </a:lnTo>
                  <a:lnTo>
                    <a:pt x="486040" y="748124"/>
                  </a:lnTo>
                  <a:lnTo>
                    <a:pt x="481276" y="752890"/>
                  </a:lnTo>
                  <a:lnTo>
                    <a:pt x="471748" y="767184"/>
                  </a:lnTo>
                  <a:lnTo>
                    <a:pt x="476512" y="786246"/>
                  </a:lnTo>
                  <a:lnTo>
                    <a:pt x="490808" y="791010"/>
                  </a:lnTo>
                  <a:lnTo>
                    <a:pt x="505104" y="800540"/>
                  </a:lnTo>
                  <a:lnTo>
                    <a:pt x="524164" y="805306"/>
                  </a:lnTo>
                  <a:lnTo>
                    <a:pt x="538460" y="810070"/>
                  </a:lnTo>
                  <a:lnTo>
                    <a:pt x="567048" y="848192"/>
                  </a:lnTo>
                  <a:lnTo>
                    <a:pt x="590876" y="867252"/>
                  </a:lnTo>
                  <a:lnTo>
                    <a:pt x="595640" y="872018"/>
                  </a:lnTo>
                  <a:lnTo>
                    <a:pt x="609936" y="881548"/>
                  </a:lnTo>
                  <a:lnTo>
                    <a:pt x="624232" y="891078"/>
                  </a:lnTo>
                  <a:lnTo>
                    <a:pt x="628996" y="905374"/>
                  </a:lnTo>
                  <a:lnTo>
                    <a:pt x="624232" y="905374"/>
                  </a:lnTo>
                  <a:lnTo>
                    <a:pt x="614700" y="924434"/>
                  </a:lnTo>
                  <a:lnTo>
                    <a:pt x="605168" y="943494"/>
                  </a:lnTo>
                  <a:lnTo>
                    <a:pt x="595640" y="957790"/>
                  </a:lnTo>
                  <a:lnTo>
                    <a:pt x="586108" y="962554"/>
                  </a:lnTo>
                  <a:lnTo>
                    <a:pt x="576580" y="967320"/>
                  </a:lnTo>
                  <a:lnTo>
                    <a:pt x="557520" y="967320"/>
                  </a:lnTo>
                  <a:lnTo>
                    <a:pt x="538460" y="967320"/>
                  </a:lnTo>
                  <a:lnTo>
                    <a:pt x="528928" y="967320"/>
                  </a:lnTo>
                  <a:lnTo>
                    <a:pt x="505104" y="967320"/>
                  </a:lnTo>
                  <a:lnTo>
                    <a:pt x="495572" y="967320"/>
                  </a:lnTo>
                  <a:lnTo>
                    <a:pt x="462216" y="967320"/>
                  </a:lnTo>
                  <a:lnTo>
                    <a:pt x="438392" y="967320"/>
                  </a:lnTo>
                  <a:lnTo>
                    <a:pt x="428860" y="972086"/>
                  </a:lnTo>
                  <a:lnTo>
                    <a:pt x="414564" y="981616"/>
                  </a:lnTo>
                  <a:lnTo>
                    <a:pt x="405036" y="991146"/>
                  </a:lnTo>
                  <a:lnTo>
                    <a:pt x="395504" y="1005440"/>
                  </a:lnTo>
                  <a:lnTo>
                    <a:pt x="376444" y="1034032"/>
                  </a:lnTo>
                  <a:lnTo>
                    <a:pt x="362148" y="1043562"/>
                  </a:lnTo>
                  <a:lnTo>
                    <a:pt x="362148" y="1062622"/>
                  </a:lnTo>
                  <a:lnTo>
                    <a:pt x="362148" y="1067388"/>
                  </a:lnTo>
                  <a:lnTo>
                    <a:pt x="357384" y="1072152"/>
                  </a:lnTo>
                  <a:lnTo>
                    <a:pt x="357384" y="1067388"/>
                  </a:lnTo>
                  <a:lnTo>
                    <a:pt x="347852" y="1067388"/>
                  </a:lnTo>
                  <a:lnTo>
                    <a:pt x="314496" y="1053092"/>
                  </a:lnTo>
                  <a:lnTo>
                    <a:pt x="290672" y="1062622"/>
                  </a:lnTo>
                  <a:lnTo>
                    <a:pt x="281140" y="1076918"/>
                  </a:lnTo>
                  <a:lnTo>
                    <a:pt x="276376" y="1081684"/>
                  </a:lnTo>
                  <a:lnTo>
                    <a:pt x="266844" y="1053092"/>
                  </a:lnTo>
                  <a:lnTo>
                    <a:pt x="247784" y="1053092"/>
                  </a:lnTo>
                  <a:lnTo>
                    <a:pt x="223960" y="1029266"/>
                  </a:lnTo>
                  <a:lnTo>
                    <a:pt x="209664" y="1034032"/>
                  </a:lnTo>
                  <a:lnTo>
                    <a:pt x="204900" y="1043562"/>
                  </a:lnTo>
                  <a:lnTo>
                    <a:pt x="190604" y="1067388"/>
                  </a:lnTo>
                  <a:lnTo>
                    <a:pt x="171544" y="1081684"/>
                  </a:lnTo>
                  <a:lnTo>
                    <a:pt x="166780" y="1081684"/>
                  </a:lnTo>
                  <a:lnTo>
                    <a:pt x="157248" y="1081684"/>
                  </a:lnTo>
                  <a:lnTo>
                    <a:pt x="157248" y="1076918"/>
                  </a:lnTo>
                  <a:lnTo>
                    <a:pt x="152484" y="1057858"/>
                  </a:lnTo>
                  <a:lnTo>
                    <a:pt x="119128" y="1053092"/>
                  </a:lnTo>
                  <a:lnTo>
                    <a:pt x="104832" y="1043562"/>
                  </a:lnTo>
                  <a:lnTo>
                    <a:pt x="100068" y="1043562"/>
                  </a:lnTo>
                  <a:lnTo>
                    <a:pt x="133424" y="1019736"/>
                  </a:lnTo>
                  <a:lnTo>
                    <a:pt x="138188" y="1019736"/>
                  </a:lnTo>
                  <a:lnTo>
                    <a:pt x="133424" y="1010206"/>
                  </a:lnTo>
                  <a:lnTo>
                    <a:pt x="128656" y="1010206"/>
                  </a:lnTo>
                  <a:lnTo>
                    <a:pt x="100068" y="1014972"/>
                  </a:lnTo>
                  <a:lnTo>
                    <a:pt x="85772" y="1005440"/>
                  </a:lnTo>
                  <a:lnTo>
                    <a:pt x="66712" y="1010206"/>
                  </a:lnTo>
                  <a:lnTo>
                    <a:pt x="52416" y="1000676"/>
                  </a:lnTo>
                  <a:lnTo>
                    <a:pt x="81008" y="981616"/>
                  </a:lnTo>
                  <a:lnTo>
                    <a:pt x="85772" y="972086"/>
                  </a:lnTo>
                  <a:lnTo>
                    <a:pt x="81008" y="962554"/>
                  </a:lnTo>
                  <a:lnTo>
                    <a:pt x="100068" y="933964"/>
                  </a:lnTo>
                  <a:lnTo>
                    <a:pt x="114364" y="919668"/>
                  </a:lnTo>
                  <a:lnTo>
                    <a:pt x="152484" y="895844"/>
                  </a:lnTo>
                  <a:lnTo>
                    <a:pt x="166780" y="891078"/>
                  </a:lnTo>
                  <a:lnTo>
                    <a:pt x="176308" y="895844"/>
                  </a:lnTo>
                  <a:lnTo>
                    <a:pt x="185840" y="891078"/>
                  </a:lnTo>
                  <a:lnTo>
                    <a:pt x="176308" y="881548"/>
                  </a:lnTo>
                  <a:lnTo>
                    <a:pt x="166780" y="881548"/>
                  </a:lnTo>
                  <a:lnTo>
                    <a:pt x="147716" y="881548"/>
                  </a:lnTo>
                  <a:lnTo>
                    <a:pt x="128656" y="867252"/>
                  </a:lnTo>
                  <a:lnTo>
                    <a:pt x="123892" y="852956"/>
                  </a:lnTo>
                  <a:lnTo>
                    <a:pt x="166780" y="771950"/>
                  </a:lnTo>
                  <a:lnTo>
                    <a:pt x="166780" y="762420"/>
                  </a:lnTo>
                  <a:lnTo>
                    <a:pt x="162012" y="743358"/>
                  </a:lnTo>
                  <a:lnTo>
                    <a:pt x="157248" y="724298"/>
                  </a:lnTo>
                  <a:lnTo>
                    <a:pt x="128656" y="710004"/>
                  </a:lnTo>
                  <a:lnTo>
                    <a:pt x="119128" y="710004"/>
                  </a:lnTo>
                  <a:lnTo>
                    <a:pt x="81008" y="686178"/>
                  </a:lnTo>
                  <a:lnTo>
                    <a:pt x="66712" y="676648"/>
                  </a:lnTo>
                  <a:lnTo>
                    <a:pt x="61944" y="676648"/>
                  </a:lnTo>
                  <a:lnTo>
                    <a:pt x="61944" y="695708"/>
                  </a:lnTo>
                  <a:lnTo>
                    <a:pt x="57180" y="700472"/>
                  </a:lnTo>
                  <a:lnTo>
                    <a:pt x="42884" y="705238"/>
                  </a:lnTo>
                  <a:lnTo>
                    <a:pt x="42884" y="686178"/>
                  </a:lnTo>
                  <a:lnTo>
                    <a:pt x="33356" y="667116"/>
                  </a:lnTo>
                  <a:lnTo>
                    <a:pt x="9528" y="652822"/>
                  </a:lnTo>
                  <a:lnTo>
                    <a:pt x="0" y="643292"/>
                  </a:lnTo>
                  <a:lnTo>
                    <a:pt x="4764" y="628996"/>
                  </a:lnTo>
                  <a:lnTo>
                    <a:pt x="0" y="624230"/>
                  </a:lnTo>
                  <a:lnTo>
                    <a:pt x="4764" y="605170"/>
                  </a:lnTo>
                  <a:lnTo>
                    <a:pt x="19060" y="590874"/>
                  </a:lnTo>
                  <a:lnTo>
                    <a:pt x="57180" y="562284"/>
                  </a:lnTo>
                  <a:lnTo>
                    <a:pt x="66712" y="547988"/>
                  </a:lnTo>
                  <a:lnTo>
                    <a:pt x="85772" y="533694"/>
                  </a:lnTo>
                  <a:lnTo>
                    <a:pt x="95300" y="533694"/>
                  </a:lnTo>
                  <a:lnTo>
                    <a:pt x="100068" y="533694"/>
                  </a:lnTo>
                  <a:lnTo>
                    <a:pt x="104832" y="524164"/>
                  </a:lnTo>
                  <a:lnTo>
                    <a:pt x="104832" y="519398"/>
                  </a:lnTo>
                  <a:lnTo>
                    <a:pt x="114364" y="514632"/>
                  </a:lnTo>
                  <a:lnTo>
                    <a:pt x="128656" y="505102"/>
                  </a:lnTo>
                  <a:lnTo>
                    <a:pt x="152484" y="495572"/>
                  </a:lnTo>
                  <a:lnTo>
                    <a:pt x="166780" y="490808"/>
                  </a:lnTo>
                  <a:lnTo>
                    <a:pt x="185840" y="476512"/>
                  </a:lnTo>
                  <a:lnTo>
                    <a:pt x="195368" y="466982"/>
                  </a:lnTo>
                  <a:lnTo>
                    <a:pt x="200136" y="466982"/>
                  </a:lnTo>
                  <a:lnTo>
                    <a:pt x="204900" y="462216"/>
                  </a:lnTo>
                  <a:lnTo>
                    <a:pt x="209664" y="452686"/>
                  </a:lnTo>
                  <a:lnTo>
                    <a:pt x="214428" y="447920"/>
                  </a:lnTo>
                  <a:lnTo>
                    <a:pt x="223960" y="447920"/>
                  </a:lnTo>
                  <a:lnTo>
                    <a:pt x="238256" y="443156"/>
                  </a:lnTo>
                  <a:lnTo>
                    <a:pt x="257316" y="438390"/>
                  </a:lnTo>
                  <a:lnTo>
                    <a:pt x="266844" y="424096"/>
                  </a:lnTo>
                  <a:lnTo>
                    <a:pt x="271612" y="414566"/>
                  </a:lnTo>
                  <a:lnTo>
                    <a:pt x="281140" y="405034"/>
                  </a:lnTo>
                  <a:lnTo>
                    <a:pt x="295436" y="390740"/>
                  </a:lnTo>
                  <a:lnTo>
                    <a:pt x="309732" y="376444"/>
                  </a:lnTo>
                  <a:lnTo>
                    <a:pt x="324028" y="352618"/>
                  </a:lnTo>
                  <a:lnTo>
                    <a:pt x="328792" y="347854"/>
                  </a:lnTo>
                  <a:lnTo>
                    <a:pt x="333556" y="347854"/>
                  </a:lnTo>
                  <a:lnTo>
                    <a:pt x="338324" y="338324"/>
                  </a:lnTo>
                  <a:lnTo>
                    <a:pt x="343088" y="319262"/>
                  </a:lnTo>
                  <a:lnTo>
                    <a:pt x="347852" y="295436"/>
                  </a:lnTo>
                  <a:lnTo>
                    <a:pt x="352620" y="285906"/>
                  </a:lnTo>
                  <a:lnTo>
                    <a:pt x="366912" y="276376"/>
                  </a:lnTo>
                  <a:lnTo>
                    <a:pt x="371680" y="271612"/>
                  </a:lnTo>
                  <a:lnTo>
                    <a:pt x="376444" y="271612"/>
                  </a:lnTo>
                  <a:lnTo>
                    <a:pt x="381208" y="271612"/>
                  </a:lnTo>
                  <a:lnTo>
                    <a:pt x="390740" y="266846"/>
                  </a:lnTo>
                  <a:lnTo>
                    <a:pt x="400268" y="257316"/>
                  </a:lnTo>
                  <a:lnTo>
                    <a:pt x="405036" y="262082"/>
                  </a:lnTo>
                  <a:lnTo>
                    <a:pt x="414564" y="266846"/>
                  </a:lnTo>
                  <a:lnTo>
                    <a:pt x="424096" y="276376"/>
                  </a:lnTo>
                  <a:lnTo>
                    <a:pt x="428860" y="285906"/>
                  </a:lnTo>
                  <a:lnTo>
                    <a:pt x="433624" y="295436"/>
                  </a:lnTo>
                  <a:lnTo>
                    <a:pt x="433624" y="304968"/>
                  </a:lnTo>
                  <a:lnTo>
                    <a:pt x="443156" y="309732"/>
                  </a:lnTo>
                  <a:lnTo>
                    <a:pt x="457452" y="314498"/>
                  </a:lnTo>
                  <a:lnTo>
                    <a:pt x="481276" y="319262"/>
                  </a:lnTo>
                  <a:lnTo>
                    <a:pt x="495572" y="319262"/>
                  </a:lnTo>
                  <a:lnTo>
                    <a:pt x="505104" y="324028"/>
                  </a:lnTo>
                  <a:lnTo>
                    <a:pt x="519396" y="328792"/>
                  </a:lnTo>
                  <a:lnTo>
                    <a:pt x="557520" y="324028"/>
                  </a:lnTo>
                  <a:lnTo>
                    <a:pt x="571812" y="328792"/>
                  </a:lnTo>
                  <a:lnTo>
                    <a:pt x="581344" y="333558"/>
                  </a:lnTo>
                  <a:lnTo>
                    <a:pt x="586108" y="338324"/>
                  </a:lnTo>
                  <a:lnTo>
                    <a:pt x="595640" y="338324"/>
                  </a:lnTo>
                  <a:lnTo>
                    <a:pt x="600404" y="333558"/>
                  </a:lnTo>
                  <a:lnTo>
                    <a:pt x="609936" y="314498"/>
                  </a:lnTo>
                  <a:lnTo>
                    <a:pt x="614700" y="304968"/>
                  </a:lnTo>
                  <a:lnTo>
                    <a:pt x="614700" y="295436"/>
                  </a:lnTo>
                  <a:lnTo>
                    <a:pt x="609936" y="285906"/>
                  </a:lnTo>
                  <a:lnTo>
                    <a:pt x="600404" y="276376"/>
                  </a:lnTo>
                  <a:lnTo>
                    <a:pt x="590876" y="262082"/>
                  </a:lnTo>
                  <a:lnTo>
                    <a:pt x="586108" y="247786"/>
                  </a:lnTo>
                  <a:lnTo>
                    <a:pt x="581344" y="243020"/>
                  </a:lnTo>
                  <a:lnTo>
                    <a:pt x="576580" y="233490"/>
                  </a:lnTo>
                  <a:lnTo>
                    <a:pt x="576580" y="223960"/>
                  </a:lnTo>
                  <a:lnTo>
                    <a:pt x="576580" y="214430"/>
                  </a:lnTo>
                  <a:lnTo>
                    <a:pt x="595640" y="209664"/>
                  </a:lnTo>
                  <a:lnTo>
                    <a:pt x="619464" y="204900"/>
                  </a:lnTo>
                  <a:lnTo>
                    <a:pt x="638524" y="209664"/>
                  </a:lnTo>
                  <a:lnTo>
                    <a:pt x="667116" y="209664"/>
                  </a:lnTo>
                  <a:lnTo>
                    <a:pt x="686176" y="204900"/>
                  </a:lnTo>
                  <a:lnTo>
                    <a:pt x="714768" y="204900"/>
                  </a:lnTo>
                  <a:lnTo>
                    <a:pt x="719532" y="200134"/>
                  </a:lnTo>
                  <a:lnTo>
                    <a:pt x="738592" y="181074"/>
                  </a:lnTo>
                  <a:lnTo>
                    <a:pt x="748124" y="176308"/>
                  </a:lnTo>
                  <a:lnTo>
                    <a:pt x="757652" y="166778"/>
                  </a:lnTo>
                  <a:lnTo>
                    <a:pt x="757652" y="157248"/>
                  </a:lnTo>
                  <a:lnTo>
                    <a:pt x="762420" y="147718"/>
                  </a:lnTo>
                  <a:lnTo>
                    <a:pt x="767184" y="138188"/>
                  </a:lnTo>
                  <a:lnTo>
                    <a:pt x="776716" y="123892"/>
                  </a:lnTo>
                  <a:lnTo>
                    <a:pt x="781480" y="119128"/>
                  </a:lnTo>
                  <a:lnTo>
                    <a:pt x="791008" y="119128"/>
                  </a:lnTo>
                  <a:lnTo>
                    <a:pt x="800540" y="123892"/>
                  </a:lnTo>
                  <a:lnTo>
                    <a:pt x="810072" y="133422"/>
                  </a:lnTo>
                  <a:lnTo>
                    <a:pt x="814836" y="128658"/>
                  </a:lnTo>
                  <a:lnTo>
                    <a:pt x="819600" y="119128"/>
                  </a:lnTo>
                  <a:lnTo>
                    <a:pt x="824364" y="119128"/>
                  </a:lnTo>
                  <a:lnTo>
                    <a:pt x="833896" y="119128"/>
                  </a:lnTo>
                  <a:lnTo>
                    <a:pt x="838660" y="114362"/>
                  </a:lnTo>
                  <a:lnTo>
                    <a:pt x="843428" y="85772"/>
                  </a:lnTo>
                  <a:lnTo>
                    <a:pt x="848192" y="61946"/>
                  </a:lnTo>
                  <a:lnTo>
                    <a:pt x="848192" y="47650"/>
                  </a:lnTo>
                  <a:lnTo>
                    <a:pt x="857720" y="23824"/>
                  </a:lnTo>
                  <a:lnTo>
                    <a:pt x="862488"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343" name="Google Shape;4810;p64">
              <a:extLst>
                <a:ext uri="{FF2B5EF4-FFF2-40B4-BE49-F238E27FC236}">
                  <a16:creationId xmlns:a16="http://schemas.microsoft.com/office/drawing/2014/main" id="{3B919172-9A0B-A100-55AB-0578B2372BC2}"/>
                </a:ext>
              </a:extLst>
            </p:cNvPr>
            <p:cNvGrpSpPr/>
            <p:nvPr/>
          </p:nvGrpSpPr>
          <p:grpSpPr>
            <a:xfrm>
              <a:off x="3852244" y="4062734"/>
              <a:ext cx="134545" cy="70882"/>
              <a:chOff x="23742616" y="20311914"/>
              <a:chExt cx="976852" cy="514634"/>
            </a:xfrm>
            <a:grpFill/>
          </p:grpSpPr>
          <p:sp>
            <p:nvSpPr>
              <p:cNvPr id="344" name="Google Shape;4811;p64">
                <a:extLst>
                  <a:ext uri="{FF2B5EF4-FFF2-40B4-BE49-F238E27FC236}">
                    <a16:creationId xmlns:a16="http://schemas.microsoft.com/office/drawing/2014/main" id="{6E2254DD-86E2-F652-7760-8F902811FD8E}"/>
                  </a:ext>
                </a:extLst>
              </p:cNvPr>
              <p:cNvSpPr/>
              <p:nvPr/>
            </p:nvSpPr>
            <p:spPr>
              <a:xfrm>
                <a:off x="24690877" y="20807488"/>
                <a:ext cx="28591" cy="19061"/>
              </a:xfrm>
              <a:custGeom>
                <a:avLst/>
                <a:gdLst/>
                <a:ahLst/>
                <a:cxnLst/>
                <a:rect l="l" t="t" r="r" b="b"/>
                <a:pathLst>
                  <a:path w="12" h="8" extrusionOk="0">
                    <a:moveTo>
                      <a:pt x="12" y="6"/>
                    </a:moveTo>
                    <a:lnTo>
                      <a:pt x="10" y="2"/>
                    </a:lnTo>
                    <a:lnTo>
                      <a:pt x="8" y="0"/>
                    </a:lnTo>
                    <a:lnTo>
                      <a:pt x="2" y="0"/>
                    </a:lnTo>
                    <a:lnTo>
                      <a:pt x="0" y="2"/>
                    </a:lnTo>
                    <a:lnTo>
                      <a:pt x="2" y="6"/>
                    </a:lnTo>
                    <a:lnTo>
                      <a:pt x="8" y="6"/>
                    </a:lnTo>
                    <a:lnTo>
                      <a:pt x="12" y="8"/>
                    </a:lnTo>
                    <a:lnTo>
                      <a:pt x="1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5" name="Google Shape;4812;p64">
                <a:extLst>
                  <a:ext uri="{FF2B5EF4-FFF2-40B4-BE49-F238E27FC236}">
                    <a16:creationId xmlns:a16="http://schemas.microsoft.com/office/drawing/2014/main" id="{BF4D2C6E-2506-6AD2-5897-8198A24D345F}"/>
                  </a:ext>
                </a:extLst>
              </p:cNvPr>
              <p:cNvSpPr/>
              <p:nvPr/>
            </p:nvSpPr>
            <p:spPr>
              <a:xfrm>
                <a:off x="24590809" y="20635944"/>
                <a:ext cx="104833" cy="38121"/>
              </a:xfrm>
              <a:custGeom>
                <a:avLst/>
                <a:gdLst/>
                <a:ahLst/>
                <a:cxnLst/>
                <a:rect l="l" t="t" r="r" b="b"/>
                <a:pathLst>
                  <a:path w="44" h="16" extrusionOk="0">
                    <a:moveTo>
                      <a:pt x="12" y="4"/>
                    </a:moveTo>
                    <a:lnTo>
                      <a:pt x="4" y="0"/>
                    </a:lnTo>
                    <a:lnTo>
                      <a:pt x="0" y="0"/>
                    </a:lnTo>
                    <a:lnTo>
                      <a:pt x="0" y="2"/>
                    </a:lnTo>
                    <a:lnTo>
                      <a:pt x="0" y="6"/>
                    </a:lnTo>
                    <a:lnTo>
                      <a:pt x="8" y="12"/>
                    </a:lnTo>
                    <a:lnTo>
                      <a:pt x="26" y="16"/>
                    </a:lnTo>
                    <a:lnTo>
                      <a:pt x="38" y="14"/>
                    </a:lnTo>
                    <a:lnTo>
                      <a:pt x="42" y="12"/>
                    </a:lnTo>
                    <a:lnTo>
                      <a:pt x="44" y="6"/>
                    </a:lnTo>
                    <a:lnTo>
                      <a:pt x="38" y="4"/>
                    </a:lnTo>
                    <a:lnTo>
                      <a:pt x="16" y="6"/>
                    </a:lnTo>
                    <a:lnTo>
                      <a:pt x="12"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6" name="Google Shape;4813;p64">
                <a:extLst>
                  <a:ext uri="{FF2B5EF4-FFF2-40B4-BE49-F238E27FC236}">
                    <a16:creationId xmlns:a16="http://schemas.microsoft.com/office/drawing/2014/main" id="{5567124B-796B-A665-F581-0C8C45E6B137}"/>
                  </a:ext>
                </a:extLst>
              </p:cNvPr>
              <p:cNvSpPr/>
              <p:nvPr/>
            </p:nvSpPr>
            <p:spPr>
              <a:xfrm>
                <a:off x="24166713" y="20507284"/>
                <a:ext cx="76242" cy="33356"/>
              </a:xfrm>
              <a:custGeom>
                <a:avLst/>
                <a:gdLst/>
                <a:ahLst/>
                <a:cxnLst/>
                <a:rect l="l" t="t" r="r" b="b"/>
                <a:pathLst>
                  <a:path w="32" h="14" extrusionOk="0">
                    <a:moveTo>
                      <a:pt x="26" y="8"/>
                    </a:moveTo>
                    <a:lnTo>
                      <a:pt x="10" y="0"/>
                    </a:lnTo>
                    <a:lnTo>
                      <a:pt x="2" y="0"/>
                    </a:lnTo>
                    <a:lnTo>
                      <a:pt x="0" y="2"/>
                    </a:lnTo>
                    <a:lnTo>
                      <a:pt x="2" y="8"/>
                    </a:lnTo>
                    <a:lnTo>
                      <a:pt x="6" y="12"/>
                    </a:lnTo>
                    <a:lnTo>
                      <a:pt x="14" y="12"/>
                    </a:lnTo>
                    <a:lnTo>
                      <a:pt x="22" y="14"/>
                    </a:lnTo>
                    <a:lnTo>
                      <a:pt x="24" y="12"/>
                    </a:lnTo>
                    <a:lnTo>
                      <a:pt x="32" y="12"/>
                    </a:lnTo>
                    <a:lnTo>
                      <a:pt x="2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7" name="Google Shape;4814;p64">
                <a:extLst>
                  <a:ext uri="{FF2B5EF4-FFF2-40B4-BE49-F238E27FC236}">
                    <a16:creationId xmlns:a16="http://schemas.microsoft.com/office/drawing/2014/main" id="{8ADD088C-BB12-91A5-F1F1-5EF0C65D719D}"/>
                  </a:ext>
                </a:extLst>
              </p:cNvPr>
              <p:cNvSpPr/>
              <p:nvPr/>
            </p:nvSpPr>
            <p:spPr>
              <a:xfrm>
                <a:off x="24123827" y="20488223"/>
                <a:ext cx="33356" cy="23826"/>
              </a:xfrm>
              <a:custGeom>
                <a:avLst/>
                <a:gdLst/>
                <a:ahLst/>
                <a:cxnLst/>
                <a:rect l="l" t="t" r="r" b="b"/>
                <a:pathLst>
                  <a:path w="14" h="10" extrusionOk="0">
                    <a:moveTo>
                      <a:pt x="12" y="10"/>
                    </a:moveTo>
                    <a:lnTo>
                      <a:pt x="14" y="8"/>
                    </a:lnTo>
                    <a:lnTo>
                      <a:pt x="14" y="4"/>
                    </a:lnTo>
                    <a:lnTo>
                      <a:pt x="12" y="2"/>
                    </a:lnTo>
                    <a:lnTo>
                      <a:pt x="8" y="0"/>
                    </a:lnTo>
                    <a:lnTo>
                      <a:pt x="0" y="4"/>
                    </a:lnTo>
                    <a:lnTo>
                      <a:pt x="6" y="10"/>
                    </a:lnTo>
                    <a:lnTo>
                      <a:pt x="1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8" name="Google Shape;4815;p64">
                <a:extLst>
                  <a:ext uri="{FF2B5EF4-FFF2-40B4-BE49-F238E27FC236}">
                    <a16:creationId xmlns:a16="http://schemas.microsoft.com/office/drawing/2014/main" id="{B41135CA-EF95-77CB-2247-36E90D76ACE8}"/>
                  </a:ext>
                </a:extLst>
              </p:cNvPr>
              <p:cNvSpPr/>
              <p:nvPr/>
            </p:nvSpPr>
            <p:spPr>
              <a:xfrm>
                <a:off x="24204833" y="20469163"/>
                <a:ext cx="81007" cy="38121"/>
              </a:xfrm>
              <a:custGeom>
                <a:avLst/>
                <a:gdLst/>
                <a:ahLst/>
                <a:cxnLst/>
                <a:rect l="l" t="t" r="r" b="b"/>
                <a:pathLst>
                  <a:path w="34" h="16" extrusionOk="0">
                    <a:moveTo>
                      <a:pt x="34" y="16"/>
                    </a:moveTo>
                    <a:lnTo>
                      <a:pt x="24" y="8"/>
                    </a:lnTo>
                    <a:lnTo>
                      <a:pt x="0" y="0"/>
                    </a:lnTo>
                    <a:lnTo>
                      <a:pt x="8" y="8"/>
                    </a:lnTo>
                    <a:lnTo>
                      <a:pt x="14" y="10"/>
                    </a:lnTo>
                    <a:lnTo>
                      <a:pt x="32" y="16"/>
                    </a:lnTo>
                    <a:lnTo>
                      <a:pt x="34"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49" name="Google Shape;4816;p64">
                <a:extLst>
                  <a:ext uri="{FF2B5EF4-FFF2-40B4-BE49-F238E27FC236}">
                    <a16:creationId xmlns:a16="http://schemas.microsoft.com/office/drawing/2014/main" id="{A158B01A-90BB-8DC2-9343-04CBFE9CCCB9}"/>
                  </a:ext>
                </a:extLst>
              </p:cNvPr>
              <p:cNvSpPr/>
              <p:nvPr/>
            </p:nvSpPr>
            <p:spPr>
              <a:xfrm>
                <a:off x="24347788" y="20454869"/>
                <a:ext cx="57182" cy="33356"/>
              </a:xfrm>
              <a:custGeom>
                <a:avLst/>
                <a:gdLst/>
                <a:ahLst/>
                <a:cxnLst/>
                <a:rect l="l" t="t" r="r" b="b"/>
                <a:pathLst>
                  <a:path w="24" h="14" extrusionOk="0">
                    <a:moveTo>
                      <a:pt x="22" y="14"/>
                    </a:moveTo>
                    <a:lnTo>
                      <a:pt x="24" y="10"/>
                    </a:lnTo>
                    <a:lnTo>
                      <a:pt x="24" y="6"/>
                    </a:lnTo>
                    <a:lnTo>
                      <a:pt x="18" y="2"/>
                    </a:lnTo>
                    <a:lnTo>
                      <a:pt x="8" y="0"/>
                    </a:lnTo>
                    <a:lnTo>
                      <a:pt x="4" y="2"/>
                    </a:lnTo>
                    <a:lnTo>
                      <a:pt x="0" y="4"/>
                    </a:lnTo>
                    <a:lnTo>
                      <a:pt x="2" y="10"/>
                    </a:lnTo>
                    <a:lnTo>
                      <a:pt x="6" y="12"/>
                    </a:lnTo>
                    <a:lnTo>
                      <a:pt x="20" y="14"/>
                    </a:lnTo>
                    <a:lnTo>
                      <a:pt x="22"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0" name="Google Shape;4817;p64">
                <a:extLst>
                  <a:ext uri="{FF2B5EF4-FFF2-40B4-BE49-F238E27FC236}">
                    <a16:creationId xmlns:a16="http://schemas.microsoft.com/office/drawing/2014/main" id="{4D52CE14-1796-749F-C57B-0F1659B8B86A}"/>
                  </a:ext>
                </a:extLst>
              </p:cNvPr>
              <p:cNvSpPr/>
              <p:nvPr/>
            </p:nvSpPr>
            <p:spPr>
              <a:xfrm>
                <a:off x="23742616" y="20311914"/>
                <a:ext cx="19061" cy="33356"/>
              </a:xfrm>
              <a:custGeom>
                <a:avLst/>
                <a:gdLst/>
                <a:ahLst/>
                <a:cxnLst/>
                <a:rect l="l" t="t" r="r" b="b"/>
                <a:pathLst>
                  <a:path w="8" h="14" extrusionOk="0">
                    <a:moveTo>
                      <a:pt x="8" y="10"/>
                    </a:moveTo>
                    <a:lnTo>
                      <a:pt x="8" y="4"/>
                    </a:lnTo>
                    <a:lnTo>
                      <a:pt x="4" y="0"/>
                    </a:lnTo>
                    <a:lnTo>
                      <a:pt x="0" y="2"/>
                    </a:lnTo>
                    <a:lnTo>
                      <a:pt x="0" y="10"/>
                    </a:lnTo>
                    <a:lnTo>
                      <a:pt x="0" y="12"/>
                    </a:lnTo>
                    <a:lnTo>
                      <a:pt x="6" y="14"/>
                    </a:lnTo>
                    <a:lnTo>
                      <a:pt x="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grpSp>
          <p:nvGrpSpPr>
            <p:cNvPr id="351" name="Google Shape;4818;p64">
              <a:extLst>
                <a:ext uri="{FF2B5EF4-FFF2-40B4-BE49-F238E27FC236}">
                  <a16:creationId xmlns:a16="http://schemas.microsoft.com/office/drawing/2014/main" id="{2C242524-D8EF-FF38-1EBA-FE3A71FAFC11}"/>
                </a:ext>
              </a:extLst>
            </p:cNvPr>
            <p:cNvGrpSpPr/>
            <p:nvPr/>
          </p:nvGrpSpPr>
          <p:grpSpPr>
            <a:xfrm>
              <a:off x="4154149" y="3988571"/>
              <a:ext cx="236930" cy="257276"/>
              <a:chOff x="25934573" y="19773455"/>
              <a:chExt cx="1720211" cy="1867930"/>
            </a:xfrm>
            <a:grpFill/>
          </p:grpSpPr>
          <p:sp>
            <p:nvSpPr>
              <p:cNvPr id="352" name="Google Shape;4819;p64">
                <a:extLst>
                  <a:ext uri="{FF2B5EF4-FFF2-40B4-BE49-F238E27FC236}">
                    <a16:creationId xmlns:a16="http://schemas.microsoft.com/office/drawing/2014/main" id="{30F67C57-7F0A-AADB-E1BA-0EF20697FBC9}"/>
                  </a:ext>
                </a:extLst>
              </p:cNvPr>
              <p:cNvSpPr/>
              <p:nvPr/>
            </p:nvSpPr>
            <p:spPr>
              <a:xfrm>
                <a:off x="25934573" y="21598498"/>
                <a:ext cx="85772" cy="42886"/>
              </a:xfrm>
              <a:custGeom>
                <a:avLst/>
                <a:gdLst/>
                <a:ahLst/>
                <a:cxnLst/>
                <a:rect l="l" t="t" r="r" b="b"/>
                <a:pathLst>
                  <a:path w="36" h="18" extrusionOk="0">
                    <a:moveTo>
                      <a:pt x="4" y="0"/>
                    </a:moveTo>
                    <a:lnTo>
                      <a:pt x="0" y="6"/>
                    </a:lnTo>
                    <a:lnTo>
                      <a:pt x="0" y="8"/>
                    </a:lnTo>
                    <a:lnTo>
                      <a:pt x="4" y="12"/>
                    </a:lnTo>
                    <a:lnTo>
                      <a:pt x="14" y="16"/>
                    </a:lnTo>
                    <a:lnTo>
                      <a:pt x="26" y="18"/>
                    </a:lnTo>
                    <a:lnTo>
                      <a:pt x="30" y="14"/>
                    </a:lnTo>
                    <a:lnTo>
                      <a:pt x="36" y="10"/>
                    </a:lnTo>
                    <a:lnTo>
                      <a:pt x="30" y="8"/>
                    </a:lnTo>
                    <a:lnTo>
                      <a:pt x="20" y="2"/>
                    </a:lnTo>
                    <a:lnTo>
                      <a:pt x="12" y="4"/>
                    </a:lnTo>
                    <a:lnTo>
                      <a:pt x="4"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3" name="Google Shape;4820;p64">
                <a:extLst>
                  <a:ext uri="{FF2B5EF4-FFF2-40B4-BE49-F238E27FC236}">
                    <a16:creationId xmlns:a16="http://schemas.microsoft.com/office/drawing/2014/main" id="{9CF87E3C-0743-219C-0088-455E2334B51D}"/>
                  </a:ext>
                </a:extLst>
              </p:cNvPr>
              <p:cNvSpPr/>
              <p:nvPr/>
            </p:nvSpPr>
            <p:spPr>
              <a:xfrm>
                <a:off x="27144916" y="19773455"/>
                <a:ext cx="509869" cy="1038798"/>
              </a:xfrm>
              <a:custGeom>
                <a:avLst/>
                <a:gdLst/>
                <a:ahLst/>
                <a:cxnLst/>
                <a:rect l="l" t="t" r="r" b="b"/>
                <a:pathLst>
                  <a:path w="214" h="436" extrusionOk="0">
                    <a:moveTo>
                      <a:pt x="86" y="26"/>
                    </a:moveTo>
                    <a:lnTo>
                      <a:pt x="86" y="26"/>
                    </a:lnTo>
                    <a:lnTo>
                      <a:pt x="82" y="20"/>
                    </a:lnTo>
                    <a:lnTo>
                      <a:pt x="84" y="18"/>
                    </a:lnTo>
                    <a:lnTo>
                      <a:pt x="90" y="10"/>
                    </a:lnTo>
                    <a:lnTo>
                      <a:pt x="88" y="8"/>
                    </a:lnTo>
                    <a:lnTo>
                      <a:pt x="86" y="6"/>
                    </a:lnTo>
                    <a:lnTo>
                      <a:pt x="84" y="2"/>
                    </a:lnTo>
                    <a:lnTo>
                      <a:pt x="84" y="0"/>
                    </a:lnTo>
                    <a:lnTo>
                      <a:pt x="80" y="0"/>
                    </a:lnTo>
                    <a:lnTo>
                      <a:pt x="76" y="0"/>
                    </a:lnTo>
                    <a:lnTo>
                      <a:pt x="62" y="6"/>
                    </a:lnTo>
                    <a:lnTo>
                      <a:pt x="60" y="6"/>
                    </a:lnTo>
                    <a:lnTo>
                      <a:pt x="52" y="10"/>
                    </a:lnTo>
                    <a:lnTo>
                      <a:pt x="46" y="16"/>
                    </a:lnTo>
                    <a:lnTo>
                      <a:pt x="40" y="26"/>
                    </a:lnTo>
                    <a:lnTo>
                      <a:pt x="40" y="32"/>
                    </a:lnTo>
                    <a:lnTo>
                      <a:pt x="42" y="38"/>
                    </a:lnTo>
                    <a:lnTo>
                      <a:pt x="48" y="38"/>
                    </a:lnTo>
                    <a:lnTo>
                      <a:pt x="44" y="42"/>
                    </a:lnTo>
                    <a:lnTo>
                      <a:pt x="44" y="50"/>
                    </a:lnTo>
                    <a:lnTo>
                      <a:pt x="50" y="74"/>
                    </a:lnTo>
                    <a:lnTo>
                      <a:pt x="54" y="86"/>
                    </a:lnTo>
                    <a:lnTo>
                      <a:pt x="54" y="92"/>
                    </a:lnTo>
                    <a:lnTo>
                      <a:pt x="54" y="96"/>
                    </a:lnTo>
                    <a:lnTo>
                      <a:pt x="54" y="106"/>
                    </a:lnTo>
                    <a:lnTo>
                      <a:pt x="52" y="120"/>
                    </a:lnTo>
                    <a:lnTo>
                      <a:pt x="50" y="128"/>
                    </a:lnTo>
                    <a:lnTo>
                      <a:pt x="48" y="132"/>
                    </a:lnTo>
                    <a:lnTo>
                      <a:pt x="40" y="162"/>
                    </a:lnTo>
                    <a:lnTo>
                      <a:pt x="40" y="170"/>
                    </a:lnTo>
                    <a:lnTo>
                      <a:pt x="42" y="172"/>
                    </a:lnTo>
                    <a:lnTo>
                      <a:pt x="42" y="174"/>
                    </a:lnTo>
                    <a:lnTo>
                      <a:pt x="32" y="200"/>
                    </a:lnTo>
                    <a:lnTo>
                      <a:pt x="22" y="224"/>
                    </a:lnTo>
                    <a:lnTo>
                      <a:pt x="16" y="234"/>
                    </a:lnTo>
                    <a:lnTo>
                      <a:pt x="12" y="236"/>
                    </a:lnTo>
                    <a:lnTo>
                      <a:pt x="8" y="242"/>
                    </a:lnTo>
                    <a:lnTo>
                      <a:pt x="8" y="246"/>
                    </a:lnTo>
                    <a:lnTo>
                      <a:pt x="8" y="248"/>
                    </a:lnTo>
                    <a:lnTo>
                      <a:pt x="4" y="260"/>
                    </a:lnTo>
                    <a:lnTo>
                      <a:pt x="4" y="274"/>
                    </a:lnTo>
                    <a:lnTo>
                      <a:pt x="0" y="282"/>
                    </a:lnTo>
                    <a:lnTo>
                      <a:pt x="0" y="286"/>
                    </a:lnTo>
                    <a:lnTo>
                      <a:pt x="0" y="292"/>
                    </a:lnTo>
                    <a:lnTo>
                      <a:pt x="6" y="294"/>
                    </a:lnTo>
                    <a:lnTo>
                      <a:pt x="8" y="296"/>
                    </a:lnTo>
                    <a:lnTo>
                      <a:pt x="16" y="294"/>
                    </a:lnTo>
                    <a:lnTo>
                      <a:pt x="24" y="292"/>
                    </a:lnTo>
                    <a:lnTo>
                      <a:pt x="26" y="284"/>
                    </a:lnTo>
                    <a:lnTo>
                      <a:pt x="34" y="268"/>
                    </a:lnTo>
                    <a:lnTo>
                      <a:pt x="40" y="264"/>
                    </a:lnTo>
                    <a:lnTo>
                      <a:pt x="46" y="264"/>
                    </a:lnTo>
                    <a:lnTo>
                      <a:pt x="36" y="270"/>
                    </a:lnTo>
                    <a:lnTo>
                      <a:pt x="32" y="278"/>
                    </a:lnTo>
                    <a:lnTo>
                      <a:pt x="34" y="286"/>
                    </a:lnTo>
                    <a:lnTo>
                      <a:pt x="30" y="292"/>
                    </a:lnTo>
                    <a:lnTo>
                      <a:pt x="26" y="296"/>
                    </a:lnTo>
                    <a:lnTo>
                      <a:pt x="20" y="296"/>
                    </a:lnTo>
                    <a:lnTo>
                      <a:pt x="16" y="298"/>
                    </a:lnTo>
                    <a:lnTo>
                      <a:pt x="18" y="308"/>
                    </a:lnTo>
                    <a:lnTo>
                      <a:pt x="18" y="316"/>
                    </a:lnTo>
                    <a:lnTo>
                      <a:pt x="20" y="318"/>
                    </a:lnTo>
                    <a:lnTo>
                      <a:pt x="26" y="316"/>
                    </a:lnTo>
                    <a:lnTo>
                      <a:pt x="38" y="310"/>
                    </a:lnTo>
                    <a:lnTo>
                      <a:pt x="42" y="312"/>
                    </a:lnTo>
                    <a:lnTo>
                      <a:pt x="46" y="310"/>
                    </a:lnTo>
                    <a:lnTo>
                      <a:pt x="50" y="314"/>
                    </a:lnTo>
                    <a:lnTo>
                      <a:pt x="54" y="318"/>
                    </a:lnTo>
                    <a:lnTo>
                      <a:pt x="40" y="316"/>
                    </a:lnTo>
                    <a:lnTo>
                      <a:pt x="44" y="328"/>
                    </a:lnTo>
                    <a:lnTo>
                      <a:pt x="46" y="338"/>
                    </a:lnTo>
                    <a:lnTo>
                      <a:pt x="40" y="358"/>
                    </a:lnTo>
                    <a:lnTo>
                      <a:pt x="44" y="364"/>
                    </a:lnTo>
                    <a:lnTo>
                      <a:pt x="46" y="376"/>
                    </a:lnTo>
                    <a:lnTo>
                      <a:pt x="44" y="388"/>
                    </a:lnTo>
                    <a:lnTo>
                      <a:pt x="44" y="400"/>
                    </a:lnTo>
                    <a:lnTo>
                      <a:pt x="36" y="422"/>
                    </a:lnTo>
                    <a:lnTo>
                      <a:pt x="32" y="434"/>
                    </a:lnTo>
                    <a:lnTo>
                      <a:pt x="36" y="434"/>
                    </a:lnTo>
                    <a:lnTo>
                      <a:pt x="42" y="430"/>
                    </a:lnTo>
                    <a:lnTo>
                      <a:pt x="50" y="430"/>
                    </a:lnTo>
                    <a:lnTo>
                      <a:pt x="58" y="426"/>
                    </a:lnTo>
                    <a:lnTo>
                      <a:pt x="66" y="428"/>
                    </a:lnTo>
                    <a:lnTo>
                      <a:pt x="88" y="430"/>
                    </a:lnTo>
                    <a:lnTo>
                      <a:pt x="102" y="436"/>
                    </a:lnTo>
                    <a:lnTo>
                      <a:pt x="108" y="436"/>
                    </a:lnTo>
                    <a:lnTo>
                      <a:pt x="130" y="422"/>
                    </a:lnTo>
                    <a:lnTo>
                      <a:pt x="136" y="422"/>
                    </a:lnTo>
                    <a:lnTo>
                      <a:pt x="132" y="402"/>
                    </a:lnTo>
                    <a:lnTo>
                      <a:pt x="130" y="394"/>
                    </a:lnTo>
                    <a:lnTo>
                      <a:pt x="130" y="388"/>
                    </a:lnTo>
                    <a:lnTo>
                      <a:pt x="134" y="376"/>
                    </a:lnTo>
                    <a:lnTo>
                      <a:pt x="138" y="372"/>
                    </a:lnTo>
                    <a:lnTo>
                      <a:pt x="144" y="362"/>
                    </a:lnTo>
                    <a:lnTo>
                      <a:pt x="152" y="354"/>
                    </a:lnTo>
                    <a:lnTo>
                      <a:pt x="158" y="352"/>
                    </a:lnTo>
                    <a:lnTo>
                      <a:pt x="162" y="350"/>
                    </a:lnTo>
                    <a:lnTo>
                      <a:pt x="164" y="344"/>
                    </a:lnTo>
                    <a:lnTo>
                      <a:pt x="166" y="338"/>
                    </a:lnTo>
                    <a:lnTo>
                      <a:pt x="164" y="338"/>
                    </a:lnTo>
                    <a:lnTo>
                      <a:pt x="156" y="338"/>
                    </a:lnTo>
                    <a:lnTo>
                      <a:pt x="140" y="316"/>
                    </a:lnTo>
                    <a:lnTo>
                      <a:pt x="142" y="312"/>
                    </a:lnTo>
                    <a:lnTo>
                      <a:pt x="144" y="306"/>
                    </a:lnTo>
                    <a:lnTo>
                      <a:pt x="144" y="300"/>
                    </a:lnTo>
                    <a:lnTo>
                      <a:pt x="144" y="294"/>
                    </a:lnTo>
                    <a:lnTo>
                      <a:pt x="148" y="290"/>
                    </a:lnTo>
                    <a:lnTo>
                      <a:pt x="154" y="284"/>
                    </a:lnTo>
                    <a:lnTo>
                      <a:pt x="160" y="278"/>
                    </a:lnTo>
                    <a:lnTo>
                      <a:pt x="162" y="272"/>
                    </a:lnTo>
                    <a:lnTo>
                      <a:pt x="164" y="266"/>
                    </a:lnTo>
                    <a:lnTo>
                      <a:pt x="160" y="260"/>
                    </a:lnTo>
                    <a:lnTo>
                      <a:pt x="152" y="258"/>
                    </a:lnTo>
                    <a:lnTo>
                      <a:pt x="144" y="242"/>
                    </a:lnTo>
                    <a:lnTo>
                      <a:pt x="142" y="230"/>
                    </a:lnTo>
                    <a:lnTo>
                      <a:pt x="140" y="230"/>
                    </a:lnTo>
                    <a:lnTo>
                      <a:pt x="134" y="224"/>
                    </a:lnTo>
                    <a:lnTo>
                      <a:pt x="128" y="216"/>
                    </a:lnTo>
                    <a:lnTo>
                      <a:pt x="128" y="214"/>
                    </a:lnTo>
                    <a:lnTo>
                      <a:pt x="134" y="212"/>
                    </a:lnTo>
                    <a:lnTo>
                      <a:pt x="156" y="212"/>
                    </a:lnTo>
                    <a:lnTo>
                      <a:pt x="160" y="210"/>
                    </a:lnTo>
                    <a:lnTo>
                      <a:pt x="160" y="210"/>
                    </a:lnTo>
                    <a:lnTo>
                      <a:pt x="164" y="202"/>
                    </a:lnTo>
                    <a:lnTo>
                      <a:pt x="170" y="190"/>
                    </a:lnTo>
                    <a:lnTo>
                      <a:pt x="170" y="182"/>
                    </a:lnTo>
                    <a:lnTo>
                      <a:pt x="168" y="180"/>
                    </a:lnTo>
                    <a:lnTo>
                      <a:pt x="162" y="172"/>
                    </a:lnTo>
                    <a:lnTo>
                      <a:pt x="162" y="170"/>
                    </a:lnTo>
                    <a:lnTo>
                      <a:pt x="162" y="166"/>
                    </a:lnTo>
                    <a:lnTo>
                      <a:pt x="166" y="164"/>
                    </a:lnTo>
                    <a:lnTo>
                      <a:pt x="172" y="160"/>
                    </a:lnTo>
                    <a:lnTo>
                      <a:pt x="176" y="156"/>
                    </a:lnTo>
                    <a:lnTo>
                      <a:pt x="176" y="152"/>
                    </a:lnTo>
                    <a:lnTo>
                      <a:pt x="174" y="150"/>
                    </a:lnTo>
                    <a:lnTo>
                      <a:pt x="172" y="146"/>
                    </a:lnTo>
                    <a:lnTo>
                      <a:pt x="174" y="144"/>
                    </a:lnTo>
                    <a:lnTo>
                      <a:pt x="174" y="132"/>
                    </a:lnTo>
                    <a:lnTo>
                      <a:pt x="176" y="128"/>
                    </a:lnTo>
                    <a:lnTo>
                      <a:pt x="174" y="118"/>
                    </a:lnTo>
                    <a:lnTo>
                      <a:pt x="172" y="110"/>
                    </a:lnTo>
                    <a:lnTo>
                      <a:pt x="168" y="98"/>
                    </a:lnTo>
                    <a:lnTo>
                      <a:pt x="168" y="96"/>
                    </a:lnTo>
                    <a:lnTo>
                      <a:pt x="170" y="94"/>
                    </a:lnTo>
                    <a:lnTo>
                      <a:pt x="178" y="90"/>
                    </a:lnTo>
                    <a:lnTo>
                      <a:pt x="184" y="80"/>
                    </a:lnTo>
                    <a:lnTo>
                      <a:pt x="192" y="72"/>
                    </a:lnTo>
                    <a:lnTo>
                      <a:pt x="202" y="66"/>
                    </a:lnTo>
                    <a:lnTo>
                      <a:pt x="210" y="58"/>
                    </a:lnTo>
                    <a:lnTo>
                      <a:pt x="212" y="54"/>
                    </a:lnTo>
                    <a:lnTo>
                      <a:pt x="214" y="52"/>
                    </a:lnTo>
                    <a:lnTo>
                      <a:pt x="214" y="50"/>
                    </a:lnTo>
                    <a:lnTo>
                      <a:pt x="212" y="46"/>
                    </a:lnTo>
                    <a:lnTo>
                      <a:pt x="208" y="42"/>
                    </a:lnTo>
                    <a:lnTo>
                      <a:pt x="204" y="40"/>
                    </a:lnTo>
                    <a:lnTo>
                      <a:pt x="196" y="40"/>
                    </a:lnTo>
                    <a:lnTo>
                      <a:pt x="194" y="40"/>
                    </a:lnTo>
                    <a:lnTo>
                      <a:pt x="192" y="38"/>
                    </a:lnTo>
                    <a:lnTo>
                      <a:pt x="192" y="30"/>
                    </a:lnTo>
                    <a:lnTo>
                      <a:pt x="192" y="22"/>
                    </a:lnTo>
                    <a:lnTo>
                      <a:pt x="192" y="18"/>
                    </a:lnTo>
                    <a:lnTo>
                      <a:pt x="188" y="16"/>
                    </a:lnTo>
                    <a:lnTo>
                      <a:pt x="182" y="16"/>
                    </a:lnTo>
                    <a:lnTo>
                      <a:pt x="178" y="14"/>
                    </a:lnTo>
                    <a:lnTo>
                      <a:pt x="174" y="14"/>
                    </a:lnTo>
                    <a:lnTo>
                      <a:pt x="172" y="16"/>
                    </a:lnTo>
                    <a:lnTo>
                      <a:pt x="162" y="16"/>
                    </a:lnTo>
                    <a:lnTo>
                      <a:pt x="156" y="14"/>
                    </a:lnTo>
                    <a:lnTo>
                      <a:pt x="154" y="12"/>
                    </a:lnTo>
                    <a:lnTo>
                      <a:pt x="152" y="14"/>
                    </a:lnTo>
                    <a:lnTo>
                      <a:pt x="150" y="16"/>
                    </a:lnTo>
                    <a:lnTo>
                      <a:pt x="150" y="18"/>
                    </a:lnTo>
                    <a:lnTo>
                      <a:pt x="150" y="20"/>
                    </a:lnTo>
                    <a:lnTo>
                      <a:pt x="146" y="24"/>
                    </a:lnTo>
                    <a:lnTo>
                      <a:pt x="136" y="26"/>
                    </a:lnTo>
                    <a:lnTo>
                      <a:pt x="130" y="26"/>
                    </a:lnTo>
                    <a:lnTo>
                      <a:pt x="122" y="24"/>
                    </a:lnTo>
                    <a:lnTo>
                      <a:pt x="120" y="22"/>
                    </a:lnTo>
                    <a:lnTo>
                      <a:pt x="118" y="22"/>
                    </a:lnTo>
                    <a:lnTo>
                      <a:pt x="104" y="22"/>
                    </a:lnTo>
                    <a:lnTo>
                      <a:pt x="102" y="22"/>
                    </a:lnTo>
                    <a:lnTo>
                      <a:pt x="98" y="24"/>
                    </a:lnTo>
                    <a:lnTo>
                      <a:pt x="92" y="28"/>
                    </a:lnTo>
                    <a:lnTo>
                      <a:pt x="88" y="28"/>
                    </a:lnTo>
                    <a:lnTo>
                      <a:pt x="86"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354" name="Google Shape;4821;p64">
              <a:extLst>
                <a:ext uri="{FF2B5EF4-FFF2-40B4-BE49-F238E27FC236}">
                  <a16:creationId xmlns:a16="http://schemas.microsoft.com/office/drawing/2014/main" id="{A4050E94-C9DB-8A91-C881-DA0240BE7511}"/>
                </a:ext>
              </a:extLst>
            </p:cNvPr>
            <p:cNvSpPr/>
            <p:nvPr/>
          </p:nvSpPr>
          <p:spPr>
            <a:xfrm>
              <a:off x="3176896" y="5412445"/>
              <a:ext cx="181143" cy="193613"/>
            </a:xfrm>
            <a:custGeom>
              <a:avLst/>
              <a:gdLst/>
              <a:ahLst/>
              <a:cxnLst/>
              <a:rect l="l" t="t" r="r" b="b"/>
              <a:pathLst>
                <a:path w="1315176" h="1405712" extrusionOk="0">
                  <a:moveTo>
                    <a:pt x="414566" y="0"/>
                  </a:moveTo>
                  <a:lnTo>
                    <a:pt x="486042" y="0"/>
                  </a:lnTo>
                  <a:lnTo>
                    <a:pt x="557520" y="0"/>
                  </a:lnTo>
                  <a:lnTo>
                    <a:pt x="614702" y="33356"/>
                  </a:lnTo>
                  <a:lnTo>
                    <a:pt x="652822" y="57182"/>
                  </a:lnTo>
                  <a:lnTo>
                    <a:pt x="700474" y="85772"/>
                  </a:lnTo>
                  <a:lnTo>
                    <a:pt x="705238" y="90538"/>
                  </a:lnTo>
                  <a:lnTo>
                    <a:pt x="705238" y="119128"/>
                  </a:lnTo>
                  <a:lnTo>
                    <a:pt x="705238" y="142954"/>
                  </a:lnTo>
                  <a:lnTo>
                    <a:pt x="705238" y="157250"/>
                  </a:lnTo>
                  <a:lnTo>
                    <a:pt x="710004" y="166780"/>
                  </a:lnTo>
                  <a:lnTo>
                    <a:pt x="714768" y="171544"/>
                  </a:lnTo>
                  <a:lnTo>
                    <a:pt x="719534" y="181074"/>
                  </a:lnTo>
                  <a:lnTo>
                    <a:pt x="724300" y="185840"/>
                  </a:lnTo>
                  <a:lnTo>
                    <a:pt x="729064" y="195370"/>
                  </a:lnTo>
                  <a:lnTo>
                    <a:pt x="729064" y="204900"/>
                  </a:lnTo>
                  <a:lnTo>
                    <a:pt x="729064" y="214430"/>
                  </a:lnTo>
                  <a:lnTo>
                    <a:pt x="733830" y="228726"/>
                  </a:lnTo>
                  <a:lnTo>
                    <a:pt x="743360" y="233492"/>
                  </a:lnTo>
                  <a:lnTo>
                    <a:pt x="743360" y="243022"/>
                  </a:lnTo>
                  <a:lnTo>
                    <a:pt x="743360" y="247786"/>
                  </a:lnTo>
                  <a:lnTo>
                    <a:pt x="743360" y="252552"/>
                  </a:lnTo>
                  <a:lnTo>
                    <a:pt x="748124" y="257316"/>
                  </a:lnTo>
                  <a:lnTo>
                    <a:pt x="743360" y="262082"/>
                  </a:lnTo>
                  <a:lnTo>
                    <a:pt x="743360" y="266848"/>
                  </a:lnTo>
                  <a:lnTo>
                    <a:pt x="748124" y="271612"/>
                  </a:lnTo>
                  <a:lnTo>
                    <a:pt x="752890" y="281142"/>
                  </a:lnTo>
                  <a:lnTo>
                    <a:pt x="757656" y="304968"/>
                  </a:lnTo>
                  <a:lnTo>
                    <a:pt x="748124" y="319264"/>
                  </a:lnTo>
                  <a:lnTo>
                    <a:pt x="748124" y="328794"/>
                  </a:lnTo>
                  <a:lnTo>
                    <a:pt x="743360" y="333558"/>
                  </a:lnTo>
                  <a:lnTo>
                    <a:pt x="748124" y="343090"/>
                  </a:lnTo>
                  <a:lnTo>
                    <a:pt x="743360" y="352620"/>
                  </a:lnTo>
                  <a:lnTo>
                    <a:pt x="738594" y="366914"/>
                  </a:lnTo>
                  <a:lnTo>
                    <a:pt x="738594" y="376444"/>
                  </a:lnTo>
                  <a:lnTo>
                    <a:pt x="738594" y="385976"/>
                  </a:lnTo>
                  <a:lnTo>
                    <a:pt x="738594" y="390740"/>
                  </a:lnTo>
                  <a:lnTo>
                    <a:pt x="743360" y="400270"/>
                  </a:lnTo>
                  <a:lnTo>
                    <a:pt x="738594" y="409800"/>
                  </a:lnTo>
                  <a:lnTo>
                    <a:pt x="738594" y="419332"/>
                  </a:lnTo>
                  <a:lnTo>
                    <a:pt x="733830" y="424096"/>
                  </a:lnTo>
                  <a:lnTo>
                    <a:pt x="738594" y="438392"/>
                  </a:lnTo>
                  <a:lnTo>
                    <a:pt x="733830" y="447922"/>
                  </a:lnTo>
                  <a:lnTo>
                    <a:pt x="733830" y="452686"/>
                  </a:lnTo>
                  <a:lnTo>
                    <a:pt x="729064" y="457452"/>
                  </a:lnTo>
                  <a:lnTo>
                    <a:pt x="733830" y="471748"/>
                  </a:lnTo>
                  <a:lnTo>
                    <a:pt x="748124" y="476512"/>
                  </a:lnTo>
                  <a:lnTo>
                    <a:pt x="757656" y="476512"/>
                  </a:lnTo>
                  <a:lnTo>
                    <a:pt x="767186" y="471748"/>
                  </a:lnTo>
                  <a:lnTo>
                    <a:pt x="771950" y="466982"/>
                  </a:lnTo>
                  <a:lnTo>
                    <a:pt x="786246" y="471748"/>
                  </a:lnTo>
                  <a:lnTo>
                    <a:pt x="795776" y="481278"/>
                  </a:lnTo>
                  <a:lnTo>
                    <a:pt x="810072" y="481278"/>
                  </a:lnTo>
                  <a:lnTo>
                    <a:pt x="824366" y="486042"/>
                  </a:lnTo>
                  <a:lnTo>
                    <a:pt x="833898" y="486042"/>
                  </a:lnTo>
                  <a:lnTo>
                    <a:pt x="848192" y="486042"/>
                  </a:lnTo>
                  <a:lnTo>
                    <a:pt x="862488" y="486042"/>
                  </a:lnTo>
                  <a:lnTo>
                    <a:pt x="881548" y="490808"/>
                  </a:lnTo>
                  <a:lnTo>
                    <a:pt x="895844" y="495574"/>
                  </a:lnTo>
                  <a:lnTo>
                    <a:pt x="910140" y="495574"/>
                  </a:lnTo>
                  <a:lnTo>
                    <a:pt x="919670" y="495574"/>
                  </a:lnTo>
                  <a:lnTo>
                    <a:pt x="929200" y="490808"/>
                  </a:lnTo>
                  <a:lnTo>
                    <a:pt x="943496" y="490808"/>
                  </a:lnTo>
                  <a:lnTo>
                    <a:pt x="948260" y="481278"/>
                  </a:lnTo>
                  <a:lnTo>
                    <a:pt x="953026" y="476512"/>
                  </a:lnTo>
                  <a:lnTo>
                    <a:pt x="957790" y="466982"/>
                  </a:lnTo>
                  <a:lnTo>
                    <a:pt x="972086" y="462218"/>
                  </a:lnTo>
                  <a:lnTo>
                    <a:pt x="981616" y="466982"/>
                  </a:lnTo>
                  <a:lnTo>
                    <a:pt x="986382" y="481278"/>
                  </a:lnTo>
                  <a:lnTo>
                    <a:pt x="995912" y="490808"/>
                  </a:lnTo>
                  <a:lnTo>
                    <a:pt x="1000676" y="495574"/>
                  </a:lnTo>
                  <a:lnTo>
                    <a:pt x="1010206" y="500338"/>
                  </a:lnTo>
                  <a:lnTo>
                    <a:pt x="1029268" y="500338"/>
                  </a:lnTo>
                  <a:lnTo>
                    <a:pt x="1043562" y="500338"/>
                  </a:lnTo>
                  <a:lnTo>
                    <a:pt x="1057858" y="505104"/>
                  </a:lnTo>
                  <a:lnTo>
                    <a:pt x="1062624" y="505104"/>
                  </a:lnTo>
                  <a:lnTo>
                    <a:pt x="1072154" y="509868"/>
                  </a:lnTo>
                  <a:lnTo>
                    <a:pt x="1081684" y="519398"/>
                  </a:lnTo>
                  <a:lnTo>
                    <a:pt x="1081684" y="538460"/>
                  </a:lnTo>
                  <a:lnTo>
                    <a:pt x="1086448" y="552754"/>
                  </a:lnTo>
                  <a:lnTo>
                    <a:pt x="1095980" y="557520"/>
                  </a:lnTo>
                  <a:lnTo>
                    <a:pt x="1100744" y="567050"/>
                  </a:lnTo>
                  <a:lnTo>
                    <a:pt x="1100744" y="576580"/>
                  </a:lnTo>
                  <a:lnTo>
                    <a:pt x="1095980" y="590876"/>
                  </a:lnTo>
                  <a:lnTo>
                    <a:pt x="1095980" y="600406"/>
                  </a:lnTo>
                  <a:lnTo>
                    <a:pt x="1100744" y="614702"/>
                  </a:lnTo>
                  <a:lnTo>
                    <a:pt x="1100744" y="624232"/>
                  </a:lnTo>
                  <a:lnTo>
                    <a:pt x="1105510" y="638526"/>
                  </a:lnTo>
                  <a:lnTo>
                    <a:pt x="1110274" y="648058"/>
                  </a:lnTo>
                  <a:lnTo>
                    <a:pt x="1110274" y="662352"/>
                  </a:lnTo>
                  <a:lnTo>
                    <a:pt x="1110274" y="676648"/>
                  </a:lnTo>
                  <a:lnTo>
                    <a:pt x="1115040" y="681412"/>
                  </a:lnTo>
                  <a:lnTo>
                    <a:pt x="1115040" y="690944"/>
                  </a:lnTo>
                  <a:lnTo>
                    <a:pt x="1115040" y="700474"/>
                  </a:lnTo>
                  <a:lnTo>
                    <a:pt x="1110274" y="710004"/>
                  </a:lnTo>
                  <a:lnTo>
                    <a:pt x="1110274" y="719534"/>
                  </a:lnTo>
                  <a:lnTo>
                    <a:pt x="1115040" y="729064"/>
                  </a:lnTo>
                  <a:lnTo>
                    <a:pt x="1124570" y="738594"/>
                  </a:lnTo>
                  <a:lnTo>
                    <a:pt x="1129336" y="757654"/>
                  </a:lnTo>
                  <a:lnTo>
                    <a:pt x="1129336" y="767186"/>
                  </a:lnTo>
                  <a:lnTo>
                    <a:pt x="1134100" y="781480"/>
                  </a:lnTo>
                  <a:lnTo>
                    <a:pt x="1138866" y="791010"/>
                  </a:lnTo>
                  <a:lnTo>
                    <a:pt x="1153160" y="791010"/>
                  </a:lnTo>
                  <a:lnTo>
                    <a:pt x="1167456" y="795776"/>
                  </a:lnTo>
                  <a:lnTo>
                    <a:pt x="1186516" y="791010"/>
                  </a:lnTo>
                  <a:lnTo>
                    <a:pt x="1200812" y="786246"/>
                  </a:lnTo>
                  <a:lnTo>
                    <a:pt x="1210342" y="781480"/>
                  </a:lnTo>
                  <a:lnTo>
                    <a:pt x="1224638" y="771950"/>
                  </a:lnTo>
                  <a:lnTo>
                    <a:pt x="1238932" y="767186"/>
                  </a:lnTo>
                  <a:lnTo>
                    <a:pt x="1248464" y="762420"/>
                  </a:lnTo>
                  <a:lnTo>
                    <a:pt x="1257994" y="757654"/>
                  </a:lnTo>
                  <a:lnTo>
                    <a:pt x="1272288" y="767186"/>
                  </a:lnTo>
                  <a:lnTo>
                    <a:pt x="1286584" y="771950"/>
                  </a:lnTo>
                  <a:lnTo>
                    <a:pt x="1296114" y="786246"/>
                  </a:lnTo>
                  <a:lnTo>
                    <a:pt x="1315176" y="800542"/>
                  </a:lnTo>
                  <a:lnTo>
                    <a:pt x="1310410" y="800542"/>
                  </a:lnTo>
                  <a:lnTo>
                    <a:pt x="1305644" y="814836"/>
                  </a:lnTo>
                  <a:lnTo>
                    <a:pt x="1305644" y="824366"/>
                  </a:lnTo>
                  <a:lnTo>
                    <a:pt x="1310410" y="843428"/>
                  </a:lnTo>
                  <a:lnTo>
                    <a:pt x="1305644" y="881548"/>
                  </a:lnTo>
                  <a:lnTo>
                    <a:pt x="1291350" y="938730"/>
                  </a:lnTo>
                  <a:lnTo>
                    <a:pt x="1281820" y="972086"/>
                  </a:lnTo>
                  <a:lnTo>
                    <a:pt x="1286584" y="981616"/>
                  </a:lnTo>
                  <a:lnTo>
                    <a:pt x="1277054" y="1000676"/>
                  </a:lnTo>
                  <a:lnTo>
                    <a:pt x="1257994" y="1038798"/>
                  </a:lnTo>
                  <a:lnTo>
                    <a:pt x="1257994" y="1062622"/>
                  </a:lnTo>
                  <a:lnTo>
                    <a:pt x="1253228" y="1138866"/>
                  </a:lnTo>
                  <a:lnTo>
                    <a:pt x="1248464" y="1191282"/>
                  </a:lnTo>
                  <a:lnTo>
                    <a:pt x="1234168" y="1229402"/>
                  </a:lnTo>
                  <a:lnTo>
                    <a:pt x="1224638" y="1248462"/>
                  </a:lnTo>
                  <a:lnTo>
                    <a:pt x="1215108" y="1253228"/>
                  </a:lnTo>
                  <a:lnTo>
                    <a:pt x="1205578" y="1257994"/>
                  </a:lnTo>
                  <a:lnTo>
                    <a:pt x="1200812" y="1267524"/>
                  </a:lnTo>
                  <a:lnTo>
                    <a:pt x="1196046" y="1277054"/>
                  </a:lnTo>
                  <a:lnTo>
                    <a:pt x="1181752" y="1281818"/>
                  </a:lnTo>
                  <a:lnTo>
                    <a:pt x="1176986" y="1291350"/>
                  </a:lnTo>
                  <a:lnTo>
                    <a:pt x="1176986" y="1296114"/>
                  </a:lnTo>
                  <a:lnTo>
                    <a:pt x="1162692" y="1300880"/>
                  </a:lnTo>
                  <a:lnTo>
                    <a:pt x="1143630" y="1305644"/>
                  </a:lnTo>
                  <a:lnTo>
                    <a:pt x="1129336" y="1310410"/>
                  </a:lnTo>
                  <a:lnTo>
                    <a:pt x="1124570" y="1319940"/>
                  </a:lnTo>
                  <a:lnTo>
                    <a:pt x="1119804" y="1329470"/>
                  </a:lnTo>
                  <a:lnTo>
                    <a:pt x="1110274" y="1339000"/>
                  </a:lnTo>
                  <a:lnTo>
                    <a:pt x="1105510" y="1348530"/>
                  </a:lnTo>
                  <a:lnTo>
                    <a:pt x="1105510" y="1362826"/>
                  </a:lnTo>
                  <a:lnTo>
                    <a:pt x="1095980" y="1372356"/>
                  </a:lnTo>
                  <a:lnTo>
                    <a:pt x="1086448" y="1381886"/>
                  </a:lnTo>
                  <a:lnTo>
                    <a:pt x="1072154" y="1381886"/>
                  </a:lnTo>
                  <a:lnTo>
                    <a:pt x="1062624" y="1372356"/>
                  </a:lnTo>
                  <a:lnTo>
                    <a:pt x="1048328" y="1367590"/>
                  </a:lnTo>
                  <a:lnTo>
                    <a:pt x="1029268" y="1362826"/>
                  </a:lnTo>
                  <a:lnTo>
                    <a:pt x="1014972" y="1367590"/>
                  </a:lnTo>
                  <a:lnTo>
                    <a:pt x="1005442" y="1377122"/>
                  </a:lnTo>
                  <a:lnTo>
                    <a:pt x="991146" y="1386652"/>
                  </a:lnTo>
                  <a:lnTo>
                    <a:pt x="981616" y="1405712"/>
                  </a:lnTo>
                  <a:lnTo>
                    <a:pt x="972086" y="1405712"/>
                  </a:lnTo>
                  <a:lnTo>
                    <a:pt x="962556" y="1396182"/>
                  </a:lnTo>
                  <a:lnTo>
                    <a:pt x="948260" y="1391416"/>
                  </a:lnTo>
                  <a:lnTo>
                    <a:pt x="929200" y="1396182"/>
                  </a:lnTo>
                  <a:lnTo>
                    <a:pt x="914904" y="1396182"/>
                  </a:lnTo>
                  <a:lnTo>
                    <a:pt x="905374" y="1386652"/>
                  </a:lnTo>
                  <a:lnTo>
                    <a:pt x="886314" y="1386652"/>
                  </a:lnTo>
                  <a:lnTo>
                    <a:pt x="867254" y="1391416"/>
                  </a:lnTo>
                  <a:lnTo>
                    <a:pt x="824366" y="1386652"/>
                  </a:lnTo>
                  <a:lnTo>
                    <a:pt x="757656" y="1367590"/>
                  </a:lnTo>
                  <a:lnTo>
                    <a:pt x="700474" y="1358060"/>
                  </a:lnTo>
                  <a:lnTo>
                    <a:pt x="633762" y="1362826"/>
                  </a:lnTo>
                  <a:lnTo>
                    <a:pt x="628996" y="1343766"/>
                  </a:lnTo>
                  <a:lnTo>
                    <a:pt x="633762" y="1334236"/>
                  </a:lnTo>
                  <a:lnTo>
                    <a:pt x="643292" y="1324704"/>
                  </a:lnTo>
                  <a:lnTo>
                    <a:pt x="648058" y="1315174"/>
                  </a:lnTo>
                  <a:lnTo>
                    <a:pt x="652822" y="1305644"/>
                  </a:lnTo>
                  <a:lnTo>
                    <a:pt x="662352" y="1296114"/>
                  </a:lnTo>
                  <a:lnTo>
                    <a:pt x="671882" y="1291350"/>
                  </a:lnTo>
                  <a:lnTo>
                    <a:pt x="676648" y="1286584"/>
                  </a:lnTo>
                  <a:lnTo>
                    <a:pt x="676648" y="1281818"/>
                  </a:lnTo>
                  <a:lnTo>
                    <a:pt x="676648" y="1277054"/>
                  </a:lnTo>
                  <a:lnTo>
                    <a:pt x="686178" y="1272288"/>
                  </a:lnTo>
                  <a:lnTo>
                    <a:pt x="690944" y="1262758"/>
                  </a:lnTo>
                  <a:lnTo>
                    <a:pt x="690944" y="1253228"/>
                  </a:lnTo>
                  <a:lnTo>
                    <a:pt x="695708" y="1248462"/>
                  </a:lnTo>
                  <a:lnTo>
                    <a:pt x="700474" y="1243698"/>
                  </a:lnTo>
                  <a:lnTo>
                    <a:pt x="700474" y="1238932"/>
                  </a:lnTo>
                  <a:lnTo>
                    <a:pt x="695708" y="1219872"/>
                  </a:lnTo>
                  <a:lnTo>
                    <a:pt x="695708" y="1200812"/>
                  </a:lnTo>
                  <a:lnTo>
                    <a:pt x="700474" y="1191282"/>
                  </a:lnTo>
                  <a:lnTo>
                    <a:pt x="705238" y="1181752"/>
                  </a:lnTo>
                  <a:lnTo>
                    <a:pt x="710004" y="1176986"/>
                  </a:lnTo>
                  <a:lnTo>
                    <a:pt x="710004" y="1167456"/>
                  </a:lnTo>
                  <a:lnTo>
                    <a:pt x="714768" y="1157926"/>
                  </a:lnTo>
                  <a:lnTo>
                    <a:pt x="738594" y="1143630"/>
                  </a:lnTo>
                  <a:lnTo>
                    <a:pt x="743360" y="1138866"/>
                  </a:lnTo>
                  <a:lnTo>
                    <a:pt x="748124" y="1129334"/>
                  </a:lnTo>
                  <a:lnTo>
                    <a:pt x="748124" y="1119804"/>
                  </a:lnTo>
                  <a:lnTo>
                    <a:pt x="762420" y="1100744"/>
                  </a:lnTo>
                  <a:lnTo>
                    <a:pt x="767186" y="1086448"/>
                  </a:lnTo>
                  <a:lnTo>
                    <a:pt x="767186" y="1081684"/>
                  </a:lnTo>
                  <a:lnTo>
                    <a:pt x="771950" y="1076918"/>
                  </a:lnTo>
                  <a:lnTo>
                    <a:pt x="786246" y="1067388"/>
                  </a:lnTo>
                  <a:lnTo>
                    <a:pt x="795776" y="1053092"/>
                  </a:lnTo>
                  <a:lnTo>
                    <a:pt x="795776" y="1043562"/>
                  </a:lnTo>
                  <a:lnTo>
                    <a:pt x="791012" y="1034032"/>
                  </a:lnTo>
                  <a:lnTo>
                    <a:pt x="786246" y="1019736"/>
                  </a:lnTo>
                  <a:lnTo>
                    <a:pt x="757656" y="986380"/>
                  </a:lnTo>
                  <a:lnTo>
                    <a:pt x="733830" y="972086"/>
                  </a:lnTo>
                  <a:lnTo>
                    <a:pt x="705238" y="957790"/>
                  </a:lnTo>
                  <a:lnTo>
                    <a:pt x="690944" y="953026"/>
                  </a:lnTo>
                  <a:lnTo>
                    <a:pt x="681414" y="957790"/>
                  </a:lnTo>
                  <a:lnTo>
                    <a:pt x="671882" y="957790"/>
                  </a:lnTo>
                  <a:lnTo>
                    <a:pt x="662352" y="943494"/>
                  </a:lnTo>
                  <a:lnTo>
                    <a:pt x="648058" y="933964"/>
                  </a:lnTo>
                  <a:lnTo>
                    <a:pt x="614702" y="924434"/>
                  </a:lnTo>
                  <a:lnTo>
                    <a:pt x="543224" y="886314"/>
                  </a:lnTo>
                  <a:lnTo>
                    <a:pt x="514634" y="867252"/>
                  </a:lnTo>
                  <a:lnTo>
                    <a:pt x="505104" y="857722"/>
                  </a:lnTo>
                  <a:lnTo>
                    <a:pt x="476512" y="838662"/>
                  </a:lnTo>
                  <a:lnTo>
                    <a:pt x="433626" y="805306"/>
                  </a:lnTo>
                  <a:lnTo>
                    <a:pt x="400270" y="791010"/>
                  </a:lnTo>
                  <a:lnTo>
                    <a:pt x="376446" y="791010"/>
                  </a:lnTo>
                  <a:lnTo>
                    <a:pt x="338324" y="786246"/>
                  </a:lnTo>
                  <a:lnTo>
                    <a:pt x="285908" y="767186"/>
                  </a:lnTo>
                  <a:lnTo>
                    <a:pt x="257316" y="748124"/>
                  </a:lnTo>
                  <a:lnTo>
                    <a:pt x="247786" y="733830"/>
                  </a:lnTo>
                  <a:lnTo>
                    <a:pt x="228726" y="714768"/>
                  </a:lnTo>
                  <a:lnTo>
                    <a:pt x="195370" y="700474"/>
                  </a:lnTo>
                  <a:lnTo>
                    <a:pt x="181074" y="686178"/>
                  </a:lnTo>
                  <a:lnTo>
                    <a:pt x="181074" y="681412"/>
                  </a:lnTo>
                  <a:lnTo>
                    <a:pt x="171544" y="676648"/>
                  </a:lnTo>
                  <a:lnTo>
                    <a:pt x="152484" y="667118"/>
                  </a:lnTo>
                  <a:lnTo>
                    <a:pt x="133424" y="652822"/>
                  </a:lnTo>
                  <a:lnTo>
                    <a:pt x="114364" y="628996"/>
                  </a:lnTo>
                  <a:lnTo>
                    <a:pt x="95302" y="600406"/>
                  </a:lnTo>
                  <a:lnTo>
                    <a:pt x="71476" y="552754"/>
                  </a:lnTo>
                  <a:lnTo>
                    <a:pt x="47652" y="524164"/>
                  </a:lnTo>
                  <a:lnTo>
                    <a:pt x="19060" y="509868"/>
                  </a:lnTo>
                  <a:lnTo>
                    <a:pt x="4766" y="500338"/>
                  </a:lnTo>
                  <a:lnTo>
                    <a:pt x="4766" y="495574"/>
                  </a:lnTo>
                  <a:lnTo>
                    <a:pt x="0" y="490808"/>
                  </a:lnTo>
                  <a:lnTo>
                    <a:pt x="4766" y="481278"/>
                  </a:lnTo>
                  <a:lnTo>
                    <a:pt x="14296" y="447922"/>
                  </a:lnTo>
                  <a:lnTo>
                    <a:pt x="28590" y="400270"/>
                  </a:lnTo>
                  <a:lnTo>
                    <a:pt x="42886" y="352620"/>
                  </a:lnTo>
                  <a:lnTo>
                    <a:pt x="61946" y="295438"/>
                  </a:lnTo>
                  <a:lnTo>
                    <a:pt x="61946" y="209666"/>
                  </a:lnTo>
                  <a:lnTo>
                    <a:pt x="85772" y="176310"/>
                  </a:lnTo>
                  <a:lnTo>
                    <a:pt x="100068" y="147718"/>
                  </a:lnTo>
                  <a:lnTo>
                    <a:pt x="119128" y="123894"/>
                  </a:lnTo>
                  <a:lnTo>
                    <a:pt x="133424" y="85772"/>
                  </a:lnTo>
                  <a:lnTo>
                    <a:pt x="142954" y="57182"/>
                  </a:lnTo>
                  <a:lnTo>
                    <a:pt x="181074" y="52416"/>
                  </a:lnTo>
                  <a:lnTo>
                    <a:pt x="243022" y="38122"/>
                  </a:lnTo>
                  <a:lnTo>
                    <a:pt x="276378" y="28590"/>
                  </a:lnTo>
                  <a:lnTo>
                    <a:pt x="343090" y="1429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5" name="Google Shape;4822;p64">
              <a:extLst>
                <a:ext uri="{FF2B5EF4-FFF2-40B4-BE49-F238E27FC236}">
                  <a16:creationId xmlns:a16="http://schemas.microsoft.com/office/drawing/2014/main" id="{E68A51DD-882D-ACC9-B5F7-2445F10DC486}"/>
                </a:ext>
              </a:extLst>
            </p:cNvPr>
            <p:cNvSpPr/>
            <p:nvPr/>
          </p:nvSpPr>
          <p:spPr>
            <a:xfrm>
              <a:off x="5260695" y="4272754"/>
              <a:ext cx="7220" cy="9844"/>
            </a:xfrm>
            <a:custGeom>
              <a:avLst/>
              <a:gdLst/>
              <a:ahLst/>
              <a:cxnLst/>
              <a:rect l="l" t="t" r="r" b="b"/>
              <a:pathLst>
                <a:path w="22" h="30" extrusionOk="0">
                  <a:moveTo>
                    <a:pt x="10" y="22"/>
                  </a:moveTo>
                  <a:lnTo>
                    <a:pt x="10" y="18"/>
                  </a:lnTo>
                  <a:lnTo>
                    <a:pt x="22" y="4"/>
                  </a:lnTo>
                  <a:lnTo>
                    <a:pt x="22" y="4"/>
                  </a:lnTo>
                  <a:lnTo>
                    <a:pt x="18" y="0"/>
                  </a:lnTo>
                  <a:lnTo>
                    <a:pt x="12" y="8"/>
                  </a:lnTo>
                  <a:lnTo>
                    <a:pt x="0" y="20"/>
                  </a:lnTo>
                  <a:lnTo>
                    <a:pt x="0" y="22"/>
                  </a:lnTo>
                  <a:lnTo>
                    <a:pt x="2" y="30"/>
                  </a:lnTo>
                  <a:lnTo>
                    <a:pt x="10"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6" name="Google Shape;4823;p64">
              <a:extLst>
                <a:ext uri="{FF2B5EF4-FFF2-40B4-BE49-F238E27FC236}">
                  <a16:creationId xmlns:a16="http://schemas.microsoft.com/office/drawing/2014/main" id="{4E95EC5A-E5A4-E138-5C88-1BB9253CD620}"/>
                </a:ext>
              </a:extLst>
            </p:cNvPr>
            <p:cNvSpPr/>
            <p:nvPr/>
          </p:nvSpPr>
          <p:spPr>
            <a:xfrm>
              <a:off x="5275134" y="4248471"/>
              <a:ext cx="15095" cy="30190"/>
            </a:xfrm>
            <a:custGeom>
              <a:avLst/>
              <a:gdLst/>
              <a:ahLst/>
              <a:cxnLst/>
              <a:rect l="l" t="t" r="r" b="b"/>
              <a:pathLst>
                <a:path w="46" h="92" extrusionOk="0">
                  <a:moveTo>
                    <a:pt x="44" y="44"/>
                  </a:moveTo>
                  <a:lnTo>
                    <a:pt x="44" y="34"/>
                  </a:lnTo>
                  <a:lnTo>
                    <a:pt x="46" y="24"/>
                  </a:lnTo>
                  <a:lnTo>
                    <a:pt x="44" y="12"/>
                  </a:lnTo>
                  <a:lnTo>
                    <a:pt x="40" y="12"/>
                  </a:lnTo>
                  <a:lnTo>
                    <a:pt x="36" y="8"/>
                  </a:lnTo>
                  <a:lnTo>
                    <a:pt x="34" y="4"/>
                  </a:lnTo>
                  <a:lnTo>
                    <a:pt x="32" y="2"/>
                  </a:lnTo>
                  <a:lnTo>
                    <a:pt x="28" y="2"/>
                  </a:lnTo>
                  <a:lnTo>
                    <a:pt x="22" y="0"/>
                  </a:lnTo>
                  <a:lnTo>
                    <a:pt x="12" y="6"/>
                  </a:lnTo>
                  <a:lnTo>
                    <a:pt x="10" y="16"/>
                  </a:lnTo>
                  <a:lnTo>
                    <a:pt x="8" y="20"/>
                  </a:lnTo>
                  <a:lnTo>
                    <a:pt x="6" y="30"/>
                  </a:lnTo>
                  <a:lnTo>
                    <a:pt x="6" y="36"/>
                  </a:lnTo>
                  <a:lnTo>
                    <a:pt x="8" y="42"/>
                  </a:lnTo>
                  <a:lnTo>
                    <a:pt x="8" y="50"/>
                  </a:lnTo>
                  <a:lnTo>
                    <a:pt x="8" y="52"/>
                  </a:lnTo>
                  <a:lnTo>
                    <a:pt x="6" y="54"/>
                  </a:lnTo>
                  <a:lnTo>
                    <a:pt x="6" y="56"/>
                  </a:lnTo>
                  <a:lnTo>
                    <a:pt x="8" y="56"/>
                  </a:lnTo>
                  <a:lnTo>
                    <a:pt x="12" y="54"/>
                  </a:lnTo>
                  <a:lnTo>
                    <a:pt x="18" y="56"/>
                  </a:lnTo>
                  <a:lnTo>
                    <a:pt x="22" y="60"/>
                  </a:lnTo>
                  <a:lnTo>
                    <a:pt x="22" y="62"/>
                  </a:lnTo>
                  <a:lnTo>
                    <a:pt x="18" y="62"/>
                  </a:lnTo>
                  <a:lnTo>
                    <a:pt x="10" y="68"/>
                  </a:lnTo>
                  <a:lnTo>
                    <a:pt x="6" y="72"/>
                  </a:lnTo>
                  <a:lnTo>
                    <a:pt x="4" y="78"/>
                  </a:lnTo>
                  <a:lnTo>
                    <a:pt x="0" y="88"/>
                  </a:lnTo>
                  <a:lnTo>
                    <a:pt x="0" y="92"/>
                  </a:lnTo>
                  <a:lnTo>
                    <a:pt x="2" y="92"/>
                  </a:lnTo>
                  <a:lnTo>
                    <a:pt x="16" y="92"/>
                  </a:lnTo>
                  <a:lnTo>
                    <a:pt x="26" y="86"/>
                  </a:lnTo>
                  <a:lnTo>
                    <a:pt x="36" y="82"/>
                  </a:lnTo>
                  <a:lnTo>
                    <a:pt x="38" y="82"/>
                  </a:lnTo>
                  <a:lnTo>
                    <a:pt x="40" y="76"/>
                  </a:lnTo>
                  <a:lnTo>
                    <a:pt x="42" y="68"/>
                  </a:lnTo>
                  <a:lnTo>
                    <a:pt x="46" y="60"/>
                  </a:lnTo>
                  <a:lnTo>
                    <a:pt x="44" y="4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7" name="Google Shape;4824;p64">
              <a:extLst>
                <a:ext uri="{FF2B5EF4-FFF2-40B4-BE49-F238E27FC236}">
                  <a16:creationId xmlns:a16="http://schemas.microsoft.com/office/drawing/2014/main" id="{C667E459-3100-267D-DAE4-D6E6F886C8FC}"/>
                </a:ext>
              </a:extLst>
            </p:cNvPr>
            <p:cNvSpPr/>
            <p:nvPr/>
          </p:nvSpPr>
          <p:spPr>
            <a:xfrm>
              <a:off x="5617074" y="4406642"/>
              <a:ext cx="18377" cy="37410"/>
            </a:xfrm>
            <a:custGeom>
              <a:avLst/>
              <a:gdLst/>
              <a:ahLst/>
              <a:cxnLst/>
              <a:rect l="l" t="t" r="r" b="b"/>
              <a:pathLst>
                <a:path w="56" h="114" extrusionOk="0">
                  <a:moveTo>
                    <a:pt x="32" y="112"/>
                  </a:moveTo>
                  <a:lnTo>
                    <a:pt x="42" y="108"/>
                  </a:lnTo>
                  <a:lnTo>
                    <a:pt x="44" y="106"/>
                  </a:lnTo>
                  <a:lnTo>
                    <a:pt x="50" y="90"/>
                  </a:lnTo>
                  <a:lnTo>
                    <a:pt x="54" y="86"/>
                  </a:lnTo>
                  <a:lnTo>
                    <a:pt x="56" y="80"/>
                  </a:lnTo>
                  <a:lnTo>
                    <a:pt x="54" y="72"/>
                  </a:lnTo>
                  <a:lnTo>
                    <a:pt x="52" y="62"/>
                  </a:lnTo>
                  <a:lnTo>
                    <a:pt x="50" y="54"/>
                  </a:lnTo>
                  <a:lnTo>
                    <a:pt x="48" y="50"/>
                  </a:lnTo>
                  <a:lnTo>
                    <a:pt x="48" y="46"/>
                  </a:lnTo>
                  <a:lnTo>
                    <a:pt x="50" y="34"/>
                  </a:lnTo>
                  <a:lnTo>
                    <a:pt x="54" y="26"/>
                  </a:lnTo>
                  <a:lnTo>
                    <a:pt x="50" y="18"/>
                  </a:lnTo>
                  <a:lnTo>
                    <a:pt x="40" y="10"/>
                  </a:lnTo>
                  <a:lnTo>
                    <a:pt x="32" y="0"/>
                  </a:lnTo>
                  <a:lnTo>
                    <a:pt x="22" y="4"/>
                  </a:lnTo>
                  <a:lnTo>
                    <a:pt x="16" y="12"/>
                  </a:lnTo>
                  <a:lnTo>
                    <a:pt x="10" y="30"/>
                  </a:lnTo>
                  <a:lnTo>
                    <a:pt x="6" y="38"/>
                  </a:lnTo>
                  <a:lnTo>
                    <a:pt x="2" y="46"/>
                  </a:lnTo>
                  <a:lnTo>
                    <a:pt x="0" y="50"/>
                  </a:lnTo>
                  <a:lnTo>
                    <a:pt x="0" y="54"/>
                  </a:lnTo>
                  <a:lnTo>
                    <a:pt x="0" y="70"/>
                  </a:lnTo>
                  <a:lnTo>
                    <a:pt x="6" y="90"/>
                  </a:lnTo>
                  <a:lnTo>
                    <a:pt x="4" y="94"/>
                  </a:lnTo>
                  <a:lnTo>
                    <a:pt x="2" y="98"/>
                  </a:lnTo>
                  <a:lnTo>
                    <a:pt x="6" y="106"/>
                  </a:lnTo>
                  <a:lnTo>
                    <a:pt x="10" y="112"/>
                  </a:lnTo>
                  <a:lnTo>
                    <a:pt x="14" y="114"/>
                  </a:lnTo>
                  <a:lnTo>
                    <a:pt x="16" y="114"/>
                  </a:lnTo>
                  <a:lnTo>
                    <a:pt x="22" y="114"/>
                  </a:lnTo>
                  <a:lnTo>
                    <a:pt x="28" y="112"/>
                  </a:lnTo>
                  <a:lnTo>
                    <a:pt x="32" y="1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8" name="Google Shape;4825;p64">
              <a:extLst>
                <a:ext uri="{FF2B5EF4-FFF2-40B4-BE49-F238E27FC236}">
                  <a16:creationId xmlns:a16="http://schemas.microsoft.com/office/drawing/2014/main" id="{470B591A-64EE-3B5C-E3D3-1DB1115C82AE}"/>
                </a:ext>
              </a:extLst>
            </p:cNvPr>
            <p:cNvSpPr/>
            <p:nvPr/>
          </p:nvSpPr>
          <p:spPr>
            <a:xfrm>
              <a:off x="4960759" y="3800865"/>
              <a:ext cx="203458" cy="142420"/>
            </a:xfrm>
            <a:custGeom>
              <a:avLst/>
              <a:gdLst/>
              <a:ahLst/>
              <a:cxnLst/>
              <a:rect l="l" t="t" r="r" b="b"/>
              <a:pathLst>
                <a:path w="620" h="434" extrusionOk="0">
                  <a:moveTo>
                    <a:pt x="522" y="270"/>
                  </a:moveTo>
                  <a:lnTo>
                    <a:pt x="518" y="264"/>
                  </a:lnTo>
                  <a:lnTo>
                    <a:pt x="516" y="258"/>
                  </a:lnTo>
                  <a:lnTo>
                    <a:pt x="512" y="256"/>
                  </a:lnTo>
                  <a:lnTo>
                    <a:pt x="514" y="254"/>
                  </a:lnTo>
                  <a:lnTo>
                    <a:pt x="516" y="254"/>
                  </a:lnTo>
                  <a:lnTo>
                    <a:pt x="518" y="252"/>
                  </a:lnTo>
                  <a:lnTo>
                    <a:pt x="518" y="246"/>
                  </a:lnTo>
                  <a:lnTo>
                    <a:pt x="516" y="238"/>
                  </a:lnTo>
                  <a:lnTo>
                    <a:pt x="516" y="234"/>
                  </a:lnTo>
                  <a:lnTo>
                    <a:pt x="516" y="230"/>
                  </a:lnTo>
                  <a:lnTo>
                    <a:pt x="514" y="220"/>
                  </a:lnTo>
                  <a:lnTo>
                    <a:pt x="516" y="206"/>
                  </a:lnTo>
                  <a:lnTo>
                    <a:pt x="520" y="186"/>
                  </a:lnTo>
                  <a:lnTo>
                    <a:pt x="524" y="176"/>
                  </a:lnTo>
                  <a:lnTo>
                    <a:pt x="522" y="170"/>
                  </a:lnTo>
                  <a:lnTo>
                    <a:pt x="524" y="158"/>
                  </a:lnTo>
                  <a:lnTo>
                    <a:pt x="522" y="152"/>
                  </a:lnTo>
                  <a:lnTo>
                    <a:pt x="518" y="144"/>
                  </a:lnTo>
                  <a:lnTo>
                    <a:pt x="512" y="126"/>
                  </a:lnTo>
                  <a:lnTo>
                    <a:pt x="506" y="120"/>
                  </a:lnTo>
                  <a:lnTo>
                    <a:pt x="498" y="112"/>
                  </a:lnTo>
                  <a:lnTo>
                    <a:pt x="494" y="108"/>
                  </a:lnTo>
                  <a:lnTo>
                    <a:pt x="492" y="102"/>
                  </a:lnTo>
                  <a:lnTo>
                    <a:pt x="488" y="96"/>
                  </a:lnTo>
                  <a:lnTo>
                    <a:pt x="482" y="90"/>
                  </a:lnTo>
                  <a:lnTo>
                    <a:pt x="476" y="78"/>
                  </a:lnTo>
                  <a:lnTo>
                    <a:pt x="472" y="72"/>
                  </a:lnTo>
                  <a:lnTo>
                    <a:pt x="472" y="70"/>
                  </a:lnTo>
                  <a:lnTo>
                    <a:pt x="464" y="62"/>
                  </a:lnTo>
                  <a:lnTo>
                    <a:pt x="460" y="54"/>
                  </a:lnTo>
                  <a:lnTo>
                    <a:pt x="458" y="48"/>
                  </a:lnTo>
                  <a:lnTo>
                    <a:pt x="458" y="42"/>
                  </a:lnTo>
                  <a:lnTo>
                    <a:pt x="452" y="30"/>
                  </a:lnTo>
                  <a:lnTo>
                    <a:pt x="448" y="22"/>
                  </a:lnTo>
                  <a:lnTo>
                    <a:pt x="444" y="16"/>
                  </a:lnTo>
                  <a:lnTo>
                    <a:pt x="440" y="10"/>
                  </a:lnTo>
                  <a:lnTo>
                    <a:pt x="436" y="6"/>
                  </a:lnTo>
                  <a:lnTo>
                    <a:pt x="428" y="2"/>
                  </a:lnTo>
                  <a:lnTo>
                    <a:pt x="424" y="0"/>
                  </a:lnTo>
                  <a:lnTo>
                    <a:pt x="418" y="0"/>
                  </a:lnTo>
                  <a:lnTo>
                    <a:pt x="414" y="2"/>
                  </a:lnTo>
                  <a:lnTo>
                    <a:pt x="406" y="4"/>
                  </a:lnTo>
                  <a:lnTo>
                    <a:pt x="396" y="6"/>
                  </a:lnTo>
                  <a:lnTo>
                    <a:pt x="394" y="14"/>
                  </a:lnTo>
                  <a:lnTo>
                    <a:pt x="392" y="20"/>
                  </a:lnTo>
                  <a:lnTo>
                    <a:pt x="388" y="26"/>
                  </a:lnTo>
                  <a:lnTo>
                    <a:pt x="370" y="30"/>
                  </a:lnTo>
                  <a:lnTo>
                    <a:pt x="356" y="32"/>
                  </a:lnTo>
                  <a:lnTo>
                    <a:pt x="342" y="34"/>
                  </a:lnTo>
                  <a:lnTo>
                    <a:pt x="322" y="44"/>
                  </a:lnTo>
                  <a:lnTo>
                    <a:pt x="316" y="52"/>
                  </a:lnTo>
                  <a:lnTo>
                    <a:pt x="310" y="54"/>
                  </a:lnTo>
                  <a:lnTo>
                    <a:pt x="304" y="54"/>
                  </a:lnTo>
                  <a:lnTo>
                    <a:pt x="300" y="50"/>
                  </a:lnTo>
                  <a:lnTo>
                    <a:pt x="288" y="38"/>
                  </a:lnTo>
                  <a:lnTo>
                    <a:pt x="284" y="32"/>
                  </a:lnTo>
                  <a:lnTo>
                    <a:pt x="278" y="32"/>
                  </a:lnTo>
                  <a:lnTo>
                    <a:pt x="270" y="32"/>
                  </a:lnTo>
                  <a:lnTo>
                    <a:pt x="264" y="34"/>
                  </a:lnTo>
                  <a:lnTo>
                    <a:pt x="258" y="36"/>
                  </a:lnTo>
                  <a:lnTo>
                    <a:pt x="250" y="32"/>
                  </a:lnTo>
                  <a:lnTo>
                    <a:pt x="248" y="32"/>
                  </a:lnTo>
                  <a:lnTo>
                    <a:pt x="246" y="32"/>
                  </a:lnTo>
                  <a:lnTo>
                    <a:pt x="226" y="28"/>
                  </a:lnTo>
                  <a:lnTo>
                    <a:pt x="224" y="28"/>
                  </a:lnTo>
                  <a:lnTo>
                    <a:pt x="224" y="26"/>
                  </a:lnTo>
                  <a:lnTo>
                    <a:pt x="222" y="26"/>
                  </a:lnTo>
                  <a:lnTo>
                    <a:pt x="206" y="28"/>
                  </a:lnTo>
                  <a:lnTo>
                    <a:pt x="194" y="18"/>
                  </a:lnTo>
                  <a:lnTo>
                    <a:pt x="190" y="18"/>
                  </a:lnTo>
                  <a:lnTo>
                    <a:pt x="186" y="22"/>
                  </a:lnTo>
                  <a:lnTo>
                    <a:pt x="184" y="26"/>
                  </a:lnTo>
                  <a:lnTo>
                    <a:pt x="174" y="30"/>
                  </a:lnTo>
                  <a:lnTo>
                    <a:pt x="172" y="32"/>
                  </a:lnTo>
                  <a:lnTo>
                    <a:pt x="170" y="34"/>
                  </a:lnTo>
                  <a:lnTo>
                    <a:pt x="158" y="46"/>
                  </a:lnTo>
                  <a:lnTo>
                    <a:pt x="154" y="48"/>
                  </a:lnTo>
                  <a:lnTo>
                    <a:pt x="152" y="50"/>
                  </a:lnTo>
                  <a:lnTo>
                    <a:pt x="146" y="48"/>
                  </a:lnTo>
                  <a:lnTo>
                    <a:pt x="142" y="50"/>
                  </a:lnTo>
                  <a:lnTo>
                    <a:pt x="138" y="52"/>
                  </a:lnTo>
                  <a:lnTo>
                    <a:pt x="134" y="52"/>
                  </a:lnTo>
                  <a:lnTo>
                    <a:pt x="130" y="56"/>
                  </a:lnTo>
                  <a:lnTo>
                    <a:pt x="126" y="62"/>
                  </a:lnTo>
                  <a:lnTo>
                    <a:pt x="122" y="68"/>
                  </a:lnTo>
                  <a:lnTo>
                    <a:pt x="116" y="72"/>
                  </a:lnTo>
                  <a:lnTo>
                    <a:pt x="114" y="74"/>
                  </a:lnTo>
                  <a:lnTo>
                    <a:pt x="114" y="86"/>
                  </a:lnTo>
                  <a:lnTo>
                    <a:pt x="112" y="88"/>
                  </a:lnTo>
                  <a:lnTo>
                    <a:pt x="108" y="92"/>
                  </a:lnTo>
                  <a:lnTo>
                    <a:pt x="106" y="94"/>
                  </a:lnTo>
                  <a:lnTo>
                    <a:pt x="100" y="110"/>
                  </a:lnTo>
                  <a:lnTo>
                    <a:pt x="96" y="114"/>
                  </a:lnTo>
                  <a:lnTo>
                    <a:pt x="92" y="118"/>
                  </a:lnTo>
                  <a:lnTo>
                    <a:pt x="92" y="122"/>
                  </a:lnTo>
                  <a:lnTo>
                    <a:pt x="92" y="126"/>
                  </a:lnTo>
                  <a:lnTo>
                    <a:pt x="86" y="134"/>
                  </a:lnTo>
                  <a:lnTo>
                    <a:pt x="82" y="144"/>
                  </a:lnTo>
                  <a:lnTo>
                    <a:pt x="80" y="146"/>
                  </a:lnTo>
                  <a:lnTo>
                    <a:pt x="82" y="152"/>
                  </a:lnTo>
                  <a:lnTo>
                    <a:pt x="76" y="158"/>
                  </a:lnTo>
                  <a:lnTo>
                    <a:pt x="72" y="160"/>
                  </a:lnTo>
                  <a:lnTo>
                    <a:pt x="70" y="160"/>
                  </a:lnTo>
                  <a:lnTo>
                    <a:pt x="68" y="164"/>
                  </a:lnTo>
                  <a:lnTo>
                    <a:pt x="66" y="172"/>
                  </a:lnTo>
                  <a:lnTo>
                    <a:pt x="66" y="176"/>
                  </a:lnTo>
                  <a:lnTo>
                    <a:pt x="66" y="180"/>
                  </a:lnTo>
                  <a:lnTo>
                    <a:pt x="62" y="182"/>
                  </a:lnTo>
                  <a:lnTo>
                    <a:pt x="60" y="186"/>
                  </a:lnTo>
                  <a:lnTo>
                    <a:pt x="58" y="190"/>
                  </a:lnTo>
                  <a:lnTo>
                    <a:pt x="56" y="192"/>
                  </a:lnTo>
                  <a:lnTo>
                    <a:pt x="52" y="196"/>
                  </a:lnTo>
                  <a:lnTo>
                    <a:pt x="38" y="194"/>
                  </a:lnTo>
                  <a:lnTo>
                    <a:pt x="34" y="196"/>
                  </a:lnTo>
                  <a:lnTo>
                    <a:pt x="32" y="198"/>
                  </a:lnTo>
                  <a:lnTo>
                    <a:pt x="32" y="200"/>
                  </a:lnTo>
                  <a:lnTo>
                    <a:pt x="30" y="202"/>
                  </a:lnTo>
                  <a:lnTo>
                    <a:pt x="26" y="204"/>
                  </a:lnTo>
                  <a:lnTo>
                    <a:pt x="24" y="206"/>
                  </a:lnTo>
                  <a:lnTo>
                    <a:pt x="16" y="202"/>
                  </a:lnTo>
                  <a:lnTo>
                    <a:pt x="2" y="206"/>
                  </a:lnTo>
                  <a:lnTo>
                    <a:pt x="0" y="208"/>
                  </a:lnTo>
                  <a:lnTo>
                    <a:pt x="2" y="214"/>
                  </a:lnTo>
                  <a:lnTo>
                    <a:pt x="6" y="220"/>
                  </a:lnTo>
                  <a:lnTo>
                    <a:pt x="12" y="224"/>
                  </a:lnTo>
                  <a:lnTo>
                    <a:pt x="18" y="228"/>
                  </a:lnTo>
                  <a:lnTo>
                    <a:pt x="22" y="230"/>
                  </a:lnTo>
                  <a:lnTo>
                    <a:pt x="26" y="240"/>
                  </a:lnTo>
                  <a:lnTo>
                    <a:pt x="30" y="244"/>
                  </a:lnTo>
                  <a:lnTo>
                    <a:pt x="32" y="244"/>
                  </a:lnTo>
                  <a:lnTo>
                    <a:pt x="34" y="242"/>
                  </a:lnTo>
                  <a:lnTo>
                    <a:pt x="34" y="242"/>
                  </a:lnTo>
                  <a:lnTo>
                    <a:pt x="34" y="244"/>
                  </a:lnTo>
                  <a:lnTo>
                    <a:pt x="34" y="250"/>
                  </a:lnTo>
                  <a:lnTo>
                    <a:pt x="34" y="256"/>
                  </a:lnTo>
                  <a:lnTo>
                    <a:pt x="34" y="262"/>
                  </a:lnTo>
                  <a:lnTo>
                    <a:pt x="34" y="264"/>
                  </a:lnTo>
                  <a:lnTo>
                    <a:pt x="34" y="266"/>
                  </a:lnTo>
                  <a:lnTo>
                    <a:pt x="34" y="266"/>
                  </a:lnTo>
                  <a:lnTo>
                    <a:pt x="36" y="268"/>
                  </a:lnTo>
                  <a:lnTo>
                    <a:pt x="40" y="272"/>
                  </a:lnTo>
                  <a:lnTo>
                    <a:pt x="44" y="278"/>
                  </a:lnTo>
                  <a:lnTo>
                    <a:pt x="50" y="282"/>
                  </a:lnTo>
                  <a:lnTo>
                    <a:pt x="56" y="284"/>
                  </a:lnTo>
                  <a:lnTo>
                    <a:pt x="58" y="284"/>
                  </a:lnTo>
                  <a:lnTo>
                    <a:pt x="64" y="290"/>
                  </a:lnTo>
                  <a:lnTo>
                    <a:pt x="74" y="292"/>
                  </a:lnTo>
                  <a:lnTo>
                    <a:pt x="78" y="294"/>
                  </a:lnTo>
                  <a:lnTo>
                    <a:pt x="80" y="296"/>
                  </a:lnTo>
                  <a:lnTo>
                    <a:pt x="82" y="298"/>
                  </a:lnTo>
                  <a:lnTo>
                    <a:pt x="82" y="300"/>
                  </a:lnTo>
                  <a:lnTo>
                    <a:pt x="80" y="302"/>
                  </a:lnTo>
                  <a:lnTo>
                    <a:pt x="78" y="306"/>
                  </a:lnTo>
                  <a:lnTo>
                    <a:pt x="76" y="308"/>
                  </a:lnTo>
                  <a:lnTo>
                    <a:pt x="74" y="310"/>
                  </a:lnTo>
                  <a:lnTo>
                    <a:pt x="74" y="310"/>
                  </a:lnTo>
                  <a:lnTo>
                    <a:pt x="72" y="312"/>
                  </a:lnTo>
                  <a:lnTo>
                    <a:pt x="72" y="312"/>
                  </a:lnTo>
                  <a:lnTo>
                    <a:pt x="74" y="314"/>
                  </a:lnTo>
                  <a:lnTo>
                    <a:pt x="76" y="316"/>
                  </a:lnTo>
                  <a:lnTo>
                    <a:pt x="80" y="318"/>
                  </a:lnTo>
                  <a:lnTo>
                    <a:pt x="84" y="320"/>
                  </a:lnTo>
                  <a:lnTo>
                    <a:pt x="84" y="322"/>
                  </a:lnTo>
                  <a:lnTo>
                    <a:pt x="82" y="324"/>
                  </a:lnTo>
                  <a:lnTo>
                    <a:pt x="78" y="324"/>
                  </a:lnTo>
                  <a:lnTo>
                    <a:pt x="74" y="324"/>
                  </a:lnTo>
                  <a:lnTo>
                    <a:pt x="72" y="324"/>
                  </a:lnTo>
                  <a:lnTo>
                    <a:pt x="72" y="328"/>
                  </a:lnTo>
                  <a:lnTo>
                    <a:pt x="84" y="332"/>
                  </a:lnTo>
                  <a:lnTo>
                    <a:pt x="88" y="334"/>
                  </a:lnTo>
                  <a:lnTo>
                    <a:pt x="90" y="338"/>
                  </a:lnTo>
                  <a:lnTo>
                    <a:pt x="98" y="342"/>
                  </a:lnTo>
                  <a:lnTo>
                    <a:pt x="108" y="342"/>
                  </a:lnTo>
                  <a:lnTo>
                    <a:pt x="116" y="348"/>
                  </a:lnTo>
                  <a:lnTo>
                    <a:pt x="120" y="354"/>
                  </a:lnTo>
                  <a:lnTo>
                    <a:pt x="128" y="352"/>
                  </a:lnTo>
                  <a:lnTo>
                    <a:pt x="138" y="342"/>
                  </a:lnTo>
                  <a:lnTo>
                    <a:pt x="148" y="340"/>
                  </a:lnTo>
                  <a:lnTo>
                    <a:pt x="156" y="344"/>
                  </a:lnTo>
                  <a:lnTo>
                    <a:pt x="162" y="348"/>
                  </a:lnTo>
                  <a:lnTo>
                    <a:pt x="162" y="352"/>
                  </a:lnTo>
                  <a:lnTo>
                    <a:pt x="160" y="354"/>
                  </a:lnTo>
                  <a:lnTo>
                    <a:pt x="156" y="352"/>
                  </a:lnTo>
                  <a:lnTo>
                    <a:pt x="150" y="354"/>
                  </a:lnTo>
                  <a:lnTo>
                    <a:pt x="148" y="360"/>
                  </a:lnTo>
                  <a:lnTo>
                    <a:pt x="146" y="364"/>
                  </a:lnTo>
                  <a:lnTo>
                    <a:pt x="150" y="370"/>
                  </a:lnTo>
                  <a:lnTo>
                    <a:pt x="152" y="372"/>
                  </a:lnTo>
                  <a:lnTo>
                    <a:pt x="156" y="374"/>
                  </a:lnTo>
                  <a:lnTo>
                    <a:pt x="160" y="378"/>
                  </a:lnTo>
                  <a:lnTo>
                    <a:pt x="160" y="382"/>
                  </a:lnTo>
                  <a:lnTo>
                    <a:pt x="160" y="382"/>
                  </a:lnTo>
                  <a:lnTo>
                    <a:pt x="166" y="386"/>
                  </a:lnTo>
                  <a:lnTo>
                    <a:pt x="176" y="392"/>
                  </a:lnTo>
                  <a:lnTo>
                    <a:pt x="182" y="396"/>
                  </a:lnTo>
                  <a:lnTo>
                    <a:pt x="182" y="400"/>
                  </a:lnTo>
                  <a:lnTo>
                    <a:pt x="180" y="402"/>
                  </a:lnTo>
                  <a:lnTo>
                    <a:pt x="174" y="406"/>
                  </a:lnTo>
                  <a:lnTo>
                    <a:pt x="172" y="408"/>
                  </a:lnTo>
                  <a:lnTo>
                    <a:pt x="170" y="414"/>
                  </a:lnTo>
                  <a:lnTo>
                    <a:pt x="172" y="416"/>
                  </a:lnTo>
                  <a:lnTo>
                    <a:pt x="174" y="420"/>
                  </a:lnTo>
                  <a:lnTo>
                    <a:pt x="194" y="416"/>
                  </a:lnTo>
                  <a:lnTo>
                    <a:pt x="214" y="418"/>
                  </a:lnTo>
                  <a:lnTo>
                    <a:pt x="242" y="424"/>
                  </a:lnTo>
                  <a:lnTo>
                    <a:pt x="260" y="426"/>
                  </a:lnTo>
                  <a:lnTo>
                    <a:pt x="274" y="422"/>
                  </a:lnTo>
                  <a:lnTo>
                    <a:pt x="298" y="428"/>
                  </a:lnTo>
                  <a:lnTo>
                    <a:pt x="322" y="432"/>
                  </a:lnTo>
                  <a:lnTo>
                    <a:pt x="344" y="434"/>
                  </a:lnTo>
                  <a:lnTo>
                    <a:pt x="356" y="430"/>
                  </a:lnTo>
                  <a:lnTo>
                    <a:pt x="364" y="426"/>
                  </a:lnTo>
                  <a:lnTo>
                    <a:pt x="372" y="416"/>
                  </a:lnTo>
                  <a:lnTo>
                    <a:pt x="390" y="404"/>
                  </a:lnTo>
                  <a:lnTo>
                    <a:pt x="408" y="396"/>
                  </a:lnTo>
                  <a:lnTo>
                    <a:pt x="432" y="390"/>
                  </a:lnTo>
                  <a:lnTo>
                    <a:pt x="448" y="388"/>
                  </a:lnTo>
                  <a:lnTo>
                    <a:pt x="450" y="390"/>
                  </a:lnTo>
                  <a:lnTo>
                    <a:pt x="470" y="402"/>
                  </a:lnTo>
                  <a:lnTo>
                    <a:pt x="478" y="402"/>
                  </a:lnTo>
                  <a:lnTo>
                    <a:pt x="486" y="404"/>
                  </a:lnTo>
                  <a:lnTo>
                    <a:pt x="488" y="408"/>
                  </a:lnTo>
                  <a:lnTo>
                    <a:pt x="490" y="408"/>
                  </a:lnTo>
                  <a:lnTo>
                    <a:pt x="500" y="406"/>
                  </a:lnTo>
                  <a:lnTo>
                    <a:pt x="504" y="412"/>
                  </a:lnTo>
                  <a:lnTo>
                    <a:pt x="510" y="420"/>
                  </a:lnTo>
                  <a:lnTo>
                    <a:pt x="522" y="424"/>
                  </a:lnTo>
                  <a:lnTo>
                    <a:pt x="532" y="426"/>
                  </a:lnTo>
                  <a:lnTo>
                    <a:pt x="536" y="428"/>
                  </a:lnTo>
                  <a:lnTo>
                    <a:pt x="546" y="428"/>
                  </a:lnTo>
                  <a:lnTo>
                    <a:pt x="546" y="422"/>
                  </a:lnTo>
                  <a:lnTo>
                    <a:pt x="550" y="406"/>
                  </a:lnTo>
                  <a:lnTo>
                    <a:pt x="550" y="376"/>
                  </a:lnTo>
                  <a:lnTo>
                    <a:pt x="554" y="370"/>
                  </a:lnTo>
                  <a:lnTo>
                    <a:pt x="564" y="358"/>
                  </a:lnTo>
                  <a:lnTo>
                    <a:pt x="566" y="352"/>
                  </a:lnTo>
                  <a:lnTo>
                    <a:pt x="560" y="352"/>
                  </a:lnTo>
                  <a:lnTo>
                    <a:pt x="562" y="348"/>
                  </a:lnTo>
                  <a:lnTo>
                    <a:pt x="564" y="346"/>
                  </a:lnTo>
                  <a:lnTo>
                    <a:pt x="564" y="338"/>
                  </a:lnTo>
                  <a:lnTo>
                    <a:pt x="564" y="336"/>
                  </a:lnTo>
                  <a:lnTo>
                    <a:pt x="568" y="330"/>
                  </a:lnTo>
                  <a:lnTo>
                    <a:pt x="566" y="320"/>
                  </a:lnTo>
                  <a:lnTo>
                    <a:pt x="568" y="316"/>
                  </a:lnTo>
                  <a:lnTo>
                    <a:pt x="572" y="312"/>
                  </a:lnTo>
                  <a:lnTo>
                    <a:pt x="580" y="314"/>
                  </a:lnTo>
                  <a:lnTo>
                    <a:pt x="576" y="318"/>
                  </a:lnTo>
                  <a:lnTo>
                    <a:pt x="578" y="324"/>
                  </a:lnTo>
                  <a:lnTo>
                    <a:pt x="578" y="330"/>
                  </a:lnTo>
                  <a:lnTo>
                    <a:pt x="576" y="334"/>
                  </a:lnTo>
                  <a:lnTo>
                    <a:pt x="610" y="326"/>
                  </a:lnTo>
                  <a:lnTo>
                    <a:pt x="614" y="320"/>
                  </a:lnTo>
                  <a:lnTo>
                    <a:pt x="616" y="314"/>
                  </a:lnTo>
                  <a:lnTo>
                    <a:pt x="618" y="298"/>
                  </a:lnTo>
                  <a:lnTo>
                    <a:pt x="618" y="294"/>
                  </a:lnTo>
                  <a:lnTo>
                    <a:pt x="620" y="288"/>
                  </a:lnTo>
                  <a:lnTo>
                    <a:pt x="616" y="282"/>
                  </a:lnTo>
                  <a:lnTo>
                    <a:pt x="610" y="278"/>
                  </a:lnTo>
                  <a:lnTo>
                    <a:pt x="600" y="272"/>
                  </a:lnTo>
                  <a:lnTo>
                    <a:pt x="588" y="274"/>
                  </a:lnTo>
                  <a:lnTo>
                    <a:pt x="576" y="282"/>
                  </a:lnTo>
                  <a:lnTo>
                    <a:pt x="566" y="284"/>
                  </a:lnTo>
                  <a:lnTo>
                    <a:pt x="562" y="284"/>
                  </a:lnTo>
                  <a:lnTo>
                    <a:pt x="558" y="284"/>
                  </a:lnTo>
                  <a:lnTo>
                    <a:pt x="558" y="286"/>
                  </a:lnTo>
                  <a:lnTo>
                    <a:pt x="558" y="288"/>
                  </a:lnTo>
                  <a:lnTo>
                    <a:pt x="560" y="288"/>
                  </a:lnTo>
                  <a:lnTo>
                    <a:pt x="560" y="290"/>
                  </a:lnTo>
                  <a:lnTo>
                    <a:pt x="558" y="290"/>
                  </a:lnTo>
                  <a:lnTo>
                    <a:pt x="538" y="284"/>
                  </a:lnTo>
                  <a:lnTo>
                    <a:pt x="528" y="280"/>
                  </a:lnTo>
                  <a:lnTo>
                    <a:pt x="522" y="27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59" name="Google Shape;4826;p64">
              <a:extLst>
                <a:ext uri="{FF2B5EF4-FFF2-40B4-BE49-F238E27FC236}">
                  <a16:creationId xmlns:a16="http://schemas.microsoft.com/office/drawing/2014/main" id="{7B5C933C-69A5-82A9-0068-797922225678}"/>
                </a:ext>
              </a:extLst>
            </p:cNvPr>
            <p:cNvSpPr/>
            <p:nvPr/>
          </p:nvSpPr>
          <p:spPr>
            <a:xfrm>
              <a:off x="5145840" y="5012421"/>
              <a:ext cx="43317" cy="37410"/>
            </a:xfrm>
            <a:custGeom>
              <a:avLst/>
              <a:gdLst/>
              <a:ahLst/>
              <a:cxnLst/>
              <a:rect l="l" t="t" r="r" b="b"/>
              <a:pathLst>
                <a:path w="132" h="114" extrusionOk="0">
                  <a:moveTo>
                    <a:pt x="108" y="0"/>
                  </a:moveTo>
                  <a:lnTo>
                    <a:pt x="106" y="0"/>
                  </a:lnTo>
                  <a:lnTo>
                    <a:pt x="102" y="0"/>
                  </a:lnTo>
                  <a:lnTo>
                    <a:pt x="98" y="0"/>
                  </a:lnTo>
                  <a:lnTo>
                    <a:pt x="96" y="4"/>
                  </a:lnTo>
                  <a:lnTo>
                    <a:pt x="94" y="8"/>
                  </a:lnTo>
                  <a:lnTo>
                    <a:pt x="88" y="12"/>
                  </a:lnTo>
                  <a:lnTo>
                    <a:pt x="84" y="18"/>
                  </a:lnTo>
                  <a:lnTo>
                    <a:pt x="82" y="20"/>
                  </a:lnTo>
                  <a:lnTo>
                    <a:pt x="74" y="26"/>
                  </a:lnTo>
                  <a:lnTo>
                    <a:pt x="70" y="26"/>
                  </a:lnTo>
                  <a:lnTo>
                    <a:pt x="68" y="26"/>
                  </a:lnTo>
                  <a:lnTo>
                    <a:pt x="68" y="26"/>
                  </a:lnTo>
                  <a:lnTo>
                    <a:pt x="64" y="20"/>
                  </a:lnTo>
                  <a:lnTo>
                    <a:pt x="64" y="18"/>
                  </a:lnTo>
                  <a:lnTo>
                    <a:pt x="50" y="22"/>
                  </a:lnTo>
                  <a:lnTo>
                    <a:pt x="48" y="22"/>
                  </a:lnTo>
                  <a:lnTo>
                    <a:pt x="44" y="22"/>
                  </a:lnTo>
                  <a:lnTo>
                    <a:pt x="40" y="26"/>
                  </a:lnTo>
                  <a:lnTo>
                    <a:pt x="36" y="30"/>
                  </a:lnTo>
                  <a:lnTo>
                    <a:pt x="32" y="30"/>
                  </a:lnTo>
                  <a:lnTo>
                    <a:pt x="26" y="36"/>
                  </a:lnTo>
                  <a:lnTo>
                    <a:pt x="24" y="42"/>
                  </a:lnTo>
                  <a:lnTo>
                    <a:pt x="26" y="44"/>
                  </a:lnTo>
                  <a:lnTo>
                    <a:pt x="28" y="52"/>
                  </a:lnTo>
                  <a:lnTo>
                    <a:pt x="32" y="62"/>
                  </a:lnTo>
                  <a:lnTo>
                    <a:pt x="32" y="66"/>
                  </a:lnTo>
                  <a:lnTo>
                    <a:pt x="28" y="68"/>
                  </a:lnTo>
                  <a:lnTo>
                    <a:pt x="26" y="70"/>
                  </a:lnTo>
                  <a:lnTo>
                    <a:pt x="24" y="72"/>
                  </a:lnTo>
                  <a:lnTo>
                    <a:pt x="20" y="80"/>
                  </a:lnTo>
                  <a:lnTo>
                    <a:pt x="16" y="82"/>
                  </a:lnTo>
                  <a:lnTo>
                    <a:pt x="14" y="84"/>
                  </a:lnTo>
                  <a:lnTo>
                    <a:pt x="12" y="84"/>
                  </a:lnTo>
                  <a:lnTo>
                    <a:pt x="8" y="86"/>
                  </a:lnTo>
                  <a:lnTo>
                    <a:pt x="4" y="90"/>
                  </a:lnTo>
                  <a:lnTo>
                    <a:pt x="0" y="90"/>
                  </a:lnTo>
                  <a:lnTo>
                    <a:pt x="2" y="98"/>
                  </a:lnTo>
                  <a:lnTo>
                    <a:pt x="2" y="104"/>
                  </a:lnTo>
                  <a:lnTo>
                    <a:pt x="4" y="106"/>
                  </a:lnTo>
                  <a:lnTo>
                    <a:pt x="10" y="108"/>
                  </a:lnTo>
                  <a:lnTo>
                    <a:pt x="12" y="106"/>
                  </a:lnTo>
                  <a:lnTo>
                    <a:pt x="14" y="102"/>
                  </a:lnTo>
                  <a:lnTo>
                    <a:pt x="16" y="100"/>
                  </a:lnTo>
                  <a:lnTo>
                    <a:pt x="22" y="102"/>
                  </a:lnTo>
                  <a:lnTo>
                    <a:pt x="28" y="106"/>
                  </a:lnTo>
                  <a:lnTo>
                    <a:pt x="32" y="114"/>
                  </a:lnTo>
                  <a:lnTo>
                    <a:pt x="34" y="114"/>
                  </a:lnTo>
                  <a:lnTo>
                    <a:pt x="40" y="114"/>
                  </a:lnTo>
                  <a:lnTo>
                    <a:pt x="52" y="114"/>
                  </a:lnTo>
                  <a:lnTo>
                    <a:pt x="54" y="114"/>
                  </a:lnTo>
                  <a:lnTo>
                    <a:pt x="60" y="112"/>
                  </a:lnTo>
                  <a:lnTo>
                    <a:pt x="66" y="108"/>
                  </a:lnTo>
                  <a:lnTo>
                    <a:pt x="68" y="106"/>
                  </a:lnTo>
                  <a:lnTo>
                    <a:pt x="70" y="98"/>
                  </a:lnTo>
                  <a:lnTo>
                    <a:pt x="70" y="84"/>
                  </a:lnTo>
                  <a:lnTo>
                    <a:pt x="72" y="84"/>
                  </a:lnTo>
                  <a:lnTo>
                    <a:pt x="80" y="88"/>
                  </a:lnTo>
                  <a:lnTo>
                    <a:pt x="82" y="90"/>
                  </a:lnTo>
                  <a:lnTo>
                    <a:pt x="84" y="88"/>
                  </a:lnTo>
                  <a:lnTo>
                    <a:pt x="86" y="86"/>
                  </a:lnTo>
                  <a:lnTo>
                    <a:pt x="90" y="84"/>
                  </a:lnTo>
                  <a:lnTo>
                    <a:pt x="92" y="84"/>
                  </a:lnTo>
                  <a:lnTo>
                    <a:pt x="102" y="82"/>
                  </a:lnTo>
                  <a:lnTo>
                    <a:pt x="106" y="86"/>
                  </a:lnTo>
                  <a:lnTo>
                    <a:pt x="110" y="88"/>
                  </a:lnTo>
                  <a:lnTo>
                    <a:pt x="112" y="88"/>
                  </a:lnTo>
                  <a:lnTo>
                    <a:pt x="114" y="88"/>
                  </a:lnTo>
                  <a:lnTo>
                    <a:pt x="118" y="86"/>
                  </a:lnTo>
                  <a:lnTo>
                    <a:pt x="122" y="86"/>
                  </a:lnTo>
                  <a:lnTo>
                    <a:pt x="124" y="86"/>
                  </a:lnTo>
                  <a:lnTo>
                    <a:pt x="128" y="86"/>
                  </a:lnTo>
                  <a:lnTo>
                    <a:pt x="130" y="84"/>
                  </a:lnTo>
                  <a:lnTo>
                    <a:pt x="130" y="80"/>
                  </a:lnTo>
                  <a:lnTo>
                    <a:pt x="132" y="72"/>
                  </a:lnTo>
                  <a:lnTo>
                    <a:pt x="132" y="64"/>
                  </a:lnTo>
                  <a:lnTo>
                    <a:pt x="128" y="60"/>
                  </a:lnTo>
                  <a:lnTo>
                    <a:pt x="128" y="52"/>
                  </a:lnTo>
                  <a:lnTo>
                    <a:pt x="130" y="42"/>
                  </a:lnTo>
                  <a:lnTo>
                    <a:pt x="128" y="32"/>
                  </a:lnTo>
                  <a:lnTo>
                    <a:pt x="124" y="26"/>
                  </a:lnTo>
                  <a:lnTo>
                    <a:pt x="122" y="22"/>
                  </a:lnTo>
                  <a:lnTo>
                    <a:pt x="116" y="20"/>
                  </a:lnTo>
                  <a:lnTo>
                    <a:pt x="108" y="10"/>
                  </a:lnTo>
                  <a:lnTo>
                    <a:pt x="106" y="4"/>
                  </a:lnTo>
                  <a:lnTo>
                    <a:pt x="106" y="2"/>
                  </a:lnTo>
                  <a:lnTo>
                    <a:pt x="108"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60" name="Google Shape;4827;p64">
              <a:extLst>
                <a:ext uri="{FF2B5EF4-FFF2-40B4-BE49-F238E27FC236}">
                  <a16:creationId xmlns:a16="http://schemas.microsoft.com/office/drawing/2014/main" id="{A391691E-98F5-5313-F380-BCB5B64288E5}"/>
                </a:ext>
              </a:extLst>
            </p:cNvPr>
            <p:cNvSpPr/>
            <p:nvPr/>
          </p:nvSpPr>
          <p:spPr>
            <a:xfrm>
              <a:off x="4156774" y="4369889"/>
              <a:ext cx="181143" cy="162109"/>
            </a:xfrm>
            <a:custGeom>
              <a:avLst/>
              <a:gdLst/>
              <a:ahLst/>
              <a:cxnLst/>
              <a:rect l="l" t="t" r="r" b="b"/>
              <a:pathLst>
                <a:path w="552" h="494" extrusionOk="0">
                  <a:moveTo>
                    <a:pt x="552" y="0"/>
                  </a:moveTo>
                  <a:lnTo>
                    <a:pt x="544" y="0"/>
                  </a:lnTo>
                  <a:lnTo>
                    <a:pt x="544" y="4"/>
                  </a:lnTo>
                  <a:lnTo>
                    <a:pt x="546" y="10"/>
                  </a:lnTo>
                  <a:lnTo>
                    <a:pt x="546" y="16"/>
                  </a:lnTo>
                  <a:lnTo>
                    <a:pt x="546" y="18"/>
                  </a:lnTo>
                  <a:lnTo>
                    <a:pt x="546" y="22"/>
                  </a:lnTo>
                  <a:lnTo>
                    <a:pt x="546" y="26"/>
                  </a:lnTo>
                  <a:lnTo>
                    <a:pt x="548" y="36"/>
                  </a:lnTo>
                  <a:lnTo>
                    <a:pt x="548" y="38"/>
                  </a:lnTo>
                  <a:lnTo>
                    <a:pt x="546" y="40"/>
                  </a:lnTo>
                  <a:lnTo>
                    <a:pt x="540" y="42"/>
                  </a:lnTo>
                  <a:lnTo>
                    <a:pt x="532" y="42"/>
                  </a:lnTo>
                  <a:lnTo>
                    <a:pt x="526" y="42"/>
                  </a:lnTo>
                  <a:lnTo>
                    <a:pt x="518" y="42"/>
                  </a:lnTo>
                  <a:lnTo>
                    <a:pt x="514" y="42"/>
                  </a:lnTo>
                  <a:lnTo>
                    <a:pt x="508" y="42"/>
                  </a:lnTo>
                  <a:lnTo>
                    <a:pt x="506" y="42"/>
                  </a:lnTo>
                  <a:lnTo>
                    <a:pt x="500" y="46"/>
                  </a:lnTo>
                  <a:lnTo>
                    <a:pt x="494" y="50"/>
                  </a:lnTo>
                  <a:lnTo>
                    <a:pt x="488" y="56"/>
                  </a:lnTo>
                  <a:lnTo>
                    <a:pt x="484" y="60"/>
                  </a:lnTo>
                  <a:lnTo>
                    <a:pt x="478" y="60"/>
                  </a:lnTo>
                  <a:lnTo>
                    <a:pt x="474" y="60"/>
                  </a:lnTo>
                  <a:lnTo>
                    <a:pt x="468" y="58"/>
                  </a:lnTo>
                  <a:lnTo>
                    <a:pt x="464" y="56"/>
                  </a:lnTo>
                  <a:lnTo>
                    <a:pt x="462" y="56"/>
                  </a:lnTo>
                  <a:lnTo>
                    <a:pt x="458" y="58"/>
                  </a:lnTo>
                  <a:lnTo>
                    <a:pt x="454" y="60"/>
                  </a:lnTo>
                  <a:lnTo>
                    <a:pt x="450" y="60"/>
                  </a:lnTo>
                  <a:lnTo>
                    <a:pt x="444" y="56"/>
                  </a:lnTo>
                  <a:lnTo>
                    <a:pt x="436" y="52"/>
                  </a:lnTo>
                  <a:lnTo>
                    <a:pt x="430" y="50"/>
                  </a:lnTo>
                  <a:lnTo>
                    <a:pt x="424" y="50"/>
                  </a:lnTo>
                  <a:lnTo>
                    <a:pt x="416" y="48"/>
                  </a:lnTo>
                  <a:lnTo>
                    <a:pt x="412" y="48"/>
                  </a:lnTo>
                  <a:lnTo>
                    <a:pt x="406" y="48"/>
                  </a:lnTo>
                  <a:lnTo>
                    <a:pt x="398" y="52"/>
                  </a:lnTo>
                  <a:lnTo>
                    <a:pt x="392" y="54"/>
                  </a:lnTo>
                  <a:lnTo>
                    <a:pt x="384" y="56"/>
                  </a:lnTo>
                  <a:lnTo>
                    <a:pt x="376" y="58"/>
                  </a:lnTo>
                  <a:lnTo>
                    <a:pt x="378" y="64"/>
                  </a:lnTo>
                  <a:lnTo>
                    <a:pt x="380" y="68"/>
                  </a:lnTo>
                  <a:lnTo>
                    <a:pt x="380" y="72"/>
                  </a:lnTo>
                  <a:lnTo>
                    <a:pt x="378" y="76"/>
                  </a:lnTo>
                  <a:lnTo>
                    <a:pt x="374" y="80"/>
                  </a:lnTo>
                  <a:lnTo>
                    <a:pt x="370" y="84"/>
                  </a:lnTo>
                  <a:lnTo>
                    <a:pt x="368" y="88"/>
                  </a:lnTo>
                  <a:lnTo>
                    <a:pt x="364" y="94"/>
                  </a:lnTo>
                  <a:lnTo>
                    <a:pt x="362" y="96"/>
                  </a:lnTo>
                  <a:lnTo>
                    <a:pt x="360" y="100"/>
                  </a:lnTo>
                  <a:lnTo>
                    <a:pt x="356" y="106"/>
                  </a:lnTo>
                  <a:lnTo>
                    <a:pt x="356" y="110"/>
                  </a:lnTo>
                  <a:lnTo>
                    <a:pt x="354" y="114"/>
                  </a:lnTo>
                  <a:lnTo>
                    <a:pt x="352" y="116"/>
                  </a:lnTo>
                  <a:lnTo>
                    <a:pt x="344" y="118"/>
                  </a:lnTo>
                  <a:lnTo>
                    <a:pt x="338" y="118"/>
                  </a:lnTo>
                  <a:lnTo>
                    <a:pt x="334" y="120"/>
                  </a:lnTo>
                  <a:lnTo>
                    <a:pt x="332" y="122"/>
                  </a:lnTo>
                  <a:lnTo>
                    <a:pt x="332" y="124"/>
                  </a:lnTo>
                  <a:lnTo>
                    <a:pt x="330" y="128"/>
                  </a:lnTo>
                  <a:lnTo>
                    <a:pt x="330" y="132"/>
                  </a:lnTo>
                  <a:lnTo>
                    <a:pt x="328" y="134"/>
                  </a:lnTo>
                  <a:lnTo>
                    <a:pt x="326" y="142"/>
                  </a:lnTo>
                  <a:lnTo>
                    <a:pt x="324" y="148"/>
                  </a:lnTo>
                  <a:lnTo>
                    <a:pt x="322" y="158"/>
                  </a:lnTo>
                  <a:lnTo>
                    <a:pt x="320" y="164"/>
                  </a:lnTo>
                  <a:lnTo>
                    <a:pt x="318" y="176"/>
                  </a:lnTo>
                  <a:lnTo>
                    <a:pt x="316" y="186"/>
                  </a:lnTo>
                  <a:lnTo>
                    <a:pt x="312" y="198"/>
                  </a:lnTo>
                  <a:lnTo>
                    <a:pt x="310" y="204"/>
                  </a:lnTo>
                  <a:lnTo>
                    <a:pt x="308" y="208"/>
                  </a:lnTo>
                  <a:lnTo>
                    <a:pt x="302" y="212"/>
                  </a:lnTo>
                  <a:lnTo>
                    <a:pt x="298" y="214"/>
                  </a:lnTo>
                  <a:lnTo>
                    <a:pt x="294" y="218"/>
                  </a:lnTo>
                  <a:lnTo>
                    <a:pt x="288" y="222"/>
                  </a:lnTo>
                  <a:lnTo>
                    <a:pt x="282" y="226"/>
                  </a:lnTo>
                  <a:lnTo>
                    <a:pt x="276" y="230"/>
                  </a:lnTo>
                  <a:lnTo>
                    <a:pt x="274" y="232"/>
                  </a:lnTo>
                  <a:lnTo>
                    <a:pt x="270" y="234"/>
                  </a:lnTo>
                  <a:lnTo>
                    <a:pt x="266" y="238"/>
                  </a:lnTo>
                  <a:lnTo>
                    <a:pt x="262" y="246"/>
                  </a:lnTo>
                  <a:lnTo>
                    <a:pt x="260" y="252"/>
                  </a:lnTo>
                  <a:lnTo>
                    <a:pt x="254" y="260"/>
                  </a:lnTo>
                  <a:lnTo>
                    <a:pt x="252" y="266"/>
                  </a:lnTo>
                  <a:lnTo>
                    <a:pt x="250" y="268"/>
                  </a:lnTo>
                  <a:lnTo>
                    <a:pt x="244" y="272"/>
                  </a:lnTo>
                  <a:lnTo>
                    <a:pt x="238" y="274"/>
                  </a:lnTo>
                  <a:lnTo>
                    <a:pt x="232" y="276"/>
                  </a:lnTo>
                  <a:lnTo>
                    <a:pt x="226" y="280"/>
                  </a:lnTo>
                  <a:lnTo>
                    <a:pt x="220" y="282"/>
                  </a:lnTo>
                  <a:lnTo>
                    <a:pt x="214" y="284"/>
                  </a:lnTo>
                  <a:lnTo>
                    <a:pt x="212" y="290"/>
                  </a:lnTo>
                  <a:lnTo>
                    <a:pt x="208" y="294"/>
                  </a:lnTo>
                  <a:lnTo>
                    <a:pt x="206" y="302"/>
                  </a:lnTo>
                  <a:lnTo>
                    <a:pt x="202" y="310"/>
                  </a:lnTo>
                  <a:lnTo>
                    <a:pt x="202" y="314"/>
                  </a:lnTo>
                  <a:lnTo>
                    <a:pt x="198" y="332"/>
                  </a:lnTo>
                  <a:lnTo>
                    <a:pt x="196" y="342"/>
                  </a:lnTo>
                  <a:lnTo>
                    <a:pt x="196" y="348"/>
                  </a:lnTo>
                  <a:lnTo>
                    <a:pt x="194" y="356"/>
                  </a:lnTo>
                  <a:lnTo>
                    <a:pt x="192" y="368"/>
                  </a:lnTo>
                  <a:lnTo>
                    <a:pt x="192" y="378"/>
                  </a:lnTo>
                  <a:lnTo>
                    <a:pt x="190" y="384"/>
                  </a:lnTo>
                  <a:lnTo>
                    <a:pt x="190" y="388"/>
                  </a:lnTo>
                  <a:lnTo>
                    <a:pt x="186" y="392"/>
                  </a:lnTo>
                  <a:lnTo>
                    <a:pt x="184" y="396"/>
                  </a:lnTo>
                  <a:lnTo>
                    <a:pt x="180" y="400"/>
                  </a:lnTo>
                  <a:lnTo>
                    <a:pt x="176" y="404"/>
                  </a:lnTo>
                  <a:lnTo>
                    <a:pt x="174" y="406"/>
                  </a:lnTo>
                  <a:lnTo>
                    <a:pt x="170" y="410"/>
                  </a:lnTo>
                  <a:lnTo>
                    <a:pt x="166" y="416"/>
                  </a:lnTo>
                  <a:lnTo>
                    <a:pt x="162" y="420"/>
                  </a:lnTo>
                  <a:lnTo>
                    <a:pt x="164" y="422"/>
                  </a:lnTo>
                  <a:lnTo>
                    <a:pt x="164" y="428"/>
                  </a:lnTo>
                  <a:lnTo>
                    <a:pt x="162" y="432"/>
                  </a:lnTo>
                  <a:lnTo>
                    <a:pt x="160" y="438"/>
                  </a:lnTo>
                  <a:lnTo>
                    <a:pt x="154" y="444"/>
                  </a:lnTo>
                  <a:lnTo>
                    <a:pt x="150" y="448"/>
                  </a:lnTo>
                  <a:lnTo>
                    <a:pt x="140" y="448"/>
                  </a:lnTo>
                  <a:lnTo>
                    <a:pt x="128" y="448"/>
                  </a:lnTo>
                  <a:lnTo>
                    <a:pt x="120" y="448"/>
                  </a:lnTo>
                  <a:lnTo>
                    <a:pt x="108" y="448"/>
                  </a:lnTo>
                  <a:lnTo>
                    <a:pt x="98" y="446"/>
                  </a:lnTo>
                  <a:lnTo>
                    <a:pt x="90" y="446"/>
                  </a:lnTo>
                  <a:lnTo>
                    <a:pt x="78" y="444"/>
                  </a:lnTo>
                  <a:lnTo>
                    <a:pt x="70" y="444"/>
                  </a:lnTo>
                  <a:lnTo>
                    <a:pt x="60" y="446"/>
                  </a:lnTo>
                  <a:lnTo>
                    <a:pt x="36" y="446"/>
                  </a:lnTo>
                  <a:lnTo>
                    <a:pt x="26" y="446"/>
                  </a:lnTo>
                  <a:lnTo>
                    <a:pt x="10" y="450"/>
                  </a:lnTo>
                  <a:lnTo>
                    <a:pt x="8" y="450"/>
                  </a:lnTo>
                  <a:lnTo>
                    <a:pt x="6" y="454"/>
                  </a:lnTo>
                  <a:lnTo>
                    <a:pt x="0" y="490"/>
                  </a:lnTo>
                  <a:lnTo>
                    <a:pt x="4" y="494"/>
                  </a:lnTo>
                  <a:lnTo>
                    <a:pt x="4" y="488"/>
                  </a:lnTo>
                  <a:lnTo>
                    <a:pt x="4" y="480"/>
                  </a:lnTo>
                  <a:lnTo>
                    <a:pt x="8" y="470"/>
                  </a:lnTo>
                  <a:lnTo>
                    <a:pt x="10" y="456"/>
                  </a:lnTo>
                  <a:lnTo>
                    <a:pt x="228" y="456"/>
                  </a:lnTo>
                  <a:lnTo>
                    <a:pt x="244" y="456"/>
                  </a:lnTo>
                  <a:lnTo>
                    <a:pt x="268" y="456"/>
                  </a:lnTo>
                  <a:lnTo>
                    <a:pt x="268" y="448"/>
                  </a:lnTo>
                  <a:lnTo>
                    <a:pt x="268" y="440"/>
                  </a:lnTo>
                  <a:lnTo>
                    <a:pt x="266" y="420"/>
                  </a:lnTo>
                  <a:lnTo>
                    <a:pt x="266" y="410"/>
                  </a:lnTo>
                  <a:lnTo>
                    <a:pt x="264" y="390"/>
                  </a:lnTo>
                  <a:lnTo>
                    <a:pt x="264" y="382"/>
                  </a:lnTo>
                  <a:lnTo>
                    <a:pt x="264" y="374"/>
                  </a:lnTo>
                  <a:lnTo>
                    <a:pt x="262" y="370"/>
                  </a:lnTo>
                  <a:lnTo>
                    <a:pt x="260" y="360"/>
                  </a:lnTo>
                  <a:lnTo>
                    <a:pt x="258" y="356"/>
                  </a:lnTo>
                  <a:lnTo>
                    <a:pt x="260" y="352"/>
                  </a:lnTo>
                  <a:lnTo>
                    <a:pt x="262" y="346"/>
                  </a:lnTo>
                  <a:lnTo>
                    <a:pt x="268" y="338"/>
                  </a:lnTo>
                  <a:lnTo>
                    <a:pt x="276" y="332"/>
                  </a:lnTo>
                  <a:lnTo>
                    <a:pt x="286" y="324"/>
                  </a:lnTo>
                  <a:lnTo>
                    <a:pt x="294" y="320"/>
                  </a:lnTo>
                  <a:lnTo>
                    <a:pt x="298" y="318"/>
                  </a:lnTo>
                  <a:lnTo>
                    <a:pt x="310" y="316"/>
                  </a:lnTo>
                  <a:lnTo>
                    <a:pt x="320" y="312"/>
                  </a:lnTo>
                  <a:lnTo>
                    <a:pt x="330" y="308"/>
                  </a:lnTo>
                  <a:lnTo>
                    <a:pt x="334" y="306"/>
                  </a:lnTo>
                  <a:lnTo>
                    <a:pt x="334" y="298"/>
                  </a:lnTo>
                  <a:lnTo>
                    <a:pt x="334" y="122"/>
                  </a:lnTo>
                  <a:lnTo>
                    <a:pt x="552" y="122"/>
                  </a:lnTo>
                  <a:lnTo>
                    <a:pt x="552"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61" name="Google Shape;4828;p64">
              <a:extLst>
                <a:ext uri="{FF2B5EF4-FFF2-40B4-BE49-F238E27FC236}">
                  <a16:creationId xmlns:a16="http://schemas.microsoft.com/office/drawing/2014/main" id="{B8D395AF-13CF-50FC-CF7B-BFA5141A4DDF}"/>
                </a:ext>
              </a:extLst>
            </p:cNvPr>
            <p:cNvCxnSpPr/>
            <p:nvPr/>
          </p:nvCxnSpPr>
          <p:spPr>
            <a:xfrm>
              <a:off x="4337917" y="4369889"/>
              <a:ext cx="0" cy="0"/>
            </a:xfrm>
            <a:prstGeom prst="straightConnector1">
              <a:avLst/>
            </a:prstGeom>
            <a:grpFill/>
            <a:ln w="9525" cap="flat" cmpd="sng">
              <a:solidFill>
                <a:schemeClr val="bg2"/>
              </a:solidFill>
              <a:prstDash val="solid"/>
              <a:round/>
              <a:headEnd type="none" w="med" len="med"/>
              <a:tailEnd type="none" w="med" len="med"/>
            </a:ln>
          </p:spPr>
        </p:cxnSp>
        <p:cxnSp>
          <p:nvCxnSpPr>
            <p:cNvPr id="362" name="Google Shape;4829;p64">
              <a:extLst>
                <a:ext uri="{FF2B5EF4-FFF2-40B4-BE49-F238E27FC236}">
                  <a16:creationId xmlns:a16="http://schemas.microsoft.com/office/drawing/2014/main" id="{E7BAE7BA-3A5B-EEB0-46C0-4C16E227BE1A}"/>
                </a:ext>
              </a:extLst>
            </p:cNvPr>
            <p:cNvCxnSpPr/>
            <p:nvPr/>
          </p:nvCxnSpPr>
          <p:spPr>
            <a:xfrm>
              <a:off x="4337917" y="4369889"/>
              <a:ext cx="0" cy="0"/>
            </a:xfrm>
            <a:prstGeom prst="straightConnector1">
              <a:avLst/>
            </a:prstGeom>
            <a:grpFill/>
            <a:ln w="9525" cap="flat" cmpd="sng">
              <a:solidFill>
                <a:schemeClr val="bg2"/>
              </a:solidFill>
              <a:prstDash val="solid"/>
              <a:round/>
              <a:headEnd type="none" w="med" len="med"/>
              <a:tailEnd type="none" w="med" len="med"/>
            </a:ln>
          </p:spPr>
        </p:cxnSp>
        <p:sp>
          <p:nvSpPr>
            <p:cNvPr id="363" name="Google Shape;4830;p64">
              <a:extLst>
                <a:ext uri="{FF2B5EF4-FFF2-40B4-BE49-F238E27FC236}">
                  <a16:creationId xmlns:a16="http://schemas.microsoft.com/office/drawing/2014/main" id="{0857D5CA-764A-7880-C3F8-BDC0F45719CA}"/>
                </a:ext>
              </a:extLst>
            </p:cNvPr>
            <p:cNvSpPr/>
            <p:nvPr/>
          </p:nvSpPr>
          <p:spPr>
            <a:xfrm>
              <a:off x="5269884" y="4258972"/>
              <a:ext cx="452201" cy="373443"/>
            </a:xfrm>
            <a:custGeom>
              <a:avLst/>
              <a:gdLst/>
              <a:ahLst/>
              <a:cxnLst/>
              <a:rect l="l" t="t" r="r" b="b"/>
              <a:pathLst>
                <a:path w="3283172" h="2711356" extrusionOk="0">
                  <a:moveTo>
                    <a:pt x="1129332" y="2611288"/>
                  </a:moveTo>
                  <a:lnTo>
                    <a:pt x="1138864" y="2611288"/>
                  </a:lnTo>
                  <a:lnTo>
                    <a:pt x="1143628" y="2620820"/>
                  </a:lnTo>
                  <a:lnTo>
                    <a:pt x="1143628" y="2639880"/>
                  </a:lnTo>
                  <a:lnTo>
                    <a:pt x="1148396" y="2644644"/>
                  </a:lnTo>
                  <a:lnTo>
                    <a:pt x="1143628" y="2649410"/>
                  </a:lnTo>
                  <a:lnTo>
                    <a:pt x="1148396" y="2654176"/>
                  </a:lnTo>
                  <a:lnTo>
                    <a:pt x="1162688" y="2658940"/>
                  </a:lnTo>
                  <a:lnTo>
                    <a:pt x="1157924" y="2654176"/>
                  </a:lnTo>
                  <a:lnTo>
                    <a:pt x="1157924" y="2649410"/>
                  </a:lnTo>
                  <a:lnTo>
                    <a:pt x="1162688" y="2639880"/>
                  </a:lnTo>
                  <a:lnTo>
                    <a:pt x="1176984" y="2658940"/>
                  </a:lnTo>
                  <a:lnTo>
                    <a:pt x="1176984" y="2673236"/>
                  </a:lnTo>
                  <a:lnTo>
                    <a:pt x="1176984" y="2678000"/>
                  </a:lnTo>
                  <a:lnTo>
                    <a:pt x="1172220" y="2678000"/>
                  </a:lnTo>
                  <a:lnTo>
                    <a:pt x="1167456" y="2673236"/>
                  </a:lnTo>
                  <a:lnTo>
                    <a:pt x="1167456" y="2668470"/>
                  </a:lnTo>
                  <a:lnTo>
                    <a:pt x="1162688" y="2663706"/>
                  </a:lnTo>
                  <a:lnTo>
                    <a:pt x="1148396" y="2668470"/>
                  </a:lnTo>
                  <a:lnTo>
                    <a:pt x="1134100" y="2663706"/>
                  </a:lnTo>
                  <a:lnTo>
                    <a:pt x="1119804" y="2644644"/>
                  </a:lnTo>
                  <a:lnTo>
                    <a:pt x="1115036" y="2635114"/>
                  </a:lnTo>
                  <a:lnTo>
                    <a:pt x="1124568" y="2630350"/>
                  </a:lnTo>
                  <a:lnTo>
                    <a:pt x="1129332" y="2625584"/>
                  </a:lnTo>
                  <a:lnTo>
                    <a:pt x="1134100" y="2616054"/>
                  </a:lnTo>
                  <a:close/>
                  <a:moveTo>
                    <a:pt x="300204" y="1148396"/>
                  </a:moveTo>
                  <a:lnTo>
                    <a:pt x="300204" y="1157926"/>
                  </a:lnTo>
                  <a:lnTo>
                    <a:pt x="304968" y="1162690"/>
                  </a:lnTo>
                  <a:lnTo>
                    <a:pt x="333560" y="1172220"/>
                  </a:lnTo>
                  <a:lnTo>
                    <a:pt x="357384" y="1196046"/>
                  </a:lnTo>
                  <a:lnTo>
                    <a:pt x="362148" y="1200812"/>
                  </a:lnTo>
                  <a:lnTo>
                    <a:pt x="357384" y="1205576"/>
                  </a:lnTo>
                  <a:lnTo>
                    <a:pt x="352620" y="1205576"/>
                  </a:lnTo>
                  <a:lnTo>
                    <a:pt x="338324" y="1191282"/>
                  </a:lnTo>
                  <a:lnTo>
                    <a:pt x="333560" y="1181752"/>
                  </a:lnTo>
                  <a:lnTo>
                    <a:pt x="328792" y="1176986"/>
                  </a:lnTo>
                  <a:lnTo>
                    <a:pt x="300204" y="1167456"/>
                  </a:lnTo>
                  <a:lnTo>
                    <a:pt x="295436" y="1157926"/>
                  </a:lnTo>
                  <a:close/>
                  <a:moveTo>
                    <a:pt x="304968" y="1119804"/>
                  </a:moveTo>
                  <a:lnTo>
                    <a:pt x="304968" y="1134100"/>
                  </a:lnTo>
                  <a:lnTo>
                    <a:pt x="309732" y="1143630"/>
                  </a:lnTo>
                  <a:lnTo>
                    <a:pt x="309732" y="1148396"/>
                  </a:lnTo>
                  <a:lnTo>
                    <a:pt x="304968" y="1148396"/>
                  </a:lnTo>
                  <a:lnTo>
                    <a:pt x="300204" y="1143630"/>
                  </a:lnTo>
                  <a:lnTo>
                    <a:pt x="300204" y="1129334"/>
                  </a:lnTo>
                  <a:close/>
                  <a:moveTo>
                    <a:pt x="705236" y="0"/>
                  </a:moveTo>
                  <a:lnTo>
                    <a:pt x="738592" y="9530"/>
                  </a:lnTo>
                  <a:lnTo>
                    <a:pt x="791012" y="14294"/>
                  </a:lnTo>
                  <a:lnTo>
                    <a:pt x="843428" y="23824"/>
                  </a:lnTo>
                  <a:lnTo>
                    <a:pt x="895844" y="33354"/>
                  </a:lnTo>
                  <a:lnTo>
                    <a:pt x="914904" y="42886"/>
                  </a:lnTo>
                  <a:lnTo>
                    <a:pt x="967320" y="76242"/>
                  </a:lnTo>
                  <a:lnTo>
                    <a:pt x="1000676" y="95302"/>
                  </a:lnTo>
                  <a:lnTo>
                    <a:pt x="1038796" y="119128"/>
                  </a:lnTo>
                  <a:lnTo>
                    <a:pt x="1086448" y="147718"/>
                  </a:lnTo>
                  <a:lnTo>
                    <a:pt x="1119804" y="166778"/>
                  </a:lnTo>
                  <a:lnTo>
                    <a:pt x="1162692" y="190604"/>
                  </a:lnTo>
                  <a:lnTo>
                    <a:pt x="1196044" y="223960"/>
                  </a:lnTo>
                  <a:lnTo>
                    <a:pt x="1238932" y="257316"/>
                  </a:lnTo>
                  <a:lnTo>
                    <a:pt x="1286584" y="300202"/>
                  </a:lnTo>
                  <a:lnTo>
                    <a:pt x="1324704" y="328792"/>
                  </a:lnTo>
                  <a:lnTo>
                    <a:pt x="1377120" y="376444"/>
                  </a:lnTo>
                  <a:lnTo>
                    <a:pt x="1429536" y="414564"/>
                  </a:lnTo>
                  <a:lnTo>
                    <a:pt x="1481952" y="457452"/>
                  </a:lnTo>
                  <a:lnTo>
                    <a:pt x="1520076" y="490808"/>
                  </a:lnTo>
                  <a:lnTo>
                    <a:pt x="1572492" y="533694"/>
                  </a:lnTo>
                  <a:lnTo>
                    <a:pt x="1577256" y="533694"/>
                  </a:lnTo>
                  <a:lnTo>
                    <a:pt x="1629672" y="538458"/>
                  </a:lnTo>
                  <a:lnTo>
                    <a:pt x="1767860" y="552754"/>
                  </a:lnTo>
                  <a:lnTo>
                    <a:pt x="1834572" y="557518"/>
                  </a:lnTo>
                  <a:lnTo>
                    <a:pt x="1858400" y="552754"/>
                  </a:lnTo>
                  <a:lnTo>
                    <a:pt x="1891756" y="557518"/>
                  </a:lnTo>
                  <a:lnTo>
                    <a:pt x="1929876" y="562284"/>
                  </a:lnTo>
                  <a:lnTo>
                    <a:pt x="1953700" y="562284"/>
                  </a:lnTo>
                  <a:lnTo>
                    <a:pt x="2001352" y="571814"/>
                  </a:lnTo>
                  <a:lnTo>
                    <a:pt x="2015648" y="595640"/>
                  </a:lnTo>
                  <a:lnTo>
                    <a:pt x="2020412" y="614700"/>
                  </a:lnTo>
                  <a:lnTo>
                    <a:pt x="2025180" y="633760"/>
                  </a:lnTo>
                  <a:lnTo>
                    <a:pt x="2039472" y="652822"/>
                  </a:lnTo>
                  <a:lnTo>
                    <a:pt x="2068064" y="652822"/>
                  </a:lnTo>
                  <a:lnTo>
                    <a:pt x="2096656" y="652822"/>
                  </a:lnTo>
                  <a:lnTo>
                    <a:pt x="2130012" y="652822"/>
                  </a:lnTo>
                  <a:lnTo>
                    <a:pt x="2158600" y="648056"/>
                  </a:lnTo>
                  <a:lnTo>
                    <a:pt x="2168132" y="667116"/>
                  </a:lnTo>
                  <a:lnTo>
                    <a:pt x="2172896" y="681412"/>
                  </a:lnTo>
                  <a:lnTo>
                    <a:pt x="2187192" y="724298"/>
                  </a:lnTo>
                  <a:lnTo>
                    <a:pt x="2211020" y="752888"/>
                  </a:lnTo>
                  <a:lnTo>
                    <a:pt x="2215784" y="767184"/>
                  </a:lnTo>
                  <a:lnTo>
                    <a:pt x="2220548" y="781480"/>
                  </a:lnTo>
                  <a:lnTo>
                    <a:pt x="2215784" y="786244"/>
                  </a:lnTo>
                  <a:lnTo>
                    <a:pt x="2215784" y="795776"/>
                  </a:lnTo>
                  <a:lnTo>
                    <a:pt x="2230080" y="810070"/>
                  </a:lnTo>
                  <a:lnTo>
                    <a:pt x="2258668" y="824366"/>
                  </a:lnTo>
                  <a:lnTo>
                    <a:pt x="2268200" y="829132"/>
                  </a:lnTo>
                  <a:lnTo>
                    <a:pt x="2282496" y="833896"/>
                  </a:lnTo>
                  <a:lnTo>
                    <a:pt x="2272964" y="843426"/>
                  </a:lnTo>
                  <a:lnTo>
                    <a:pt x="2287260" y="867252"/>
                  </a:lnTo>
                  <a:lnTo>
                    <a:pt x="2311084" y="891078"/>
                  </a:lnTo>
                  <a:lnTo>
                    <a:pt x="2330148" y="895842"/>
                  </a:lnTo>
                  <a:lnTo>
                    <a:pt x="2358736" y="929198"/>
                  </a:lnTo>
                  <a:lnTo>
                    <a:pt x="2401624" y="953024"/>
                  </a:lnTo>
                  <a:lnTo>
                    <a:pt x="2425448" y="981616"/>
                  </a:lnTo>
                  <a:lnTo>
                    <a:pt x="2420684" y="981616"/>
                  </a:lnTo>
                  <a:lnTo>
                    <a:pt x="2415920" y="976850"/>
                  </a:lnTo>
                  <a:lnTo>
                    <a:pt x="2406388" y="976850"/>
                  </a:lnTo>
                  <a:lnTo>
                    <a:pt x="2401624" y="976850"/>
                  </a:lnTo>
                  <a:lnTo>
                    <a:pt x="2401624" y="991146"/>
                  </a:lnTo>
                  <a:lnTo>
                    <a:pt x="2406388" y="1005440"/>
                  </a:lnTo>
                  <a:lnTo>
                    <a:pt x="2420684" y="1014970"/>
                  </a:lnTo>
                  <a:lnTo>
                    <a:pt x="2430216" y="1024502"/>
                  </a:lnTo>
                  <a:lnTo>
                    <a:pt x="2434980" y="1043562"/>
                  </a:lnTo>
                  <a:lnTo>
                    <a:pt x="2425448" y="1081682"/>
                  </a:lnTo>
                  <a:lnTo>
                    <a:pt x="2420684" y="1081682"/>
                  </a:lnTo>
                  <a:lnTo>
                    <a:pt x="2415920" y="1076918"/>
                  </a:lnTo>
                  <a:lnTo>
                    <a:pt x="2411152" y="1076918"/>
                  </a:lnTo>
                  <a:lnTo>
                    <a:pt x="2406388" y="1076918"/>
                  </a:lnTo>
                  <a:lnTo>
                    <a:pt x="2415920" y="1105508"/>
                  </a:lnTo>
                  <a:lnTo>
                    <a:pt x="2420684" y="1124568"/>
                  </a:lnTo>
                  <a:lnTo>
                    <a:pt x="2430216" y="1138864"/>
                  </a:lnTo>
                  <a:lnTo>
                    <a:pt x="2439744" y="1162690"/>
                  </a:lnTo>
                  <a:lnTo>
                    <a:pt x="2444508" y="1172220"/>
                  </a:lnTo>
                  <a:lnTo>
                    <a:pt x="2473100" y="1196046"/>
                  </a:lnTo>
                  <a:lnTo>
                    <a:pt x="2482632" y="1215106"/>
                  </a:lnTo>
                  <a:lnTo>
                    <a:pt x="2487396" y="1253228"/>
                  </a:lnTo>
                  <a:lnTo>
                    <a:pt x="2506456" y="1277052"/>
                  </a:lnTo>
                  <a:lnTo>
                    <a:pt x="2515988" y="1291348"/>
                  </a:lnTo>
                  <a:lnTo>
                    <a:pt x="2525516" y="1305644"/>
                  </a:lnTo>
                  <a:lnTo>
                    <a:pt x="2535048" y="1324704"/>
                  </a:lnTo>
                  <a:lnTo>
                    <a:pt x="2544576" y="1339000"/>
                  </a:lnTo>
                  <a:lnTo>
                    <a:pt x="2554108" y="1343764"/>
                  </a:lnTo>
                  <a:lnTo>
                    <a:pt x="2558872" y="1343764"/>
                  </a:lnTo>
                  <a:lnTo>
                    <a:pt x="2573168" y="1343764"/>
                  </a:lnTo>
                  <a:lnTo>
                    <a:pt x="2587464" y="1339000"/>
                  </a:lnTo>
                  <a:lnTo>
                    <a:pt x="2596992" y="1339000"/>
                  </a:lnTo>
                  <a:lnTo>
                    <a:pt x="2611288" y="1343764"/>
                  </a:lnTo>
                  <a:lnTo>
                    <a:pt x="2620820" y="1343764"/>
                  </a:lnTo>
                  <a:lnTo>
                    <a:pt x="2625584" y="1348530"/>
                  </a:lnTo>
                  <a:lnTo>
                    <a:pt x="2616052" y="1358060"/>
                  </a:lnTo>
                  <a:lnTo>
                    <a:pt x="2606524" y="1381886"/>
                  </a:lnTo>
                  <a:lnTo>
                    <a:pt x="2620820" y="1386650"/>
                  </a:lnTo>
                  <a:lnTo>
                    <a:pt x="2630348" y="1391416"/>
                  </a:lnTo>
                  <a:lnTo>
                    <a:pt x="2639880" y="1391416"/>
                  </a:lnTo>
                  <a:lnTo>
                    <a:pt x="2644644" y="1391416"/>
                  </a:lnTo>
                  <a:lnTo>
                    <a:pt x="2644644" y="1396182"/>
                  </a:lnTo>
                  <a:lnTo>
                    <a:pt x="2649412" y="1420006"/>
                  </a:lnTo>
                  <a:lnTo>
                    <a:pt x="2649412" y="1429536"/>
                  </a:lnTo>
                  <a:lnTo>
                    <a:pt x="2654176" y="1434302"/>
                  </a:lnTo>
                  <a:lnTo>
                    <a:pt x="2663704" y="1448598"/>
                  </a:lnTo>
                  <a:lnTo>
                    <a:pt x="2682764" y="1467658"/>
                  </a:lnTo>
                  <a:lnTo>
                    <a:pt x="2692296" y="1481954"/>
                  </a:lnTo>
                  <a:lnTo>
                    <a:pt x="2697060" y="1491484"/>
                  </a:lnTo>
                  <a:lnTo>
                    <a:pt x="2706592" y="1501014"/>
                  </a:lnTo>
                  <a:lnTo>
                    <a:pt x="2735184" y="1534370"/>
                  </a:lnTo>
                  <a:lnTo>
                    <a:pt x="2739948" y="1548666"/>
                  </a:lnTo>
                  <a:lnTo>
                    <a:pt x="2749476" y="1558196"/>
                  </a:lnTo>
                  <a:lnTo>
                    <a:pt x="2759008" y="1567726"/>
                  </a:lnTo>
                  <a:lnTo>
                    <a:pt x="2778068" y="1591552"/>
                  </a:lnTo>
                  <a:lnTo>
                    <a:pt x="2782832" y="1601082"/>
                  </a:lnTo>
                  <a:lnTo>
                    <a:pt x="2792364" y="1615376"/>
                  </a:lnTo>
                  <a:lnTo>
                    <a:pt x="2801892" y="1624908"/>
                  </a:lnTo>
                  <a:lnTo>
                    <a:pt x="2811424" y="1624908"/>
                  </a:lnTo>
                  <a:lnTo>
                    <a:pt x="2816188" y="1624908"/>
                  </a:lnTo>
                  <a:lnTo>
                    <a:pt x="2830484" y="1629672"/>
                  </a:lnTo>
                  <a:lnTo>
                    <a:pt x="2849544" y="1629672"/>
                  </a:lnTo>
                  <a:lnTo>
                    <a:pt x="2873372" y="1634438"/>
                  </a:lnTo>
                  <a:lnTo>
                    <a:pt x="2901960" y="1634438"/>
                  </a:lnTo>
                  <a:lnTo>
                    <a:pt x="2930552" y="1639202"/>
                  </a:lnTo>
                  <a:lnTo>
                    <a:pt x="2963908" y="1643968"/>
                  </a:lnTo>
                  <a:lnTo>
                    <a:pt x="3002028" y="1648732"/>
                  </a:lnTo>
                  <a:lnTo>
                    <a:pt x="3035384" y="1653498"/>
                  </a:lnTo>
                  <a:lnTo>
                    <a:pt x="3068740" y="1658264"/>
                  </a:lnTo>
                  <a:lnTo>
                    <a:pt x="3102096" y="1663028"/>
                  </a:lnTo>
                  <a:lnTo>
                    <a:pt x="3125924" y="1667794"/>
                  </a:lnTo>
                  <a:lnTo>
                    <a:pt x="3149748" y="1667794"/>
                  </a:lnTo>
                  <a:lnTo>
                    <a:pt x="3168808" y="1672558"/>
                  </a:lnTo>
                  <a:lnTo>
                    <a:pt x="3183104" y="1672558"/>
                  </a:lnTo>
                  <a:lnTo>
                    <a:pt x="3187868" y="1672558"/>
                  </a:lnTo>
                  <a:lnTo>
                    <a:pt x="3197400" y="1677324"/>
                  </a:lnTo>
                  <a:lnTo>
                    <a:pt x="3202164" y="1677324"/>
                  </a:lnTo>
                  <a:lnTo>
                    <a:pt x="3211696" y="1663028"/>
                  </a:lnTo>
                  <a:lnTo>
                    <a:pt x="3221224" y="1682088"/>
                  </a:lnTo>
                  <a:lnTo>
                    <a:pt x="3230756" y="1696384"/>
                  </a:lnTo>
                  <a:lnTo>
                    <a:pt x="3245052" y="1720210"/>
                  </a:lnTo>
                  <a:lnTo>
                    <a:pt x="3259348" y="1744036"/>
                  </a:lnTo>
                  <a:lnTo>
                    <a:pt x="3273640" y="1763096"/>
                  </a:lnTo>
                  <a:lnTo>
                    <a:pt x="3283172" y="1782156"/>
                  </a:lnTo>
                  <a:lnTo>
                    <a:pt x="3278408" y="1796452"/>
                  </a:lnTo>
                  <a:lnTo>
                    <a:pt x="3273640" y="1815512"/>
                  </a:lnTo>
                  <a:lnTo>
                    <a:pt x="3264112" y="1834572"/>
                  </a:lnTo>
                  <a:lnTo>
                    <a:pt x="3259348" y="1853634"/>
                  </a:lnTo>
                  <a:lnTo>
                    <a:pt x="3249816" y="1891754"/>
                  </a:lnTo>
                  <a:lnTo>
                    <a:pt x="3245052" y="1910814"/>
                  </a:lnTo>
                  <a:lnTo>
                    <a:pt x="3230756" y="1944170"/>
                  </a:lnTo>
                  <a:lnTo>
                    <a:pt x="3225992" y="1963232"/>
                  </a:lnTo>
                  <a:lnTo>
                    <a:pt x="3221224" y="1982292"/>
                  </a:lnTo>
                  <a:lnTo>
                    <a:pt x="3197400" y="2058534"/>
                  </a:lnTo>
                  <a:lnTo>
                    <a:pt x="3192636" y="2077594"/>
                  </a:lnTo>
                  <a:lnTo>
                    <a:pt x="3187868" y="2096654"/>
                  </a:lnTo>
                  <a:lnTo>
                    <a:pt x="3178340" y="2115716"/>
                  </a:lnTo>
                  <a:lnTo>
                    <a:pt x="3164044" y="2120480"/>
                  </a:lnTo>
                  <a:lnTo>
                    <a:pt x="3135452" y="2130010"/>
                  </a:lnTo>
                  <a:lnTo>
                    <a:pt x="3106864" y="2139540"/>
                  </a:lnTo>
                  <a:lnTo>
                    <a:pt x="3083036" y="2149072"/>
                  </a:lnTo>
                  <a:lnTo>
                    <a:pt x="3054444" y="2158602"/>
                  </a:lnTo>
                  <a:lnTo>
                    <a:pt x="3025856" y="2168132"/>
                  </a:lnTo>
                  <a:lnTo>
                    <a:pt x="3002028" y="2177662"/>
                  </a:lnTo>
                  <a:lnTo>
                    <a:pt x="2973440" y="2187192"/>
                  </a:lnTo>
                  <a:lnTo>
                    <a:pt x="2949612" y="2196722"/>
                  </a:lnTo>
                  <a:lnTo>
                    <a:pt x="2921024" y="2206252"/>
                  </a:lnTo>
                  <a:lnTo>
                    <a:pt x="2892432" y="2215782"/>
                  </a:lnTo>
                  <a:lnTo>
                    <a:pt x="2868604" y="2225312"/>
                  </a:lnTo>
                  <a:lnTo>
                    <a:pt x="2840016" y="2234844"/>
                  </a:lnTo>
                  <a:lnTo>
                    <a:pt x="2811424" y="2244374"/>
                  </a:lnTo>
                  <a:lnTo>
                    <a:pt x="2759008" y="2263434"/>
                  </a:lnTo>
                  <a:lnTo>
                    <a:pt x="2730416" y="2272964"/>
                  </a:lnTo>
                  <a:lnTo>
                    <a:pt x="2711356" y="2282494"/>
                  </a:lnTo>
                  <a:lnTo>
                    <a:pt x="2673236" y="2287260"/>
                  </a:lnTo>
                  <a:lnTo>
                    <a:pt x="2639880" y="2292024"/>
                  </a:lnTo>
                  <a:lnTo>
                    <a:pt x="2596992" y="2296790"/>
                  </a:lnTo>
                  <a:lnTo>
                    <a:pt x="2549344" y="2306320"/>
                  </a:lnTo>
                  <a:lnTo>
                    <a:pt x="2511220" y="2311086"/>
                  </a:lnTo>
                  <a:lnTo>
                    <a:pt x="2458804" y="2315850"/>
                  </a:lnTo>
                  <a:lnTo>
                    <a:pt x="2406388" y="2325380"/>
                  </a:lnTo>
                  <a:lnTo>
                    <a:pt x="2358736" y="2330146"/>
                  </a:lnTo>
                  <a:lnTo>
                    <a:pt x="2315852" y="2339676"/>
                  </a:lnTo>
                  <a:lnTo>
                    <a:pt x="2277732" y="2344442"/>
                  </a:lnTo>
                  <a:lnTo>
                    <a:pt x="2253904" y="2349206"/>
                  </a:lnTo>
                  <a:lnTo>
                    <a:pt x="2225312" y="2363502"/>
                  </a:lnTo>
                  <a:lnTo>
                    <a:pt x="2182428" y="2387328"/>
                  </a:lnTo>
                  <a:lnTo>
                    <a:pt x="2139540" y="2411152"/>
                  </a:lnTo>
                  <a:lnTo>
                    <a:pt x="2115716" y="2420684"/>
                  </a:lnTo>
                  <a:lnTo>
                    <a:pt x="2091892" y="2449274"/>
                  </a:lnTo>
                  <a:lnTo>
                    <a:pt x="2082360" y="2463570"/>
                  </a:lnTo>
                  <a:lnTo>
                    <a:pt x="2058536" y="2492160"/>
                  </a:lnTo>
                  <a:lnTo>
                    <a:pt x="2044240" y="2511220"/>
                  </a:lnTo>
                  <a:lnTo>
                    <a:pt x="2025180" y="2535046"/>
                  </a:lnTo>
                  <a:lnTo>
                    <a:pt x="2015648" y="2558872"/>
                  </a:lnTo>
                  <a:lnTo>
                    <a:pt x="2001352" y="2592228"/>
                  </a:lnTo>
                  <a:lnTo>
                    <a:pt x="1991824" y="2601758"/>
                  </a:lnTo>
                  <a:lnTo>
                    <a:pt x="1972760" y="2611288"/>
                  </a:lnTo>
                  <a:lnTo>
                    <a:pt x="1953700" y="2616054"/>
                  </a:lnTo>
                  <a:lnTo>
                    <a:pt x="1929876" y="2616054"/>
                  </a:lnTo>
                  <a:lnTo>
                    <a:pt x="1915580" y="2596992"/>
                  </a:lnTo>
                  <a:lnTo>
                    <a:pt x="1896520" y="2573168"/>
                  </a:lnTo>
                  <a:lnTo>
                    <a:pt x="1891756" y="2568402"/>
                  </a:lnTo>
                  <a:lnTo>
                    <a:pt x="1882224" y="2568402"/>
                  </a:lnTo>
                  <a:lnTo>
                    <a:pt x="1858400" y="2568402"/>
                  </a:lnTo>
                  <a:lnTo>
                    <a:pt x="1825044" y="2573168"/>
                  </a:lnTo>
                  <a:lnTo>
                    <a:pt x="1786920" y="2568402"/>
                  </a:lnTo>
                  <a:lnTo>
                    <a:pt x="1744036" y="2563636"/>
                  </a:lnTo>
                  <a:lnTo>
                    <a:pt x="1705916" y="2558872"/>
                  </a:lnTo>
                  <a:lnTo>
                    <a:pt x="1682088" y="2558872"/>
                  </a:lnTo>
                  <a:lnTo>
                    <a:pt x="1658264" y="2544576"/>
                  </a:lnTo>
                  <a:lnTo>
                    <a:pt x="1648732" y="2539812"/>
                  </a:lnTo>
                  <a:lnTo>
                    <a:pt x="1643968" y="2539812"/>
                  </a:lnTo>
                  <a:lnTo>
                    <a:pt x="1610612" y="2539812"/>
                  </a:lnTo>
                  <a:lnTo>
                    <a:pt x="1582020" y="2539812"/>
                  </a:lnTo>
                  <a:lnTo>
                    <a:pt x="1548664" y="2544576"/>
                  </a:lnTo>
                  <a:lnTo>
                    <a:pt x="1520076" y="2539812"/>
                  </a:lnTo>
                  <a:lnTo>
                    <a:pt x="1486720" y="2544576"/>
                  </a:lnTo>
                  <a:lnTo>
                    <a:pt x="1477188" y="2549342"/>
                  </a:lnTo>
                  <a:lnTo>
                    <a:pt x="1467660" y="2549342"/>
                  </a:lnTo>
                  <a:lnTo>
                    <a:pt x="1458128" y="2554106"/>
                  </a:lnTo>
                  <a:lnTo>
                    <a:pt x="1453364" y="2558872"/>
                  </a:lnTo>
                  <a:lnTo>
                    <a:pt x="1443832" y="2554106"/>
                  </a:lnTo>
                  <a:lnTo>
                    <a:pt x="1434304" y="2554106"/>
                  </a:lnTo>
                  <a:lnTo>
                    <a:pt x="1420008" y="2549342"/>
                  </a:lnTo>
                  <a:lnTo>
                    <a:pt x="1400948" y="2530282"/>
                  </a:lnTo>
                  <a:lnTo>
                    <a:pt x="1391416" y="2530282"/>
                  </a:lnTo>
                  <a:lnTo>
                    <a:pt x="1381884" y="2525516"/>
                  </a:lnTo>
                  <a:lnTo>
                    <a:pt x="1372356" y="2525516"/>
                  </a:lnTo>
                  <a:lnTo>
                    <a:pt x="1362824" y="2530282"/>
                  </a:lnTo>
                  <a:lnTo>
                    <a:pt x="1353296" y="2535046"/>
                  </a:lnTo>
                  <a:lnTo>
                    <a:pt x="1339000" y="2549342"/>
                  </a:lnTo>
                  <a:lnTo>
                    <a:pt x="1339000" y="2558872"/>
                  </a:lnTo>
                  <a:lnTo>
                    <a:pt x="1343764" y="2568402"/>
                  </a:lnTo>
                  <a:lnTo>
                    <a:pt x="1334236" y="2577932"/>
                  </a:lnTo>
                  <a:lnTo>
                    <a:pt x="1329468" y="2592228"/>
                  </a:lnTo>
                  <a:lnTo>
                    <a:pt x="1329468" y="2596992"/>
                  </a:lnTo>
                  <a:lnTo>
                    <a:pt x="1324704" y="2620818"/>
                  </a:lnTo>
                  <a:lnTo>
                    <a:pt x="1329468" y="2635114"/>
                  </a:lnTo>
                  <a:lnTo>
                    <a:pt x="1339000" y="2639880"/>
                  </a:lnTo>
                  <a:lnTo>
                    <a:pt x="1339000" y="2649410"/>
                  </a:lnTo>
                  <a:lnTo>
                    <a:pt x="1334236" y="2658940"/>
                  </a:lnTo>
                  <a:lnTo>
                    <a:pt x="1324704" y="2663704"/>
                  </a:lnTo>
                  <a:lnTo>
                    <a:pt x="1319940" y="2678000"/>
                  </a:lnTo>
                  <a:lnTo>
                    <a:pt x="1315176" y="2682766"/>
                  </a:lnTo>
                  <a:lnTo>
                    <a:pt x="1305644" y="2687530"/>
                  </a:lnTo>
                  <a:lnTo>
                    <a:pt x="1277052" y="2711356"/>
                  </a:lnTo>
                  <a:lnTo>
                    <a:pt x="1277052" y="2697060"/>
                  </a:lnTo>
                  <a:lnTo>
                    <a:pt x="1267524" y="2678000"/>
                  </a:lnTo>
                  <a:lnTo>
                    <a:pt x="1267524" y="2668470"/>
                  </a:lnTo>
                  <a:lnTo>
                    <a:pt x="1262756" y="2654174"/>
                  </a:lnTo>
                  <a:lnTo>
                    <a:pt x="1253228" y="2644644"/>
                  </a:lnTo>
                  <a:lnTo>
                    <a:pt x="1238932" y="2630348"/>
                  </a:lnTo>
                  <a:lnTo>
                    <a:pt x="1238932" y="2616054"/>
                  </a:lnTo>
                  <a:lnTo>
                    <a:pt x="1224636" y="2601758"/>
                  </a:lnTo>
                  <a:lnTo>
                    <a:pt x="1210340" y="2587462"/>
                  </a:lnTo>
                  <a:lnTo>
                    <a:pt x="1205576" y="2568402"/>
                  </a:lnTo>
                  <a:lnTo>
                    <a:pt x="1196044" y="2539812"/>
                  </a:lnTo>
                  <a:lnTo>
                    <a:pt x="1157924" y="2501690"/>
                  </a:lnTo>
                  <a:lnTo>
                    <a:pt x="1115040" y="2463570"/>
                  </a:lnTo>
                  <a:lnTo>
                    <a:pt x="1100744" y="2444508"/>
                  </a:lnTo>
                  <a:lnTo>
                    <a:pt x="1076916" y="2401622"/>
                  </a:lnTo>
                  <a:lnTo>
                    <a:pt x="1062624" y="2373032"/>
                  </a:lnTo>
                  <a:lnTo>
                    <a:pt x="1029268" y="2334912"/>
                  </a:lnTo>
                  <a:lnTo>
                    <a:pt x="1029268" y="2320616"/>
                  </a:lnTo>
                  <a:lnTo>
                    <a:pt x="1024500" y="2301556"/>
                  </a:lnTo>
                  <a:lnTo>
                    <a:pt x="1019736" y="2282494"/>
                  </a:lnTo>
                  <a:lnTo>
                    <a:pt x="1014972" y="2268200"/>
                  </a:lnTo>
                  <a:lnTo>
                    <a:pt x="981616" y="2201488"/>
                  </a:lnTo>
                  <a:lnTo>
                    <a:pt x="972084" y="2187192"/>
                  </a:lnTo>
                  <a:lnTo>
                    <a:pt x="962556" y="2172896"/>
                  </a:lnTo>
                  <a:lnTo>
                    <a:pt x="962556" y="2163366"/>
                  </a:lnTo>
                  <a:lnTo>
                    <a:pt x="957788" y="2158602"/>
                  </a:lnTo>
                  <a:lnTo>
                    <a:pt x="933964" y="2144306"/>
                  </a:lnTo>
                  <a:lnTo>
                    <a:pt x="914904" y="2115716"/>
                  </a:lnTo>
                  <a:lnTo>
                    <a:pt x="852956" y="2072828"/>
                  </a:lnTo>
                  <a:lnTo>
                    <a:pt x="819600" y="2068064"/>
                  </a:lnTo>
                  <a:lnTo>
                    <a:pt x="795776" y="2049004"/>
                  </a:lnTo>
                  <a:lnTo>
                    <a:pt x="776716" y="2029942"/>
                  </a:lnTo>
                  <a:lnTo>
                    <a:pt x="757656" y="1991822"/>
                  </a:lnTo>
                  <a:lnTo>
                    <a:pt x="729064" y="1953700"/>
                  </a:lnTo>
                  <a:lnTo>
                    <a:pt x="695708" y="1896520"/>
                  </a:lnTo>
                  <a:lnTo>
                    <a:pt x="705236" y="1877458"/>
                  </a:lnTo>
                  <a:lnTo>
                    <a:pt x="705236" y="1863164"/>
                  </a:lnTo>
                  <a:lnTo>
                    <a:pt x="695708" y="1839338"/>
                  </a:lnTo>
                  <a:lnTo>
                    <a:pt x="686176" y="1820278"/>
                  </a:lnTo>
                  <a:lnTo>
                    <a:pt x="681412" y="1801216"/>
                  </a:lnTo>
                  <a:lnTo>
                    <a:pt x="686176" y="1777392"/>
                  </a:lnTo>
                  <a:lnTo>
                    <a:pt x="690944" y="1748800"/>
                  </a:lnTo>
                  <a:lnTo>
                    <a:pt x="695708" y="1729740"/>
                  </a:lnTo>
                  <a:lnTo>
                    <a:pt x="700472" y="1715444"/>
                  </a:lnTo>
                  <a:lnTo>
                    <a:pt x="690944" y="1682088"/>
                  </a:lnTo>
                  <a:lnTo>
                    <a:pt x="686176" y="1663028"/>
                  </a:lnTo>
                  <a:lnTo>
                    <a:pt x="686176" y="1648732"/>
                  </a:lnTo>
                  <a:lnTo>
                    <a:pt x="671884" y="1643968"/>
                  </a:lnTo>
                  <a:lnTo>
                    <a:pt x="667116" y="1629672"/>
                  </a:lnTo>
                  <a:lnTo>
                    <a:pt x="671884" y="1629672"/>
                  </a:lnTo>
                  <a:lnTo>
                    <a:pt x="657588" y="1615376"/>
                  </a:lnTo>
                  <a:lnTo>
                    <a:pt x="652820" y="1601082"/>
                  </a:lnTo>
                  <a:lnTo>
                    <a:pt x="648056" y="1577256"/>
                  </a:lnTo>
                  <a:lnTo>
                    <a:pt x="638528" y="1558196"/>
                  </a:lnTo>
                  <a:lnTo>
                    <a:pt x="609936" y="1515310"/>
                  </a:lnTo>
                  <a:lnTo>
                    <a:pt x="600404" y="1491484"/>
                  </a:lnTo>
                  <a:lnTo>
                    <a:pt x="571816" y="1458128"/>
                  </a:lnTo>
                  <a:lnTo>
                    <a:pt x="543224" y="1429536"/>
                  </a:lnTo>
                  <a:lnTo>
                    <a:pt x="524164" y="1420006"/>
                  </a:lnTo>
                  <a:lnTo>
                    <a:pt x="514632" y="1410476"/>
                  </a:lnTo>
                  <a:lnTo>
                    <a:pt x="500336" y="1410476"/>
                  </a:lnTo>
                  <a:lnTo>
                    <a:pt x="481276" y="1396182"/>
                  </a:lnTo>
                  <a:lnTo>
                    <a:pt x="471748" y="1396182"/>
                  </a:lnTo>
                  <a:lnTo>
                    <a:pt x="457452" y="1391416"/>
                  </a:lnTo>
                  <a:lnTo>
                    <a:pt x="438392" y="1362826"/>
                  </a:lnTo>
                  <a:lnTo>
                    <a:pt x="424096" y="1334234"/>
                  </a:lnTo>
                  <a:lnTo>
                    <a:pt x="400268" y="1300878"/>
                  </a:lnTo>
                  <a:lnTo>
                    <a:pt x="405036" y="1291348"/>
                  </a:lnTo>
                  <a:lnTo>
                    <a:pt x="414564" y="1277052"/>
                  </a:lnTo>
                  <a:lnTo>
                    <a:pt x="409800" y="1257992"/>
                  </a:lnTo>
                  <a:lnTo>
                    <a:pt x="405036" y="1243696"/>
                  </a:lnTo>
                  <a:lnTo>
                    <a:pt x="395504" y="1219872"/>
                  </a:lnTo>
                  <a:lnTo>
                    <a:pt x="357384" y="1157924"/>
                  </a:lnTo>
                  <a:lnTo>
                    <a:pt x="347852" y="1148394"/>
                  </a:lnTo>
                  <a:lnTo>
                    <a:pt x="333556" y="1138864"/>
                  </a:lnTo>
                  <a:lnTo>
                    <a:pt x="324028" y="1115038"/>
                  </a:lnTo>
                  <a:lnTo>
                    <a:pt x="319264" y="1091212"/>
                  </a:lnTo>
                  <a:lnTo>
                    <a:pt x="295436" y="1076918"/>
                  </a:lnTo>
                  <a:lnTo>
                    <a:pt x="252552" y="991146"/>
                  </a:lnTo>
                  <a:lnTo>
                    <a:pt x="228724" y="962554"/>
                  </a:lnTo>
                  <a:lnTo>
                    <a:pt x="219196" y="943494"/>
                  </a:lnTo>
                  <a:lnTo>
                    <a:pt x="190604" y="910138"/>
                  </a:lnTo>
                  <a:lnTo>
                    <a:pt x="176308" y="876782"/>
                  </a:lnTo>
                  <a:lnTo>
                    <a:pt x="147716" y="848192"/>
                  </a:lnTo>
                  <a:lnTo>
                    <a:pt x="123892" y="791010"/>
                  </a:lnTo>
                  <a:lnTo>
                    <a:pt x="85772" y="738594"/>
                  </a:lnTo>
                  <a:lnTo>
                    <a:pt x="71476" y="729064"/>
                  </a:lnTo>
                  <a:lnTo>
                    <a:pt x="33356" y="729064"/>
                  </a:lnTo>
                  <a:lnTo>
                    <a:pt x="14296" y="724298"/>
                  </a:lnTo>
                  <a:lnTo>
                    <a:pt x="0" y="733828"/>
                  </a:lnTo>
                  <a:lnTo>
                    <a:pt x="0" y="719534"/>
                  </a:lnTo>
                  <a:lnTo>
                    <a:pt x="9528" y="700472"/>
                  </a:lnTo>
                  <a:lnTo>
                    <a:pt x="23824" y="657586"/>
                  </a:lnTo>
                  <a:lnTo>
                    <a:pt x="28588" y="619466"/>
                  </a:lnTo>
                  <a:lnTo>
                    <a:pt x="52416" y="505102"/>
                  </a:lnTo>
                  <a:lnTo>
                    <a:pt x="85772" y="509868"/>
                  </a:lnTo>
                  <a:lnTo>
                    <a:pt x="109596" y="514632"/>
                  </a:lnTo>
                  <a:lnTo>
                    <a:pt x="152484" y="524162"/>
                  </a:lnTo>
                  <a:lnTo>
                    <a:pt x="190604" y="528928"/>
                  </a:lnTo>
                  <a:lnTo>
                    <a:pt x="219196" y="533694"/>
                  </a:lnTo>
                  <a:lnTo>
                    <a:pt x="223960" y="533694"/>
                  </a:lnTo>
                  <a:lnTo>
                    <a:pt x="257316" y="505102"/>
                  </a:lnTo>
                  <a:lnTo>
                    <a:pt x="290672" y="481276"/>
                  </a:lnTo>
                  <a:lnTo>
                    <a:pt x="304968" y="447920"/>
                  </a:lnTo>
                  <a:lnTo>
                    <a:pt x="324028" y="419330"/>
                  </a:lnTo>
                  <a:lnTo>
                    <a:pt x="333556" y="414564"/>
                  </a:lnTo>
                  <a:lnTo>
                    <a:pt x="357384" y="405034"/>
                  </a:lnTo>
                  <a:lnTo>
                    <a:pt x="400268" y="400270"/>
                  </a:lnTo>
                  <a:lnTo>
                    <a:pt x="443156" y="390740"/>
                  </a:lnTo>
                  <a:lnTo>
                    <a:pt x="447920" y="385974"/>
                  </a:lnTo>
                  <a:lnTo>
                    <a:pt x="457452" y="362148"/>
                  </a:lnTo>
                  <a:lnTo>
                    <a:pt x="471748" y="333558"/>
                  </a:lnTo>
                  <a:lnTo>
                    <a:pt x="471748" y="328792"/>
                  </a:lnTo>
                  <a:lnTo>
                    <a:pt x="476512" y="324028"/>
                  </a:lnTo>
                  <a:lnTo>
                    <a:pt x="505104" y="309732"/>
                  </a:lnTo>
                  <a:lnTo>
                    <a:pt x="524164" y="300202"/>
                  </a:lnTo>
                  <a:lnTo>
                    <a:pt x="500336" y="266846"/>
                  </a:lnTo>
                  <a:lnTo>
                    <a:pt x="471748" y="238256"/>
                  </a:lnTo>
                  <a:lnTo>
                    <a:pt x="447920" y="204900"/>
                  </a:lnTo>
                  <a:lnTo>
                    <a:pt x="424096" y="181074"/>
                  </a:lnTo>
                  <a:lnTo>
                    <a:pt x="385976" y="142952"/>
                  </a:lnTo>
                  <a:lnTo>
                    <a:pt x="362148" y="119128"/>
                  </a:lnTo>
                  <a:lnTo>
                    <a:pt x="405036" y="104832"/>
                  </a:lnTo>
                  <a:lnTo>
                    <a:pt x="447920" y="95302"/>
                  </a:lnTo>
                  <a:lnTo>
                    <a:pt x="490808" y="81006"/>
                  </a:lnTo>
                  <a:lnTo>
                    <a:pt x="543224" y="66710"/>
                  </a:lnTo>
                  <a:lnTo>
                    <a:pt x="586108" y="52416"/>
                  </a:lnTo>
                  <a:lnTo>
                    <a:pt x="648056" y="33354"/>
                  </a:lnTo>
                  <a:lnTo>
                    <a:pt x="676648" y="23824"/>
                  </a:lnTo>
                  <a:lnTo>
                    <a:pt x="681412" y="2382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64" name="Google Shape;4831;p64">
              <a:extLst>
                <a:ext uri="{FF2B5EF4-FFF2-40B4-BE49-F238E27FC236}">
                  <a16:creationId xmlns:a16="http://schemas.microsoft.com/office/drawing/2014/main" id="{A6924E02-3732-E4D1-DE74-283BFB4C3B81}"/>
                </a:ext>
              </a:extLst>
            </p:cNvPr>
            <p:cNvCxnSpPr/>
            <p:nvPr/>
          </p:nvCxnSpPr>
          <p:spPr>
            <a:xfrm>
              <a:off x="5487124" y="4332479"/>
              <a:ext cx="0" cy="0"/>
            </a:xfrm>
            <a:prstGeom prst="straightConnector1">
              <a:avLst/>
            </a:prstGeom>
            <a:grpFill/>
            <a:ln w="9525" cap="flat" cmpd="sng">
              <a:solidFill>
                <a:schemeClr val="bg2"/>
              </a:solidFill>
              <a:prstDash val="solid"/>
              <a:round/>
              <a:headEnd type="none" w="med" len="med"/>
              <a:tailEnd type="none" w="med" len="med"/>
            </a:ln>
          </p:spPr>
        </p:cxnSp>
        <p:cxnSp>
          <p:nvCxnSpPr>
            <p:cNvPr id="365" name="Google Shape;4832;p64">
              <a:extLst>
                <a:ext uri="{FF2B5EF4-FFF2-40B4-BE49-F238E27FC236}">
                  <a16:creationId xmlns:a16="http://schemas.microsoft.com/office/drawing/2014/main" id="{8C69D838-5E7E-0234-689B-6E3CB36E6FDE}"/>
                </a:ext>
              </a:extLst>
            </p:cNvPr>
            <p:cNvCxnSpPr/>
            <p:nvPr/>
          </p:nvCxnSpPr>
          <p:spPr>
            <a:xfrm>
              <a:off x="5487124" y="4332479"/>
              <a:ext cx="0" cy="0"/>
            </a:xfrm>
            <a:prstGeom prst="straightConnector1">
              <a:avLst/>
            </a:prstGeom>
            <a:grpFill/>
            <a:ln w="9525" cap="flat" cmpd="sng">
              <a:solidFill>
                <a:schemeClr val="bg2"/>
              </a:solidFill>
              <a:prstDash val="solid"/>
              <a:round/>
              <a:headEnd type="none" w="med" len="med"/>
              <a:tailEnd type="none" w="med" len="med"/>
            </a:ln>
          </p:spPr>
        </p:cxnSp>
        <p:sp>
          <p:nvSpPr>
            <p:cNvPr id="366" name="Google Shape;4833;p64">
              <a:extLst>
                <a:ext uri="{FF2B5EF4-FFF2-40B4-BE49-F238E27FC236}">
                  <a16:creationId xmlns:a16="http://schemas.microsoft.com/office/drawing/2014/main" id="{64A7D644-9A12-BA97-7802-AA82D75E1014}"/>
                </a:ext>
              </a:extLst>
            </p:cNvPr>
            <p:cNvSpPr/>
            <p:nvPr/>
          </p:nvSpPr>
          <p:spPr>
            <a:xfrm>
              <a:off x="4994231" y="4499840"/>
              <a:ext cx="361629" cy="302561"/>
            </a:xfrm>
            <a:custGeom>
              <a:avLst/>
              <a:gdLst/>
              <a:ahLst/>
              <a:cxnLst/>
              <a:rect l="l" t="t" r="r" b="b"/>
              <a:pathLst>
                <a:path w="1102" h="922" extrusionOk="0">
                  <a:moveTo>
                    <a:pt x="988" y="14"/>
                  </a:moveTo>
                  <a:lnTo>
                    <a:pt x="836" y="14"/>
                  </a:lnTo>
                  <a:lnTo>
                    <a:pt x="816" y="14"/>
                  </a:lnTo>
                  <a:lnTo>
                    <a:pt x="630" y="14"/>
                  </a:lnTo>
                  <a:lnTo>
                    <a:pt x="632" y="8"/>
                  </a:lnTo>
                  <a:lnTo>
                    <a:pt x="634" y="2"/>
                  </a:lnTo>
                  <a:lnTo>
                    <a:pt x="632" y="0"/>
                  </a:lnTo>
                  <a:lnTo>
                    <a:pt x="628" y="0"/>
                  </a:lnTo>
                  <a:lnTo>
                    <a:pt x="626" y="0"/>
                  </a:lnTo>
                  <a:lnTo>
                    <a:pt x="620" y="14"/>
                  </a:lnTo>
                  <a:lnTo>
                    <a:pt x="616" y="14"/>
                  </a:lnTo>
                  <a:lnTo>
                    <a:pt x="208" y="14"/>
                  </a:lnTo>
                  <a:lnTo>
                    <a:pt x="208" y="48"/>
                  </a:lnTo>
                  <a:lnTo>
                    <a:pt x="208" y="84"/>
                  </a:lnTo>
                  <a:lnTo>
                    <a:pt x="208" y="154"/>
                  </a:lnTo>
                  <a:lnTo>
                    <a:pt x="208" y="154"/>
                  </a:lnTo>
                  <a:lnTo>
                    <a:pt x="206" y="154"/>
                  </a:lnTo>
                  <a:lnTo>
                    <a:pt x="142" y="154"/>
                  </a:lnTo>
                  <a:lnTo>
                    <a:pt x="142" y="312"/>
                  </a:lnTo>
                  <a:lnTo>
                    <a:pt x="142" y="344"/>
                  </a:lnTo>
                  <a:lnTo>
                    <a:pt x="142" y="444"/>
                  </a:lnTo>
                  <a:lnTo>
                    <a:pt x="142" y="448"/>
                  </a:lnTo>
                  <a:lnTo>
                    <a:pt x="142" y="450"/>
                  </a:lnTo>
                  <a:lnTo>
                    <a:pt x="140" y="450"/>
                  </a:lnTo>
                  <a:lnTo>
                    <a:pt x="124" y="446"/>
                  </a:lnTo>
                  <a:lnTo>
                    <a:pt x="118" y="446"/>
                  </a:lnTo>
                  <a:lnTo>
                    <a:pt x="108" y="450"/>
                  </a:lnTo>
                  <a:lnTo>
                    <a:pt x="94" y="450"/>
                  </a:lnTo>
                  <a:lnTo>
                    <a:pt x="84" y="450"/>
                  </a:lnTo>
                  <a:lnTo>
                    <a:pt x="78" y="456"/>
                  </a:lnTo>
                  <a:lnTo>
                    <a:pt x="74" y="462"/>
                  </a:lnTo>
                  <a:lnTo>
                    <a:pt x="76" y="476"/>
                  </a:lnTo>
                  <a:lnTo>
                    <a:pt x="76" y="482"/>
                  </a:lnTo>
                  <a:lnTo>
                    <a:pt x="74" y="486"/>
                  </a:lnTo>
                  <a:lnTo>
                    <a:pt x="70" y="492"/>
                  </a:lnTo>
                  <a:lnTo>
                    <a:pt x="64" y="494"/>
                  </a:lnTo>
                  <a:lnTo>
                    <a:pt x="62" y="498"/>
                  </a:lnTo>
                  <a:lnTo>
                    <a:pt x="60" y="504"/>
                  </a:lnTo>
                  <a:lnTo>
                    <a:pt x="56" y="508"/>
                  </a:lnTo>
                  <a:lnTo>
                    <a:pt x="58" y="512"/>
                  </a:lnTo>
                  <a:lnTo>
                    <a:pt x="56" y="516"/>
                  </a:lnTo>
                  <a:lnTo>
                    <a:pt x="54" y="518"/>
                  </a:lnTo>
                  <a:lnTo>
                    <a:pt x="48" y="520"/>
                  </a:lnTo>
                  <a:lnTo>
                    <a:pt x="42" y="522"/>
                  </a:lnTo>
                  <a:lnTo>
                    <a:pt x="38" y="528"/>
                  </a:lnTo>
                  <a:lnTo>
                    <a:pt x="40" y="536"/>
                  </a:lnTo>
                  <a:lnTo>
                    <a:pt x="42" y="542"/>
                  </a:lnTo>
                  <a:lnTo>
                    <a:pt x="42" y="546"/>
                  </a:lnTo>
                  <a:lnTo>
                    <a:pt x="46" y="550"/>
                  </a:lnTo>
                  <a:lnTo>
                    <a:pt x="48" y="552"/>
                  </a:lnTo>
                  <a:lnTo>
                    <a:pt x="48" y="554"/>
                  </a:lnTo>
                  <a:lnTo>
                    <a:pt x="46" y="556"/>
                  </a:lnTo>
                  <a:lnTo>
                    <a:pt x="38" y="562"/>
                  </a:lnTo>
                  <a:lnTo>
                    <a:pt x="34" y="564"/>
                  </a:lnTo>
                  <a:lnTo>
                    <a:pt x="30" y="566"/>
                  </a:lnTo>
                  <a:lnTo>
                    <a:pt x="30" y="566"/>
                  </a:lnTo>
                  <a:lnTo>
                    <a:pt x="24" y="572"/>
                  </a:lnTo>
                  <a:lnTo>
                    <a:pt x="20" y="576"/>
                  </a:lnTo>
                  <a:lnTo>
                    <a:pt x="20" y="578"/>
                  </a:lnTo>
                  <a:lnTo>
                    <a:pt x="20" y="584"/>
                  </a:lnTo>
                  <a:lnTo>
                    <a:pt x="22" y="590"/>
                  </a:lnTo>
                  <a:lnTo>
                    <a:pt x="26" y="596"/>
                  </a:lnTo>
                  <a:lnTo>
                    <a:pt x="26" y="602"/>
                  </a:lnTo>
                  <a:lnTo>
                    <a:pt x="28" y="606"/>
                  </a:lnTo>
                  <a:lnTo>
                    <a:pt x="28" y="610"/>
                  </a:lnTo>
                  <a:lnTo>
                    <a:pt x="26" y="614"/>
                  </a:lnTo>
                  <a:lnTo>
                    <a:pt x="22" y="618"/>
                  </a:lnTo>
                  <a:lnTo>
                    <a:pt x="12" y="626"/>
                  </a:lnTo>
                  <a:lnTo>
                    <a:pt x="6" y="632"/>
                  </a:lnTo>
                  <a:lnTo>
                    <a:pt x="2" y="642"/>
                  </a:lnTo>
                  <a:lnTo>
                    <a:pt x="0" y="648"/>
                  </a:lnTo>
                  <a:lnTo>
                    <a:pt x="2" y="650"/>
                  </a:lnTo>
                  <a:lnTo>
                    <a:pt x="4" y="652"/>
                  </a:lnTo>
                  <a:lnTo>
                    <a:pt x="8" y="654"/>
                  </a:lnTo>
                  <a:lnTo>
                    <a:pt x="12" y="656"/>
                  </a:lnTo>
                  <a:lnTo>
                    <a:pt x="20" y="654"/>
                  </a:lnTo>
                  <a:lnTo>
                    <a:pt x="28" y="652"/>
                  </a:lnTo>
                  <a:lnTo>
                    <a:pt x="36" y="656"/>
                  </a:lnTo>
                  <a:lnTo>
                    <a:pt x="40" y="664"/>
                  </a:lnTo>
                  <a:lnTo>
                    <a:pt x="38" y="668"/>
                  </a:lnTo>
                  <a:lnTo>
                    <a:pt x="40" y="680"/>
                  </a:lnTo>
                  <a:lnTo>
                    <a:pt x="44" y="692"/>
                  </a:lnTo>
                  <a:lnTo>
                    <a:pt x="44" y="696"/>
                  </a:lnTo>
                  <a:lnTo>
                    <a:pt x="44" y="698"/>
                  </a:lnTo>
                  <a:lnTo>
                    <a:pt x="50" y="698"/>
                  </a:lnTo>
                  <a:lnTo>
                    <a:pt x="50" y="700"/>
                  </a:lnTo>
                  <a:lnTo>
                    <a:pt x="48" y="722"/>
                  </a:lnTo>
                  <a:lnTo>
                    <a:pt x="50" y="728"/>
                  </a:lnTo>
                  <a:lnTo>
                    <a:pt x="54" y="732"/>
                  </a:lnTo>
                  <a:lnTo>
                    <a:pt x="58" y="734"/>
                  </a:lnTo>
                  <a:lnTo>
                    <a:pt x="62" y="738"/>
                  </a:lnTo>
                  <a:lnTo>
                    <a:pt x="64" y="740"/>
                  </a:lnTo>
                  <a:lnTo>
                    <a:pt x="68" y="740"/>
                  </a:lnTo>
                  <a:lnTo>
                    <a:pt x="72" y="744"/>
                  </a:lnTo>
                  <a:lnTo>
                    <a:pt x="74" y="750"/>
                  </a:lnTo>
                  <a:lnTo>
                    <a:pt x="74" y="754"/>
                  </a:lnTo>
                  <a:lnTo>
                    <a:pt x="72" y="764"/>
                  </a:lnTo>
                  <a:lnTo>
                    <a:pt x="68" y="772"/>
                  </a:lnTo>
                  <a:lnTo>
                    <a:pt x="74" y="780"/>
                  </a:lnTo>
                  <a:lnTo>
                    <a:pt x="76" y="784"/>
                  </a:lnTo>
                  <a:lnTo>
                    <a:pt x="94" y="804"/>
                  </a:lnTo>
                  <a:lnTo>
                    <a:pt x="98" y="808"/>
                  </a:lnTo>
                  <a:lnTo>
                    <a:pt x="108" y="822"/>
                  </a:lnTo>
                  <a:lnTo>
                    <a:pt x="114" y="832"/>
                  </a:lnTo>
                  <a:lnTo>
                    <a:pt x="120" y="846"/>
                  </a:lnTo>
                  <a:lnTo>
                    <a:pt x="120" y="852"/>
                  </a:lnTo>
                  <a:lnTo>
                    <a:pt x="120" y="860"/>
                  </a:lnTo>
                  <a:lnTo>
                    <a:pt x="118" y="878"/>
                  </a:lnTo>
                  <a:lnTo>
                    <a:pt x="116" y="882"/>
                  </a:lnTo>
                  <a:lnTo>
                    <a:pt x="108" y="892"/>
                  </a:lnTo>
                  <a:lnTo>
                    <a:pt x="108" y="896"/>
                  </a:lnTo>
                  <a:lnTo>
                    <a:pt x="110" y="900"/>
                  </a:lnTo>
                  <a:lnTo>
                    <a:pt x="112" y="902"/>
                  </a:lnTo>
                  <a:lnTo>
                    <a:pt x="114" y="904"/>
                  </a:lnTo>
                  <a:lnTo>
                    <a:pt x="114" y="912"/>
                  </a:lnTo>
                  <a:lnTo>
                    <a:pt x="116" y="916"/>
                  </a:lnTo>
                  <a:lnTo>
                    <a:pt x="122" y="918"/>
                  </a:lnTo>
                  <a:lnTo>
                    <a:pt x="138" y="920"/>
                  </a:lnTo>
                  <a:lnTo>
                    <a:pt x="146" y="920"/>
                  </a:lnTo>
                  <a:lnTo>
                    <a:pt x="154" y="922"/>
                  </a:lnTo>
                  <a:lnTo>
                    <a:pt x="154" y="920"/>
                  </a:lnTo>
                  <a:lnTo>
                    <a:pt x="158" y="916"/>
                  </a:lnTo>
                  <a:lnTo>
                    <a:pt x="164" y="912"/>
                  </a:lnTo>
                  <a:lnTo>
                    <a:pt x="178" y="908"/>
                  </a:lnTo>
                  <a:lnTo>
                    <a:pt x="180" y="906"/>
                  </a:lnTo>
                  <a:lnTo>
                    <a:pt x="180" y="900"/>
                  </a:lnTo>
                  <a:lnTo>
                    <a:pt x="180" y="896"/>
                  </a:lnTo>
                  <a:lnTo>
                    <a:pt x="186" y="888"/>
                  </a:lnTo>
                  <a:lnTo>
                    <a:pt x="186" y="884"/>
                  </a:lnTo>
                  <a:lnTo>
                    <a:pt x="186" y="878"/>
                  </a:lnTo>
                  <a:lnTo>
                    <a:pt x="188" y="874"/>
                  </a:lnTo>
                  <a:lnTo>
                    <a:pt x="190" y="872"/>
                  </a:lnTo>
                  <a:lnTo>
                    <a:pt x="194" y="868"/>
                  </a:lnTo>
                  <a:lnTo>
                    <a:pt x="194" y="864"/>
                  </a:lnTo>
                  <a:lnTo>
                    <a:pt x="196" y="860"/>
                  </a:lnTo>
                  <a:lnTo>
                    <a:pt x="194" y="848"/>
                  </a:lnTo>
                  <a:lnTo>
                    <a:pt x="198" y="844"/>
                  </a:lnTo>
                  <a:lnTo>
                    <a:pt x="206" y="834"/>
                  </a:lnTo>
                  <a:lnTo>
                    <a:pt x="210" y="830"/>
                  </a:lnTo>
                  <a:lnTo>
                    <a:pt x="210" y="826"/>
                  </a:lnTo>
                  <a:lnTo>
                    <a:pt x="210" y="822"/>
                  </a:lnTo>
                  <a:lnTo>
                    <a:pt x="210" y="818"/>
                  </a:lnTo>
                  <a:lnTo>
                    <a:pt x="214" y="814"/>
                  </a:lnTo>
                  <a:lnTo>
                    <a:pt x="216" y="812"/>
                  </a:lnTo>
                  <a:lnTo>
                    <a:pt x="222" y="812"/>
                  </a:lnTo>
                  <a:lnTo>
                    <a:pt x="228" y="812"/>
                  </a:lnTo>
                  <a:lnTo>
                    <a:pt x="262" y="806"/>
                  </a:lnTo>
                  <a:lnTo>
                    <a:pt x="266" y="806"/>
                  </a:lnTo>
                  <a:lnTo>
                    <a:pt x="268" y="810"/>
                  </a:lnTo>
                  <a:lnTo>
                    <a:pt x="266" y="816"/>
                  </a:lnTo>
                  <a:lnTo>
                    <a:pt x="268" y="820"/>
                  </a:lnTo>
                  <a:lnTo>
                    <a:pt x="270" y="822"/>
                  </a:lnTo>
                  <a:lnTo>
                    <a:pt x="274" y="826"/>
                  </a:lnTo>
                  <a:lnTo>
                    <a:pt x="278" y="830"/>
                  </a:lnTo>
                  <a:lnTo>
                    <a:pt x="280" y="832"/>
                  </a:lnTo>
                  <a:lnTo>
                    <a:pt x="286" y="836"/>
                  </a:lnTo>
                  <a:lnTo>
                    <a:pt x="310" y="866"/>
                  </a:lnTo>
                  <a:lnTo>
                    <a:pt x="318" y="868"/>
                  </a:lnTo>
                  <a:lnTo>
                    <a:pt x="324" y="866"/>
                  </a:lnTo>
                  <a:lnTo>
                    <a:pt x="338" y="860"/>
                  </a:lnTo>
                  <a:lnTo>
                    <a:pt x="344" y="860"/>
                  </a:lnTo>
                  <a:lnTo>
                    <a:pt x="392" y="862"/>
                  </a:lnTo>
                  <a:lnTo>
                    <a:pt x="398" y="860"/>
                  </a:lnTo>
                  <a:lnTo>
                    <a:pt x="398" y="860"/>
                  </a:lnTo>
                  <a:lnTo>
                    <a:pt x="406" y="874"/>
                  </a:lnTo>
                  <a:lnTo>
                    <a:pt x="408" y="878"/>
                  </a:lnTo>
                  <a:lnTo>
                    <a:pt x="460" y="878"/>
                  </a:lnTo>
                  <a:lnTo>
                    <a:pt x="460" y="874"/>
                  </a:lnTo>
                  <a:lnTo>
                    <a:pt x="460" y="870"/>
                  </a:lnTo>
                  <a:lnTo>
                    <a:pt x="470" y="860"/>
                  </a:lnTo>
                  <a:lnTo>
                    <a:pt x="472" y="860"/>
                  </a:lnTo>
                  <a:lnTo>
                    <a:pt x="480" y="856"/>
                  </a:lnTo>
                  <a:lnTo>
                    <a:pt x="486" y="852"/>
                  </a:lnTo>
                  <a:lnTo>
                    <a:pt x="502" y="848"/>
                  </a:lnTo>
                  <a:lnTo>
                    <a:pt x="508" y="844"/>
                  </a:lnTo>
                  <a:lnTo>
                    <a:pt x="512" y="838"/>
                  </a:lnTo>
                  <a:lnTo>
                    <a:pt x="512" y="830"/>
                  </a:lnTo>
                  <a:lnTo>
                    <a:pt x="514" y="828"/>
                  </a:lnTo>
                  <a:lnTo>
                    <a:pt x="516" y="826"/>
                  </a:lnTo>
                  <a:lnTo>
                    <a:pt x="534" y="816"/>
                  </a:lnTo>
                  <a:lnTo>
                    <a:pt x="536" y="816"/>
                  </a:lnTo>
                  <a:lnTo>
                    <a:pt x="568" y="834"/>
                  </a:lnTo>
                  <a:lnTo>
                    <a:pt x="586" y="850"/>
                  </a:lnTo>
                  <a:lnTo>
                    <a:pt x="586" y="852"/>
                  </a:lnTo>
                  <a:lnTo>
                    <a:pt x="588" y="852"/>
                  </a:lnTo>
                  <a:lnTo>
                    <a:pt x="588" y="852"/>
                  </a:lnTo>
                  <a:lnTo>
                    <a:pt x="588" y="850"/>
                  </a:lnTo>
                  <a:lnTo>
                    <a:pt x="590" y="850"/>
                  </a:lnTo>
                  <a:lnTo>
                    <a:pt x="590" y="850"/>
                  </a:lnTo>
                  <a:lnTo>
                    <a:pt x="598" y="850"/>
                  </a:lnTo>
                  <a:lnTo>
                    <a:pt x="612" y="848"/>
                  </a:lnTo>
                  <a:lnTo>
                    <a:pt x="618" y="846"/>
                  </a:lnTo>
                  <a:lnTo>
                    <a:pt x="646" y="818"/>
                  </a:lnTo>
                  <a:lnTo>
                    <a:pt x="652" y="810"/>
                  </a:lnTo>
                  <a:lnTo>
                    <a:pt x="654" y="808"/>
                  </a:lnTo>
                  <a:lnTo>
                    <a:pt x="658" y="802"/>
                  </a:lnTo>
                  <a:lnTo>
                    <a:pt x="662" y="790"/>
                  </a:lnTo>
                  <a:lnTo>
                    <a:pt x="664" y="790"/>
                  </a:lnTo>
                  <a:lnTo>
                    <a:pt x="694" y="764"/>
                  </a:lnTo>
                  <a:lnTo>
                    <a:pt x="696" y="762"/>
                  </a:lnTo>
                  <a:lnTo>
                    <a:pt x="696" y="760"/>
                  </a:lnTo>
                  <a:lnTo>
                    <a:pt x="692" y="750"/>
                  </a:lnTo>
                  <a:lnTo>
                    <a:pt x="690" y="746"/>
                  </a:lnTo>
                  <a:lnTo>
                    <a:pt x="690" y="738"/>
                  </a:lnTo>
                  <a:lnTo>
                    <a:pt x="690" y="728"/>
                  </a:lnTo>
                  <a:lnTo>
                    <a:pt x="690" y="722"/>
                  </a:lnTo>
                  <a:lnTo>
                    <a:pt x="690" y="720"/>
                  </a:lnTo>
                  <a:lnTo>
                    <a:pt x="690" y="718"/>
                  </a:lnTo>
                  <a:lnTo>
                    <a:pt x="672" y="700"/>
                  </a:lnTo>
                  <a:lnTo>
                    <a:pt x="716" y="700"/>
                  </a:lnTo>
                  <a:lnTo>
                    <a:pt x="716" y="698"/>
                  </a:lnTo>
                  <a:lnTo>
                    <a:pt x="716" y="696"/>
                  </a:lnTo>
                  <a:lnTo>
                    <a:pt x="716" y="696"/>
                  </a:lnTo>
                  <a:lnTo>
                    <a:pt x="716" y="694"/>
                  </a:lnTo>
                  <a:lnTo>
                    <a:pt x="714" y="690"/>
                  </a:lnTo>
                  <a:lnTo>
                    <a:pt x="714" y="690"/>
                  </a:lnTo>
                  <a:lnTo>
                    <a:pt x="716" y="688"/>
                  </a:lnTo>
                  <a:lnTo>
                    <a:pt x="716" y="686"/>
                  </a:lnTo>
                  <a:lnTo>
                    <a:pt x="714" y="686"/>
                  </a:lnTo>
                  <a:lnTo>
                    <a:pt x="714" y="686"/>
                  </a:lnTo>
                  <a:lnTo>
                    <a:pt x="716" y="684"/>
                  </a:lnTo>
                  <a:lnTo>
                    <a:pt x="746" y="686"/>
                  </a:lnTo>
                  <a:lnTo>
                    <a:pt x="746" y="690"/>
                  </a:lnTo>
                  <a:lnTo>
                    <a:pt x="742" y="704"/>
                  </a:lnTo>
                  <a:lnTo>
                    <a:pt x="742" y="712"/>
                  </a:lnTo>
                  <a:lnTo>
                    <a:pt x="742" y="720"/>
                  </a:lnTo>
                  <a:lnTo>
                    <a:pt x="742" y="722"/>
                  </a:lnTo>
                  <a:lnTo>
                    <a:pt x="740" y="724"/>
                  </a:lnTo>
                  <a:lnTo>
                    <a:pt x="738" y="726"/>
                  </a:lnTo>
                  <a:lnTo>
                    <a:pt x="738" y="726"/>
                  </a:lnTo>
                  <a:lnTo>
                    <a:pt x="738" y="726"/>
                  </a:lnTo>
                  <a:lnTo>
                    <a:pt x="738" y="728"/>
                  </a:lnTo>
                  <a:lnTo>
                    <a:pt x="744" y="778"/>
                  </a:lnTo>
                  <a:lnTo>
                    <a:pt x="744" y="778"/>
                  </a:lnTo>
                  <a:lnTo>
                    <a:pt x="744" y="780"/>
                  </a:lnTo>
                  <a:lnTo>
                    <a:pt x="742" y="782"/>
                  </a:lnTo>
                  <a:lnTo>
                    <a:pt x="742" y="784"/>
                  </a:lnTo>
                  <a:lnTo>
                    <a:pt x="742" y="784"/>
                  </a:lnTo>
                  <a:lnTo>
                    <a:pt x="742" y="784"/>
                  </a:lnTo>
                  <a:lnTo>
                    <a:pt x="758" y="790"/>
                  </a:lnTo>
                  <a:lnTo>
                    <a:pt x="758" y="790"/>
                  </a:lnTo>
                  <a:lnTo>
                    <a:pt x="758" y="790"/>
                  </a:lnTo>
                  <a:lnTo>
                    <a:pt x="764" y="796"/>
                  </a:lnTo>
                  <a:lnTo>
                    <a:pt x="792" y="820"/>
                  </a:lnTo>
                  <a:lnTo>
                    <a:pt x="794" y="822"/>
                  </a:lnTo>
                  <a:lnTo>
                    <a:pt x="796" y="828"/>
                  </a:lnTo>
                  <a:lnTo>
                    <a:pt x="796" y="830"/>
                  </a:lnTo>
                  <a:lnTo>
                    <a:pt x="796" y="834"/>
                  </a:lnTo>
                  <a:lnTo>
                    <a:pt x="796" y="838"/>
                  </a:lnTo>
                  <a:lnTo>
                    <a:pt x="796" y="840"/>
                  </a:lnTo>
                  <a:lnTo>
                    <a:pt x="796" y="840"/>
                  </a:lnTo>
                  <a:lnTo>
                    <a:pt x="796" y="842"/>
                  </a:lnTo>
                  <a:lnTo>
                    <a:pt x="796" y="844"/>
                  </a:lnTo>
                  <a:lnTo>
                    <a:pt x="796" y="844"/>
                  </a:lnTo>
                  <a:lnTo>
                    <a:pt x="792" y="852"/>
                  </a:lnTo>
                  <a:lnTo>
                    <a:pt x="790" y="858"/>
                  </a:lnTo>
                  <a:lnTo>
                    <a:pt x="790" y="864"/>
                  </a:lnTo>
                  <a:lnTo>
                    <a:pt x="790" y="866"/>
                  </a:lnTo>
                  <a:lnTo>
                    <a:pt x="792" y="868"/>
                  </a:lnTo>
                  <a:lnTo>
                    <a:pt x="792" y="870"/>
                  </a:lnTo>
                  <a:lnTo>
                    <a:pt x="792" y="870"/>
                  </a:lnTo>
                  <a:lnTo>
                    <a:pt x="804" y="870"/>
                  </a:lnTo>
                  <a:lnTo>
                    <a:pt x="804" y="866"/>
                  </a:lnTo>
                  <a:lnTo>
                    <a:pt x="806" y="852"/>
                  </a:lnTo>
                  <a:lnTo>
                    <a:pt x="810" y="844"/>
                  </a:lnTo>
                  <a:lnTo>
                    <a:pt x="812" y="840"/>
                  </a:lnTo>
                  <a:lnTo>
                    <a:pt x="818" y="826"/>
                  </a:lnTo>
                  <a:lnTo>
                    <a:pt x="820" y="820"/>
                  </a:lnTo>
                  <a:lnTo>
                    <a:pt x="820" y="816"/>
                  </a:lnTo>
                  <a:lnTo>
                    <a:pt x="818" y="798"/>
                  </a:lnTo>
                  <a:lnTo>
                    <a:pt x="822" y="790"/>
                  </a:lnTo>
                  <a:lnTo>
                    <a:pt x="828" y="782"/>
                  </a:lnTo>
                  <a:lnTo>
                    <a:pt x="832" y="778"/>
                  </a:lnTo>
                  <a:lnTo>
                    <a:pt x="836" y="774"/>
                  </a:lnTo>
                  <a:lnTo>
                    <a:pt x="838" y="776"/>
                  </a:lnTo>
                  <a:lnTo>
                    <a:pt x="844" y="780"/>
                  </a:lnTo>
                  <a:lnTo>
                    <a:pt x="850" y="784"/>
                  </a:lnTo>
                  <a:lnTo>
                    <a:pt x="852" y="782"/>
                  </a:lnTo>
                  <a:lnTo>
                    <a:pt x="858" y="780"/>
                  </a:lnTo>
                  <a:lnTo>
                    <a:pt x="860" y="776"/>
                  </a:lnTo>
                  <a:lnTo>
                    <a:pt x="860" y="770"/>
                  </a:lnTo>
                  <a:lnTo>
                    <a:pt x="862" y="756"/>
                  </a:lnTo>
                  <a:lnTo>
                    <a:pt x="862" y="748"/>
                  </a:lnTo>
                  <a:lnTo>
                    <a:pt x="864" y="738"/>
                  </a:lnTo>
                  <a:lnTo>
                    <a:pt x="868" y="726"/>
                  </a:lnTo>
                  <a:lnTo>
                    <a:pt x="870" y="716"/>
                  </a:lnTo>
                  <a:lnTo>
                    <a:pt x="872" y="712"/>
                  </a:lnTo>
                  <a:lnTo>
                    <a:pt x="882" y="702"/>
                  </a:lnTo>
                  <a:lnTo>
                    <a:pt x="888" y="690"/>
                  </a:lnTo>
                  <a:lnTo>
                    <a:pt x="894" y="680"/>
                  </a:lnTo>
                  <a:lnTo>
                    <a:pt x="904" y="664"/>
                  </a:lnTo>
                  <a:lnTo>
                    <a:pt x="908" y="658"/>
                  </a:lnTo>
                  <a:lnTo>
                    <a:pt x="912" y="656"/>
                  </a:lnTo>
                  <a:lnTo>
                    <a:pt x="918" y="654"/>
                  </a:lnTo>
                  <a:lnTo>
                    <a:pt x="930" y="652"/>
                  </a:lnTo>
                  <a:lnTo>
                    <a:pt x="938" y="652"/>
                  </a:lnTo>
                  <a:lnTo>
                    <a:pt x="938" y="650"/>
                  </a:lnTo>
                  <a:lnTo>
                    <a:pt x="940" y="646"/>
                  </a:lnTo>
                  <a:lnTo>
                    <a:pt x="940" y="638"/>
                  </a:lnTo>
                  <a:lnTo>
                    <a:pt x="940" y="626"/>
                  </a:lnTo>
                  <a:lnTo>
                    <a:pt x="944" y="614"/>
                  </a:lnTo>
                  <a:lnTo>
                    <a:pt x="948" y="606"/>
                  </a:lnTo>
                  <a:lnTo>
                    <a:pt x="950" y="602"/>
                  </a:lnTo>
                  <a:lnTo>
                    <a:pt x="952" y="598"/>
                  </a:lnTo>
                  <a:lnTo>
                    <a:pt x="956" y="590"/>
                  </a:lnTo>
                  <a:lnTo>
                    <a:pt x="960" y="576"/>
                  </a:lnTo>
                  <a:lnTo>
                    <a:pt x="960" y="566"/>
                  </a:lnTo>
                  <a:lnTo>
                    <a:pt x="964" y="548"/>
                  </a:lnTo>
                  <a:lnTo>
                    <a:pt x="962" y="528"/>
                  </a:lnTo>
                  <a:lnTo>
                    <a:pt x="960" y="516"/>
                  </a:lnTo>
                  <a:lnTo>
                    <a:pt x="960" y="502"/>
                  </a:lnTo>
                  <a:lnTo>
                    <a:pt x="958" y="488"/>
                  </a:lnTo>
                  <a:lnTo>
                    <a:pt x="964" y="480"/>
                  </a:lnTo>
                  <a:lnTo>
                    <a:pt x="968" y="474"/>
                  </a:lnTo>
                  <a:lnTo>
                    <a:pt x="974" y="448"/>
                  </a:lnTo>
                  <a:lnTo>
                    <a:pt x="978" y="444"/>
                  </a:lnTo>
                  <a:lnTo>
                    <a:pt x="984" y="430"/>
                  </a:lnTo>
                  <a:lnTo>
                    <a:pt x="984" y="426"/>
                  </a:lnTo>
                  <a:lnTo>
                    <a:pt x="990" y="410"/>
                  </a:lnTo>
                  <a:lnTo>
                    <a:pt x="990" y="398"/>
                  </a:lnTo>
                  <a:lnTo>
                    <a:pt x="988" y="388"/>
                  </a:lnTo>
                  <a:lnTo>
                    <a:pt x="992" y="380"/>
                  </a:lnTo>
                  <a:lnTo>
                    <a:pt x="994" y="376"/>
                  </a:lnTo>
                  <a:lnTo>
                    <a:pt x="994" y="370"/>
                  </a:lnTo>
                  <a:lnTo>
                    <a:pt x="996" y="360"/>
                  </a:lnTo>
                  <a:lnTo>
                    <a:pt x="996" y="358"/>
                  </a:lnTo>
                  <a:lnTo>
                    <a:pt x="1000" y="358"/>
                  </a:lnTo>
                  <a:lnTo>
                    <a:pt x="1006" y="358"/>
                  </a:lnTo>
                  <a:lnTo>
                    <a:pt x="1012" y="358"/>
                  </a:lnTo>
                  <a:lnTo>
                    <a:pt x="1018" y="358"/>
                  </a:lnTo>
                  <a:lnTo>
                    <a:pt x="1022" y="358"/>
                  </a:lnTo>
                  <a:lnTo>
                    <a:pt x="1026" y="354"/>
                  </a:lnTo>
                  <a:lnTo>
                    <a:pt x="1030" y="342"/>
                  </a:lnTo>
                  <a:lnTo>
                    <a:pt x="1032" y="340"/>
                  </a:lnTo>
                  <a:lnTo>
                    <a:pt x="1034" y="338"/>
                  </a:lnTo>
                  <a:lnTo>
                    <a:pt x="1038" y="336"/>
                  </a:lnTo>
                  <a:lnTo>
                    <a:pt x="1044" y="332"/>
                  </a:lnTo>
                  <a:lnTo>
                    <a:pt x="1048" y="330"/>
                  </a:lnTo>
                  <a:lnTo>
                    <a:pt x="1048" y="330"/>
                  </a:lnTo>
                  <a:lnTo>
                    <a:pt x="1052" y="330"/>
                  </a:lnTo>
                  <a:lnTo>
                    <a:pt x="1056" y="328"/>
                  </a:lnTo>
                  <a:lnTo>
                    <a:pt x="1058" y="326"/>
                  </a:lnTo>
                  <a:lnTo>
                    <a:pt x="1064" y="324"/>
                  </a:lnTo>
                  <a:lnTo>
                    <a:pt x="1068" y="326"/>
                  </a:lnTo>
                  <a:lnTo>
                    <a:pt x="1072" y="324"/>
                  </a:lnTo>
                  <a:lnTo>
                    <a:pt x="1074" y="322"/>
                  </a:lnTo>
                  <a:lnTo>
                    <a:pt x="1076" y="322"/>
                  </a:lnTo>
                  <a:lnTo>
                    <a:pt x="1078" y="322"/>
                  </a:lnTo>
                  <a:lnTo>
                    <a:pt x="1078" y="320"/>
                  </a:lnTo>
                  <a:lnTo>
                    <a:pt x="1080" y="318"/>
                  </a:lnTo>
                  <a:lnTo>
                    <a:pt x="1084" y="314"/>
                  </a:lnTo>
                  <a:lnTo>
                    <a:pt x="1086" y="312"/>
                  </a:lnTo>
                  <a:lnTo>
                    <a:pt x="1086" y="310"/>
                  </a:lnTo>
                  <a:lnTo>
                    <a:pt x="1088" y="308"/>
                  </a:lnTo>
                  <a:lnTo>
                    <a:pt x="1090" y="304"/>
                  </a:lnTo>
                  <a:lnTo>
                    <a:pt x="1096" y="296"/>
                  </a:lnTo>
                  <a:lnTo>
                    <a:pt x="1102" y="292"/>
                  </a:lnTo>
                  <a:lnTo>
                    <a:pt x="1098" y="288"/>
                  </a:lnTo>
                  <a:lnTo>
                    <a:pt x="1084" y="278"/>
                  </a:lnTo>
                  <a:lnTo>
                    <a:pt x="1080" y="272"/>
                  </a:lnTo>
                  <a:lnTo>
                    <a:pt x="1078" y="274"/>
                  </a:lnTo>
                  <a:lnTo>
                    <a:pt x="1074" y="276"/>
                  </a:lnTo>
                  <a:lnTo>
                    <a:pt x="1070" y="270"/>
                  </a:lnTo>
                  <a:lnTo>
                    <a:pt x="1066" y="264"/>
                  </a:lnTo>
                  <a:lnTo>
                    <a:pt x="1056" y="254"/>
                  </a:lnTo>
                  <a:lnTo>
                    <a:pt x="1044" y="244"/>
                  </a:lnTo>
                  <a:lnTo>
                    <a:pt x="1034" y="242"/>
                  </a:lnTo>
                  <a:lnTo>
                    <a:pt x="1030" y="240"/>
                  </a:lnTo>
                  <a:lnTo>
                    <a:pt x="1026" y="236"/>
                  </a:lnTo>
                  <a:lnTo>
                    <a:pt x="1020" y="216"/>
                  </a:lnTo>
                  <a:lnTo>
                    <a:pt x="1012" y="184"/>
                  </a:lnTo>
                  <a:lnTo>
                    <a:pt x="1014" y="168"/>
                  </a:lnTo>
                  <a:lnTo>
                    <a:pt x="1008" y="146"/>
                  </a:lnTo>
                  <a:lnTo>
                    <a:pt x="1008" y="126"/>
                  </a:lnTo>
                  <a:lnTo>
                    <a:pt x="1010" y="116"/>
                  </a:lnTo>
                  <a:lnTo>
                    <a:pt x="1008" y="102"/>
                  </a:lnTo>
                  <a:lnTo>
                    <a:pt x="1006" y="92"/>
                  </a:lnTo>
                  <a:lnTo>
                    <a:pt x="1006" y="86"/>
                  </a:lnTo>
                  <a:lnTo>
                    <a:pt x="1006" y="76"/>
                  </a:lnTo>
                  <a:lnTo>
                    <a:pt x="1010" y="78"/>
                  </a:lnTo>
                  <a:lnTo>
                    <a:pt x="1012" y="82"/>
                  </a:lnTo>
                  <a:lnTo>
                    <a:pt x="1014" y="78"/>
                  </a:lnTo>
                  <a:lnTo>
                    <a:pt x="1012" y="76"/>
                  </a:lnTo>
                  <a:lnTo>
                    <a:pt x="1010" y="70"/>
                  </a:lnTo>
                  <a:lnTo>
                    <a:pt x="1002" y="60"/>
                  </a:lnTo>
                  <a:lnTo>
                    <a:pt x="990" y="42"/>
                  </a:lnTo>
                  <a:lnTo>
                    <a:pt x="988" y="30"/>
                  </a:lnTo>
                  <a:lnTo>
                    <a:pt x="988"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67" name="Google Shape;4834;p64">
              <a:extLst>
                <a:ext uri="{FF2B5EF4-FFF2-40B4-BE49-F238E27FC236}">
                  <a16:creationId xmlns:a16="http://schemas.microsoft.com/office/drawing/2014/main" id="{104C74A4-9CE4-7414-E4E3-AF1406C8272B}"/>
                </a:ext>
              </a:extLst>
            </p:cNvPr>
            <p:cNvSpPr/>
            <p:nvPr/>
          </p:nvSpPr>
          <p:spPr>
            <a:xfrm>
              <a:off x="5044768" y="4724298"/>
              <a:ext cx="238899" cy="190331"/>
            </a:xfrm>
            <a:custGeom>
              <a:avLst/>
              <a:gdLst/>
              <a:ahLst/>
              <a:cxnLst/>
              <a:rect l="l" t="t" r="r" b="b"/>
              <a:pathLst>
                <a:path w="728" h="580" extrusionOk="0">
                  <a:moveTo>
                    <a:pt x="650" y="186"/>
                  </a:moveTo>
                  <a:lnTo>
                    <a:pt x="638" y="186"/>
                  </a:lnTo>
                  <a:lnTo>
                    <a:pt x="638" y="186"/>
                  </a:lnTo>
                  <a:lnTo>
                    <a:pt x="638" y="184"/>
                  </a:lnTo>
                  <a:lnTo>
                    <a:pt x="636" y="182"/>
                  </a:lnTo>
                  <a:lnTo>
                    <a:pt x="636" y="180"/>
                  </a:lnTo>
                  <a:lnTo>
                    <a:pt x="636" y="174"/>
                  </a:lnTo>
                  <a:lnTo>
                    <a:pt x="638" y="168"/>
                  </a:lnTo>
                  <a:lnTo>
                    <a:pt x="642" y="160"/>
                  </a:lnTo>
                  <a:lnTo>
                    <a:pt x="642" y="160"/>
                  </a:lnTo>
                  <a:lnTo>
                    <a:pt x="642" y="158"/>
                  </a:lnTo>
                  <a:lnTo>
                    <a:pt x="642" y="156"/>
                  </a:lnTo>
                  <a:lnTo>
                    <a:pt x="642" y="156"/>
                  </a:lnTo>
                  <a:lnTo>
                    <a:pt x="642" y="154"/>
                  </a:lnTo>
                  <a:lnTo>
                    <a:pt x="642" y="150"/>
                  </a:lnTo>
                  <a:lnTo>
                    <a:pt x="642" y="146"/>
                  </a:lnTo>
                  <a:lnTo>
                    <a:pt x="642" y="144"/>
                  </a:lnTo>
                  <a:lnTo>
                    <a:pt x="640" y="138"/>
                  </a:lnTo>
                  <a:lnTo>
                    <a:pt x="638" y="136"/>
                  </a:lnTo>
                  <a:lnTo>
                    <a:pt x="610" y="112"/>
                  </a:lnTo>
                  <a:lnTo>
                    <a:pt x="604" y="106"/>
                  </a:lnTo>
                  <a:lnTo>
                    <a:pt x="604" y="106"/>
                  </a:lnTo>
                  <a:lnTo>
                    <a:pt x="604" y="106"/>
                  </a:lnTo>
                  <a:lnTo>
                    <a:pt x="588" y="100"/>
                  </a:lnTo>
                  <a:lnTo>
                    <a:pt x="588" y="100"/>
                  </a:lnTo>
                  <a:lnTo>
                    <a:pt x="588" y="100"/>
                  </a:lnTo>
                  <a:lnTo>
                    <a:pt x="588" y="98"/>
                  </a:lnTo>
                  <a:lnTo>
                    <a:pt x="590" y="96"/>
                  </a:lnTo>
                  <a:lnTo>
                    <a:pt x="590" y="94"/>
                  </a:lnTo>
                  <a:lnTo>
                    <a:pt x="590" y="94"/>
                  </a:lnTo>
                  <a:lnTo>
                    <a:pt x="584" y="44"/>
                  </a:lnTo>
                  <a:lnTo>
                    <a:pt x="584" y="42"/>
                  </a:lnTo>
                  <a:lnTo>
                    <a:pt x="584" y="42"/>
                  </a:lnTo>
                  <a:lnTo>
                    <a:pt x="584" y="42"/>
                  </a:lnTo>
                  <a:lnTo>
                    <a:pt x="586" y="40"/>
                  </a:lnTo>
                  <a:lnTo>
                    <a:pt x="588" y="38"/>
                  </a:lnTo>
                  <a:lnTo>
                    <a:pt x="588" y="36"/>
                  </a:lnTo>
                  <a:lnTo>
                    <a:pt x="588" y="28"/>
                  </a:lnTo>
                  <a:lnTo>
                    <a:pt x="588" y="20"/>
                  </a:lnTo>
                  <a:lnTo>
                    <a:pt x="592" y="6"/>
                  </a:lnTo>
                  <a:lnTo>
                    <a:pt x="592" y="2"/>
                  </a:lnTo>
                  <a:lnTo>
                    <a:pt x="562" y="0"/>
                  </a:lnTo>
                  <a:lnTo>
                    <a:pt x="560" y="2"/>
                  </a:lnTo>
                  <a:lnTo>
                    <a:pt x="560" y="2"/>
                  </a:lnTo>
                  <a:lnTo>
                    <a:pt x="562" y="2"/>
                  </a:lnTo>
                  <a:lnTo>
                    <a:pt x="562" y="4"/>
                  </a:lnTo>
                  <a:lnTo>
                    <a:pt x="560" y="6"/>
                  </a:lnTo>
                  <a:lnTo>
                    <a:pt x="560" y="6"/>
                  </a:lnTo>
                  <a:lnTo>
                    <a:pt x="562" y="10"/>
                  </a:lnTo>
                  <a:lnTo>
                    <a:pt x="562" y="12"/>
                  </a:lnTo>
                  <a:lnTo>
                    <a:pt x="562" y="12"/>
                  </a:lnTo>
                  <a:lnTo>
                    <a:pt x="562" y="14"/>
                  </a:lnTo>
                  <a:lnTo>
                    <a:pt x="562" y="16"/>
                  </a:lnTo>
                  <a:lnTo>
                    <a:pt x="518" y="16"/>
                  </a:lnTo>
                  <a:lnTo>
                    <a:pt x="536" y="34"/>
                  </a:lnTo>
                  <a:lnTo>
                    <a:pt x="536" y="36"/>
                  </a:lnTo>
                  <a:lnTo>
                    <a:pt x="536" y="38"/>
                  </a:lnTo>
                  <a:lnTo>
                    <a:pt x="536" y="44"/>
                  </a:lnTo>
                  <a:lnTo>
                    <a:pt x="536" y="54"/>
                  </a:lnTo>
                  <a:lnTo>
                    <a:pt x="536" y="62"/>
                  </a:lnTo>
                  <a:lnTo>
                    <a:pt x="538" y="66"/>
                  </a:lnTo>
                  <a:lnTo>
                    <a:pt x="542" y="76"/>
                  </a:lnTo>
                  <a:lnTo>
                    <a:pt x="542" y="78"/>
                  </a:lnTo>
                  <a:lnTo>
                    <a:pt x="540" y="80"/>
                  </a:lnTo>
                  <a:lnTo>
                    <a:pt x="510" y="106"/>
                  </a:lnTo>
                  <a:lnTo>
                    <a:pt x="508" y="106"/>
                  </a:lnTo>
                  <a:lnTo>
                    <a:pt x="504" y="118"/>
                  </a:lnTo>
                  <a:lnTo>
                    <a:pt x="500" y="124"/>
                  </a:lnTo>
                  <a:lnTo>
                    <a:pt x="498" y="126"/>
                  </a:lnTo>
                  <a:lnTo>
                    <a:pt x="492" y="134"/>
                  </a:lnTo>
                  <a:lnTo>
                    <a:pt x="464" y="162"/>
                  </a:lnTo>
                  <a:lnTo>
                    <a:pt x="458" y="164"/>
                  </a:lnTo>
                  <a:lnTo>
                    <a:pt x="444" y="166"/>
                  </a:lnTo>
                  <a:lnTo>
                    <a:pt x="436" y="166"/>
                  </a:lnTo>
                  <a:lnTo>
                    <a:pt x="436" y="166"/>
                  </a:lnTo>
                  <a:lnTo>
                    <a:pt x="434" y="166"/>
                  </a:lnTo>
                  <a:lnTo>
                    <a:pt x="434" y="168"/>
                  </a:lnTo>
                  <a:lnTo>
                    <a:pt x="434" y="168"/>
                  </a:lnTo>
                  <a:lnTo>
                    <a:pt x="432" y="168"/>
                  </a:lnTo>
                  <a:lnTo>
                    <a:pt x="432" y="166"/>
                  </a:lnTo>
                  <a:lnTo>
                    <a:pt x="414" y="150"/>
                  </a:lnTo>
                  <a:lnTo>
                    <a:pt x="382" y="132"/>
                  </a:lnTo>
                  <a:lnTo>
                    <a:pt x="380" y="132"/>
                  </a:lnTo>
                  <a:lnTo>
                    <a:pt x="362" y="142"/>
                  </a:lnTo>
                  <a:lnTo>
                    <a:pt x="360" y="144"/>
                  </a:lnTo>
                  <a:lnTo>
                    <a:pt x="358" y="146"/>
                  </a:lnTo>
                  <a:lnTo>
                    <a:pt x="358" y="154"/>
                  </a:lnTo>
                  <a:lnTo>
                    <a:pt x="354" y="160"/>
                  </a:lnTo>
                  <a:lnTo>
                    <a:pt x="348" y="164"/>
                  </a:lnTo>
                  <a:lnTo>
                    <a:pt x="332" y="168"/>
                  </a:lnTo>
                  <a:lnTo>
                    <a:pt x="326" y="172"/>
                  </a:lnTo>
                  <a:lnTo>
                    <a:pt x="318" y="176"/>
                  </a:lnTo>
                  <a:lnTo>
                    <a:pt x="316" y="176"/>
                  </a:lnTo>
                  <a:lnTo>
                    <a:pt x="306" y="186"/>
                  </a:lnTo>
                  <a:lnTo>
                    <a:pt x="306" y="190"/>
                  </a:lnTo>
                  <a:lnTo>
                    <a:pt x="306" y="194"/>
                  </a:lnTo>
                  <a:lnTo>
                    <a:pt x="254" y="194"/>
                  </a:lnTo>
                  <a:lnTo>
                    <a:pt x="252" y="190"/>
                  </a:lnTo>
                  <a:lnTo>
                    <a:pt x="244" y="176"/>
                  </a:lnTo>
                  <a:lnTo>
                    <a:pt x="244" y="176"/>
                  </a:lnTo>
                  <a:lnTo>
                    <a:pt x="238" y="178"/>
                  </a:lnTo>
                  <a:lnTo>
                    <a:pt x="190" y="176"/>
                  </a:lnTo>
                  <a:lnTo>
                    <a:pt x="184" y="176"/>
                  </a:lnTo>
                  <a:lnTo>
                    <a:pt x="170" y="182"/>
                  </a:lnTo>
                  <a:lnTo>
                    <a:pt x="164" y="184"/>
                  </a:lnTo>
                  <a:lnTo>
                    <a:pt x="156" y="182"/>
                  </a:lnTo>
                  <a:lnTo>
                    <a:pt x="132" y="152"/>
                  </a:lnTo>
                  <a:lnTo>
                    <a:pt x="126" y="148"/>
                  </a:lnTo>
                  <a:lnTo>
                    <a:pt x="124" y="146"/>
                  </a:lnTo>
                  <a:lnTo>
                    <a:pt x="120" y="142"/>
                  </a:lnTo>
                  <a:lnTo>
                    <a:pt x="116" y="138"/>
                  </a:lnTo>
                  <a:lnTo>
                    <a:pt x="114" y="136"/>
                  </a:lnTo>
                  <a:lnTo>
                    <a:pt x="112" y="132"/>
                  </a:lnTo>
                  <a:lnTo>
                    <a:pt x="114" y="126"/>
                  </a:lnTo>
                  <a:lnTo>
                    <a:pt x="112" y="122"/>
                  </a:lnTo>
                  <a:lnTo>
                    <a:pt x="108" y="122"/>
                  </a:lnTo>
                  <a:lnTo>
                    <a:pt x="74" y="128"/>
                  </a:lnTo>
                  <a:lnTo>
                    <a:pt x="68" y="128"/>
                  </a:lnTo>
                  <a:lnTo>
                    <a:pt x="62" y="128"/>
                  </a:lnTo>
                  <a:lnTo>
                    <a:pt x="60" y="130"/>
                  </a:lnTo>
                  <a:lnTo>
                    <a:pt x="56" y="134"/>
                  </a:lnTo>
                  <a:lnTo>
                    <a:pt x="56" y="138"/>
                  </a:lnTo>
                  <a:lnTo>
                    <a:pt x="56" y="142"/>
                  </a:lnTo>
                  <a:lnTo>
                    <a:pt x="56" y="146"/>
                  </a:lnTo>
                  <a:lnTo>
                    <a:pt x="52" y="150"/>
                  </a:lnTo>
                  <a:lnTo>
                    <a:pt x="44" y="160"/>
                  </a:lnTo>
                  <a:lnTo>
                    <a:pt x="40" y="164"/>
                  </a:lnTo>
                  <a:lnTo>
                    <a:pt x="42" y="176"/>
                  </a:lnTo>
                  <a:lnTo>
                    <a:pt x="40" y="180"/>
                  </a:lnTo>
                  <a:lnTo>
                    <a:pt x="40" y="184"/>
                  </a:lnTo>
                  <a:lnTo>
                    <a:pt x="36" y="188"/>
                  </a:lnTo>
                  <a:lnTo>
                    <a:pt x="34" y="190"/>
                  </a:lnTo>
                  <a:lnTo>
                    <a:pt x="32" y="194"/>
                  </a:lnTo>
                  <a:lnTo>
                    <a:pt x="32" y="200"/>
                  </a:lnTo>
                  <a:lnTo>
                    <a:pt x="32" y="204"/>
                  </a:lnTo>
                  <a:lnTo>
                    <a:pt x="26" y="212"/>
                  </a:lnTo>
                  <a:lnTo>
                    <a:pt x="26" y="216"/>
                  </a:lnTo>
                  <a:lnTo>
                    <a:pt x="26" y="222"/>
                  </a:lnTo>
                  <a:lnTo>
                    <a:pt x="24" y="224"/>
                  </a:lnTo>
                  <a:lnTo>
                    <a:pt x="10" y="228"/>
                  </a:lnTo>
                  <a:lnTo>
                    <a:pt x="4" y="232"/>
                  </a:lnTo>
                  <a:lnTo>
                    <a:pt x="0" y="236"/>
                  </a:lnTo>
                  <a:lnTo>
                    <a:pt x="0" y="238"/>
                  </a:lnTo>
                  <a:lnTo>
                    <a:pt x="2" y="238"/>
                  </a:lnTo>
                  <a:lnTo>
                    <a:pt x="4" y="242"/>
                  </a:lnTo>
                  <a:lnTo>
                    <a:pt x="2" y="252"/>
                  </a:lnTo>
                  <a:lnTo>
                    <a:pt x="4" y="258"/>
                  </a:lnTo>
                  <a:lnTo>
                    <a:pt x="8" y="264"/>
                  </a:lnTo>
                  <a:lnTo>
                    <a:pt x="14" y="266"/>
                  </a:lnTo>
                  <a:lnTo>
                    <a:pt x="20" y="266"/>
                  </a:lnTo>
                  <a:lnTo>
                    <a:pt x="38" y="270"/>
                  </a:lnTo>
                  <a:lnTo>
                    <a:pt x="46" y="274"/>
                  </a:lnTo>
                  <a:lnTo>
                    <a:pt x="56" y="284"/>
                  </a:lnTo>
                  <a:lnTo>
                    <a:pt x="68" y="296"/>
                  </a:lnTo>
                  <a:lnTo>
                    <a:pt x="72" y="300"/>
                  </a:lnTo>
                  <a:lnTo>
                    <a:pt x="70" y="306"/>
                  </a:lnTo>
                  <a:lnTo>
                    <a:pt x="66" y="312"/>
                  </a:lnTo>
                  <a:lnTo>
                    <a:pt x="68" y="314"/>
                  </a:lnTo>
                  <a:lnTo>
                    <a:pt x="74" y="320"/>
                  </a:lnTo>
                  <a:lnTo>
                    <a:pt x="80" y="326"/>
                  </a:lnTo>
                  <a:lnTo>
                    <a:pt x="92" y="334"/>
                  </a:lnTo>
                  <a:lnTo>
                    <a:pt x="114" y="344"/>
                  </a:lnTo>
                  <a:lnTo>
                    <a:pt x="124" y="352"/>
                  </a:lnTo>
                  <a:lnTo>
                    <a:pt x="126" y="358"/>
                  </a:lnTo>
                  <a:lnTo>
                    <a:pt x="132" y="362"/>
                  </a:lnTo>
                  <a:lnTo>
                    <a:pt x="140" y="368"/>
                  </a:lnTo>
                  <a:lnTo>
                    <a:pt x="144" y="372"/>
                  </a:lnTo>
                  <a:lnTo>
                    <a:pt x="140" y="384"/>
                  </a:lnTo>
                  <a:lnTo>
                    <a:pt x="142" y="388"/>
                  </a:lnTo>
                  <a:lnTo>
                    <a:pt x="144" y="392"/>
                  </a:lnTo>
                  <a:lnTo>
                    <a:pt x="148" y="396"/>
                  </a:lnTo>
                  <a:lnTo>
                    <a:pt x="150" y="402"/>
                  </a:lnTo>
                  <a:lnTo>
                    <a:pt x="154" y="410"/>
                  </a:lnTo>
                  <a:lnTo>
                    <a:pt x="160" y="414"/>
                  </a:lnTo>
                  <a:lnTo>
                    <a:pt x="168" y="414"/>
                  </a:lnTo>
                  <a:lnTo>
                    <a:pt x="172" y="418"/>
                  </a:lnTo>
                  <a:lnTo>
                    <a:pt x="182" y="424"/>
                  </a:lnTo>
                  <a:lnTo>
                    <a:pt x="192" y="430"/>
                  </a:lnTo>
                  <a:lnTo>
                    <a:pt x="196" y="432"/>
                  </a:lnTo>
                  <a:lnTo>
                    <a:pt x="198" y="436"/>
                  </a:lnTo>
                  <a:lnTo>
                    <a:pt x="200" y="440"/>
                  </a:lnTo>
                  <a:lnTo>
                    <a:pt x="202" y="444"/>
                  </a:lnTo>
                  <a:lnTo>
                    <a:pt x="202" y="452"/>
                  </a:lnTo>
                  <a:lnTo>
                    <a:pt x="204" y="462"/>
                  </a:lnTo>
                  <a:lnTo>
                    <a:pt x="208" y="468"/>
                  </a:lnTo>
                  <a:lnTo>
                    <a:pt x="212" y="474"/>
                  </a:lnTo>
                  <a:lnTo>
                    <a:pt x="214" y="478"/>
                  </a:lnTo>
                  <a:lnTo>
                    <a:pt x="218" y="482"/>
                  </a:lnTo>
                  <a:lnTo>
                    <a:pt x="230" y="490"/>
                  </a:lnTo>
                  <a:lnTo>
                    <a:pt x="234" y="494"/>
                  </a:lnTo>
                  <a:lnTo>
                    <a:pt x="236" y="500"/>
                  </a:lnTo>
                  <a:lnTo>
                    <a:pt x="238" y="504"/>
                  </a:lnTo>
                  <a:lnTo>
                    <a:pt x="242" y="506"/>
                  </a:lnTo>
                  <a:lnTo>
                    <a:pt x="246" y="508"/>
                  </a:lnTo>
                  <a:lnTo>
                    <a:pt x="250" y="510"/>
                  </a:lnTo>
                  <a:lnTo>
                    <a:pt x="254" y="514"/>
                  </a:lnTo>
                  <a:lnTo>
                    <a:pt x="256" y="518"/>
                  </a:lnTo>
                  <a:lnTo>
                    <a:pt x="264" y="524"/>
                  </a:lnTo>
                  <a:lnTo>
                    <a:pt x="268" y="524"/>
                  </a:lnTo>
                  <a:lnTo>
                    <a:pt x="272" y="524"/>
                  </a:lnTo>
                  <a:lnTo>
                    <a:pt x="276" y="526"/>
                  </a:lnTo>
                  <a:lnTo>
                    <a:pt x="280" y="524"/>
                  </a:lnTo>
                  <a:lnTo>
                    <a:pt x="286" y="522"/>
                  </a:lnTo>
                  <a:lnTo>
                    <a:pt x="294" y="516"/>
                  </a:lnTo>
                  <a:lnTo>
                    <a:pt x="300" y="512"/>
                  </a:lnTo>
                  <a:lnTo>
                    <a:pt x="314" y="514"/>
                  </a:lnTo>
                  <a:lnTo>
                    <a:pt x="322" y="516"/>
                  </a:lnTo>
                  <a:lnTo>
                    <a:pt x="328" y="520"/>
                  </a:lnTo>
                  <a:lnTo>
                    <a:pt x="332" y="520"/>
                  </a:lnTo>
                  <a:lnTo>
                    <a:pt x="342" y="514"/>
                  </a:lnTo>
                  <a:lnTo>
                    <a:pt x="348" y="506"/>
                  </a:lnTo>
                  <a:lnTo>
                    <a:pt x="354" y="504"/>
                  </a:lnTo>
                  <a:lnTo>
                    <a:pt x="362" y="508"/>
                  </a:lnTo>
                  <a:lnTo>
                    <a:pt x="368" y="514"/>
                  </a:lnTo>
                  <a:lnTo>
                    <a:pt x="374" y="524"/>
                  </a:lnTo>
                  <a:lnTo>
                    <a:pt x="378" y="528"/>
                  </a:lnTo>
                  <a:lnTo>
                    <a:pt x="384" y="534"/>
                  </a:lnTo>
                  <a:lnTo>
                    <a:pt x="396" y="548"/>
                  </a:lnTo>
                  <a:lnTo>
                    <a:pt x="410" y="554"/>
                  </a:lnTo>
                  <a:lnTo>
                    <a:pt x="416" y="556"/>
                  </a:lnTo>
                  <a:lnTo>
                    <a:pt x="418" y="560"/>
                  </a:lnTo>
                  <a:lnTo>
                    <a:pt x="420" y="564"/>
                  </a:lnTo>
                  <a:lnTo>
                    <a:pt x="420" y="568"/>
                  </a:lnTo>
                  <a:lnTo>
                    <a:pt x="422" y="570"/>
                  </a:lnTo>
                  <a:lnTo>
                    <a:pt x="426" y="570"/>
                  </a:lnTo>
                  <a:lnTo>
                    <a:pt x="428" y="570"/>
                  </a:lnTo>
                  <a:lnTo>
                    <a:pt x="432" y="570"/>
                  </a:lnTo>
                  <a:lnTo>
                    <a:pt x="436" y="574"/>
                  </a:lnTo>
                  <a:lnTo>
                    <a:pt x="436" y="576"/>
                  </a:lnTo>
                  <a:lnTo>
                    <a:pt x="438" y="580"/>
                  </a:lnTo>
                  <a:lnTo>
                    <a:pt x="440" y="576"/>
                  </a:lnTo>
                  <a:lnTo>
                    <a:pt x="444" y="570"/>
                  </a:lnTo>
                  <a:lnTo>
                    <a:pt x="452" y="564"/>
                  </a:lnTo>
                  <a:lnTo>
                    <a:pt x="458" y="560"/>
                  </a:lnTo>
                  <a:lnTo>
                    <a:pt x="462" y="560"/>
                  </a:lnTo>
                  <a:lnTo>
                    <a:pt x="472" y="564"/>
                  </a:lnTo>
                  <a:lnTo>
                    <a:pt x="480" y="568"/>
                  </a:lnTo>
                  <a:lnTo>
                    <a:pt x="484" y="568"/>
                  </a:lnTo>
                  <a:lnTo>
                    <a:pt x="490" y="566"/>
                  </a:lnTo>
                  <a:lnTo>
                    <a:pt x="500" y="558"/>
                  </a:lnTo>
                  <a:lnTo>
                    <a:pt x="504" y="562"/>
                  </a:lnTo>
                  <a:lnTo>
                    <a:pt x="506" y="566"/>
                  </a:lnTo>
                  <a:lnTo>
                    <a:pt x="510" y="572"/>
                  </a:lnTo>
                  <a:lnTo>
                    <a:pt x="518" y="574"/>
                  </a:lnTo>
                  <a:lnTo>
                    <a:pt x="520" y="576"/>
                  </a:lnTo>
                  <a:lnTo>
                    <a:pt x="522" y="578"/>
                  </a:lnTo>
                  <a:lnTo>
                    <a:pt x="524" y="576"/>
                  </a:lnTo>
                  <a:lnTo>
                    <a:pt x="526" y="572"/>
                  </a:lnTo>
                  <a:lnTo>
                    <a:pt x="530" y="568"/>
                  </a:lnTo>
                  <a:lnTo>
                    <a:pt x="536" y="566"/>
                  </a:lnTo>
                  <a:lnTo>
                    <a:pt x="550" y="562"/>
                  </a:lnTo>
                  <a:lnTo>
                    <a:pt x="558" y="562"/>
                  </a:lnTo>
                  <a:lnTo>
                    <a:pt x="562" y="562"/>
                  </a:lnTo>
                  <a:lnTo>
                    <a:pt x="568" y="560"/>
                  </a:lnTo>
                  <a:lnTo>
                    <a:pt x="580" y="554"/>
                  </a:lnTo>
                  <a:lnTo>
                    <a:pt x="590" y="562"/>
                  </a:lnTo>
                  <a:lnTo>
                    <a:pt x="600" y="562"/>
                  </a:lnTo>
                  <a:lnTo>
                    <a:pt x="612" y="562"/>
                  </a:lnTo>
                  <a:lnTo>
                    <a:pt x="614" y="560"/>
                  </a:lnTo>
                  <a:lnTo>
                    <a:pt x="616" y="558"/>
                  </a:lnTo>
                  <a:lnTo>
                    <a:pt x="670" y="506"/>
                  </a:lnTo>
                  <a:lnTo>
                    <a:pt x="688" y="488"/>
                  </a:lnTo>
                  <a:lnTo>
                    <a:pt x="702" y="474"/>
                  </a:lnTo>
                  <a:lnTo>
                    <a:pt x="716" y="460"/>
                  </a:lnTo>
                  <a:lnTo>
                    <a:pt x="728" y="448"/>
                  </a:lnTo>
                  <a:lnTo>
                    <a:pt x="728" y="446"/>
                  </a:lnTo>
                  <a:lnTo>
                    <a:pt x="722" y="442"/>
                  </a:lnTo>
                  <a:lnTo>
                    <a:pt x="716" y="436"/>
                  </a:lnTo>
                  <a:lnTo>
                    <a:pt x="712" y="430"/>
                  </a:lnTo>
                  <a:lnTo>
                    <a:pt x="710" y="424"/>
                  </a:lnTo>
                  <a:lnTo>
                    <a:pt x="708" y="412"/>
                  </a:lnTo>
                  <a:lnTo>
                    <a:pt x="704" y="404"/>
                  </a:lnTo>
                  <a:lnTo>
                    <a:pt x="700" y="394"/>
                  </a:lnTo>
                  <a:lnTo>
                    <a:pt x="694" y="376"/>
                  </a:lnTo>
                  <a:lnTo>
                    <a:pt x="692" y="370"/>
                  </a:lnTo>
                  <a:lnTo>
                    <a:pt x="688" y="366"/>
                  </a:lnTo>
                  <a:lnTo>
                    <a:pt x="682" y="362"/>
                  </a:lnTo>
                  <a:lnTo>
                    <a:pt x="676" y="356"/>
                  </a:lnTo>
                  <a:lnTo>
                    <a:pt x="664" y="348"/>
                  </a:lnTo>
                  <a:lnTo>
                    <a:pt x="658" y="342"/>
                  </a:lnTo>
                  <a:lnTo>
                    <a:pt x="650" y="334"/>
                  </a:lnTo>
                  <a:lnTo>
                    <a:pt x="648" y="328"/>
                  </a:lnTo>
                  <a:lnTo>
                    <a:pt x="646" y="324"/>
                  </a:lnTo>
                  <a:lnTo>
                    <a:pt x="644" y="320"/>
                  </a:lnTo>
                  <a:lnTo>
                    <a:pt x="638" y="314"/>
                  </a:lnTo>
                  <a:lnTo>
                    <a:pt x="624" y="304"/>
                  </a:lnTo>
                  <a:lnTo>
                    <a:pt x="618" y="302"/>
                  </a:lnTo>
                  <a:lnTo>
                    <a:pt x="614" y="302"/>
                  </a:lnTo>
                  <a:lnTo>
                    <a:pt x="606" y="300"/>
                  </a:lnTo>
                  <a:lnTo>
                    <a:pt x="594" y="298"/>
                  </a:lnTo>
                  <a:lnTo>
                    <a:pt x="584" y="294"/>
                  </a:lnTo>
                  <a:lnTo>
                    <a:pt x="580" y="292"/>
                  </a:lnTo>
                  <a:lnTo>
                    <a:pt x="580" y="288"/>
                  </a:lnTo>
                  <a:lnTo>
                    <a:pt x="580" y="286"/>
                  </a:lnTo>
                  <a:lnTo>
                    <a:pt x="584" y="280"/>
                  </a:lnTo>
                  <a:lnTo>
                    <a:pt x="590" y="266"/>
                  </a:lnTo>
                  <a:lnTo>
                    <a:pt x="594" y="256"/>
                  </a:lnTo>
                  <a:lnTo>
                    <a:pt x="598" y="254"/>
                  </a:lnTo>
                  <a:lnTo>
                    <a:pt x="606" y="252"/>
                  </a:lnTo>
                  <a:lnTo>
                    <a:pt x="616" y="252"/>
                  </a:lnTo>
                  <a:lnTo>
                    <a:pt x="622" y="254"/>
                  </a:lnTo>
                  <a:lnTo>
                    <a:pt x="632" y="254"/>
                  </a:lnTo>
                  <a:lnTo>
                    <a:pt x="642" y="252"/>
                  </a:lnTo>
                  <a:lnTo>
                    <a:pt x="646" y="250"/>
                  </a:lnTo>
                  <a:lnTo>
                    <a:pt x="650" y="246"/>
                  </a:lnTo>
                  <a:lnTo>
                    <a:pt x="652" y="244"/>
                  </a:lnTo>
                  <a:lnTo>
                    <a:pt x="652" y="238"/>
                  </a:lnTo>
                  <a:lnTo>
                    <a:pt x="652" y="232"/>
                  </a:lnTo>
                  <a:lnTo>
                    <a:pt x="650" y="214"/>
                  </a:lnTo>
                  <a:lnTo>
                    <a:pt x="650" y="202"/>
                  </a:lnTo>
                  <a:lnTo>
                    <a:pt x="650" y="188"/>
                  </a:lnTo>
                  <a:lnTo>
                    <a:pt x="650" y="18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68" name="Google Shape;4835;p64">
              <a:extLst>
                <a:ext uri="{FF2B5EF4-FFF2-40B4-BE49-F238E27FC236}">
                  <a16:creationId xmlns:a16="http://schemas.microsoft.com/office/drawing/2014/main" id="{72150245-A948-5D21-99A8-63615C4FDDF6}"/>
                </a:ext>
              </a:extLst>
            </p:cNvPr>
            <p:cNvSpPr/>
            <p:nvPr/>
          </p:nvSpPr>
          <p:spPr>
            <a:xfrm>
              <a:off x="4147585" y="4625852"/>
              <a:ext cx="132576" cy="96479"/>
            </a:xfrm>
            <a:custGeom>
              <a:avLst/>
              <a:gdLst/>
              <a:ahLst/>
              <a:cxnLst/>
              <a:rect l="l" t="t" r="r" b="b"/>
              <a:pathLst>
                <a:path w="404" h="294" extrusionOk="0">
                  <a:moveTo>
                    <a:pt x="346" y="126"/>
                  </a:moveTo>
                  <a:lnTo>
                    <a:pt x="344" y="126"/>
                  </a:lnTo>
                  <a:lnTo>
                    <a:pt x="336" y="122"/>
                  </a:lnTo>
                  <a:lnTo>
                    <a:pt x="334" y="116"/>
                  </a:lnTo>
                  <a:lnTo>
                    <a:pt x="328" y="112"/>
                  </a:lnTo>
                  <a:lnTo>
                    <a:pt x="320" y="108"/>
                  </a:lnTo>
                  <a:lnTo>
                    <a:pt x="316" y="104"/>
                  </a:lnTo>
                  <a:lnTo>
                    <a:pt x="312" y="102"/>
                  </a:lnTo>
                  <a:lnTo>
                    <a:pt x="310" y="98"/>
                  </a:lnTo>
                  <a:lnTo>
                    <a:pt x="308" y="98"/>
                  </a:lnTo>
                  <a:lnTo>
                    <a:pt x="306" y="96"/>
                  </a:lnTo>
                  <a:lnTo>
                    <a:pt x="308" y="94"/>
                  </a:lnTo>
                  <a:lnTo>
                    <a:pt x="306" y="90"/>
                  </a:lnTo>
                  <a:lnTo>
                    <a:pt x="302" y="84"/>
                  </a:lnTo>
                  <a:lnTo>
                    <a:pt x="298" y="80"/>
                  </a:lnTo>
                  <a:lnTo>
                    <a:pt x="294" y="80"/>
                  </a:lnTo>
                  <a:lnTo>
                    <a:pt x="292" y="78"/>
                  </a:lnTo>
                  <a:lnTo>
                    <a:pt x="292" y="78"/>
                  </a:lnTo>
                  <a:lnTo>
                    <a:pt x="290" y="74"/>
                  </a:lnTo>
                  <a:lnTo>
                    <a:pt x="288" y="72"/>
                  </a:lnTo>
                  <a:lnTo>
                    <a:pt x="284" y="72"/>
                  </a:lnTo>
                  <a:lnTo>
                    <a:pt x="280" y="66"/>
                  </a:lnTo>
                  <a:lnTo>
                    <a:pt x="278" y="56"/>
                  </a:lnTo>
                  <a:lnTo>
                    <a:pt x="274" y="48"/>
                  </a:lnTo>
                  <a:lnTo>
                    <a:pt x="272" y="42"/>
                  </a:lnTo>
                  <a:lnTo>
                    <a:pt x="268" y="40"/>
                  </a:lnTo>
                  <a:lnTo>
                    <a:pt x="266" y="38"/>
                  </a:lnTo>
                  <a:lnTo>
                    <a:pt x="266" y="38"/>
                  </a:lnTo>
                  <a:lnTo>
                    <a:pt x="264" y="36"/>
                  </a:lnTo>
                  <a:lnTo>
                    <a:pt x="262" y="36"/>
                  </a:lnTo>
                  <a:lnTo>
                    <a:pt x="256" y="38"/>
                  </a:lnTo>
                  <a:lnTo>
                    <a:pt x="254" y="38"/>
                  </a:lnTo>
                  <a:lnTo>
                    <a:pt x="252" y="34"/>
                  </a:lnTo>
                  <a:lnTo>
                    <a:pt x="248" y="34"/>
                  </a:lnTo>
                  <a:lnTo>
                    <a:pt x="244" y="36"/>
                  </a:lnTo>
                  <a:lnTo>
                    <a:pt x="240" y="36"/>
                  </a:lnTo>
                  <a:lnTo>
                    <a:pt x="236" y="32"/>
                  </a:lnTo>
                  <a:lnTo>
                    <a:pt x="234" y="28"/>
                  </a:lnTo>
                  <a:lnTo>
                    <a:pt x="234" y="24"/>
                  </a:lnTo>
                  <a:lnTo>
                    <a:pt x="226" y="18"/>
                  </a:lnTo>
                  <a:lnTo>
                    <a:pt x="212" y="6"/>
                  </a:lnTo>
                  <a:lnTo>
                    <a:pt x="198" y="0"/>
                  </a:lnTo>
                  <a:lnTo>
                    <a:pt x="180" y="2"/>
                  </a:lnTo>
                  <a:lnTo>
                    <a:pt x="172" y="2"/>
                  </a:lnTo>
                  <a:lnTo>
                    <a:pt x="170" y="0"/>
                  </a:lnTo>
                  <a:lnTo>
                    <a:pt x="168" y="0"/>
                  </a:lnTo>
                  <a:lnTo>
                    <a:pt x="166" y="2"/>
                  </a:lnTo>
                  <a:lnTo>
                    <a:pt x="164" y="2"/>
                  </a:lnTo>
                  <a:lnTo>
                    <a:pt x="160" y="0"/>
                  </a:lnTo>
                  <a:lnTo>
                    <a:pt x="160" y="2"/>
                  </a:lnTo>
                  <a:lnTo>
                    <a:pt x="158" y="4"/>
                  </a:lnTo>
                  <a:lnTo>
                    <a:pt x="154" y="6"/>
                  </a:lnTo>
                  <a:lnTo>
                    <a:pt x="142" y="6"/>
                  </a:lnTo>
                  <a:lnTo>
                    <a:pt x="132" y="8"/>
                  </a:lnTo>
                  <a:lnTo>
                    <a:pt x="126" y="12"/>
                  </a:lnTo>
                  <a:lnTo>
                    <a:pt x="116" y="12"/>
                  </a:lnTo>
                  <a:lnTo>
                    <a:pt x="104" y="12"/>
                  </a:lnTo>
                  <a:lnTo>
                    <a:pt x="96" y="10"/>
                  </a:lnTo>
                  <a:lnTo>
                    <a:pt x="94" y="8"/>
                  </a:lnTo>
                  <a:lnTo>
                    <a:pt x="90" y="8"/>
                  </a:lnTo>
                  <a:lnTo>
                    <a:pt x="86" y="10"/>
                  </a:lnTo>
                  <a:lnTo>
                    <a:pt x="82" y="14"/>
                  </a:lnTo>
                  <a:lnTo>
                    <a:pt x="78" y="24"/>
                  </a:lnTo>
                  <a:lnTo>
                    <a:pt x="74" y="30"/>
                  </a:lnTo>
                  <a:lnTo>
                    <a:pt x="72" y="32"/>
                  </a:lnTo>
                  <a:lnTo>
                    <a:pt x="70" y="38"/>
                  </a:lnTo>
                  <a:lnTo>
                    <a:pt x="68" y="52"/>
                  </a:lnTo>
                  <a:lnTo>
                    <a:pt x="66" y="56"/>
                  </a:lnTo>
                  <a:lnTo>
                    <a:pt x="64" y="64"/>
                  </a:lnTo>
                  <a:lnTo>
                    <a:pt x="46" y="94"/>
                  </a:lnTo>
                  <a:lnTo>
                    <a:pt x="26" y="118"/>
                  </a:lnTo>
                  <a:lnTo>
                    <a:pt x="8" y="128"/>
                  </a:lnTo>
                  <a:lnTo>
                    <a:pt x="0" y="130"/>
                  </a:lnTo>
                  <a:lnTo>
                    <a:pt x="6" y="138"/>
                  </a:lnTo>
                  <a:lnTo>
                    <a:pt x="8" y="132"/>
                  </a:lnTo>
                  <a:lnTo>
                    <a:pt x="12" y="132"/>
                  </a:lnTo>
                  <a:lnTo>
                    <a:pt x="18" y="134"/>
                  </a:lnTo>
                  <a:lnTo>
                    <a:pt x="24" y="138"/>
                  </a:lnTo>
                  <a:lnTo>
                    <a:pt x="30" y="148"/>
                  </a:lnTo>
                  <a:lnTo>
                    <a:pt x="38" y="154"/>
                  </a:lnTo>
                  <a:lnTo>
                    <a:pt x="44" y="168"/>
                  </a:lnTo>
                  <a:lnTo>
                    <a:pt x="48" y="176"/>
                  </a:lnTo>
                  <a:lnTo>
                    <a:pt x="50" y="182"/>
                  </a:lnTo>
                  <a:lnTo>
                    <a:pt x="52" y="182"/>
                  </a:lnTo>
                  <a:lnTo>
                    <a:pt x="58" y="180"/>
                  </a:lnTo>
                  <a:lnTo>
                    <a:pt x="60" y="178"/>
                  </a:lnTo>
                  <a:lnTo>
                    <a:pt x="60" y="182"/>
                  </a:lnTo>
                  <a:lnTo>
                    <a:pt x="52" y="184"/>
                  </a:lnTo>
                  <a:lnTo>
                    <a:pt x="50" y="188"/>
                  </a:lnTo>
                  <a:lnTo>
                    <a:pt x="52" y="192"/>
                  </a:lnTo>
                  <a:lnTo>
                    <a:pt x="58" y="198"/>
                  </a:lnTo>
                  <a:lnTo>
                    <a:pt x="62" y="202"/>
                  </a:lnTo>
                  <a:lnTo>
                    <a:pt x="64" y="210"/>
                  </a:lnTo>
                  <a:lnTo>
                    <a:pt x="80" y="208"/>
                  </a:lnTo>
                  <a:lnTo>
                    <a:pt x="100" y="208"/>
                  </a:lnTo>
                  <a:lnTo>
                    <a:pt x="124" y="210"/>
                  </a:lnTo>
                  <a:lnTo>
                    <a:pt x="134" y="210"/>
                  </a:lnTo>
                  <a:lnTo>
                    <a:pt x="138" y="200"/>
                  </a:lnTo>
                  <a:lnTo>
                    <a:pt x="150" y="196"/>
                  </a:lnTo>
                  <a:lnTo>
                    <a:pt x="160" y="194"/>
                  </a:lnTo>
                  <a:lnTo>
                    <a:pt x="166" y="194"/>
                  </a:lnTo>
                  <a:lnTo>
                    <a:pt x="172" y="196"/>
                  </a:lnTo>
                  <a:lnTo>
                    <a:pt x="182" y="204"/>
                  </a:lnTo>
                  <a:lnTo>
                    <a:pt x="190" y="206"/>
                  </a:lnTo>
                  <a:lnTo>
                    <a:pt x="194" y="208"/>
                  </a:lnTo>
                  <a:lnTo>
                    <a:pt x="198" y="212"/>
                  </a:lnTo>
                  <a:lnTo>
                    <a:pt x="206" y="216"/>
                  </a:lnTo>
                  <a:lnTo>
                    <a:pt x="212" y="216"/>
                  </a:lnTo>
                  <a:lnTo>
                    <a:pt x="214" y="216"/>
                  </a:lnTo>
                  <a:lnTo>
                    <a:pt x="220" y="214"/>
                  </a:lnTo>
                  <a:lnTo>
                    <a:pt x="222" y="212"/>
                  </a:lnTo>
                  <a:lnTo>
                    <a:pt x="234" y="212"/>
                  </a:lnTo>
                  <a:lnTo>
                    <a:pt x="242" y="216"/>
                  </a:lnTo>
                  <a:lnTo>
                    <a:pt x="244" y="222"/>
                  </a:lnTo>
                  <a:lnTo>
                    <a:pt x="242" y="226"/>
                  </a:lnTo>
                  <a:lnTo>
                    <a:pt x="232" y="230"/>
                  </a:lnTo>
                  <a:lnTo>
                    <a:pt x="216" y="232"/>
                  </a:lnTo>
                  <a:lnTo>
                    <a:pt x="204" y="230"/>
                  </a:lnTo>
                  <a:lnTo>
                    <a:pt x="188" y="226"/>
                  </a:lnTo>
                  <a:lnTo>
                    <a:pt x="180" y="222"/>
                  </a:lnTo>
                  <a:lnTo>
                    <a:pt x="176" y="220"/>
                  </a:lnTo>
                  <a:lnTo>
                    <a:pt x="170" y="218"/>
                  </a:lnTo>
                  <a:lnTo>
                    <a:pt x="166" y="214"/>
                  </a:lnTo>
                  <a:lnTo>
                    <a:pt x="160" y="212"/>
                  </a:lnTo>
                  <a:lnTo>
                    <a:pt x="156" y="212"/>
                  </a:lnTo>
                  <a:lnTo>
                    <a:pt x="154" y="212"/>
                  </a:lnTo>
                  <a:lnTo>
                    <a:pt x="152" y="216"/>
                  </a:lnTo>
                  <a:lnTo>
                    <a:pt x="150" y="220"/>
                  </a:lnTo>
                  <a:lnTo>
                    <a:pt x="148" y="222"/>
                  </a:lnTo>
                  <a:lnTo>
                    <a:pt x="136" y="224"/>
                  </a:lnTo>
                  <a:lnTo>
                    <a:pt x="124" y="224"/>
                  </a:lnTo>
                  <a:lnTo>
                    <a:pt x="118" y="226"/>
                  </a:lnTo>
                  <a:lnTo>
                    <a:pt x="114" y="226"/>
                  </a:lnTo>
                  <a:lnTo>
                    <a:pt x="112" y="238"/>
                  </a:lnTo>
                  <a:lnTo>
                    <a:pt x="100" y="238"/>
                  </a:lnTo>
                  <a:lnTo>
                    <a:pt x="72" y="238"/>
                  </a:lnTo>
                  <a:lnTo>
                    <a:pt x="58" y="238"/>
                  </a:lnTo>
                  <a:lnTo>
                    <a:pt x="56" y="240"/>
                  </a:lnTo>
                  <a:lnTo>
                    <a:pt x="52" y="244"/>
                  </a:lnTo>
                  <a:lnTo>
                    <a:pt x="52" y="250"/>
                  </a:lnTo>
                  <a:lnTo>
                    <a:pt x="50" y="256"/>
                  </a:lnTo>
                  <a:lnTo>
                    <a:pt x="52" y="268"/>
                  </a:lnTo>
                  <a:lnTo>
                    <a:pt x="50" y="272"/>
                  </a:lnTo>
                  <a:lnTo>
                    <a:pt x="50" y="274"/>
                  </a:lnTo>
                  <a:lnTo>
                    <a:pt x="52" y="276"/>
                  </a:lnTo>
                  <a:lnTo>
                    <a:pt x="56" y="276"/>
                  </a:lnTo>
                  <a:lnTo>
                    <a:pt x="58" y="274"/>
                  </a:lnTo>
                  <a:lnTo>
                    <a:pt x="60" y="270"/>
                  </a:lnTo>
                  <a:lnTo>
                    <a:pt x="62" y="268"/>
                  </a:lnTo>
                  <a:lnTo>
                    <a:pt x="66" y="272"/>
                  </a:lnTo>
                  <a:lnTo>
                    <a:pt x="72" y="274"/>
                  </a:lnTo>
                  <a:lnTo>
                    <a:pt x="72" y="276"/>
                  </a:lnTo>
                  <a:lnTo>
                    <a:pt x="72" y="276"/>
                  </a:lnTo>
                  <a:lnTo>
                    <a:pt x="70" y="276"/>
                  </a:lnTo>
                  <a:lnTo>
                    <a:pt x="64" y="276"/>
                  </a:lnTo>
                  <a:lnTo>
                    <a:pt x="56" y="278"/>
                  </a:lnTo>
                  <a:lnTo>
                    <a:pt x="52" y="280"/>
                  </a:lnTo>
                  <a:lnTo>
                    <a:pt x="50" y="284"/>
                  </a:lnTo>
                  <a:lnTo>
                    <a:pt x="52" y="290"/>
                  </a:lnTo>
                  <a:lnTo>
                    <a:pt x="54" y="292"/>
                  </a:lnTo>
                  <a:lnTo>
                    <a:pt x="58" y="292"/>
                  </a:lnTo>
                  <a:lnTo>
                    <a:pt x="66" y="292"/>
                  </a:lnTo>
                  <a:lnTo>
                    <a:pt x="74" y="292"/>
                  </a:lnTo>
                  <a:lnTo>
                    <a:pt x="78" y="290"/>
                  </a:lnTo>
                  <a:lnTo>
                    <a:pt x="86" y="286"/>
                  </a:lnTo>
                  <a:lnTo>
                    <a:pt x="92" y="286"/>
                  </a:lnTo>
                  <a:lnTo>
                    <a:pt x="112" y="286"/>
                  </a:lnTo>
                  <a:lnTo>
                    <a:pt x="130" y="284"/>
                  </a:lnTo>
                  <a:lnTo>
                    <a:pt x="142" y="276"/>
                  </a:lnTo>
                  <a:lnTo>
                    <a:pt x="154" y="270"/>
                  </a:lnTo>
                  <a:lnTo>
                    <a:pt x="186" y="270"/>
                  </a:lnTo>
                  <a:lnTo>
                    <a:pt x="210" y="270"/>
                  </a:lnTo>
                  <a:lnTo>
                    <a:pt x="250" y="270"/>
                  </a:lnTo>
                  <a:lnTo>
                    <a:pt x="272" y="272"/>
                  </a:lnTo>
                  <a:lnTo>
                    <a:pt x="274" y="272"/>
                  </a:lnTo>
                  <a:lnTo>
                    <a:pt x="282" y="274"/>
                  </a:lnTo>
                  <a:lnTo>
                    <a:pt x="288" y="274"/>
                  </a:lnTo>
                  <a:lnTo>
                    <a:pt x="292" y="274"/>
                  </a:lnTo>
                  <a:lnTo>
                    <a:pt x="294" y="274"/>
                  </a:lnTo>
                  <a:lnTo>
                    <a:pt x="294" y="276"/>
                  </a:lnTo>
                  <a:lnTo>
                    <a:pt x="292" y="280"/>
                  </a:lnTo>
                  <a:lnTo>
                    <a:pt x="294" y="284"/>
                  </a:lnTo>
                  <a:lnTo>
                    <a:pt x="298" y="284"/>
                  </a:lnTo>
                  <a:lnTo>
                    <a:pt x="298" y="284"/>
                  </a:lnTo>
                  <a:lnTo>
                    <a:pt x="300" y="282"/>
                  </a:lnTo>
                  <a:lnTo>
                    <a:pt x="302" y="280"/>
                  </a:lnTo>
                  <a:lnTo>
                    <a:pt x="306" y="282"/>
                  </a:lnTo>
                  <a:lnTo>
                    <a:pt x="312" y="286"/>
                  </a:lnTo>
                  <a:lnTo>
                    <a:pt x="316" y="286"/>
                  </a:lnTo>
                  <a:lnTo>
                    <a:pt x="322" y="290"/>
                  </a:lnTo>
                  <a:lnTo>
                    <a:pt x="328" y="290"/>
                  </a:lnTo>
                  <a:lnTo>
                    <a:pt x="334" y="290"/>
                  </a:lnTo>
                  <a:lnTo>
                    <a:pt x="338" y="294"/>
                  </a:lnTo>
                  <a:lnTo>
                    <a:pt x="344" y="294"/>
                  </a:lnTo>
                  <a:lnTo>
                    <a:pt x="354" y="290"/>
                  </a:lnTo>
                  <a:lnTo>
                    <a:pt x="360" y="290"/>
                  </a:lnTo>
                  <a:lnTo>
                    <a:pt x="370" y="290"/>
                  </a:lnTo>
                  <a:lnTo>
                    <a:pt x="376" y="290"/>
                  </a:lnTo>
                  <a:lnTo>
                    <a:pt x="392" y="288"/>
                  </a:lnTo>
                  <a:lnTo>
                    <a:pt x="400" y="288"/>
                  </a:lnTo>
                  <a:lnTo>
                    <a:pt x="404" y="288"/>
                  </a:lnTo>
                  <a:lnTo>
                    <a:pt x="404" y="284"/>
                  </a:lnTo>
                  <a:lnTo>
                    <a:pt x="400" y="280"/>
                  </a:lnTo>
                  <a:lnTo>
                    <a:pt x="400" y="278"/>
                  </a:lnTo>
                  <a:lnTo>
                    <a:pt x="400" y="274"/>
                  </a:lnTo>
                  <a:lnTo>
                    <a:pt x="402" y="264"/>
                  </a:lnTo>
                  <a:lnTo>
                    <a:pt x="402" y="260"/>
                  </a:lnTo>
                  <a:lnTo>
                    <a:pt x="404" y="252"/>
                  </a:lnTo>
                  <a:lnTo>
                    <a:pt x="400" y="250"/>
                  </a:lnTo>
                  <a:lnTo>
                    <a:pt x="400" y="248"/>
                  </a:lnTo>
                  <a:lnTo>
                    <a:pt x="396" y="242"/>
                  </a:lnTo>
                  <a:lnTo>
                    <a:pt x="394" y="238"/>
                  </a:lnTo>
                  <a:lnTo>
                    <a:pt x="392" y="232"/>
                  </a:lnTo>
                  <a:lnTo>
                    <a:pt x="390" y="230"/>
                  </a:lnTo>
                  <a:lnTo>
                    <a:pt x="388" y="224"/>
                  </a:lnTo>
                  <a:lnTo>
                    <a:pt x="384" y="224"/>
                  </a:lnTo>
                  <a:lnTo>
                    <a:pt x="380" y="222"/>
                  </a:lnTo>
                  <a:lnTo>
                    <a:pt x="378" y="224"/>
                  </a:lnTo>
                  <a:lnTo>
                    <a:pt x="376" y="226"/>
                  </a:lnTo>
                  <a:lnTo>
                    <a:pt x="374" y="228"/>
                  </a:lnTo>
                  <a:lnTo>
                    <a:pt x="372" y="224"/>
                  </a:lnTo>
                  <a:lnTo>
                    <a:pt x="370" y="222"/>
                  </a:lnTo>
                  <a:lnTo>
                    <a:pt x="370" y="218"/>
                  </a:lnTo>
                  <a:lnTo>
                    <a:pt x="366" y="214"/>
                  </a:lnTo>
                  <a:lnTo>
                    <a:pt x="360" y="206"/>
                  </a:lnTo>
                  <a:lnTo>
                    <a:pt x="360" y="200"/>
                  </a:lnTo>
                  <a:lnTo>
                    <a:pt x="364" y="196"/>
                  </a:lnTo>
                  <a:lnTo>
                    <a:pt x="366" y="192"/>
                  </a:lnTo>
                  <a:lnTo>
                    <a:pt x="366" y="190"/>
                  </a:lnTo>
                  <a:lnTo>
                    <a:pt x="364" y="186"/>
                  </a:lnTo>
                  <a:lnTo>
                    <a:pt x="362" y="184"/>
                  </a:lnTo>
                  <a:lnTo>
                    <a:pt x="362" y="176"/>
                  </a:lnTo>
                  <a:lnTo>
                    <a:pt x="362" y="168"/>
                  </a:lnTo>
                  <a:lnTo>
                    <a:pt x="360" y="164"/>
                  </a:lnTo>
                  <a:lnTo>
                    <a:pt x="356" y="160"/>
                  </a:lnTo>
                  <a:lnTo>
                    <a:pt x="352" y="156"/>
                  </a:lnTo>
                  <a:lnTo>
                    <a:pt x="348" y="150"/>
                  </a:lnTo>
                  <a:lnTo>
                    <a:pt x="350" y="142"/>
                  </a:lnTo>
                  <a:lnTo>
                    <a:pt x="352" y="138"/>
                  </a:lnTo>
                  <a:lnTo>
                    <a:pt x="346" y="1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69" name="Google Shape;4836;p64">
              <a:extLst>
                <a:ext uri="{FF2B5EF4-FFF2-40B4-BE49-F238E27FC236}">
                  <a16:creationId xmlns:a16="http://schemas.microsoft.com/office/drawing/2014/main" id="{8F3E9019-ED8C-E63E-ECE3-6ABAF81F3C7A}"/>
                </a:ext>
              </a:extLst>
            </p:cNvPr>
            <p:cNvCxnSpPr/>
            <p:nvPr/>
          </p:nvCxnSpPr>
          <p:spPr>
            <a:xfrm>
              <a:off x="4261128" y="4667199"/>
              <a:ext cx="0" cy="0"/>
            </a:xfrm>
            <a:prstGeom prst="straightConnector1">
              <a:avLst/>
            </a:prstGeom>
            <a:grpFill/>
            <a:ln w="9525" cap="flat" cmpd="sng">
              <a:solidFill>
                <a:schemeClr val="bg2"/>
              </a:solidFill>
              <a:prstDash val="solid"/>
              <a:round/>
              <a:headEnd type="none" w="med" len="med"/>
              <a:tailEnd type="none" w="med" len="med"/>
            </a:ln>
          </p:spPr>
        </p:cxnSp>
        <p:cxnSp>
          <p:nvCxnSpPr>
            <p:cNvPr id="370" name="Google Shape;4837;p64">
              <a:extLst>
                <a:ext uri="{FF2B5EF4-FFF2-40B4-BE49-F238E27FC236}">
                  <a16:creationId xmlns:a16="http://schemas.microsoft.com/office/drawing/2014/main" id="{C8B9F4FF-09B6-207E-3D85-94ABB7D1CB51}"/>
                </a:ext>
              </a:extLst>
            </p:cNvPr>
            <p:cNvCxnSpPr/>
            <p:nvPr/>
          </p:nvCxnSpPr>
          <p:spPr>
            <a:xfrm>
              <a:off x="4261128" y="4667199"/>
              <a:ext cx="0" cy="0"/>
            </a:xfrm>
            <a:prstGeom prst="straightConnector1">
              <a:avLst/>
            </a:prstGeom>
            <a:grpFill/>
            <a:ln w="9525" cap="flat" cmpd="sng">
              <a:solidFill>
                <a:schemeClr val="bg2"/>
              </a:solidFill>
              <a:prstDash val="solid"/>
              <a:round/>
              <a:headEnd type="none" w="med" len="med"/>
              <a:tailEnd type="none" w="med" len="med"/>
            </a:ln>
          </p:spPr>
        </p:cxnSp>
        <p:cxnSp>
          <p:nvCxnSpPr>
            <p:cNvPr id="371" name="Google Shape;4838;p64">
              <a:extLst>
                <a:ext uri="{FF2B5EF4-FFF2-40B4-BE49-F238E27FC236}">
                  <a16:creationId xmlns:a16="http://schemas.microsoft.com/office/drawing/2014/main" id="{AFECD3EC-3729-C823-81C4-8899A6F79179}"/>
                </a:ext>
              </a:extLst>
            </p:cNvPr>
            <p:cNvCxnSpPr/>
            <p:nvPr/>
          </p:nvCxnSpPr>
          <p:spPr>
            <a:xfrm>
              <a:off x="6761359" y="4961228"/>
              <a:ext cx="0" cy="0"/>
            </a:xfrm>
            <a:prstGeom prst="straightConnector1">
              <a:avLst/>
            </a:prstGeom>
            <a:grpFill/>
            <a:ln w="9525" cap="flat" cmpd="sng">
              <a:solidFill>
                <a:schemeClr val="bg2"/>
              </a:solidFill>
              <a:prstDash val="solid"/>
              <a:round/>
              <a:headEnd type="none" w="med" len="med"/>
              <a:tailEnd type="none" w="med" len="med"/>
            </a:ln>
          </p:spPr>
        </p:cxnSp>
        <p:cxnSp>
          <p:nvCxnSpPr>
            <p:cNvPr id="372" name="Google Shape;4839;p64">
              <a:extLst>
                <a:ext uri="{FF2B5EF4-FFF2-40B4-BE49-F238E27FC236}">
                  <a16:creationId xmlns:a16="http://schemas.microsoft.com/office/drawing/2014/main" id="{A8F34EAF-208C-789D-A6E6-70469AC8D6F4}"/>
                </a:ext>
              </a:extLst>
            </p:cNvPr>
            <p:cNvCxnSpPr/>
            <p:nvPr/>
          </p:nvCxnSpPr>
          <p:spPr>
            <a:xfrm>
              <a:off x="6761359" y="4961228"/>
              <a:ext cx="0" cy="0"/>
            </a:xfrm>
            <a:prstGeom prst="straightConnector1">
              <a:avLst/>
            </a:prstGeom>
            <a:grpFill/>
            <a:ln w="9525" cap="flat" cmpd="sng">
              <a:solidFill>
                <a:schemeClr val="bg2"/>
              </a:solidFill>
              <a:prstDash val="solid"/>
              <a:round/>
              <a:headEnd type="none" w="med" len="med"/>
              <a:tailEnd type="none" w="med" len="med"/>
            </a:ln>
          </p:spPr>
        </p:cxnSp>
        <p:sp>
          <p:nvSpPr>
            <p:cNvPr id="373" name="Google Shape;4840;p64">
              <a:extLst>
                <a:ext uri="{FF2B5EF4-FFF2-40B4-BE49-F238E27FC236}">
                  <a16:creationId xmlns:a16="http://schemas.microsoft.com/office/drawing/2014/main" id="{EA6553A6-41D8-15B4-CD00-697718DBEB81}"/>
                </a:ext>
              </a:extLst>
            </p:cNvPr>
            <p:cNvSpPr/>
            <p:nvPr/>
          </p:nvSpPr>
          <p:spPr>
            <a:xfrm>
              <a:off x="3955941" y="6544587"/>
              <a:ext cx="3938" cy="4594"/>
            </a:xfrm>
            <a:custGeom>
              <a:avLst/>
              <a:gdLst/>
              <a:ahLst/>
              <a:cxnLst/>
              <a:rect l="l" t="t" r="r" b="b"/>
              <a:pathLst>
                <a:path w="12" h="14" extrusionOk="0">
                  <a:moveTo>
                    <a:pt x="12" y="14"/>
                  </a:moveTo>
                  <a:lnTo>
                    <a:pt x="12" y="6"/>
                  </a:lnTo>
                  <a:lnTo>
                    <a:pt x="12" y="2"/>
                  </a:lnTo>
                  <a:lnTo>
                    <a:pt x="10" y="0"/>
                  </a:lnTo>
                  <a:lnTo>
                    <a:pt x="4" y="0"/>
                  </a:lnTo>
                  <a:lnTo>
                    <a:pt x="0" y="4"/>
                  </a:lnTo>
                  <a:lnTo>
                    <a:pt x="2" y="8"/>
                  </a:lnTo>
                  <a:lnTo>
                    <a:pt x="12"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74" name="Google Shape;4841;p64">
              <a:extLst>
                <a:ext uri="{FF2B5EF4-FFF2-40B4-BE49-F238E27FC236}">
                  <a16:creationId xmlns:a16="http://schemas.microsoft.com/office/drawing/2014/main" id="{BF7D7AB5-A29A-DE53-46DB-3CED691682EB}"/>
                </a:ext>
              </a:extLst>
            </p:cNvPr>
            <p:cNvSpPr/>
            <p:nvPr/>
          </p:nvSpPr>
          <p:spPr>
            <a:xfrm>
              <a:off x="3707198" y="6374601"/>
              <a:ext cx="47911" cy="32160"/>
            </a:xfrm>
            <a:custGeom>
              <a:avLst/>
              <a:gdLst/>
              <a:ahLst/>
              <a:cxnLst/>
              <a:rect l="l" t="t" r="r" b="b"/>
              <a:pathLst>
                <a:path w="146" h="98" extrusionOk="0">
                  <a:moveTo>
                    <a:pt x="60" y="8"/>
                  </a:moveTo>
                  <a:lnTo>
                    <a:pt x="52" y="8"/>
                  </a:lnTo>
                  <a:lnTo>
                    <a:pt x="42" y="2"/>
                  </a:lnTo>
                  <a:lnTo>
                    <a:pt x="42" y="0"/>
                  </a:lnTo>
                  <a:lnTo>
                    <a:pt x="32" y="0"/>
                  </a:lnTo>
                  <a:lnTo>
                    <a:pt x="4" y="0"/>
                  </a:lnTo>
                  <a:lnTo>
                    <a:pt x="0" y="2"/>
                  </a:lnTo>
                  <a:lnTo>
                    <a:pt x="6" y="4"/>
                  </a:lnTo>
                  <a:lnTo>
                    <a:pt x="26" y="6"/>
                  </a:lnTo>
                  <a:lnTo>
                    <a:pt x="22" y="10"/>
                  </a:lnTo>
                  <a:lnTo>
                    <a:pt x="22" y="16"/>
                  </a:lnTo>
                  <a:lnTo>
                    <a:pt x="26" y="20"/>
                  </a:lnTo>
                  <a:lnTo>
                    <a:pt x="34" y="18"/>
                  </a:lnTo>
                  <a:lnTo>
                    <a:pt x="56" y="32"/>
                  </a:lnTo>
                  <a:lnTo>
                    <a:pt x="62" y="36"/>
                  </a:lnTo>
                  <a:lnTo>
                    <a:pt x="66" y="40"/>
                  </a:lnTo>
                  <a:lnTo>
                    <a:pt x="74" y="40"/>
                  </a:lnTo>
                  <a:lnTo>
                    <a:pt x="76" y="42"/>
                  </a:lnTo>
                  <a:lnTo>
                    <a:pt x="78" y="46"/>
                  </a:lnTo>
                  <a:lnTo>
                    <a:pt x="84" y="54"/>
                  </a:lnTo>
                  <a:lnTo>
                    <a:pt x="90" y="56"/>
                  </a:lnTo>
                  <a:lnTo>
                    <a:pt x="98" y="58"/>
                  </a:lnTo>
                  <a:lnTo>
                    <a:pt x="102" y="62"/>
                  </a:lnTo>
                  <a:lnTo>
                    <a:pt x="102" y="66"/>
                  </a:lnTo>
                  <a:lnTo>
                    <a:pt x="112" y="80"/>
                  </a:lnTo>
                  <a:lnTo>
                    <a:pt x="116" y="90"/>
                  </a:lnTo>
                  <a:lnTo>
                    <a:pt x="124" y="98"/>
                  </a:lnTo>
                  <a:lnTo>
                    <a:pt x="126" y="98"/>
                  </a:lnTo>
                  <a:lnTo>
                    <a:pt x="136" y="96"/>
                  </a:lnTo>
                  <a:lnTo>
                    <a:pt x="140" y="90"/>
                  </a:lnTo>
                  <a:lnTo>
                    <a:pt x="146" y="86"/>
                  </a:lnTo>
                  <a:lnTo>
                    <a:pt x="138" y="82"/>
                  </a:lnTo>
                  <a:lnTo>
                    <a:pt x="138" y="72"/>
                  </a:lnTo>
                  <a:lnTo>
                    <a:pt x="140" y="64"/>
                  </a:lnTo>
                  <a:lnTo>
                    <a:pt x="134" y="64"/>
                  </a:lnTo>
                  <a:lnTo>
                    <a:pt x="130" y="64"/>
                  </a:lnTo>
                  <a:lnTo>
                    <a:pt x="128" y="64"/>
                  </a:lnTo>
                  <a:lnTo>
                    <a:pt x="124" y="52"/>
                  </a:lnTo>
                  <a:lnTo>
                    <a:pt x="120" y="44"/>
                  </a:lnTo>
                  <a:lnTo>
                    <a:pt x="116" y="42"/>
                  </a:lnTo>
                  <a:lnTo>
                    <a:pt x="114" y="34"/>
                  </a:lnTo>
                  <a:lnTo>
                    <a:pt x="110" y="30"/>
                  </a:lnTo>
                  <a:lnTo>
                    <a:pt x="106" y="32"/>
                  </a:lnTo>
                  <a:lnTo>
                    <a:pt x="106" y="36"/>
                  </a:lnTo>
                  <a:lnTo>
                    <a:pt x="102" y="36"/>
                  </a:lnTo>
                  <a:lnTo>
                    <a:pt x="96" y="28"/>
                  </a:lnTo>
                  <a:lnTo>
                    <a:pt x="90" y="30"/>
                  </a:lnTo>
                  <a:lnTo>
                    <a:pt x="92" y="22"/>
                  </a:lnTo>
                  <a:lnTo>
                    <a:pt x="86" y="14"/>
                  </a:lnTo>
                  <a:lnTo>
                    <a:pt x="82" y="14"/>
                  </a:lnTo>
                  <a:lnTo>
                    <a:pt x="80" y="12"/>
                  </a:lnTo>
                  <a:lnTo>
                    <a:pt x="76" y="10"/>
                  </a:lnTo>
                  <a:lnTo>
                    <a:pt x="72" y="10"/>
                  </a:lnTo>
                  <a:lnTo>
                    <a:pt x="66" y="14"/>
                  </a:lnTo>
                  <a:lnTo>
                    <a:pt x="60"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75" name="Google Shape;4842;p64">
              <a:extLst>
                <a:ext uri="{FF2B5EF4-FFF2-40B4-BE49-F238E27FC236}">
                  <a16:creationId xmlns:a16="http://schemas.microsoft.com/office/drawing/2014/main" id="{B82735FC-D22C-5830-C1B4-8E7CE5FE79AD}"/>
                </a:ext>
              </a:extLst>
            </p:cNvPr>
            <p:cNvCxnSpPr/>
            <p:nvPr/>
          </p:nvCxnSpPr>
          <p:spPr>
            <a:xfrm>
              <a:off x="3726888" y="6377226"/>
              <a:ext cx="0" cy="0"/>
            </a:xfrm>
            <a:prstGeom prst="straightConnector1">
              <a:avLst/>
            </a:prstGeom>
            <a:grpFill/>
            <a:ln w="9525" cap="flat" cmpd="sng">
              <a:solidFill>
                <a:schemeClr val="bg2"/>
              </a:solidFill>
              <a:prstDash val="solid"/>
              <a:round/>
              <a:headEnd type="none" w="med" len="med"/>
              <a:tailEnd type="none" w="med" len="med"/>
            </a:ln>
          </p:spPr>
        </p:cxnSp>
        <p:cxnSp>
          <p:nvCxnSpPr>
            <p:cNvPr id="376" name="Google Shape;4843;p64">
              <a:extLst>
                <a:ext uri="{FF2B5EF4-FFF2-40B4-BE49-F238E27FC236}">
                  <a16:creationId xmlns:a16="http://schemas.microsoft.com/office/drawing/2014/main" id="{EFCB604C-0293-0BF5-E624-97CCCEDF6548}"/>
                </a:ext>
              </a:extLst>
            </p:cNvPr>
            <p:cNvCxnSpPr/>
            <p:nvPr/>
          </p:nvCxnSpPr>
          <p:spPr>
            <a:xfrm>
              <a:off x="3726888" y="6377226"/>
              <a:ext cx="0" cy="0"/>
            </a:xfrm>
            <a:prstGeom prst="straightConnector1">
              <a:avLst/>
            </a:prstGeom>
            <a:grpFill/>
            <a:ln w="9525" cap="flat" cmpd="sng">
              <a:solidFill>
                <a:schemeClr val="bg2"/>
              </a:solidFill>
              <a:prstDash val="solid"/>
              <a:round/>
              <a:headEnd type="none" w="med" len="med"/>
              <a:tailEnd type="none" w="med" len="med"/>
            </a:ln>
          </p:spPr>
        </p:cxnSp>
        <p:sp>
          <p:nvSpPr>
            <p:cNvPr id="377" name="Google Shape;4844;p64">
              <a:extLst>
                <a:ext uri="{FF2B5EF4-FFF2-40B4-BE49-F238E27FC236}">
                  <a16:creationId xmlns:a16="http://schemas.microsoft.com/office/drawing/2014/main" id="{7AAF2506-0FE5-0564-576A-2B3DF5729FC2}"/>
                </a:ext>
              </a:extLst>
            </p:cNvPr>
            <p:cNvSpPr/>
            <p:nvPr/>
          </p:nvSpPr>
          <p:spPr>
            <a:xfrm>
              <a:off x="4400924" y="5335656"/>
              <a:ext cx="2625" cy="2625"/>
            </a:xfrm>
            <a:custGeom>
              <a:avLst/>
              <a:gdLst/>
              <a:ahLst/>
              <a:cxnLst/>
              <a:rect l="l" t="t" r="r" b="b"/>
              <a:pathLst>
                <a:path w="8" h="8" extrusionOk="0">
                  <a:moveTo>
                    <a:pt x="4" y="8"/>
                  </a:moveTo>
                  <a:lnTo>
                    <a:pt x="8" y="6"/>
                  </a:lnTo>
                  <a:lnTo>
                    <a:pt x="6" y="2"/>
                  </a:lnTo>
                  <a:lnTo>
                    <a:pt x="4" y="0"/>
                  </a:lnTo>
                  <a:lnTo>
                    <a:pt x="0" y="4"/>
                  </a:lnTo>
                  <a:lnTo>
                    <a:pt x="0" y="8"/>
                  </a:lnTo>
                  <a:lnTo>
                    <a:pt x="4"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78" name="Google Shape;4845;p64">
              <a:extLst>
                <a:ext uri="{FF2B5EF4-FFF2-40B4-BE49-F238E27FC236}">
                  <a16:creationId xmlns:a16="http://schemas.microsoft.com/office/drawing/2014/main" id="{8D41DC91-7B8E-C489-3034-554DDCEE7201}"/>
                </a:ext>
              </a:extLst>
            </p:cNvPr>
            <p:cNvSpPr/>
            <p:nvPr/>
          </p:nvSpPr>
          <p:spPr>
            <a:xfrm>
              <a:off x="4215185" y="5159435"/>
              <a:ext cx="1969" cy="1969"/>
            </a:xfrm>
            <a:custGeom>
              <a:avLst/>
              <a:gdLst/>
              <a:ahLst/>
              <a:cxnLst/>
              <a:rect l="l" t="t" r="r" b="b"/>
              <a:pathLst>
                <a:path w="6" h="6" extrusionOk="0">
                  <a:moveTo>
                    <a:pt x="2" y="6"/>
                  </a:moveTo>
                  <a:lnTo>
                    <a:pt x="6" y="6"/>
                  </a:lnTo>
                  <a:lnTo>
                    <a:pt x="6" y="4"/>
                  </a:lnTo>
                  <a:lnTo>
                    <a:pt x="4" y="2"/>
                  </a:lnTo>
                  <a:lnTo>
                    <a:pt x="2" y="2"/>
                  </a:lnTo>
                  <a:lnTo>
                    <a:pt x="2" y="0"/>
                  </a:lnTo>
                  <a:lnTo>
                    <a:pt x="0" y="2"/>
                  </a:lnTo>
                  <a:lnTo>
                    <a:pt x="0" y="4"/>
                  </a:lnTo>
                  <a:lnTo>
                    <a:pt x="0" y="6"/>
                  </a:lnTo>
                  <a:lnTo>
                    <a:pt x="0" y="6"/>
                  </a:lnTo>
                  <a:lnTo>
                    <a:pt x="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79" name="Google Shape;4846;p64">
              <a:extLst>
                <a:ext uri="{FF2B5EF4-FFF2-40B4-BE49-F238E27FC236}">
                  <a16:creationId xmlns:a16="http://schemas.microsoft.com/office/drawing/2014/main" id="{4EB12558-062F-1455-09C2-0A414A0FEAF6}"/>
                </a:ext>
              </a:extLst>
            </p:cNvPr>
            <p:cNvCxnSpPr/>
            <p:nvPr/>
          </p:nvCxnSpPr>
          <p:spPr>
            <a:xfrm>
              <a:off x="4215842" y="5161404"/>
              <a:ext cx="0" cy="0"/>
            </a:xfrm>
            <a:prstGeom prst="straightConnector1">
              <a:avLst/>
            </a:prstGeom>
            <a:grpFill/>
            <a:ln w="9525" cap="flat" cmpd="sng">
              <a:solidFill>
                <a:schemeClr val="bg2"/>
              </a:solidFill>
              <a:prstDash val="solid"/>
              <a:round/>
              <a:headEnd type="none" w="med" len="med"/>
              <a:tailEnd type="none" w="med" len="med"/>
            </a:ln>
          </p:spPr>
        </p:cxnSp>
        <p:cxnSp>
          <p:nvCxnSpPr>
            <p:cNvPr id="380" name="Google Shape;4847;p64">
              <a:extLst>
                <a:ext uri="{FF2B5EF4-FFF2-40B4-BE49-F238E27FC236}">
                  <a16:creationId xmlns:a16="http://schemas.microsoft.com/office/drawing/2014/main" id="{1F88BC28-C5BF-0D36-E24D-718D6457377E}"/>
                </a:ext>
              </a:extLst>
            </p:cNvPr>
            <p:cNvCxnSpPr/>
            <p:nvPr/>
          </p:nvCxnSpPr>
          <p:spPr>
            <a:xfrm>
              <a:off x="4215842" y="5161404"/>
              <a:ext cx="0" cy="0"/>
            </a:xfrm>
            <a:prstGeom prst="straightConnector1">
              <a:avLst/>
            </a:prstGeom>
            <a:grpFill/>
            <a:ln w="9525" cap="flat" cmpd="sng">
              <a:solidFill>
                <a:schemeClr val="bg2"/>
              </a:solidFill>
              <a:prstDash val="solid"/>
              <a:round/>
              <a:headEnd type="none" w="med" len="med"/>
              <a:tailEnd type="none" w="med" len="med"/>
            </a:ln>
          </p:spPr>
        </p:cxnSp>
        <p:sp>
          <p:nvSpPr>
            <p:cNvPr id="381" name="Google Shape;4848;p64">
              <a:extLst>
                <a:ext uri="{FF2B5EF4-FFF2-40B4-BE49-F238E27FC236}">
                  <a16:creationId xmlns:a16="http://schemas.microsoft.com/office/drawing/2014/main" id="{3C8AEEDF-02F4-0D84-8E01-38E8301D9D72}"/>
                </a:ext>
              </a:extLst>
            </p:cNvPr>
            <p:cNvSpPr/>
            <p:nvPr/>
          </p:nvSpPr>
          <p:spPr>
            <a:xfrm>
              <a:off x="8112054" y="5240162"/>
              <a:ext cx="3938" cy="2625"/>
            </a:xfrm>
            <a:custGeom>
              <a:avLst/>
              <a:gdLst/>
              <a:ahLst/>
              <a:cxnLst/>
              <a:rect l="l" t="t" r="r" b="b"/>
              <a:pathLst>
                <a:path w="12" h="8" extrusionOk="0">
                  <a:moveTo>
                    <a:pt x="12" y="6"/>
                  </a:moveTo>
                  <a:lnTo>
                    <a:pt x="8" y="4"/>
                  </a:lnTo>
                  <a:lnTo>
                    <a:pt x="6" y="0"/>
                  </a:lnTo>
                  <a:lnTo>
                    <a:pt x="2" y="0"/>
                  </a:lnTo>
                  <a:lnTo>
                    <a:pt x="0" y="2"/>
                  </a:lnTo>
                  <a:lnTo>
                    <a:pt x="4" y="8"/>
                  </a:lnTo>
                  <a:lnTo>
                    <a:pt x="6" y="8"/>
                  </a:lnTo>
                  <a:lnTo>
                    <a:pt x="1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2" name="Google Shape;4849;p64">
              <a:extLst>
                <a:ext uri="{FF2B5EF4-FFF2-40B4-BE49-F238E27FC236}">
                  <a16:creationId xmlns:a16="http://schemas.microsoft.com/office/drawing/2014/main" id="{FB2C3B1A-A57B-DDAF-0202-DF2753330F3C}"/>
                </a:ext>
              </a:extLst>
            </p:cNvPr>
            <p:cNvSpPr/>
            <p:nvPr/>
          </p:nvSpPr>
          <p:spPr>
            <a:xfrm>
              <a:off x="8091052" y="5220472"/>
              <a:ext cx="8532" cy="3938"/>
            </a:xfrm>
            <a:custGeom>
              <a:avLst/>
              <a:gdLst/>
              <a:ahLst/>
              <a:cxnLst/>
              <a:rect l="l" t="t" r="r" b="b"/>
              <a:pathLst>
                <a:path w="26" h="12" extrusionOk="0">
                  <a:moveTo>
                    <a:pt x="24" y="6"/>
                  </a:moveTo>
                  <a:lnTo>
                    <a:pt x="22" y="6"/>
                  </a:lnTo>
                  <a:lnTo>
                    <a:pt x="26" y="2"/>
                  </a:lnTo>
                  <a:lnTo>
                    <a:pt x="22" y="0"/>
                  </a:lnTo>
                  <a:lnTo>
                    <a:pt x="16" y="0"/>
                  </a:lnTo>
                  <a:lnTo>
                    <a:pt x="8" y="0"/>
                  </a:lnTo>
                  <a:lnTo>
                    <a:pt x="6" y="2"/>
                  </a:lnTo>
                  <a:lnTo>
                    <a:pt x="4" y="6"/>
                  </a:lnTo>
                  <a:lnTo>
                    <a:pt x="0" y="6"/>
                  </a:lnTo>
                  <a:lnTo>
                    <a:pt x="0" y="8"/>
                  </a:lnTo>
                  <a:lnTo>
                    <a:pt x="2" y="12"/>
                  </a:lnTo>
                  <a:lnTo>
                    <a:pt x="6" y="12"/>
                  </a:lnTo>
                  <a:lnTo>
                    <a:pt x="8" y="12"/>
                  </a:lnTo>
                  <a:lnTo>
                    <a:pt x="12" y="8"/>
                  </a:lnTo>
                  <a:lnTo>
                    <a:pt x="16" y="6"/>
                  </a:lnTo>
                  <a:lnTo>
                    <a:pt x="18" y="8"/>
                  </a:lnTo>
                  <a:lnTo>
                    <a:pt x="2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3" name="Google Shape;4850;p64">
              <a:extLst>
                <a:ext uri="{FF2B5EF4-FFF2-40B4-BE49-F238E27FC236}">
                  <a16:creationId xmlns:a16="http://schemas.microsoft.com/office/drawing/2014/main" id="{7B95305C-EB14-1E65-D8B3-55CA51790885}"/>
                </a:ext>
              </a:extLst>
            </p:cNvPr>
            <p:cNvSpPr/>
            <p:nvPr/>
          </p:nvSpPr>
          <p:spPr>
            <a:xfrm>
              <a:off x="7554842" y="5018984"/>
              <a:ext cx="324876" cy="222490"/>
            </a:xfrm>
            <a:custGeom>
              <a:avLst/>
              <a:gdLst/>
              <a:ahLst/>
              <a:cxnLst/>
              <a:rect l="l" t="t" r="r" b="b"/>
              <a:pathLst>
                <a:path w="2358736" h="1615378" extrusionOk="0">
                  <a:moveTo>
                    <a:pt x="2068064" y="1567728"/>
                  </a:moveTo>
                  <a:lnTo>
                    <a:pt x="2091892" y="1567728"/>
                  </a:lnTo>
                  <a:lnTo>
                    <a:pt x="2096656" y="1572492"/>
                  </a:lnTo>
                  <a:lnTo>
                    <a:pt x="2096656" y="1582022"/>
                  </a:lnTo>
                  <a:lnTo>
                    <a:pt x="2087124" y="1577256"/>
                  </a:lnTo>
                  <a:lnTo>
                    <a:pt x="2072832" y="1582022"/>
                  </a:lnTo>
                  <a:lnTo>
                    <a:pt x="2063300" y="1582022"/>
                  </a:lnTo>
                  <a:lnTo>
                    <a:pt x="2058536" y="1572492"/>
                  </a:lnTo>
                  <a:lnTo>
                    <a:pt x="2072832" y="1572492"/>
                  </a:lnTo>
                  <a:close/>
                  <a:moveTo>
                    <a:pt x="1929876" y="1567728"/>
                  </a:moveTo>
                  <a:lnTo>
                    <a:pt x="1944172" y="1572492"/>
                  </a:lnTo>
                  <a:lnTo>
                    <a:pt x="1982292" y="1591552"/>
                  </a:lnTo>
                  <a:lnTo>
                    <a:pt x="2006120" y="1601082"/>
                  </a:lnTo>
                  <a:lnTo>
                    <a:pt x="2015648" y="1610612"/>
                  </a:lnTo>
                  <a:lnTo>
                    <a:pt x="2006120" y="1615378"/>
                  </a:lnTo>
                  <a:lnTo>
                    <a:pt x="1982292" y="1615378"/>
                  </a:lnTo>
                  <a:lnTo>
                    <a:pt x="1977528" y="1610612"/>
                  </a:lnTo>
                  <a:lnTo>
                    <a:pt x="1958468" y="1605848"/>
                  </a:lnTo>
                  <a:lnTo>
                    <a:pt x="1953704" y="1596318"/>
                  </a:lnTo>
                  <a:lnTo>
                    <a:pt x="1944172" y="1596318"/>
                  </a:lnTo>
                  <a:lnTo>
                    <a:pt x="1948936" y="1591552"/>
                  </a:lnTo>
                  <a:lnTo>
                    <a:pt x="1934644" y="1582022"/>
                  </a:lnTo>
                  <a:lnTo>
                    <a:pt x="1929876" y="1572492"/>
                  </a:lnTo>
                  <a:close/>
                  <a:moveTo>
                    <a:pt x="1553432" y="1443832"/>
                  </a:moveTo>
                  <a:lnTo>
                    <a:pt x="1562960" y="1443832"/>
                  </a:lnTo>
                  <a:lnTo>
                    <a:pt x="1567728" y="1448598"/>
                  </a:lnTo>
                  <a:lnTo>
                    <a:pt x="1567728" y="1458128"/>
                  </a:lnTo>
                  <a:lnTo>
                    <a:pt x="1553432" y="1453364"/>
                  </a:lnTo>
                  <a:close/>
                  <a:moveTo>
                    <a:pt x="1548668" y="1310410"/>
                  </a:moveTo>
                  <a:lnTo>
                    <a:pt x="1558196" y="1315176"/>
                  </a:lnTo>
                  <a:lnTo>
                    <a:pt x="1562964" y="1324706"/>
                  </a:lnTo>
                  <a:lnTo>
                    <a:pt x="1591552" y="1348532"/>
                  </a:lnTo>
                  <a:lnTo>
                    <a:pt x="1591552" y="1353296"/>
                  </a:lnTo>
                  <a:lnTo>
                    <a:pt x="1596320" y="1358062"/>
                  </a:lnTo>
                  <a:lnTo>
                    <a:pt x="1605848" y="1358062"/>
                  </a:lnTo>
                  <a:lnTo>
                    <a:pt x="1615380" y="1348532"/>
                  </a:lnTo>
                  <a:lnTo>
                    <a:pt x="1624908" y="1343766"/>
                  </a:lnTo>
                  <a:lnTo>
                    <a:pt x="1629672" y="1348532"/>
                  </a:lnTo>
                  <a:lnTo>
                    <a:pt x="1620144" y="1386652"/>
                  </a:lnTo>
                  <a:lnTo>
                    <a:pt x="1610612" y="1381886"/>
                  </a:lnTo>
                  <a:lnTo>
                    <a:pt x="1577256" y="1372356"/>
                  </a:lnTo>
                  <a:lnTo>
                    <a:pt x="1577256" y="1358062"/>
                  </a:lnTo>
                  <a:lnTo>
                    <a:pt x="1567728" y="1353296"/>
                  </a:lnTo>
                  <a:lnTo>
                    <a:pt x="1562964" y="1339000"/>
                  </a:lnTo>
                  <a:lnTo>
                    <a:pt x="1553432" y="1319940"/>
                  </a:lnTo>
                  <a:close/>
                  <a:moveTo>
                    <a:pt x="1496248" y="1253228"/>
                  </a:moveTo>
                  <a:lnTo>
                    <a:pt x="1505780" y="1253228"/>
                  </a:lnTo>
                  <a:lnTo>
                    <a:pt x="1510544" y="1253228"/>
                  </a:lnTo>
                  <a:lnTo>
                    <a:pt x="1534372" y="1267524"/>
                  </a:lnTo>
                  <a:lnTo>
                    <a:pt x="1543900" y="1262758"/>
                  </a:lnTo>
                  <a:lnTo>
                    <a:pt x="1553432" y="1262758"/>
                  </a:lnTo>
                  <a:lnTo>
                    <a:pt x="1567728" y="1281820"/>
                  </a:lnTo>
                  <a:lnTo>
                    <a:pt x="1567728" y="1291350"/>
                  </a:lnTo>
                  <a:lnTo>
                    <a:pt x="1567728" y="1300880"/>
                  </a:lnTo>
                  <a:lnTo>
                    <a:pt x="1567728" y="1305644"/>
                  </a:lnTo>
                  <a:lnTo>
                    <a:pt x="1558196" y="1310410"/>
                  </a:lnTo>
                  <a:lnTo>
                    <a:pt x="1562960" y="1300880"/>
                  </a:lnTo>
                  <a:lnTo>
                    <a:pt x="1553432" y="1300880"/>
                  </a:lnTo>
                  <a:lnTo>
                    <a:pt x="1534372" y="1300880"/>
                  </a:lnTo>
                  <a:lnTo>
                    <a:pt x="1520076" y="1296114"/>
                  </a:lnTo>
                  <a:lnTo>
                    <a:pt x="1496248" y="1296114"/>
                  </a:lnTo>
                  <a:lnTo>
                    <a:pt x="1505780" y="1286584"/>
                  </a:lnTo>
                  <a:lnTo>
                    <a:pt x="1510544" y="1281820"/>
                  </a:lnTo>
                  <a:lnTo>
                    <a:pt x="1496248" y="1267524"/>
                  </a:lnTo>
                  <a:lnTo>
                    <a:pt x="1496248" y="1257994"/>
                  </a:lnTo>
                  <a:close/>
                  <a:moveTo>
                    <a:pt x="1462896" y="1229404"/>
                  </a:moveTo>
                  <a:lnTo>
                    <a:pt x="1477188" y="1238934"/>
                  </a:lnTo>
                  <a:lnTo>
                    <a:pt x="1486720" y="1253228"/>
                  </a:lnTo>
                  <a:lnTo>
                    <a:pt x="1486720" y="1262758"/>
                  </a:lnTo>
                  <a:lnTo>
                    <a:pt x="1481956" y="1277054"/>
                  </a:lnTo>
                  <a:lnTo>
                    <a:pt x="1481956" y="1281820"/>
                  </a:lnTo>
                  <a:lnTo>
                    <a:pt x="1472424" y="1277054"/>
                  </a:lnTo>
                  <a:lnTo>
                    <a:pt x="1448600" y="1257994"/>
                  </a:lnTo>
                  <a:lnTo>
                    <a:pt x="1448600" y="1238934"/>
                  </a:lnTo>
                  <a:close/>
                  <a:moveTo>
                    <a:pt x="1829808" y="1191282"/>
                  </a:moveTo>
                  <a:lnTo>
                    <a:pt x="1839340" y="1191282"/>
                  </a:lnTo>
                  <a:lnTo>
                    <a:pt x="1848868" y="1196048"/>
                  </a:lnTo>
                  <a:lnTo>
                    <a:pt x="1867932" y="1191282"/>
                  </a:lnTo>
                  <a:lnTo>
                    <a:pt x="1872696" y="1200812"/>
                  </a:lnTo>
                  <a:lnTo>
                    <a:pt x="1882224" y="1205578"/>
                  </a:lnTo>
                  <a:lnTo>
                    <a:pt x="1891756" y="1210342"/>
                  </a:lnTo>
                  <a:lnTo>
                    <a:pt x="1896520" y="1215108"/>
                  </a:lnTo>
                  <a:lnTo>
                    <a:pt x="1896520" y="1219872"/>
                  </a:lnTo>
                  <a:lnTo>
                    <a:pt x="1891756" y="1224638"/>
                  </a:lnTo>
                  <a:lnTo>
                    <a:pt x="1891756" y="1229402"/>
                  </a:lnTo>
                  <a:lnTo>
                    <a:pt x="1886992" y="1229402"/>
                  </a:lnTo>
                  <a:lnTo>
                    <a:pt x="1877460" y="1234168"/>
                  </a:lnTo>
                  <a:lnTo>
                    <a:pt x="1858400" y="1224638"/>
                  </a:lnTo>
                  <a:lnTo>
                    <a:pt x="1853636" y="1224638"/>
                  </a:lnTo>
                  <a:lnTo>
                    <a:pt x="1853636" y="1219872"/>
                  </a:lnTo>
                  <a:lnTo>
                    <a:pt x="1839340" y="1205578"/>
                  </a:lnTo>
                  <a:lnTo>
                    <a:pt x="1820280" y="1200812"/>
                  </a:lnTo>
                  <a:close/>
                  <a:moveTo>
                    <a:pt x="1601084" y="1105508"/>
                  </a:moveTo>
                  <a:lnTo>
                    <a:pt x="1605848" y="1105508"/>
                  </a:lnTo>
                  <a:lnTo>
                    <a:pt x="1601084" y="1124570"/>
                  </a:lnTo>
                  <a:lnTo>
                    <a:pt x="1605848" y="1129334"/>
                  </a:lnTo>
                  <a:lnTo>
                    <a:pt x="1601084" y="1157926"/>
                  </a:lnTo>
                  <a:lnTo>
                    <a:pt x="1605848" y="1167456"/>
                  </a:lnTo>
                  <a:lnTo>
                    <a:pt x="1591552" y="1157926"/>
                  </a:lnTo>
                  <a:lnTo>
                    <a:pt x="1596320" y="1143630"/>
                  </a:lnTo>
                  <a:lnTo>
                    <a:pt x="1596320" y="1134100"/>
                  </a:lnTo>
                  <a:lnTo>
                    <a:pt x="1596320" y="1129334"/>
                  </a:lnTo>
                  <a:lnTo>
                    <a:pt x="1586788" y="1124570"/>
                  </a:lnTo>
                  <a:lnTo>
                    <a:pt x="1591552" y="1110274"/>
                  </a:lnTo>
                  <a:close/>
                  <a:moveTo>
                    <a:pt x="366916" y="1105508"/>
                  </a:moveTo>
                  <a:lnTo>
                    <a:pt x="381212" y="1115040"/>
                  </a:lnTo>
                  <a:lnTo>
                    <a:pt x="405036" y="1124570"/>
                  </a:lnTo>
                  <a:lnTo>
                    <a:pt x="428864" y="1138864"/>
                  </a:lnTo>
                  <a:lnTo>
                    <a:pt x="428864" y="1148396"/>
                  </a:lnTo>
                  <a:lnTo>
                    <a:pt x="405036" y="1138864"/>
                  </a:lnTo>
                  <a:lnTo>
                    <a:pt x="385976" y="1119804"/>
                  </a:lnTo>
                  <a:lnTo>
                    <a:pt x="376444" y="1119804"/>
                  </a:lnTo>
                  <a:close/>
                  <a:moveTo>
                    <a:pt x="385976" y="1100744"/>
                  </a:moveTo>
                  <a:lnTo>
                    <a:pt x="419332" y="1100744"/>
                  </a:lnTo>
                  <a:lnTo>
                    <a:pt x="424096" y="1100744"/>
                  </a:lnTo>
                  <a:lnTo>
                    <a:pt x="428864" y="1115040"/>
                  </a:lnTo>
                  <a:lnTo>
                    <a:pt x="419332" y="1115040"/>
                  </a:lnTo>
                  <a:lnTo>
                    <a:pt x="390740" y="1105508"/>
                  </a:lnTo>
                  <a:close/>
                  <a:moveTo>
                    <a:pt x="2325384" y="876784"/>
                  </a:moveTo>
                  <a:lnTo>
                    <a:pt x="2344444" y="891078"/>
                  </a:lnTo>
                  <a:lnTo>
                    <a:pt x="2339676" y="895844"/>
                  </a:lnTo>
                  <a:lnTo>
                    <a:pt x="2325384" y="900608"/>
                  </a:lnTo>
                  <a:lnTo>
                    <a:pt x="2315852" y="895844"/>
                  </a:lnTo>
                  <a:lnTo>
                    <a:pt x="2320616" y="886314"/>
                  </a:lnTo>
                  <a:close/>
                  <a:moveTo>
                    <a:pt x="1086448" y="648056"/>
                  </a:moveTo>
                  <a:lnTo>
                    <a:pt x="1091216" y="648056"/>
                  </a:lnTo>
                  <a:lnTo>
                    <a:pt x="1124568" y="662352"/>
                  </a:lnTo>
                  <a:lnTo>
                    <a:pt x="1129336" y="671882"/>
                  </a:lnTo>
                  <a:lnTo>
                    <a:pt x="1124568" y="690942"/>
                  </a:lnTo>
                  <a:lnTo>
                    <a:pt x="1119804" y="700472"/>
                  </a:lnTo>
                  <a:lnTo>
                    <a:pt x="1115040" y="700472"/>
                  </a:lnTo>
                  <a:lnTo>
                    <a:pt x="1110276" y="690942"/>
                  </a:lnTo>
                  <a:lnTo>
                    <a:pt x="1095980" y="686178"/>
                  </a:lnTo>
                  <a:lnTo>
                    <a:pt x="1081684" y="667118"/>
                  </a:lnTo>
                  <a:lnTo>
                    <a:pt x="1081684" y="652822"/>
                  </a:lnTo>
                  <a:close/>
                  <a:moveTo>
                    <a:pt x="2168132" y="638528"/>
                  </a:moveTo>
                  <a:lnTo>
                    <a:pt x="2172900" y="638528"/>
                  </a:lnTo>
                  <a:lnTo>
                    <a:pt x="2182428" y="648058"/>
                  </a:lnTo>
                  <a:lnTo>
                    <a:pt x="2191960" y="652822"/>
                  </a:lnTo>
                  <a:lnTo>
                    <a:pt x="2211020" y="652822"/>
                  </a:lnTo>
                  <a:lnTo>
                    <a:pt x="2225316" y="667118"/>
                  </a:lnTo>
                  <a:lnTo>
                    <a:pt x="2239608" y="690944"/>
                  </a:lnTo>
                  <a:lnTo>
                    <a:pt x="2239608" y="700474"/>
                  </a:lnTo>
                  <a:lnTo>
                    <a:pt x="2244376" y="705238"/>
                  </a:lnTo>
                  <a:lnTo>
                    <a:pt x="2258672" y="714770"/>
                  </a:lnTo>
                  <a:lnTo>
                    <a:pt x="2268200" y="719534"/>
                  </a:lnTo>
                  <a:lnTo>
                    <a:pt x="2282496" y="748124"/>
                  </a:lnTo>
                  <a:lnTo>
                    <a:pt x="2292028" y="752890"/>
                  </a:lnTo>
                  <a:lnTo>
                    <a:pt x="2301556" y="757656"/>
                  </a:lnTo>
                  <a:lnTo>
                    <a:pt x="2311088" y="762420"/>
                  </a:lnTo>
                  <a:lnTo>
                    <a:pt x="2325384" y="771950"/>
                  </a:lnTo>
                  <a:lnTo>
                    <a:pt x="2339676" y="786246"/>
                  </a:lnTo>
                  <a:lnTo>
                    <a:pt x="2349208" y="800542"/>
                  </a:lnTo>
                  <a:lnTo>
                    <a:pt x="2353972" y="814836"/>
                  </a:lnTo>
                  <a:lnTo>
                    <a:pt x="2358736" y="833898"/>
                  </a:lnTo>
                  <a:lnTo>
                    <a:pt x="2353972" y="848192"/>
                  </a:lnTo>
                  <a:lnTo>
                    <a:pt x="2353972" y="852958"/>
                  </a:lnTo>
                  <a:lnTo>
                    <a:pt x="2349208" y="843428"/>
                  </a:lnTo>
                  <a:lnTo>
                    <a:pt x="2334912" y="852958"/>
                  </a:lnTo>
                  <a:lnTo>
                    <a:pt x="2330148" y="857722"/>
                  </a:lnTo>
                  <a:lnTo>
                    <a:pt x="2320616" y="862488"/>
                  </a:lnTo>
                  <a:lnTo>
                    <a:pt x="2306320" y="857722"/>
                  </a:lnTo>
                  <a:lnTo>
                    <a:pt x="2292028" y="857722"/>
                  </a:lnTo>
                  <a:lnTo>
                    <a:pt x="2277732" y="848192"/>
                  </a:lnTo>
                  <a:lnTo>
                    <a:pt x="2263436" y="838662"/>
                  </a:lnTo>
                  <a:lnTo>
                    <a:pt x="2249140" y="824366"/>
                  </a:lnTo>
                  <a:lnTo>
                    <a:pt x="2244376" y="810072"/>
                  </a:lnTo>
                  <a:lnTo>
                    <a:pt x="2244376" y="791012"/>
                  </a:lnTo>
                  <a:lnTo>
                    <a:pt x="2239608" y="771950"/>
                  </a:lnTo>
                  <a:lnTo>
                    <a:pt x="2215784" y="762420"/>
                  </a:lnTo>
                  <a:lnTo>
                    <a:pt x="2211020" y="757656"/>
                  </a:lnTo>
                  <a:lnTo>
                    <a:pt x="2201488" y="743360"/>
                  </a:lnTo>
                  <a:lnTo>
                    <a:pt x="2191960" y="733830"/>
                  </a:lnTo>
                  <a:lnTo>
                    <a:pt x="2177664" y="719534"/>
                  </a:lnTo>
                  <a:lnTo>
                    <a:pt x="2172900" y="714770"/>
                  </a:lnTo>
                  <a:lnTo>
                    <a:pt x="2168132" y="695708"/>
                  </a:lnTo>
                  <a:lnTo>
                    <a:pt x="2163368" y="686178"/>
                  </a:lnTo>
                  <a:lnTo>
                    <a:pt x="2168132" y="652822"/>
                  </a:lnTo>
                  <a:close/>
                  <a:moveTo>
                    <a:pt x="981616" y="600406"/>
                  </a:moveTo>
                  <a:lnTo>
                    <a:pt x="991148" y="609936"/>
                  </a:lnTo>
                  <a:lnTo>
                    <a:pt x="995912" y="628996"/>
                  </a:lnTo>
                  <a:lnTo>
                    <a:pt x="986380" y="638528"/>
                  </a:lnTo>
                  <a:lnTo>
                    <a:pt x="976852" y="638528"/>
                  </a:lnTo>
                  <a:lnTo>
                    <a:pt x="962556" y="624232"/>
                  </a:lnTo>
                  <a:lnTo>
                    <a:pt x="962556" y="614702"/>
                  </a:lnTo>
                  <a:lnTo>
                    <a:pt x="962556" y="609936"/>
                  </a:lnTo>
                  <a:close/>
                  <a:moveTo>
                    <a:pt x="2153840" y="571816"/>
                  </a:moveTo>
                  <a:lnTo>
                    <a:pt x="2158604" y="576580"/>
                  </a:lnTo>
                  <a:lnTo>
                    <a:pt x="2163368" y="590876"/>
                  </a:lnTo>
                  <a:lnTo>
                    <a:pt x="2168136" y="600406"/>
                  </a:lnTo>
                  <a:lnTo>
                    <a:pt x="2163368" y="628996"/>
                  </a:lnTo>
                  <a:lnTo>
                    <a:pt x="2153840" y="638528"/>
                  </a:lnTo>
                  <a:lnTo>
                    <a:pt x="2144308" y="619466"/>
                  </a:lnTo>
                  <a:lnTo>
                    <a:pt x="2144308" y="605172"/>
                  </a:lnTo>
                  <a:lnTo>
                    <a:pt x="2139544" y="590876"/>
                  </a:lnTo>
                  <a:lnTo>
                    <a:pt x="2139544" y="586110"/>
                  </a:lnTo>
                  <a:lnTo>
                    <a:pt x="2149072" y="576580"/>
                  </a:lnTo>
                  <a:close/>
                  <a:moveTo>
                    <a:pt x="805308" y="495572"/>
                  </a:moveTo>
                  <a:lnTo>
                    <a:pt x="810072" y="500338"/>
                  </a:lnTo>
                  <a:lnTo>
                    <a:pt x="810072" y="514634"/>
                  </a:lnTo>
                  <a:lnTo>
                    <a:pt x="805308" y="524164"/>
                  </a:lnTo>
                  <a:lnTo>
                    <a:pt x="795776" y="528928"/>
                  </a:lnTo>
                  <a:lnTo>
                    <a:pt x="791012" y="528928"/>
                  </a:lnTo>
                  <a:lnTo>
                    <a:pt x="786248" y="514634"/>
                  </a:lnTo>
                  <a:lnTo>
                    <a:pt x="786248" y="505104"/>
                  </a:lnTo>
                  <a:lnTo>
                    <a:pt x="795776" y="500338"/>
                  </a:lnTo>
                  <a:close/>
                  <a:moveTo>
                    <a:pt x="1677324" y="443156"/>
                  </a:moveTo>
                  <a:lnTo>
                    <a:pt x="1696388" y="443156"/>
                  </a:lnTo>
                  <a:lnTo>
                    <a:pt x="1710680" y="447922"/>
                  </a:lnTo>
                  <a:lnTo>
                    <a:pt x="1720212" y="452688"/>
                  </a:lnTo>
                  <a:lnTo>
                    <a:pt x="1729744" y="457452"/>
                  </a:lnTo>
                  <a:lnTo>
                    <a:pt x="1734508" y="462218"/>
                  </a:lnTo>
                  <a:lnTo>
                    <a:pt x="1758332" y="443156"/>
                  </a:lnTo>
                  <a:lnTo>
                    <a:pt x="1772628" y="457452"/>
                  </a:lnTo>
                  <a:lnTo>
                    <a:pt x="1786924" y="462218"/>
                  </a:lnTo>
                  <a:lnTo>
                    <a:pt x="1805984" y="466982"/>
                  </a:lnTo>
                  <a:lnTo>
                    <a:pt x="1796452" y="490808"/>
                  </a:lnTo>
                  <a:lnTo>
                    <a:pt x="1801220" y="500338"/>
                  </a:lnTo>
                  <a:lnTo>
                    <a:pt x="1805984" y="509868"/>
                  </a:lnTo>
                  <a:lnTo>
                    <a:pt x="1805984" y="524164"/>
                  </a:lnTo>
                  <a:lnTo>
                    <a:pt x="1796452" y="538460"/>
                  </a:lnTo>
                  <a:lnTo>
                    <a:pt x="1782160" y="562286"/>
                  </a:lnTo>
                  <a:lnTo>
                    <a:pt x="1772628" y="567050"/>
                  </a:lnTo>
                  <a:lnTo>
                    <a:pt x="1767864" y="567050"/>
                  </a:lnTo>
                  <a:lnTo>
                    <a:pt x="1744036" y="571816"/>
                  </a:lnTo>
                  <a:lnTo>
                    <a:pt x="1739272" y="581346"/>
                  </a:lnTo>
                  <a:lnTo>
                    <a:pt x="1739272" y="590876"/>
                  </a:lnTo>
                  <a:lnTo>
                    <a:pt x="1753568" y="609936"/>
                  </a:lnTo>
                  <a:lnTo>
                    <a:pt x="1763096" y="624232"/>
                  </a:lnTo>
                  <a:lnTo>
                    <a:pt x="1753568" y="638528"/>
                  </a:lnTo>
                  <a:lnTo>
                    <a:pt x="1734508" y="652822"/>
                  </a:lnTo>
                  <a:lnTo>
                    <a:pt x="1720212" y="657588"/>
                  </a:lnTo>
                  <a:lnTo>
                    <a:pt x="1691620" y="652822"/>
                  </a:lnTo>
                  <a:lnTo>
                    <a:pt x="1667796" y="657588"/>
                  </a:lnTo>
                  <a:lnTo>
                    <a:pt x="1658264" y="662352"/>
                  </a:lnTo>
                  <a:lnTo>
                    <a:pt x="1658264" y="671884"/>
                  </a:lnTo>
                  <a:lnTo>
                    <a:pt x="1653500" y="676648"/>
                  </a:lnTo>
                  <a:lnTo>
                    <a:pt x="1648736" y="686178"/>
                  </a:lnTo>
                  <a:lnTo>
                    <a:pt x="1634440" y="700474"/>
                  </a:lnTo>
                  <a:lnTo>
                    <a:pt x="1620144" y="714770"/>
                  </a:lnTo>
                  <a:lnTo>
                    <a:pt x="1601084" y="724300"/>
                  </a:lnTo>
                  <a:lnTo>
                    <a:pt x="1591552" y="729064"/>
                  </a:lnTo>
                  <a:lnTo>
                    <a:pt x="1572492" y="729064"/>
                  </a:lnTo>
                  <a:lnTo>
                    <a:pt x="1553432" y="738596"/>
                  </a:lnTo>
                  <a:lnTo>
                    <a:pt x="1548668" y="743360"/>
                  </a:lnTo>
                  <a:lnTo>
                    <a:pt x="1539136" y="748126"/>
                  </a:lnTo>
                  <a:lnTo>
                    <a:pt x="1520076" y="752890"/>
                  </a:lnTo>
                  <a:lnTo>
                    <a:pt x="1501016" y="767186"/>
                  </a:lnTo>
                  <a:lnTo>
                    <a:pt x="1496252" y="767186"/>
                  </a:lnTo>
                  <a:lnTo>
                    <a:pt x="1458128" y="771952"/>
                  </a:lnTo>
                  <a:lnTo>
                    <a:pt x="1405712" y="771952"/>
                  </a:lnTo>
                  <a:lnTo>
                    <a:pt x="1391416" y="771952"/>
                  </a:lnTo>
                  <a:lnTo>
                    <a:pt x="1372356" y="771952"/>
                  </a:lnTo>
                  <a:lnTo>
                    <a:pt x="1367592" y="767186"/>
                  </a:lnTo>
                  <a:lnTo>
                    <a:pt x="1348532" y="743360"/>
                  </a:lnTo>
                  <a:lnTo>
                    <a:pt x="1334236" y="738596"/>
                  </a:lnTo>
                  <a:lnTo>
                    <a:pt x="1315176" y="738596"/>
                  </a:lnTo>
                  <a:lnTo>
                    <a:pt x="1291352" y="748126"/>
                  </a:lnTo>
                  <a:lnTo>
                    <a:pt x="1286584" y="743360"/>
                  </a:lnTo>
                  <a:lnTo>
                    <a:pt x="1243700" y="714770"/>
                  </a:lnTo>
                  <a:lnTo>
                    <a:pt x="1229404" y="705240"/>
                  </a:lnTo>
                  <a:lnTo>
                    <a:pt x="1215108" y="700474"/>
                  </a:lnTo>
                  <a:lnTo>
                    <a:pt x="1196048" y="695708"/>
                  </a:lnTo>
                  <a:lnTo>
                    <a:pt x="1176988" y="690944"/>
                  </a:lnTo>
                  <a:lnTo>
                    <a:pt x="1167456" y="671884"/>
                  </a:lnTo>
                  <a:lnTo>
                    <a:pt x="1172224" y="652822"/>
                  </a:lnTo>
                  <a:lnTo>
                    <a:pt x="1181752" y="643292"/>
                  </a:lnTo>
                  <a:lnTo>
                    <a:pt x="1205580" y="648058"/>
                  </a:lnTo>
                  <a:lnTo>
                    <a:pt x="1215108" y="648058"/>
                  </a:lnTo>
                  <a:lnTo>
                    <a:pt x="1219872" y="643292"/>
                  </a:lnTo>
                  <a:lnTo>
                    <a:pt x="1229404" y="648058"/>
                  </a:lnTo>
                  <a:lnTo>
                    <a:pt x="1238932" y="648058"/>
                  </a:lnTo>
                  <a:lnTo>
                    <a:pt x="1272288" y="643292"/>
                  </a:lnTo>
                  <a:lnTo>
                    <a:pt x="1291352" y="652822"/>
                  </a:lnTo>
                  <a:lnTo>
                    <a:pt x="1310412" y="657588"/>
                  </a:lnTo>
                  <a:lnTo>
                    <a:pt x="1329472" y="662352"/>
                  </a:lnTo>
                  <a:lnTo>
                    <a:pt x="1348532" y="657588"/>
                  </a:lnTo>
                  <a:lnTo>
                    <a:pt x="1372356" y="648058"/>
                  </a:lnTo>
                  <a:lnTo>
                    <a:pt x="1377124" y="652822"/>
                  </a:lnTo>
                  <a:lnTo>
                    <a:pt x="1400948" y="652822"/>
                  </a:lnTo>
                  <a:lnTo>
                    <a:pt x="1424772" y="638528"/>
                  </a:lnTo>
                  <a:lnTo>
                    <a:pt x="1429540" y="590876"/>
                  </a:lnTo>
                  <a:lnTo>
                    <a:pt x="1434304" y="576580"/>
                  </a:lnTo>
                  <a:lnTo>
                    <a:pt x="1443836" y="571816"/>
                  </a:lnTo>
                  <a:lnTo>
                    <a:pt x="1448600" y="571816"/>
                  </a:lnTo>
                  <a:lnTo>
                    <a:pt x="1453364" y="581346"/>
                  </a:lnTo>
                  <a:lnTo>
                    <a:pt x="1443836" y="590876"/>
                  </a:lnTo>
                  <a:lnTo>
                    <a:pt x="1439068" y="595642"/>
                  </a:lnTo>
                  <a:lnTo>
                    <a:pt x="1439068" y="619466"/>
                  </a:lnTo>
                  <a:lnTo>
                    <a:pt x="1443836" y="633762"/>
                  </a:lnTo>
                  <a:lnTo>
                    <a:pt x="1458128" y="652822"/>
                  </a:lnTo>
                  <a:lnTo>
                    <a:pt x="1477192" y="652822"/>
                  </a:lnTo>
                  <a:lnTo>
                    <a:pt x="1491484" y="643292"/>
                  </a:lnTo>
                  <a:lnTo>
                    <a:pt x="1510548" y="638528"/>
                  </a:lnTo>
                  <a:lnTo>
                    <a:pt x="1524840" y="652822"/>
                  </a:lnTo>
                  <a:lnTo>
                    <a:pt x="1543904" y="648058"/>
                  </a:lnTo>
                  <a:lnTo>
                    <a:pt x="1553432" y="643292"/>
                  </a:lnTo>
                  <a:lnTo>
                    <a:pt x="1558196" y="638528"/>
                  </a:lnTo>
                  <a:lnTo>
                    <a:pt x="1567728" y="638528"/>
                  </a:lnTo>
                  <a:lnTo>
                    <a:pt x="1577256" y="633762"/>
                  </a:lnTo>
                  <a:lnTo>
                    <a:pt x="1586788" y="619466"/>
                  </a:lnTo>
                  <a:lnTo>
                    <a:pt x="1596320" y="600406"/>
                  </a:lnTo>
                  <a:lnTo>
                    <a:pt x="1605848" y="586110"/>
                  </a:lnTo>
                  <a:lnTo>
                    <a:pt x="1634440" y="562286"/>
                  </a:lnTo>
                  <a:lnTo>
                    <a:pt x="1643968" y="557520"/>
                  </a:lnTo>
                  <a:lnTo>
                    <a:pt x="1653500" y="557520"/>
                  </a:lnTo>
                  <a:lnTo>
                    <a:pt x="1672560" y="557520"/>
                  </a:lnTo>
                  <a:lnTo>
                    <a:pt x="1691620" y="552756"/>
                  </a:lnTo>
                  <a:lnTo>
                    <a:pt x="1691620" y="533694"/>
                  </a:lnTo>
                  <a:lnTo>
                    <a:pt x="1686856" y="509868"/>
                  </a:lnTo>
                  <a:lnTo>
                    <a:pt x="1672560" y="466982"/>
                  </a:lnTo>
                  <a:lnTo>
                    <a:pt x="1667796" y="457452"/>
                  </a:lnTo>
                  <a:lnTo>
                    <a:pt x="1672560" y="452688"/>
                  </a:lnTo>
                  <a:close/>
                  <a:moveTo>
                    <a:pt x="1996588" y="419332"/>
                  </a:moveTo>
                  <a:lnTo>
                    <a:pt x="2001352" y="419332"/>
                  </a:lnTo>
                  <a:lnTo>
                    <a:pt x="2001352" y="428860"/>
                  </a:lnTo>
                  <a:lnTo>
                    <a:pt x="1991824" y="428860"/>
                  </a:lnTo>
                  <a:close/>
                  <a:moveTo>
                    <a:pt x="1839340" y="262082"/>
                  </a:moveTo>
                  <a:lnTo>
                    <a:pt x="1844104" y="276378"/>
                  </a:lnTo>
                  <a:lnTo>
                    <a:pt x="1844104" y="290672"/>
                  </a:lnTo>
                  <a:lnTo>
                    <a:pt x="1834576" y="281142"/>
                  </a:lnTo>
                  <a:lnTo>
                    <a:pt x="1825044" y="271612"/>
                  </a:lnTo>
                  <a:lnTo>
                    <a:pt x="1829808" y="266848"/>
                  </a:lnTo>
                  <a:close/>
                  <a:moveTo>
                    <a:pt x="1734508" y="233492"/>
                  </a:moveTo>
                  <a:lnTo>
                    <a:pt x="1739272" y="233492"/>
                  </a:lnTo>
                  <a:lnTo>
                    <a:pt x="1753568" y="243022"/>
                  </a:lnTo>
                  <a:lnTo>
                    <a:pt x="1758332" y="247786"/>
                  </a:lnTo>
                  <a:lnTo>
                    <a:pt x="1753568" y="257316"/>
                  </a:lnTo>
                  <a:lnTo>
                    <a:pt x="1748804" y="257316"/>
                  </a:lnTo>
                  <a:lnTo>
                    <a:pt x="1734508" y="238256"/>
                  </a:lnTo>
                  <a:close/>
                  <a:moveTo>
                    <a:pt x="1734508" y="209666"/>
                  </a:moveTo>
                  <a:lnTo>
                    <a:pt x="1744036" y="214432"/>
                  </a:lnTo>
                  <a:lnTo>
                    <a:pt x="1744036" y="223962"/>
                  </a:lnTo>
                  <a:lnTo>
                    <a:pt x="1734508" y="228728"/>
                  </a:lnTo>
                  <a:lnTo>
                    <a:pt x="1729744" y="228728"/>
                  </a:lnTo>
                  <a:lnTo>
                    <a:pt x="1729744" y="219196"/>
                  </a:lnTo>
                  <a:close/>
                  <a:moveTo>
                    <a:pt x="19060" y="195370"/>
                  </a:moveTo>
                  <a:lnTo>
                    <a:pt x="23824" y="195370"/>
                  </a:lnTo>
                  <a:lnTo>
                    <a:pt x="38120" y="195370"/>
                  </a:lnTo>
                  <a:lnTo>
                    <a:pt x="52416" y="195370"/>
                  </a:lnTo>
                  <a:lnTo>
                    <a:pt x="128660" y="233492"/>
                  </a:lnTo>
                  <a:lnTo>
                    <a:pt x="152484" y="243022"/>
                  </a:lnTo>
                  <a:lnTo>
                    <a:pt x="162016" y="247786"/>
                  </a:lnTo>
                  <a:lnTo>
                    <a:pt x="171544" y="247786"/>
                  </a:lnTo>
                  <a:lnTo>
                    <a:pt x="176308" y="247786"/>
                  </a:lnTo>
                  <a:lnTo>
                    <a:pt x="209664" y="266846"/>
                  </a:lnTo>
                  <a:lnTo>
                    <a:pt x="266848" y="285908"/>
                  </a:lnTo>
                  <a:lnTo>
                    <a:pt x="319264" y="304968"/>
                  </a:lnTo>
                  <a:lnTo>
                    <a:pt x="338324" y="309734"/>
                  </a:lnTo>
                  <a:lnTo>
                    <a:pt x="357384" y="309734"/>
                  </a:lnTo>
                  <a:lnTo>
                    <a:pt x="395504" y="319264"/>
                  </a:lnTo>
                  <a:lnTo>
                    <a:pt x="414568" y="324028"/>
                  </a:lnTo>
                  <a:lnTo>
                    <a:pt x="443156" y="343088"/>
                  </a:lnTo>
                  <a:lnTo>
                    <a:pt x="457452" y="352620"/>
                  </a:lnTo>
                  <a:lnTo>
                    <a:pt x="476512" y="366914"/>
                  </a:lnTo>
                  <a:lnTo>
                    <a:pt x="495572" y="376444"/>
                  </a:lnTo>
                  <a:lnTo>
                    <a:pt x="500340" y="381210"/>
                  </a:lnTo>
                  <a:lnTo>
                    <a:pt x="509868" y="381210"/>
                  </a:lnTo>
                  <a:lnTo>
                    <a:pt x="528928" y="381210"/>
                  </a:lnTo>
                  <a:lnTo>
                    <a:pt x="547988" y="381210"/>
                  </a:lnTo>
                  <a:lnTo>
                    <a:pt x="557520" y="381210"/>
                  </a:lnTo>
                  <a:lnTo>
                    <a:pt x="567052" y="385976"/>
                  </a:lnTo>
                  <a:lnTo>
                    <a:pt x="571816" y="390740"/>
                  </a:lnTo>
                  <a:lnTo>
                    <a:pt x="576580" y="400270"/>
                  </a:lnTo>
                  <a:lnTo>
                    <a:pt x="590876" y="409800"/>
                  </a:lnTo>
                  <a:lnTo>
                    <a:pt x="605172" y="414566"/>
                  </a:lnTo>
                  <a:lnTo>
                    <a:pt x="624232" y="428862"/>
                  </a:lnTo>
                  <a:lnTo>
                    <a:pt x="638528" y="443156"/>
                  </a:lnTo>
                  <a:lnTo>
                    <a:pt x="648056" y="457452"/>
                  </a:lnTo>
                  <a:lnTo>
                    <a:pt x="662352" y="466982"/>
                  </a:lnTo>
                  <a:lnTo>
                    <a:pt x="681412" y="471748"/>
                  </a:lnTo>
                  <a:lnTo>
                    <a:pt x="700472" y="471748"/>
                  </a:lnTo>
                  <a:lnTo>
                    <a:pt x="767184" y="543224"/>
                  </a:lnTo>
                  <a:lnTo>
                    <a:pt x="771952" y="552754"/>
                  </a:lnTo>
                  <a:lnTo>
                    <a:pt x="771952" y="595640"/>
                  </a:lnTo>
                  <a:lnTo>
                    <a:pt x="762420" y="633762"/>
                  </a:lnTo>
                  <a:lnTo>
                    <a:pt x="781480" y="643292"/>
                  </a:lnTo>
                  <a:lnTo>
                    <a:pt x="805308" y="648058"/>
                  </a:lnTo>
                  <a:lnTo>
                    <a:pt x="833896" y="652822"/>
                  </a:lnTo>
                  <a:lnTo>
                    <a:pt x="867252" y="667118"/>
                  </a:lnTo>
                  <a:lnTo>
                    <a:pt x="967320" y="714768"/>
                  </a:lnTo>
                  <a:lnTo>
                    <a:pt x="981616" y="714768"/>
                  </a:lnTo>
                  <a:lnTo>
                    <a:pt x="1000676" y="719534"/>
                  </a:lnTo>
                  <a:lnTo>
                    <a:pt x="1019736" y="719534"/>
                  </a:lnTo>
                  <a:lnTo>
                    <a:pt x="1024504" y="719534"/>
                  </a:lnTo>
                  <a:lnTo>
                    <a:pt x="1043564" y="729064"/>
                  </a:lnTo>
                  <a:lnTo>
                    <a:pt x="1048328" y="733830"/>
                  </a:lnTo>
                  <a:lnTo>
                    <a:pt x="1062624" y="748124"/>
                  </a:lnTo>
                  <a:lnTo>
                    <a:pt x="1072152" y="767186"/>
                  </a:lnTo>
                  <a:lnTo>
                    <a:pt x="1081684" y="771950"/>
                  </a:lnTo>
                  <a:lnTo>
                    <a:pt x="1086448" y="776716"/>
                  </a:lnTo>
                  <a:lnTo>
                    <a:pt x="1086448" y="786246"/>
                  </a:lnTo>
                  <a:lnTo>
                    <a:pt x="1091216" y="810072"/>
                  </a:lnTo>
                  <a:lnTo>
                    <a:pt x="1091216" y="829132"/>
                  </a:lnTo>
                  <a:lnTo>
                    <a:pt x="1086448" y="833898"/>
                  </a:lnTo>
                  <a:lnTo>
                    <a:pt x="1072152" y="838662"/>
                  </a:lnTo>
                  <a:lnTo>
                    <a:pt x="1014972" y="843428"/>
                  </a:lnTo>
                  <a:lnTo>
                    <a:pt x="976852" y="838662"/>
                  </a:lnTo>
                  <a:lnTo>
                    <a:pt x="953024" y="857722"/>
                  </a:lnTo>
                  <a:lnTo>
                    <a:pt x="953024" y="862488"/>
                  </a:lnTo>
                  <a:lnTo>
                    <a:pt x="953024" y="872018"/>
                  </a:lnTo>
                  <a:lnTo>
                    <a:pt x="976852" y="910140"/>
                  </a:lnTo>
                  <a:lnTo>
                    <a:pt x="991148" y="943496"/>
                  </a:lnTo>
                  <a:lnTo>
                    <a:pt x="1000676" y="957790"/>
                  </a:lnTo>
                  <a:lnTo>
                    <a:pt x="1019736" y="967320"/>
                  </a:lnTo>
                  <a:lnTo>
                    <a:pt x="1029268" y="981616"/>
                  </a:lnTo>
                  <a:lnTo>
                    <a:pt x="1043564" y="995912"/>
                  </a:lnTo>
                  <a:lnTo>
                    <a:pt x="1072152" y="1019738"/>
                  </a:lnTo>
                  <a:lnTo>
                    <a:pt x="1086448" y="1029268"/>
                  </a:lnTo>
                  <a:lnTo>
                    <a:pt x="1105508" y="1034032"/>
                  </a:lnTo>
                  <a:lnTo>
                    <a:pt x="1134100" y="1057858"/>
                  </a:lnTo>
                  <a:lnTo>
                    <a:pt x="1138864" y="1067388"/>
                  </a:lnTo>
                  <a:lnTo>
                    <a:pt x="1148396" y="1091214"/>
                  </a:lnTo>
                  <a:lnTo>
                    <a:pt x="1153160" y="1115040"/>
                  </a:lnTo>
                  <a:lnTo>
                    <a:pt x="1153160" y="1119804"/>
                  </a:lnTo>
                  <a:lnTo>
                    <a:pt x="1153160" y="1129336"/>
                  </a:lnTo>
                  <a:lnTo>
                    <a:pt x="1181752" y="1143630"/>
                  </a:lnTo>
                  <a:lnTo>
                    <a:pt x="1186516" y="1148396"/>
                  </a:lnTo>
                  <a:lnTo>
                    <a:pt x="1200812" y="1186516"/>
                  </a:lnTo>
                  <a:lnTo>
                    <a:pt x="1205576" y="1205578"/>
                  </a:lnTo>
                  <a:lnTo>
                    <a:pt x="1224636" y="1215108"/>
                  </a:lnTo>
                  <a:lnTo>
                    <a:pt x="1238932" y="1215108"/>
                  </a:lnTo>
                  <a:lnTo>
                    <a:pt x="1286584" y="1200812"/>
                  </a:lnTo>
                  <a:lnTo>
                    <a:pt x="1296116" y="1200812"/>
                  </a:lnTo>
                  <a:lnTo>
                    <a:pt x="1305644" y="1205578"/>
                  </a:lnTo>
                  <a:lnTo>
                    <a:pt x="1310412" y="1210342"/>
                  </a:lnTo>
                  <a:lnTo>
                    <a:pt x="1315176" y="1224638"/>
                  </a:lnTo>
                  <a:lnTo>
                    <a:pt x="1305644" y="1243698"/>
                  </a:lnTo>
                  <a:lnTo>
                    <a:pt x="1305644" y="1262758"/>
                  </a:lnTo>
                  <a:lnTo>
                    <a:pt x="1315176" y="1277054"/>
                  </a:lnTo>
                  <a:lnTo>
                    <a:pt x="1339000" y="1286584"/>
                  </a:lnTo>
                  <a:lnTo>
                    <a:pt x="1348532" y="1291350"/>
                  </a:lnTo>
                  <a:lnTo>
                    <a:pt x="1391416" y="1296114"/>
                  </a:lnTo>
                  <a:lnTo>
                    <a:pt x="1405712" y="1296114"/>
                  </a:lnTo>
                  <a:lnTo>
                    <a:pt x="1424772" y="1300880"/>
                  </a:lnTo>
                  <a:lnTo>
                    <a:pt x="1429540" y="1305644"/>
                  </a:lnTo>
                  <a:lnTo>
                    <a:pt x="1424772" y="1315176"/>
                  </a:lnTo>
                  <a:lnTo>
                    <a:pt x="1415244" y="1319940"/>
                  </a:lnTo>
                  <a:lnTo>
                    <a:pt x="1405712" y="1319940"/>
                  </a:lnTo>
                  <a:lnTo>
                    <a:pt x="1391416" y="1324706"/>
                  </a:lnTo>
                  <a:lnTo>
                    <a:pt x="1391416" y="1334236"/>
                  </a:lnTo>
                  <a:lnTo>
                    <a:pt x="1400948" y="1343766"/>
                  </a:lnTo>
                  <a:lnTo>
                    <a:pt x="1410476" y="1358062"/>
                  </a:lnTo>
                  <a:lnTo>
                    <a:pt x="1415244" y="1362826"/>
                  </a:lnTo>
                  <a:lnTo>
                    <a:pt x="1424772" y="1367592"/>
                  </a:lnTo>
                  <a:lnTo>
                    <a:pt x="1443832" y="1372356"/>
                  </a:lnTo>
                  <a:lnTo>
                    <a:pt x="1462896" y="1377122"/>
                  </a:lnTo>
                  <a:lnTo>
                    <a:pt x="1472424" y="1381886"/>
                  </a:lnTo>
                  <a:lnTo>
                    <a:pt x="1486720" y="1386652"/>
                  </a:lnTo>
                  <a:lnTo>
                    <a:pt x="1515312" y="1391418"/>
                  </a:lnTo>
                  <a:lnTo>
                    <a:pt x="1534372" y="1396182"/>
                  </a:lnTo>
                  <a:lnTo>
                    <a:pt x="1562960" y="1396182"/>
                  </a:lnTo>
                  <a:lnTo>
                    <a:pt x="1534372" y="1405712"/>
                  </a:lnTo>
                  <a:lnTo>
                    <a:pt x="1529608" y="1410478"/>
                  </a:lnTo>
                  <a:lnTo>
                    <a:pt x="1496252" y="1405712"/>
                  </a:lnTo>
                  <a:lnTo>
                    <a:pt x="1491484" y="1410478"/>
                  </a:lnTo>
                  <a:lnTo>
                    <a:pt x="1505780" y="1424772"/>
                  </a:lnTo>
                  <a:lnTo>
                    <a:pt x="1524840" y="1434304"/>
                  </a:lnTo>
                  <a:lnTo>
                    <a:pt x="1529608" y="1439068"/>
                  </a:lnTo>
                  <a:lnTo>
                    <a:pt x="1524840" y="1443834"/>
                  </a:lnTo>
                  <a:lnTo>
                    <a:pt x="1505780" y="1458128"/>
                  </a:lnTo>
                  <a:lnTo>
                    <a:pt x="1496252" y="1458128"/>
                  </a:lnTo>
                  <a:lnTo>
                    <a:pt x="1477188" y="1462894"/>
                  </a:lnTo>
                  <a:lnTo>
                    <a:pt x="1453364" y="1453364"/>
                  </a:lnTo>
                  <a:lnTo>
                    <a:pt x="1429540" y="1448598"/>
                  </a:lnTo>
                  <a:lnTo>
                    <a:pt x="1424772" y="1439068"/>
                  </a:lnTo>
                  <a:lnTo>
                    <a:pt x="1420008" y="1434304"/>
                  </a:lnTo>
                  <a:lnTo>
                    <a:pt x="1400948" y="1420008"/>
                  </a:lnTo>
                  <a:lnTo>
                    <a:pt x="1391416" y="1415242"/>
                  </a:lnTo>
                  <a:lnTo>
                    <a:pt x="1372356" y="1410478"/>
                  </a:lnTo>
                  <a:lnTo>
                    <a:pt x="1358060" y="1410478"/>
                  </a:lnTo>
                  <a:lnTo>
                    <a:pt x="1329472" y="1400948"/>
                  </a:lnTo>
                  <a:lnTo>
                    <a:pt x="1262760" y="1396182"/>
                  </a:lnTo>
                  <a:lnTo>
                    <a:pt x="1248464" y="1396182"/>
                  </a:lnTo>
                  <a:lnTo>
                    <a:pt x="1229404" y="1381886"/>
                  </a:lnTo>
                  <a:lnTo>
                    <a:pt x="1219872" y="1381886"/>
                  </a:lnTo>
                  <a:lnTo>
                    <a:pt x="1210344" y="1386652"/>
                  </a:lnTo>
                  <a:lnTo>
                    <a:pt x="1181752" y="1386652"/>
                  </a:lnTo>
                  <a:lnTo>
                    <a:pt x="1176988" y="1386652"/>
                  </a:lnTo>
                  <a:lnTo>
                    <a:pt x="1157928" y="1377122"/>
                  </a:lnTo>
                  <a:lnTo>
                    <a:pt x="1138864" y="1372356"/>
                  </a:lnTo>
                  <a:lnTo>
                    <a:pt x="1134100" y="1377122"/>
                  </a:lnTo>
                  <a:lnTo>
                    <a:pt x="1124572" y="1377122"/>
                  </a:lnTo>
                  <a:lnTo>
                    <a:pt x="1100744" y="1372356"/>
                  </a:lnTo>
                  <a:lnTo>
                    <a:pt x="1081684" y="1367592"/>
                  </a:lnTo>
                  <a:lnTo>
                    <a:pt x="1062624" y="1358062"/>
                  </a:lnTo>
                  <a:lnTo>
                    <a:pt x="1057860" y="1348530"/>
                  </a:lnTo>
                  <a:lnTo>
                    <a:pt x="1048328" y="1343766"/>
                  </a:lnTo>
                  <a:lnTo>
                    <a:pt x="1038796" y="1324706"/>
                  </a:lnTo>
                  <a:lnTo>
                    <a:pt x="1024504" y="1305644"/>
                  </a:lnTo>
                  <a:lnTo>
                    <a:pt x="1005440" y="1291350"/>
                  </a:lnTo>
                  <a:lnTo>
                    <a:pt x="972088" y="1267524"/>
                  </a:lnTo>
                  <a:lnTo>
                    <a:pt x="962556" y="1257994"/>
                  </a:lnTo>
                  <a:lnTo>
                    <a:pt x="948260" y="1238932"/>
                  </a:lnTo>
                  <a:lnTo>
                    <a:pt x="948260" y="1224638"/>
                  </a:lnTo>
                  <a:lnTo>
                    <a:pt x="953024" y="1205578"/>
                  </a:lnTo>
                  <a:lnTo>
                    <a:pt x="948260" y="1215108"/>
                  </a:lnTo>
                  <a:lnTo>
                    <a:pt x="938732" y="1210342"/>
                  </a:lnTo>
                  <a:lnTo>
                    <a:pt x="914904" y="1200812"/>
                  </a:lnTo>
                  <a:lnTo>
                    <a:pt x="900608" y="1191282"/>
                  </a:lnTo>
                  <a:lnTo>
                    <a:pt x="886312" y="1157926"/>
                  </a:lnTo>
                  <a:lnTo>
                    <a:pt x="876784" y="1143630"/>
                  </a:lnTo>
                  <a:lnTo>
                    <a:pt x="848192" y="1110274"/>
                  </a:lnTo>
                  <a:lnTo>
                    <a:pt x="843428" y="1095980"/>
                  </a:lnTo>
                  <a:lnTo>
                    <a:pt x="833896" y="1081684"/>
                  </a:lnTo>
                  <a:lnTo>
                    <a:pt x="824368" y="1072154"/>
                  </a:lnTo>
                  <a:lnTo>
                    <a:pt x="819600" y="1067388"/>
                  </a:lnTo>
                  <a:lnTo>
                    <a:pt x="814836" y="1057858"/>
                  </a:lnTo>
                  <a:lnTo>
                    <a:pt x="810072" y="1053092"/>
                  </a:lnTo>
                  <a:lnTo>
                    <a:pt x="771952" y="1038798"/>
                  </a:lnTo>
                  <a:lnTo>
                    <a:pt x="767184" y="1034032"/>
                  </a:lnTo>
                  <a:lnTo>
                    <a:pt x="762420" y="1034032"/>
                  </a:lnTo>
                  <a:lnTo>
                    <a:pt x="733828" y="1029268"/>
                  </a:lnTo>
                  <a:lnTo>
                    <a:pt x="719536" y="1029268"/>
                  </a:lnTo>
                  <a:lnTo>
                    <a:pt x="690944" y="1019738"/>
                  </a:lnTo>
                  <a:lnTo>
                    <a:pt x="676648" y="1014972"/>
                  </a:lnTo>
                  <a:lnTo>
                    <a:pt x="662352" y="1014972"/>
                  </a:lnTo>
                  <a:lnTo>
                    <a:pt x="643292" y="1010206"/>
                  </a:lnTo>
                  <a:lnTo>
                    <a:pt x="633760" y="1005442"/>
                  </a:lnTo>
                  <a:lnTo>
                    <a:pt x="628996" y="1000676"/>
                  </a:lnTo>
                  <a:lnTo>
                    <a:pt x="628996" y="981616"/>
                  </a:lnTo>
                  <a:lnTo>
                    <a:pt x="614700" y="986382"/>
                  </a:lnTo>
                  <a:lnTo>
                    <a:pt x="600408" y="981616"/>
                  </a:lnTo>
                  <a:lnTo>
                    <a:pt x="586112" y="976850"/>
                  </a:lnTo>
                  <a:lnTo>
                    <a:pt x="571816" y="972086"/>
                  </a:lnTo>
                  <a:lnTo>
                    <a:pt x="562284" y="976850"/>
                  </a:lnTo>
                  <a:lnTo>
                    <a:pt x="557520" y="991146"/>
                  </a:lnTo>
                  <a:lnTo>
                    <a:pt x="552756" y="991146"/>
                  </a:lnTo>
                  <a:lnTo>
                    <a:pt x="547988" y="986382"/>
                  </a:lnTo>
                  <a:lnTo>
                    <a:pt x="543224" y="991146"/>
                  </a:lnTo>
                  <a:lnTo>
                    <a:pt x="533696" y="995912"/>
                  </a:lnTo>
                  <a:lnTo>
                    <a:pt x="528928" y="1005442"/>
                  </a:lnTo>
                  <a:lnTo>
                    <a:pt x="514632" y="1000676"/>
                  </a:lnTo>
                  <a:lnTo>
                    <a:pt x="486044" y="995912"/>
                  </a:lnTo>
                  <a:lnTo>
                    <a:pt x="476512" y="991146"/>
                  </a:lnTo>
                  <a:lnTo>
                    <a:pt x="466984" y="981616"/>
                  </a:lnTo>
                  <a:lnTo>
                    <a:pt x="457452" y="967320"/>
                  </a:lnTo>
                  <a:lnTo>
                    <a:pt x="447924" y="962556"/>
                  </a:lnTo>
                  <a:lnTo>
                    <a:pt x="438392" y="953026"/>
                  </a:lnTo>
                  <a:lnTo>
                    <a:pt x="452688" y="967320"/>
                  </a:lnTo>
                  <a:lnTo>
                    <a:pt x="481276" y="1029268"/>
                  </a:lnTo>
                  <a:lnTo>
                    <a:pt x="476512" y="1034032"/>
                  </a:lnTo>
                  <a:lnTo>
                    <a:pt x="466984" y="1029268"/>
                  </a:lnTo>
                  <a:lnTo>
                    <a:pt x="476512" y="1043562"/>
                  </a:lnTo>
                  <a:lnTo>
                    <a:pt x="466984" y="1043562"/>
                  </a:lnTo>
                  <a:lnTo>
                    <a:pt x="457452" y="1043562"/>
                  </a:lnTo>
                  <a:lnTo>
                    <a:pt x="438392" y="1038798"/>
                  </a:lnTo>
                  <a:lnTo>
                    <a:pt x="419332" y="1038798"/>
                  </a:lnTo>
                  <a:lnTo>
                    <a:pt x="414568" y="1038798"/>
                  </a:lnTo>
                  <a:lnTo>
                    <a:pt x="419332" y="1043562"/>
                  </a:lnTo>
                  <a:lnTo>
                    <a:pt x="424096" y="1057858"/>
                  </a:lnTo>
                  <a:lnTo>
                    <a:pt x="433628" y="1072154"/>
                  </a:lnTo>
                  <a:lnTo>
                    <a:pt x="405036" y="1076918"/>
                  </a:lnTo>
                  <a:lnTo>
                    <a:pt x="381212" y="1081684"/>
                  </a:lnTo>
                  <a:lnTo>
                    <a:pt x="347856" y="1091214"/>
                  </a:lnTo>
                  <a:lnTo>
                    <a:pt x="319264" y="1091214"/>
                  </a:lnTo>
                  <a:lnTo>
                    <a:pt x="304968" y="1086448"/>
                  </a:lnTo>
                  <a:lnTo>
                    <a:pt x="290672" y="1081684"/>
                  </a:lnTo>
                  <a:lnTo>
                    <a:pt x="276376" y="1086448"/>
                  </a:lnTo>
                  <a:lnTo>
                    <a:pt x="262084" y="1091214"/>
                  </a:lnTo>
                  <a:lnTo>
                    <a:pt x="247788" y="1091214"/>
                  </a:lnTo>
                  <a:lnTo>
                    <a:pt x="243020" y="1081684"/>
                  </a:lnTo>
                  <a:lnTo>
                    <a:pt x="238256" y="1072154"/>
                  </a:lnTo>
                  <a:lnTo>
                    <a:pt x="233492" y="1067388"/>
                  </a:lnTo>
                  <a:lnTo>
                    <a:pt x="223960" y="1067388"/>
                  </a:lnTo>
                  <a:lnTo>
                    <a:pt x="209664" y="1072154"/>
                  </a:lnTo>
                  <a:lnTo>
                    <a:pt x="228728" y="1072154"/>
                  </a:lnTo>
                  <a:lnTo>
                    <a:pt x="233492" y="1081684"/>
                  </a:lnTo>
                  <a:lnTo>
                    <a:pt x="238256" y="1091214"/>
                  </a:lnTo>
                  <a:lnTo>
                    <a:pt x="252552" y="1100744"/>
                  </a:lnTo>
                  <a:lnTo>
                    <a:pt x="266848" y="1091214"/>
                  </a:lnTo>
                  <a:lnTo>
                    <a:pt x="304968" y="1095980"/>
                  </a:lnTo>
                  <a:lnTo>
                    <a:pt x="338324" y="1110274"/>
                  </a:lnTo>
                  <a:lnTo>
                    <a:pt x="343088" y="1110274"/>
                  </a:lnTo>
                  <a:lnTo>
                    <a:pt x="352620" y="1115040"/>
                  </a:lnTo>
                  <a:lnTo>
                    <a:pt x="371680" y="1129336"/>
                  </a:lnTo>
                  <a:lnTo>
                    <a:pt x="381212" y="1143630"/>
                  </a:lnTo>
                  <a:lnTo>
                    <a:pt x="395504" y="1162690"/>
                  </a:lnTo>
                  <a:lnTo>
                    <a:pt x="395504" y="1167456"/>
                  </a:lnTo>
                  <a:lnTo>
                    <a:pt x="395504" y="1181752"/>
                  </a:lnTo>
                  <a:lnTo>
                    <a:pt x="390740" y="1191282"/>
                  </a:lnTo>
                  <a:lnTo>
                    <a:pt x="371680" y="1205578"/>
                  </a:lnTo>
                  <a:lnTo>
                    <a:pt x="347856" y="1215108"/>
                  </a:lnTo>
                  <a:lnTo>
                    <a:pt x="314500" y="1229402"/>
                  </a:lnTo>
                  <a:lnTo>
                    <a:pt x="281144" y="1248464"/>
                  </a:lnTo>
                  <a:lnTo>
                    <a:pt x="262084" y="1248464"/>
                  </a:lnTo>
                  <a:lnTo>
                    <a:pt x="247788" y="1234168"/>
                  </a:lnTo>
                  <a:lnTo>
                    <a:pt x="243020" y="1234168"/>
                  </a:lnTo>
                  <a:lnTo>
                    <a:pt x="223960" y="1229402"/>
                  </a:lnTo>
                  <a:lnTo>
                    <a:pt x="214432" y="1224638"/>
                  </a:lnTo>
                  <a:lnTo>
                    <a:pt x="176308" y="1229402"/>
                  </a:lnTo>
                  <a:lnTo>
                    <a:pt x="138188" y="1229402"/>
                  </a:lnTo>
                  <a:lnTo>
                    <a:pt x="119128" y="1229402"/>
                  </a:lnTo>
                  <a:lnTo>
                    <a:pt x="104832" y="1229402"/>
                  </a:lnTo>
                  <a:lnTo>
                    <a:pt x="85772" y="1219872"/>
                  </a:lnTo>
                  <a:lnTo>
                    <a:pt x="66712" y="1224638"/>
                  </a:lnTo>
                  <a:lnTo>
                    <a:pt x="57180" y="1234168"/>
                  </a:lnTo>
                  <a:lnTo>
                    <a:pt x="42888" y="1234168"/>
                  </a:lnTo>
                  <a:lnTo>
                    <a:pt x="19060" y="1215108"/>
                  </a:lnTo>
                  <a:lnTo>
                    <a:pt x="19060" y="867252"/>
                  </a:lnTo>
                  <a:lnTo>
                    <a:pt x="9532" y="857722"/>
                  </a:lnTo>
                  <a:lnTo>
                    <a:pt x="0" y="843428"/>
                  </a:lnTo>
                  <a:lnTo>
                    <a:pt x="4764" y="824366"/>
                  </a:lnTo>
                  <a:lnTo>
                    <a:pt x="14296" y="795776"/>
                  </a:lnTo>
                  <a:lnTo>
                    <a:pt x="19060" y="781480"/>
                  </a:lnTo>
                  <a:close/>
                  <a:moveTo>
                    <a:pt x="1558196" y="190604"/>
                  </a:moveTo>
                  <a:lnTo>
                    <a:pt x="1582024" y="204900"/>
                  </a:lnTo>
                  <a:lnTo>
                    <a:pt x="1610612" y="223960"/>
                  </a:lnTo>
                  <a:lnTo>
                    <a:pt x="1620144" y="233492"/>
                  </a:lnTo>
                  <a:lnTo>
                    <a:pt x="1634440" y="233492"/>
                  </a:lnTo>
                  <a:lnTo>
                    <a:pt x="1658264" y="247786"/>
                  </a:lnTo>
                  <a:lnTo>
                    <a:pt x="1677324" y="257316"/>
                  </a:lnTo>
                  <a:lnTo>
                    <a:pt x="1691620" y="266846"/>
                  </a:lnTo>
                  <a:lnTo>
                    <a:pt x="1710680" y="281142"/>
                  </a:lnTo>
                  <a:lnTo>
                    <a:pt x="1744036" y="295438"/>
                  </a:lnTo>
                  <a:lnTo>
                    <a:pt x="1753568" y="300202"/>
                  </a:lnTo>
                  <a:lnTo>
                    <a:pt x="1767864" y="319264"/>
                  </a:lnTo>
                  <a:lnTo>
                    <a:pt x="1791688" y="338324"/>
                  </a:lnTo>
                  <a:lnTo>
                    <a:pt x="1801220" y="347854"/>
                  </a:lnTo>
                  <a:lnTo>
                    <a:pt x="1901288" y="428862"/>
                  </a:lnTo>
                  <a:lnTo>
                    <a:pt x="1915580" y="452686"/>
                  </a:lnTo>
                  <a:lnTo>
                    <a:pt x="1920348" y="466982"/>
                  </a:lnTo>
                  <a:lnTo>
                    <a:pt x="1915580" y="471748"/>
                  </a:lnTo>
                  <a:lnTo>
                    <a:pt x="1906052" y="486042"/>
                  </a:lnTo>
                  <a:lnTo>
                    <a:pt x="1906052" y="500338"/>
                  </a:lnTo>
                  <a:lnTo>
                    <a:pt x="1901288" y="514634"/>
                  </a:lnTo>
                  <a:lnTo>
                    <a:pt x="1891756" y="528928"/>
                  </a:lnTo>
                  <a:lnTo>
                    <a:pt x="1882224" y="543224"/>
                  </a:lnTo>
                  <a:lnTo>
                    <a:pt x="1872696" y="533694"/>
                  </a:lnTo>
                  <a:lnTo>
                    <a:pt x="1863164" y="519398"/>
                  </a:lnTo>
                  <a:lnTo>
                    <a:pt x="1858400" y="509868"/>
                  </a:lnTo>
                  <a:lnTo>
                    <a:pt x="1848872" y="490808"/>
                  </a:lnTo>
                  <a:lnTo>
                    <a:pt x="1848872" y="481278"/>
                  </a:lnTo>
                  <a:lnTo>
                    <a:pt x="1848872" y="466982"/>
                  </a:lnTo>
                  <a:lnTo>
                    <a:pt x="1848872" y="457452"/>
                  </a:lnTo>
                  <a:lnTo>
                    <a:pt x="1844104" y="433626"/>
                  </a:lnTo>
                  <a:lnTo>
                    <a:pt x="1834576" y="409800"/>
                  </a:lnTo>
                  <a:lnTo>
                    <a:pt x="1796452" y="362150"/>
                  </a:lnTo>
                  <a:lnTo>
                    <a:pt x="1786924" y="347854"/>
                  </a:lnTo>
                  <a:lnTo>
                    <a:pt x="1772628" y="333558"/>
                  </a:lnTo>
                  <a:lnTo>
                    <a:pt x="1763096" y="333558"/>
                  </a:lnTo>
                  <a:lnTo>
                    <a:pt x="1744036" y="328794"/>
                  </a:lnTo>
                  <a:lnTo>
                    <a:pt x="1734508" y="324028"/>
                  </a:lnTo>
                  <a:lnTo>
                    <a:pt x="1724976" y="319264"/>
                  </a:lnTo>
                  <a:lnTo>
                    <a:pt x="1710680" y="309734"/>
                  </a:lnTo>
                  <a:lnTo>
                    <a:pt x="1677324" y="281142"/>
                  </a:lnTo>
                  <a:lnTo>
                    <a:pt x="1658264" y="271612"/>
                  </a:lnTo>
                  <a:lnTo>
                    <a:pt x="1648736" y="262082"/>
                  </a:lnTo>
                  <a:lnTo>
                    <a:pt x="1596320" y="228726"/>
                  </a:lnTo>
                  <a:lnTo>
                    <a:pt x="1582024" y="219196"/>
                  </a:lnTo>
                  <a:lnTo>
                    <a:pt x="1562964" y="219196"/>
                  </a:lnTo>
                  <a:lnTo>
                    <a:pt x="1543904" y="214430"/>
                  </a:lnTo>
                  <a:lnTo>
                    <a:pt x="1558196" y="209666"/>
                  </a:lnTo>
                  <a:lnTo>
                    <a:pt x="1558196" y="200136"/>
                  </a:lnTo>
                  <a:close/>
                  <a:moveTo>
                    <a:pt x="1462896" y="157248"/>
                  </a:moveTo>
                  <a:lnTo>
                    <a:pt x="1496248" y="171544"/>
                  </a:lnTo>
                  <a:lnTo>
                    <a:pt x="1501016" y="181074"/>
                  </a:lnTo>
                  <a:lnTo>
                    <a:pt x="1501016" y="185840"/>
                  </a:lnTo>
                  <a:lnTo>
                    <a:pt x="1496248" y="200134"/>
                  </a:lnTo>
                  <a:lnTo>
                    <a:pt x="1496248" y="204900"/>
                  </a:lnTo>
                  <a:lnTo>
                    <a:pt x="1467660" y="204900"/>
                  </a:lnTo>
                  <a:lnTo>
                    <a:pt x="1453364" y="204900"/>
                  </a:lnTo>
                  <a:lnTo>
                    <a:pt x="1443832" y="195370"/>
                  </a:lnTo>
                  <a:lnTo>
                    <a:pt x="1434304" y="181074"/>
                  </a:lnTo>
                  <a:lnTo>
                    <a:pt x="1424772" y="176310"/>
                  </a:lnTo>
                  <a:lnTo>
                    <a:pt x="1424772" y="171544"/>
                  </a:lnTo>
                  <a:lnTo>
                    <a:pt x="1443832" y="162014"/>
                  </a:lnTo>
                  <a:close/>
                  <a:moveTo>
                    <a:pt x="1086448" y="138188"/>
                  </a:moveTo>
                  <a:lnTo>
                    <a:pt x="1091216" y="138188"/>
                  </a:lnTo>
                  <a:lnTo>
                    <a:pt x="1095980" y="142954"/>
                  </a:lnTo>
                  <a:lnTo>
                    <a:pt x="1091216" y="152484"/>
                  </a:lnTo>
                  <a:lnTo>
                    <a:pt x="1081684" y="152484"/>
                  </a:lnTo>
                  <a:lnTo>
                    <a:pt x="1076920" y="147720"/>
                  </a:lnTo>
                  <a:lnTo>
                    <a:pt x="1081684" y="147720"/>
                  </a:lnTo>
                  <a:close/>
                  <a:moveTo>
                    <a:pt x="938732" y="90536"/>
                  </a:moveTo>
                  <a:lnTo>
                    <a:pt x="972088" y="90536"/>
                  </a:lnTo>
                  <a:lnTo>
                    <a:pt x="1024504" y="104832"/>
                  </a:lnTo>
                  <a:lnTo>
                    <a:pt x="1024504" y="100068"/>
                  </a:lnTo>
                  <a:lnTo>
                    <a:pt x="1029268" y="100068"/>
                  </a:lnTo>
                  <a:lnTo>
                    <a:pt x="1029268" y="109598"/>
                  </a:lnTo>
                  <a:lnTo>
                    <a:pt x="1019736" y="109598"/>
                  </a:lnTo>
                  <a:lnTo>
                    <a:pt x="1010208" y="109598"/>
                  </a:lnTo>
                  <a:lnTo>
                    <a:pt x="1005444" y="114362"/>
                  </a:lnTo>
                  <a:lnTo>
                    <a:pt x="991148" y="128658"/>
                  </a:lnTo>
                  <a:lnTo>
                    <a:pt x="981616" y="123892"/>
                  </a:lnTo>
                  <a:lnTo>
                    <a:pt x="972088" y="128658"/>
                  </a:lnTo>
                  <a:lnTo>
                    <a:pt x="948260" y="128658"/>
                  </a:lnTo>
                  <a:lnTo>
                    <a:pt x="919668" y="123892"/>
                  </a:lnTo>
                  <a:lnTo>
                    <a:pt x="914904" y="128658"/>
                  </a:lnTo>
                  <a:lnTo>
                    <a:pt x="905376" y="128658"/>
                  </a:lnTo>
                  <a:lnTo>
                    <a:pt x="891080" y="133424"/>
                  </a:lnTo>
                  <a:lnTo>
                    <a:pt x="886312" y="123892"/>
                  </a:lnTo>
                  <a:lnTo>
                    <a:pt x="886312" y="119128"/>
                  </a:lnTo>
                  <a:lnTo>
                    <a:pt x="900608" y="114362"/>
                  </a:lnTo>
                  <a:lnTo>
                    <a:pt x="895844" y="100068"/>
                  </a:lnTo>
                  <a:lnTo>
                    <a:pt x="905376" y="95302"/>
                  </a:lnTo>
                  <a:lnTo>
                    <a:pt x="924436" y="95302"/>
                  </a:lnTo>
                  <a:close/>
                  <a:moveTo>
                    <a:pt x="1362828" y="0"/>
                  </a:moveTo>
                  <a:lnTo>
                    <a:pt x="1372356" y="0"/>
                  </a:lnTo>
                  <a:lnTo>
                    <a:pt x="1386652" y="9530"/>
                  </a:lnTo>
                  <a:lnTo>
                    <a:pt x="1391416" y="28590"/>
                  </a:lnTo>
                  <a:lnTo>
                    <a:pt x="1391416" y="28592"/>
                  </a:lnTo>
                  <a:lnTo>
                    <a:pt x="1391416" y="33356"/>
                  </a:lnTo>
                  <a:lnTo>
                    <a:pt x="1381888" y="33356"/>
                  </a:lnTo>
                  <a:lnTo>
                    <a:pt x="1377124" y="33356"/>
                  </a:lnTo>
                  <a:lnTo>
                    <a:pt x="1358064" y="14296"/>
                  </a:lnTo>
                  <a:lnTo>
                    <a:pt x="1358064"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4" name="Google Shape;4851;p64">
              <a:extLst>
                <a:ext uri="{FF2B5EF4-FFF2-40B4-BE49-F238E27FC236}">
                  <a16:creationId xmlns:a16="http://schemas.microsoft.com/office/drawing/2014/main" id="{2573122A-5D78-9627-DADB-026BF062773C}"/>
                </a:ext>
              </a:extLst>
            </p:cNvPr>
            <p:cNvSpPr/>
            <p:nvPr/>
          </p:nvSpPr>
          <p:spPr>
            <a:xfrm>
              <a:off x="7890219" y="5131870"/>
              <a:ext cx="127325" cy="114199"/>
            </a:xfrm>
            <a:custGeom>
              <a:avLst/>
              <a:gdLst/>
              <a:ahLst/>
              <a:cxnLst/>
              <a:rect l="l" t="t" r="r" b="b"/>
              <a:pathLst>
                <a:path w="924436" h="829132" extrusionOk="0">
                  <a:moveTo>
                    <a:pt x="557520" y="771950"/>
                  </a:moveTo>
                  <a:lnTo>
                    <a:pt x="567052" y="776716"/>
                  </a:lnTo>
                  <a:lnTo>
                    <a:pt x="624232" y="805306"/>
                  </a:lnTo>
                  <a:lnTo>
                    <a:pt x="638528" y="814836"/>
                  </a:lnTo>
                  <a:lnTo>
                    <a:pt x="648060" y="824366"/>
                  </a:lnTo>
                  <a:lnTo>
                    <a:pt x="633764" y="829132"/>
                  </a:lnTo>
                  <a:lnTo>
                    <a:pt x="624232" y="824366"/>
                  </a:lnTo>
                  <a:lnTo>
                    <a:pt x="619468" y="824366"/>
                  </a:lnTo>
                  <a:lnTo>
                    <a:pt x="609936" y="810072"/>
                  </a:lnTo>
                  <a:lnTo>
                    <a:pt x="600408" y="800542"/>
                  </a:lnTo>
                  <a:lnTo>
                    <a:pt x="581344" y="800542"/>
                  </a:lnTo>
                  <a:lnTo>
                    <a:pt x="571816" y="791010"/>
                  </a:lnTo>
                  <a:lnTo>
                    <a:pt x="567052" y="791010"/>
                  </a:lnTo>
                  <a:lnTo>
                    <a:pt x="557520" y="786246"/>
                  </a:lnTo>
                  <a:lnTo>
                    <a:pt x="552756" y="781480"/>
                  </a:lnTo>
                  <a:lnTo>
                    <a:pt x="552756" y="776716"/>
                  </a:lnTo>
                  <a:close/>
                  <a:moveTo>
                    <a:pt x="757656" y="567050"/>
                  </a:moveTo>
                  <a:lnTo>
                    <a:pt x="771952" y="567050"/>
                  </a:lnTo>
                  <a:lnTo>
                    <a:pt x="786248" y="576580"/>
                  </a:lnTo>
                  <a:lnTo>
                    <a:pt x="814836" y="590876"/>
                  </a:lnTo>
                  <a:lnTo>
                    <a:pt x="819604" y="595640"/>
                  </a:lnTo>
                  <a:lnTo>
                    <a:pt x="824368" y="600406"/>
                  </a:lnTo>
                  <a:lnTo>
                    <a:pt x="843428" y="609936"/>
                  </a:lnTo>
                  <a:lnTo>
                    <a:pt x="852960" y="605172"/>
                  </a:lnTo>
                  <a:lnTo>
                    <a:pt x="872020" y="614702"/>
                  </a:lnTo>
                  <a:lnTo>
                    <a:pt x="886316" y="609936"/>
                  </a:lnTo>
                  <a:lnTo>
                    <a:pt x="891080" y="619466"/>
                  </a:lnTo>
                  <a:lnTo>
                    <a:pt x="914904" y="648058"/>
                  </a:lnTo>
                  <a:lnTo>
                    <a:pt x="914904" y="662352"/>
                  </a:lnTo>
                  <a:lnTo>
                    <a:pt x="924436" y="667118"/>
                  </a:lnTo>
                  <a:lnTo>
                    <a:pt x="914904" y="671882"/>
                  </a:lnTo>
                  <a:lnTo>
                    <a:pt x="900608" y="667118"/>
                  </a:lnTo>
                  <a:lnTo>
                    <a:pt x="886316" y="667118"/>
                  </a:lnTo>
                  <a:lnTo>
                    <a:pt x="876784" y="662352"/>
                  </a:lnTo>
                  <a:lnTo>
                    <a:pt x="852960" y="657588"/>
                  </a:lnTo>
                  <a:lnTo>
                    <a:pt x="833896" y="652822"/>
                  </a:lnTo>
                  <a:lnTo>
                    <a:pt x="795776" y="628996"/>
                  </a:lnTo>
                  <a:lnTo>
                    <a:pt x="795776" y="614702"/>
                  </a:lnTo>
                  <a:lnTo>
                    <a:pt x="791012" y="609936"/>
                  </a:lnTo>
                  <a:lnTo>
                    <a:pt x="786248" y="595640"/>
                  </a:lnTo>
                  <a:lnTo>
                    <a:pt x="771952" y="590876"/>
                  </a:lnTo>
                  <a:lnTo>
                    <a:pt x="757656" y="590876"/>
                  </a:lnTo>
                  <a:lnTo>
                    <a:pt x="757656" y="581346"/>
                  </a:lnTo>
                  <a:close/>
                  <a:moveTo>
                    <a:pt x="767188" y="433626"/>
                  </a:moveTo>
                  <a:lnTo>
                    <a:pt x="776716" y="438392"/>
                  </a:lnTo>
                  <a:lnTo>
                    <a:pt x="795776" y="476512"/>
                  </a:lnTo>
                  <a:lnTo>
                    <a:pt x="800540" y="495572"/>
                  </a:lnTo>
                  <a:lnTo>
                    <a:pt x="800540" y="500338"/>
                  </a:lnTo>
                  <a:lnTo>
                    <a:pt x="786248" y="486042"/>
                  </a:lnTo>
                  <a:lnTo>
                    <a:pt x="781480" y="490808"/>
                  </a:lnTo>
                  <a:lnTo>
                    <a:pt x="776716" y="486042"/>
                  </a:lnTo>
                  <a:lnTo>
                    <a:pt x="776716" y="462216"/>
                  </a:lnTo>
                  <a:lnTo>
                    <a:pt x="776716" y="447922"/>
                  </a:lnTo>
                  <a:close/>
                  <a:moveTo>
                    <a:pt x="505104" y="419330"/>
                  </a:moveTo>
                  <a:lnTo>
                    <a:pt x="514636" y="424096"/>
                  </a:lnTo>
                  <a:lnTo>
                    <a:pt x="552756" y="447922"/>
                  </a:lnTo>
                  <a:lnTo>
                    <a:pt x="567052" y="443156"/>
                  </a:lnTo>
                  <a:lnTo>
                    <a:pt x="609936" y="443156"/>
                  </a:lnTo>
                  <a:lnTo>
                    <a:pt x="638528" y="462218"/>
                  </a:lnTo>
                  <a:lnTo>
                    <a:pt x="652824" y="471748"/>
                  </a:lnTo>
                  <a:lnTo>
                    <a:pt x="662352" y="486042"/>
                  </a:lnTo>
                  <a:lnTo>
                    <a:pt x="671884" y="490808"/>
                  </a:lnTo>
                  <a:lnTo>
                    <a:pt x="681412" y="500338"/>
                  </a:lnTo>
                  <a:lnTo>
                    <a:pt x="681412" y="514634"/>
                  </a:lnTo>
                  <a:lnTo>
                    <a:pt x="681412" y="519398"/>
                  </a:lnTo>
                  <a:lnTo>
                    <a:pt x="667120" y="524164"/>
                  </a:lnTo>
                  <a:lnTo>
                    <a:pt x="657588" y="524164"/>
                  </a:lnTo>
                  <a:lnTo>
                    <a:pt x="628996" y="519398"/>
                  </a:lnTo>
                  <a:lnTo>
                    <a:pt x="605172" y="509868"/>
                  </a:lnTo>
                  <a:lnTo>
                    <a:pt x="557520" y="505104"/>
                  </a:lnTo>
                  <a:lnTo>
                    <a:pt x="533696" y="505104"/>
                  </a:lnTo>
                  <a:lnTo>
                    <a:pt x="524164" y="500338"/>
                  </a:lnTo>
                  <a:lnTo>
                    <a:pt x="519400" y="495574"/>
                  </a:lnTo>
                  <a:lnTo>
                    <a:pt x="505104" y="481278"/>
                  </a:lnTo>
                  <a:lnTo>
                    <a:pt x="495572" y="462218"/>
                  </a:lnTo>
                  <a:lnTo>
                    <a:pt x="495572" y="452686"/>
                  </a:lnTo>
                  <a:lnTo>
                    <a:pt x="495572" y="433626"/>
                  </a:lnTo>
                  <a:lnTo>
                    <a:pt x="495572" y="428862"/>
                  </a:lnTo>
                  <a:close/>
                  <a:moveTo>
                    <a:pt x="581348" y="376446"/>
                  </a:moveTo>
                  <a:lnTo>
                    <a:pt x="590876" y="381210"/>
                  </a:lnTo>
                  <a:lnTo>
                    <a:pt x="595640" y="381210"/>
                  </a:lnTo>
                  <a:lnTo>
                    <a:pt x="605172" y="385976"/>
                  </a:lnTo>
                  <a:lnTo>
                    <a:pt x="619468" y="400270"/>
                  </a:lnTo>
                  <a:lnTo>
                    <a:pt x="614700" y="405036"/>
                  </a:lnTo>
                  <a:lnTo>
                    <a:pt x="600408" y="405036"/>
                  </a:lnTo>
                  <a:lnTo>
                    <a:pt x="595640" y="405036"/>
                  </a:lnTo>
                  <a:lnTo>
                    <a:pt x="595640" y="400270"/>
                  </a:lnTo>
                  <a:lnTo>
                    <a:pt x="581348" y="390740"/>
                  </a:lnTo>
                  <a:lnTo>
                    <a:pt x="571816" y="390740"/>
                  </a:lnTo>
                  <a:lnTo>
                    <a:pt x="571816" y="385976"/>
                  </a:lnTo>
                  <a:close/>
                  <a:moveTo>
                    <a:pt x="419332" y="376446"/>
                  </a:moveTo>
                  <a:lnTo>
                    <a:pt x="424096" y="381210"/>
                  </a:lnTo>
                  <a:lnTo>
                    <a:pt x="428860" y="381210"/>
                  </a:lnTo>
                  <a:lnTo>
                    <a:pt x="433628" y="381210"/>
                  </a:lnTo>
                  <a:lnTo>
                    <a:pt x="433628" y="395506"/>
                  </a:lnTo>
                  <a:lnTo>
                    <a:pt x="428860" y="400270"/>
                  </a:lnTo>
                  <a:lnTo>
                    <a:pt x="419332" y="395506"/>
                  </a:lnTo>
                  <a:lnTo>
                    <a:pt x="409800" y="395506"/>
                  </a:lnTo>
                  <a:lnTo>
                    <a:pt x="405036" y="390740"/>
                  </a:lnTo>
                  <a:lnTo>
                    <a:pt x="409800" y="381210"/>
                  </a:lnTo>
                  <a:close/>
                  <a:moveTo>
                    <a:pt x="276380" y="328794"/>
                  </a:moveTo>
                  <a:lnTo>
                    <a:pt x="281144" y="343090"/>
                  </a:lnTo>
                  <a:lnTo>
                    <a:pt x="281144" y="347854"/>
                  </a:lnTo>
                  <a:lnTo>
                    <a:pt x="276380" y="352620"/>
                  </a:lnTo>
                  <a:lnTo>
                    <a:pt x="271612" y="352620"/>
                  </a:lnTo>
                  <a:lnTo>
                    <a:pt x="266848" y="343090"/>
                  </a:lnTo>
                  <a:close/>
                  <a:moveTo>
                    <a:pt x="171544" y="328794"/>
                  </a:moveTo>
                  <a:lnTo>
                    <a:pt x="176312" y="333560"/>
                  </a:lnTo>
                  <a:lnTo>
                    <a:pt x="185840" y="338324"/>
                  </a:lnTo>
                  <a:lnTo>
                    <a:pt x="185840" y="343090"/>
                  </a:lnTo>
                  <a:lnTo>
                    <a:pt x="185840" y="347854"/>
                  </a:lnTo>
                  <a:lnTo>
                    <a:pt x="176312" y="343090"/>
                  </a:lnTo>
                  <a:lnTo>
                    <a:pt x="157252" y="338324"/>
                  </a:lnTo>
                  <a:lnTo>
                    <a:pt x="157252" y="333560"/>
                  </a:lnTo>
                  <a:close/>
                  <a:moveTo>
                    <a:pt x="243020" y="300202"/>
                  </a:moveTo>
                  <a:lnTo>
                    <a:pt x="257316" y="304968"/>
                  </a:lnTo>
                  <a:lnTo>
                    <a:pt x="262084" y="309734"/>
                  </a:lnTo>
                  <a:lnTo>
                    <a:pt x="252552" y="314498"/>
                  </a:lnTo>
                  <a:lnTo>
                    <a:pt x="257316" y="319264"/>
                  </a:lnTo>
                  <a:lnTo>
                    <a:pt x="257316" y="324028"/>
                  </a:lnTo>
                  <a:lnTo>
                    <a:pt x="262084" y="328794"/>
                  </a:lnTo>
                  <a:lnTo>
                    <a:pt x="243020" y="343090"/>
                  </a:lnTo>
                  <a:lnTo>
                    <a:pt x="233492" y="338324"/>
                  </a:lnTo>
                  <a:lnTo>
                    <a:pt x="223960" y="324028"/>
                  </a:lnTo>
                  <a:lnTo>
                    <a:pt x="228728" y="314498"/>
                  </a:lnTo>
                  <a:lnTo>
                    <a:pt x="228728" y="309734"/>
                  </a:lnTo>
                  <a:lnTo>
                    <a:pt x="233492" y="309734"/>
                  </a:lnTo>
                  <a:lnTo>
                    <a:pt x="238256" y="304968"/>
                  </a:lnTo>
                  <a:close/>
                  <a:moveTo>
                    <a:pt x="147720" y="285906"/>
                  </a:moveTo>
                  <a:lnTo>
                    <a:pt x="152484" y="295438"/>
                  </a:lnTo>
                  <a:lnTo>
                    <a:pt x="147720" y="309732"/>
                  </a:lnTo>
                  <a:lnTo>
                    <a:pt x="142956" y="309732"/>
                  </a:lnTo>
                  <a:lnTo>
                    <a:pt x="138188" y="324028"/>
                  </a:lnTo>
                  <a:lnTo>
                    <a:pt x="147720" y="333558"/>
                  </a:lnTo>
                  <a:lnTo>
                    <a:pt x="147720" y="338322"/>
                  </a:lnTo>
                  <a:lnTo>
                    <a:pt x="138188" y="328792"/>
                  </a:lnTo>
                  <a:lnTo>
                    <a:pt x="119128" y="309732"/>
                  </a:lnTo>
                  <a:lnTo>
                    <a:pt x="123896" y="304968"/>
                  </a:lnTo>
                  <a:lnTo>
                    <a:pt x="142956" y="290672"/>
                  </a:lnTo>
                  <a:close/>
                  <a:moveTo>
                    <a:pt x="490808" y="281142"/>
                  </a:moveTo>
                  <a:lnTo>
                    <a:pt x="500340" y="285908"/>
                  </a:lnTo>
                  <a:lnTo>
                    <a:pt x="500340" y="290672"/>
                  </a:lnTo>
                  <a:lnTo>
                    <a:pt x="505104" y="300202"/>
                  </a:lnTo>
                  <a:lnTo>
                    <a:pt x="500340" y="304968"/>
                  </a:lnTo>
                  <a:lnTo>
                    <a:pt x="486044" y="295438"/>
                  </a:lnTo>
                  <a:lnTo>
                    <a:pt x="486044" y="290672"/>
                  </a:lnTo>
                  <a:lnTo>
                    <a:pt x="486044" y="285908"/>
                  </a:lnTo>
                  <a:close/>
                  <a:moveTo>
                    <a:pt x="648060" y="271612"/>
                  </a:moveTo>
                  <a:lnTo>
                    <a:pt x="657588" y="271612"/>
                  </a:lnTo>
                  <a:lnTo>
                    <a:pt x="662352" y="271612"/>
                  </a:lnTo>
                  <a:lnTo>
                    <a:pt x="667120" y="271612"/>
                  </a:lnTo>
                  <a:lnTo>
                    <a:pt x="671884" y="271612"/>
                  </a:lnTo>
                  <a:lnTo>
                    <a:pt x="710004" y="319264"/>
                  </a:lnTo>
                  <a:lnTo>
                    <a:pt x="710004" y="324028"/>
                  </a:lnTo>
                  <a:lnTo>
                    <a:pt x="705240" y="328794"/>
                  </a:lnTo>
                  <a:lnTo>
                    <a:pt x="705240" y="347854"/>
                  </a:lnTo>
                  <a:lnTo>
                    <a:pt x="710004" y="352618"/>
                  </a:lnTo>
                  <a:lnTo>
                    <a:pt x="719536" y="357384"/>
                  </a:lnTo>
                  <a:lnTo>
                    <a:pt x="738596" y="371680"/>
                  </a:lnTo>
                  <a:lnTo>
                    <a:pt x="743360" y="395506"/>
                  </a:lnTo>
                  <a:lnTo>
                    <a:pt x="743360" y="400270"/>
                  </a:lnTo>
                  <a:lnTo>
                    <a:pt x="752892" y="409800"/>
                  </a:lnTo>
                  <a:lnTo>
                    <a:pt x="752892" y="428860"/>
                  </a:lnTo>
                  <a:lnTo>
                    <a:pt x="767184" y="457452"/>
                  </a:lnTo>
                  <a:lnTo>
                    <a:pt x="771952" y="466982"/>
                  </a:lnTo>
                  <a:lnTo>
                    <a:pt x="767184" y="476512"/>
                  </a:lnTo>
                  <a:lnTo>
                    <a:pt x="762420" y="471746"/>
                  </a:lnTo>
                  <a:lnTo>
                    <a:pt x="743360" y="443156"/>
                  </a:lnTo>
                  <a:lnTo>
                    <a:pt x="719536" y="428860"/>
                  </a:lnTo>
                  <a:lnTo>
                    <a:pt x="714768" y="424096"/>
                  </a:lnTo>
                  <a:lnTo>
                    <a:pt x="690944" y="405036"/>
                  </a:lnTo>
                  <a:lnTo>
                    <a:pt x="676648" y="371680"/>
                  </a:lnTo>
                  <a:lnTo>
                    <a:pt x="657588" y="319264"/>
                  </a:lnTo>
                  <a:lnTo>
                    <a:pt x="667120" y="304968"/>
                  </a:lnTo>
                  <a:lnTo>
                    <a:pt x="648060" y="281142"/>
                  </a:lnTo>
                  <a:close/>
                  <a:moveTo>
                    <a:pt x="162016" y="214430"/>
                  </a:moveTo>
                  <a:lnTo>
                    <a:pt x="181076" y="223962"/>
                  </a:lnTo>
                  <a:lnTo>
                    <a:pt x="181076" y="247786"/>
                  </a:lnTo>
                  <a:lnTo>
                    <a:pt x="190604" y="252552"/>
                  </a:lnTo>
                  <a:lnTo>
                    <a:pt x="204900" y="257318"/>
                  </a:lnTo>
                  <a:lnTo>
                    <a:pt x="214432" y="271612"/>
                  </a:lnTo>
                  <a:lnTo>
                    <a:pt x="228728" y="300204"/>
                  </a:lnTo>
                  <a:lnTo>
                    <a:pt x="223960" y="309734"/>
                  </a:lnTo>
                  <a:lnTo>
                    <a:pt x="219196" y="309734"/>
                  </a:lnTo>
                  <a:lnTo>
                    <a:pt x="214432" y="319264"/>
                  </a:lnTo>
                  <a:lnTo>
                    <a:pt x="204900" y="304968"/>
                  </a:lnTo>
                  <a:lnTo>
                    <a:pt x="190604" y="300204"/>
                  </a:lnTo>
                  <a:lnTo>
                    <a:pt x="181076" y="290674"/>
                  </a:lnTo>
                  <a:lnTo>
                    <a:pt x="176312" y="271612"/>
                  </a:lnTo>
                  <a:lnTo>
                    <a:pt x="176312" y="262082"/>
                  </a:lnTo>
                  <a:lnTo>
                    <a:pt x="166780" y="262082"/>
                  </a:lnTo>
                  <a:lnTo>
                    <a:pt x="142956" y="262082"/>
                  </a:lnTo>
                  <a:lnTo>
                    <a:pt x="133424" y="271612"/>
                  </a:lnTo>
                  <a:lnTo>
                    <a:pt x="123896" y="271612"/>
                  </a:lnTo>
                  <a:lnTo>
                    <a:pt x="119128" y="262082"/>
                  </a:lnTo>
                  <a:lnTo>
                    <a:pt x="123896" y="252552"/>
                  </a:lnTo>
                  <a:lnTo>
                    <a:pt x="138188" y="247786"/>
                  </a:lnTo>
                  <a:lnTo>
                    <a:pt x="138188" y="238256"/>
                  </a:lnTo>
                  <a:lnTo>
                    <a:pt x="152484" y="219196"/>
                  </a:lnTo>
                  <a:close/>
                  <a:moveTo>
                    <a:pt x="19060" y="214430"/>
                  </a:moveTo>
                  <a:lnTo>
                    <a:pt x="28592" y="238256"/>
                  </a:lnTo>
                  <a:lnTo>
                    <a:pt x="23828" y="247786"/>
                  </a:lnTo>
                  <a:lnTo>
                    <a:pt x="23828" y="252552"/>
                  </a:lnTo>
                  <a:lnTo>
                    <a:pt x="14296" y="233492"/>
                  </a:lnTo>
                  <a:lnTo>
                    <a:pt x="14296" y="223962"/>
                  </a:lnTo>
                  <a:close/>
                  <a:moveTo>
                    <a:pt x="90540" y="200134"/>
                  </a:moveTo>
                  <a:lnTo>
                    <a:pt x="104832" y="200134"/>
                  </a:lnTo>
                  <a:lnTo>
                    <a:pt x="109600" y="200134"/>
                  </a:lnTo>
                  <a:lnTo>
                    <a:pt x="114364" y="209666"/>
                  </a:lnTo>
                  <a:lnTo>
                    <a:pt x="119128" y="223960"/>
                  </a:lnTo>
                  <a:lnTo>
                    <a:pt x="119128" y="233490"/>
                  </a:lnTo>
                  <a:lnTo>
                    <a:pt x="114364" y="238256"/>
                  </a:lnTo>
                  <a:lnTo>
                    <a:pt x="109600" y="238256"/>
                  </a:lnTo>
                  <a:lnTo>
                    <a:pt x="95304" y="238256"/>
                  </a:lnTo>
                  <a:lnTo>
                    <a:pt x="81008" y="223960"/>
                  </a:lnTo>
                  <a:lnTo>
                    <a:pt x="81008" y="209666"/>
                  </a:lnTo>
                  <a:close/>
                  <a:moveTo>
                    <a:pt x="19060" y="152484"/>
                  </a:moveTo>
                  <a:lnTo>
                    <a:pt x="33356" y="162014"/>
                  </a:lnTo>
                  <a:lnTo>
                    <a:pt x="42888" y="171544"/>
                  </a:lnTo>
                  <a:lnTo>
                    <a:pt x="57180" y="176310"/>
                  </a:lnTo>
                  <a:lnTo>
                    <a:pt x="52416" y="185840"/>
                  </a:lnTo>
                  <a:lnTo>
                    <a:pt x="42888" y="200136"/>
                  </a:lnTo>
                  <a:lnTo>
                    <a:pt x="38120" y="209666"/>
                  </a:lnTo>
                  <a:lnTo>
                    <a:pt x="33356" y="209666"/>
                  </a:lnTo>
                  <a:lnTo>
                    <a:pt x="28592" y="204900"/>
                  </a:lnTo>
                  <a:lnTo>
                    <a:pt x="23828" y="200136"/>
                  </a:lnTo>
                  <a:lnTo>
                    <a:pt x="23828" y="190606"/>
                  </a:lnTo>
                  <a:lnTo>
                    <a:pt x="9532" y="176310"/>
                  </a:lnTo>
                  <a:lnTo>
                    <a:pt x="9532" y="162014"/>
                  </a:lnTo>
                  <a:close/>
                  <a:moveTo>
                    <a:pt x="314500" y="147718"/>
                  </a:moveTo>
                  <a:lnTo>
                    <a:pt x="357384" y="157250"/>
                  </a:lnTo>
                  <a:lnTo>
                    <a:pt x="376444" y="176310"/>
                  </a:lnTo>
                  <a:lnTo>
                    <a:pt x="395508" y="185840"/>
                  </a:lnTo>
                  <a:lnTo>
                    <a:pt x="400272" y="195370"/>
                  </a:lnTo>
                  <a:lnTo>
                    <a:pt x="414568" y="204900"/>
                  </a:lnTo>
                  <a:lnTo>
                    <a:pt x="428864" y="204900"/>
                  </a:lnTo>
                  <a:lnTo>
                    <a:pt x="443156" y="214430"/>
                  </a:lnTo>
                  <a:lnTo>
                    <a:pt x="457452" y="219196"/>
                  </a:lnTo>
                  <a:lnTo>
                    <a:pt x="466984" y="223960"/>
                  </a:lnTo>
                  <a:lnTo>
                    <a:pt x="528928" y="271612"/>
                  </a:lnTo>
                  <a:lnTo>
                    <a:pt x="524164" y="285908"/>
                  </a:lnTo>
                  <a:lnTo>
                    <a:pt x="533696" y="295438"/>
                  </a:lnTo>
                  <a:lnTo>
                    <a:pt x="538460" y="304968"/>
                  </a:lnTo>
                  <a:lnTo>
                    <a:pt x="538460" y="309734"/>
                  </a:lnTo>
                  <a:lnTo>
                    <a:pt x="514636" y="295438"/>
                  </a:lnTo>
                  <a:lnTo>
                    <a:pt x="500340" y="281142"/>
                  </a:lnTo>
                  <a:lnTo>
                    <a:pt x="452688" y="262082"/>
                  </a:lnTo>
                  <a:lnTo>
                    <a:pt x="443156" y="252552"/>
                  </a:lnTo>
                  <a:lnTo>
                    <a:pt x="438392" y="252552"/>
                  </a:lnTo>
                  <a:lnTo>
                    <a:pt x="414568" y="238256"/>
                  </a:lnTo>
                  <a:lnTo>
                    <a:pt x="390740" y="228726"/>
                  </a:lnTo>
                  <a:lnTo>
                    <a:pt x="376444" y="214430"/>
                  </a:lnTo>
                  <a:lnTo>
                    <a:pt x="371680" y="209666"/>
                  </a:lnTo>
                  <a:lnTo>
                    <a:pt x="366916" y="204900"/>
                  </a:lnTo>
                  <a:lnTo>
                    <a:pt x="352620" y="190606"/>
                  </a:lnTo>
                  <a:lnTo>
                    <a:pt x="338324" y="181074"/>
                  </a:lnTo>
                  <a:lnTo>
                    <a:pt x="333560" y="166780"/>
                  </a:lnTo>
                  <a:lnTo>
                    <a:pt x="319264" y="152484"/>
                  </a:lnTo>
                  <a:close/>
                  <a:moveTo>
                    <a:pt x="4764" y="0"/>
                  </a:moveTo>
                  <a:lnTo>
                    <a:pt x="23824" y="4766"/>
                  </a:lnTo>
                  <a:lnTo>
                    <a:pt x="52416" y="28590"/>
                  </a:lnTo>
                  <a:lnTo>
                    <a:pt x="90536" y="47652"/>
                  </a:lnTo>
                  <a:lnTo>
                    <a:pt x="104832" y="57182"/>
                  </a:lnTo>
                  <a:lnTo>
                    <a:pt x="109596" y="81006"/>
                  </a:lnTo>
                  <a:lnTo>
                    <a:pt x="119128" y="90538"/>
                  </a:lnTo>
                  <a:lnTo>
                    <a:pt x="138188" y="109598"/>
                  </a:lnTo>
                  <a:lnTo>
                    <a:pt x="152484" y="109598"/>
                  </a:lnTo>
                  <a:lnTo>
                    <a:pt x="157248" y="114362"/>
                  </a:lnTo>
                  <a:lnTo>
                    <a:pt x="162012" y="114362"/>
                  </a:lnTo>
                  <a:lnTo>
                    <a:pt x="166780" y="119128"/>
                  </a:lnTo>
                  <a:lnTo>
                    <a:pt x="157248" y="128658"/>
                  </a:lnTo>
                  <a:lnTo>
                    <a:pt x="138188" y="123892"/>
                  </a:lnTo>
                  <a:lnTo>
                    <a:pt x="138188" y="119128"/>
                  </a:lnTo>
                  <a:lnTo>
                    <a:pt x="123892" y="119128"/>
                  </a:lnTo>
                  <a:lnTo>
                    <a:pt x="104832" y="114362"/>
                  </a:lnTo>
                  <a:lnTo>
                    <a:pt x="71476" y="90538"/>
                  </a:lnTo>
                  <a:lnTo>
                    <a:pt x="38120" y="47652"/>
                  </a:lnTo>
                  <a:lnTo>
                    <a:pt x="9532" y="23826"/>
                  </a:lnTo>
                  <a:lnTo>
                    <a:pt x="0" y="19060"/>
                  </a:lnTo>
                  <a:lnTo>
                    <a:pt x="0"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5" name="Google Shape;4852;p64">
              <a:extLst>
                <a:ext uri="{FF2B5EF4-FFF2-40B4-BE49-F238E27FC236}">
                  <a16:creationId xmlns:a16="http://schemas.microsoft.com/office/drawing/2014/main" id="{D1D7341A-9194-D169-694E-D8B4D7076221}"/>
                </a:ext>
              </a:extLst>
            </p:cNvPr>
            <p:cNvSpPr/>
            <p:nvPr/>
          </p:nvSpPr>
          <p:spPr>
            <a:xfrm>
              <a:off x="4238814" y="4773522"/>
              <a:ext cx="64976" cy="66943"/>
            </a:xfrm>
            <a:custGeom>
              <a:avLst/>
              <a:gdLst/>
              <a:ahLst/>
              <a:cxnLst/>
              <a:rect l="l" t="t" r="r" b="b"/>
              <a:pathLst>
                <a:path w="471748" h="486042" extrusionOk="0">
                  <a:moveTo>
                    <a:pt x="104832" y="371678"/>
                  </a:moveTo>
                  <a:lnTo>
                    <a:pt x="119128" y="376444"/>
                  </a:lnTo>
                  <a:lnTo>
                    <a:pt x="123892" y="381208"/>
                  </a:lnTo>
                  <a:lnTo>
                    <a:pt x="123892" y="390738"/>
                  </a:lnTo>
                  <a:lnTo>
                    <a:pt x="119128" y="405034"/>
                  </a:lnTo>
                  <a:lnTo>
                    <a:pt x="119128" y="409800"/>
                  </a:lnTo>
                  <a:lnTo>
                    <a:pt x="109598" y="400268"/>
                  </a:lnTo>
                  <a:lnTo>
                    <a:pt x="57180" y="381208"/>
                  </a:lnTo>
                  <a:lnTo>
                    <a:pt x="71476" y="376444"/>
                  </a:lnTo>
                  <a:close/>
                  <a:moveTo>
                    <a:pt x="219196" y="0"/>
                  </a:moveTo>
                  <a:lnTo>
                    <a:pt x="247786" y="0"/>
                  </a:lnTo>
                  <a:lnTo>
                    <a:pt x="285908" y="0"/>
                  </a:lnTo>
                  <a:lnTo>
                    <a:pt x="319264" y="0"/>
                  </a:lnTo>
                  <a:lnTo>
                    <a:pt x="328794" y="0"/>
                  </a:lnTo>
                  <a:lnTo>
                    <a:pt x="333560" y="9530"/>
                  </a:lnTo>
                  <a:lnTo>
                    <a:pt x="343090" y="23824"/>
                  </a:lnTo>
                  <a:lnTo>
                    <a:pt x="352620" y="33354"/>
                  </a:lnTo>
                  <a:lnTo>
                    <a:pt x="366916" y="52416"/>
                  </a:lnTo>
                  <a:lnTo>
                    <a:pt x="381210" y="76242"/>
                  </a:lnTo>
                  <a:lnTo>
                    <a:pt x="395506" y="95302"/>
                  </a:lnTo>
                  <a:lnTo>
                    <a:pt x="409802" y="109596"/>
                  </a:lnTo>
                  <a:lnTo>
                    <a:pt x="409802" y="114362"/>
                  </a:lnTo>
                  <a:lnTo>
                    <a:pt x="405036" y="128658"/>
                  </a:lnTo>
                  <a:lnTo>
                    <a:pt x="400272" y="138188"/>
                  </a:lnTo>
                  <a:lnTo>
                    <a:pt x="400272" y="142952"/>
                  </a:lnTo>
                  <a:lnTo>
                    <a:pt x="419332" y="147718"/>
                  </a:lnTo>
                  <a:lnTo>
                    <a:pt x="419332" y="162014"/>
                  </a:lnTo>
                  <a:lnTo>
                    <a:pt x="419332" y="176308"/>
                  </a:lnTo>
                  <a:lnTo>
                    <a:pt x="428862" y="195370"/>
                  </a:lnTo>
                  <a:lnTo>
                    <a:pt x="438392" y="204900"/>
                  </a:lnTo>
                  <a:lnTo>
                    <a:pt x="438392" y="209664"/>
                  </a:lnTo>
                  <a:lnTo>
                    <a:pt x="419332" y="233490"/>
                  </a:lnTo>
                  <a:lnTo>
                    <a:pt x="409802" y="252550"/>
                  </a:lnTo>
                  <a:lnTo>
                    <a:pt x="405036" y="257316"/>
                  </a:lnTo>
                  <a:lnTo>
                    <a:pt x="405036" y="262082"/>
                  </a:lnTo>
                  <a:lnTo>
                    <a:pt x="409802" y="266846"/>
                  </a:lnTo>
                  <a:lnTo>
                    <a:pt x="414566" y="262082"/>
                  </a:lnTo>
                  <a:lnTo>
                    <a:pt x="419332" y="266846"/>
                  </a:lnTo>
                  <a:lnTo>
                    <a:pt x="428862" y="266846"/>
                  </a:lnTo>
                  <a:lnTo>
                    <a:pt x="438392" y="257316"/>
                  </a:lnTo>
                  <a:lnTo>
                    <a:pt x="452688" y="238256"/>
                  </a:lnTo>
                  <a:lnTo>
                    <a:pt x="457452" y="238256"/>
                  </a:lnTo>
                  <a:lnTo>
                    <a:pt x="471748" y="238256"/>
                  </a:lnTo>
                  <a:lnTo>
                    <a:pt x="471748" y="243020"/>
                  </a:lnTo>
                  <a:lnTo>
                    <a:pt x="466982" y="266846"/>
                  </a:lnTo>
                  <a:lnTo>
                    <a:pt x="457452" y="285906"/>
                  </a:lnTo>
                  <a:lnTo>
                    <a:pt x="452688" y="290672"/>
                  </a:lnTo>
                  <a:lnTo>
                    <a:pt x="433626" y="295436"/>
                  </a:lnTo>
                  <a:lnTo>
                    <a:pt x="428862" y="304968"/>
                  </a:lnTo>
                  <a:lnTo>
                    <a:pt x="419332" y="333558"/>
                  </a:lnTo>
                  <a:lnTo>
                    <a:pt x="414566" y="352618"/>
                  </a:lnTo>
                  <a:lnTo>
                    <a:pt x="409802" y="357384"/>
                  </a:lnTo>
                  <a:lnTo>
                    <a:pt x="376446" y="385974"/>
                  </a:lnTo>
                  <a:lnTo>
                    <a:pt x="357384" y="400270"/>
                  </a:lnTo>
                  <a:lnTo>
                    <a:pt x="347854" y="409800"/>
                  </a:lnTo>
                  <a:lnTo>
                    <a:pt x="333560" y="424096"/>
                  </a:lnTo>
                  <a:lnTo>
                    <a:pt x="319264" y="438390"/>
                  </a:lnTo>
                  <a:lnTo>
                    <a:pt x="300204" y="457452"/>
                  </a:lnTo>
                  <a:lnTo>
                    <a:pt x="290672" y="481276"/>
                  </a:lnTo>
                  <a:lnTo>
                    <a:pt x="281142" y="486042"/>
                  </a:lnTo>
                  <a:lnTo>
                    <a:pt x="276378" y="481276"/>
                  </a:lnTo>
                  <a:lnTo>
                    <a:pt x="243022" y="457452"/>
                  </a:lnTo>
                  <a:lnTo>
                    <a:pt x="214430" y="443156"/>
                  </a:lnTo>
                  <a:lnTo>
                    <a:pt x="147720" y="419330"/>
                  </a:lnTo>
                  <a:lnTo>
                    <a:pt x="128658" y="414566"/>
                  </a:lnTo>
                  <a:lnTo>
                    <a:pt x="128658" y="405034"/>
                  </a:lnTo>
                  <a:lnTo>
                    <a:pt x="138188" y="385974"/>
                  </a:lnTo>
                  <a:lnTo>
                    <a:pt x="123894" y="366914"/>
                  </a:lnTo>
                  <a:lnTo>
                    <a:pt x="128658" y="352618"/>
                  </a:lnTo>
                  <a:lnTo>
                    <a:pt x="123894" y="352618"/>
                  </a:lnTo>
                  <a:lnTo>
                    <a:pt x="114364" y="362148"/>
                  </a:lnTo>
                  <a:lnTo>
                    <a:pt x="95302" y="362148"/>
                  </a:lnTo>
                  <a:lnTo>
                    <a:pt x="81008" y="347854"/>
                  </a:lnTo>
                  <a:lnTo>
                    <a:pt x="71476" y="343088"/>
                  </a:lnTo>
                  <a:lnTo>
                    <a:pt x="66712" y="338324"/>
                  </a:lnTo>
                  <a:lnTo>
                    <a:pt x="57182" y="304968"/>
                  </a:lnTo>
                  <a:lnTo>
                    <a:pt x="52416" y="290672"/>
                  </a:lnTo>
                  <a:lnTo>
                    <a:pt x="42886" y="285906"/>
                  </a:lnTo>
                  <a:lnTo>
                    <a:pt x="23826" y="281142"/>
                  </a:lnTo>
                  <a:lnTo>
                    <a:pt x="14296" y="262082"/>
                  </a:lnTo>
                  <a:lnTo>
                    <a:pt x="4766" y="247786"/>
                  </a:lnTo>
                  <a:lnTo>
                    <a:pt x="4766" y="238256"/>
                  </a:lnTo>
                  <a:lnTo>
                    <a:pt x="14296" y="238256"/>
                  </a:lnTo>
                  <a:lnTo>
                    <a:pt x="23826" y="247786"/>
                  </a:lnTo>
                  <a:lnTo>
                    <a:pt x="33356" y="247786"/>
                  </a:lnTo>
                  <a:lnTo>
                    <a:pt x="47652" y="233490"/>
                  </a:lnTo>
                  <a:lnTo>
                    <a:pt x="61946" y="223960"/>
                  </a:lnTo>
                  <a:lnTo>
                    <a:pt x="61946" y="214430"/>
                  </a:lnTo>
                  <a:lnTo>
                    <a:pt x="61946" y="209664"/>
                  </a:lnTo>
                  <a:lnTo>
                    <a:pt x="57182" y="219194"/>
                  </a:lnTo>
                  <a:lnTo>
                    <a:pt x="33356" y="219194"/>
                  </a:lnTo>
                  <a:lnTo>
                    <a:pt x="28590" y="223960"/>
                  </a:lnTo>
                  <a:lnTo>
                    <a:pt x="19060" y="223960"/>
                  </a:lnTo>
                  <a:lnTo>
                    <a:pt x="9530" y="204900"/>
                  </a:lnTo>
                  <a:lnTo>
                    <a:pt x="9530" y="195370"/>
                  </a:lnTo>
                  <a:lnTo>
                    <a:pt x="14296" y="181074"/>
                  </a:lnTo>
                  <a:lnTo>
                    <a:pt x="38122" y="181074"/>
                  </a:lnTo>
                  <a:lnTo>
                    <a:pt x="38122" y="176308"/>
                  </a:lnTo>
                  <a:lnTo>
                    <a:pt x="23826" y="171544"/>
                  </a:lnTo>
                  <a:lnTo>
                    <a:pt x="4766" y="157248"/>
                  </a:lnTo>
                  <a:lnTo>
                    <a:pt x="0" y="147718"/>
                  </a:lnTo>
                  <a:lnTo>
                    <a:pt x="9530" y="147718"/>
                  </a:lnTo>
                  <a:lnTo>
                    <a:pt x="19060" y="147718"/>
                  </a:lnTo>
                  <a:lnTo>
                    <a:pt x="28590" y="147718"/>
                  </a:lnTo>
                  <a:lnTo>
                    <a:pt x="33356" y="147718"/>
                  </a:lnTo>
                  <a:lnTo>
                    <a:pt x="42886" y="142952"/>
                  </a:lnTo>
                  <a:lnTo>
                    <a:pt x="47652" y="133422"/>
                  </a:lnTo>
                  <a:lnTo>
                    <a:pt x="52416" y="114362"/>
                  </a:lnTo>
                  <a:lnTo>
                    <a:pt x="76242" y="109596"/>
                  </a:lnTo>
                  <a:lnTo>
                    <a:pt x="85772" y="100066"/>
                  </a:lnTo>
                  <a:lnTo>
                    <a:pt x="95302" y="81006"/>
                  </a:lnTo>
                  <a:lnTo>
                    <a:pt x="100068" y="66710"/>
                  </a:lnTo>
                  <a:lnTo>
                    <a:pt x="104832" y="61946"/>
                  </a:lnTo>
                  <a:lnTo>
                    <a:pt x="109598" y="57180"/>
                  </a:lnTo>
                  <a:lnTo>
                    <a:pt x="109598" y="52416"/>
                  </a:lnTo>
                  <a:lnTo>
                    <a:pt x="114364" y="47650"/>
                  </a:lnTo>
                  <a:lnTo>
                    <a:pt x="123894" y="33354"/>
                  </a:lnTo>
                  <a:lnTo>
                    <a:pt x="123894" y="19060"/>
                  </a:lnTo>
                  <a:lnTo>
                    <a:pt x="138188" y="14294"/>
                  </a:lnTo>
                  <a:lnTo>
                    <a:pt x="162014" y="9530"/>
                  </a:lnTo>
                  <a:lnTo>
                    <a:pt x="181074" y="19060"/>
                  </a:lnTo>
                  <a:lnTo>
                    <a:pt x="21443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6" name="Google Shape;4853;p64">
              <a:extLst>
                <a:ext uri="{FF2B5EF4-FFF2-40B4-BE49-F238E27FC236}">
                  <a16:creationId xmlns:a16="http://schemas.microsoft.com/office/drawing/2014/main" id="{D34F41DA-BB83-F64E-650A-63F549CCFD06}"/>
                </a:ext>
              </a:extLst>
            </p:cNvPr>
            <p:cNvSpPr/>
            <p:nvPr/>
          </p:nvSpPr>
          <p:spPr>
            <a:xfrm>
              <a:off x="2587198" y="4675732"/>
              <a:ext cx="51193" cy="28222"/>
            </a:xfrm>
            <a:custGeom>
              <a:avLst/>
              <a:gdLst/>
              <a:ahLst/>
              <a:cxnLst/>
              <a:rect l="l" t="t" r="r" b="b"/>
              <a:pathLst>
                <a:path w="156" h="86" extrusionOk="0">
                  <a:moveTo>
                    <a:pt x="48" y="2"/>
                  </a:moveTo>
                  <a:lnTo>
                    <a:pt x="46" y="0"/>
                  </a:lnTo>
                  <a:lnTo>
                    <a:pt x="44" y="0"/>
                  </a:lnTo>
                  <a:lnTo>
                    <a:pt x="38" y="2"/>
                  </a:lnTo>
                  <a:lnTo>
                    <a:pt x="36" y="2"/>
                  </a:lnTo>
                  <a:lnTo>
                    <a:pt x="34" y="2"/>
                  </a:lnTo>
                  <a:lnTo>
                    <a:pt x="34" y="6"/>
                  </a:lnTo>
                  <a:lnTo>
                    <a:pt x="36" y="10"/>
                  </a:lnTo>
                  <a:lnTo>
                    <a:pt x="36" y="14"/>
                  </a:lnTo>
                  <a:lnTo>
                    <a:pt x="34" y="14"/>
                  </a:lnTo>
                  <a:lnTo>
                    <a:pt x="28" y="18"/>
                  </a:lnTo>
                  <a:lnTo>
                    <a:pt x="24" y="20"/>
                  </a:lnTo>
                  <a:lnTo>
                    <a:pt x="22" y="24"/>
                  </a:lnTo>
                  <a:lnTo>
                    <a:pt x="20" y="26"/>
                  </a:lnTo>
                  <a:lnTo>
                    <a:pt x="16" y="26"/>
                  </a:lnTo>
                  <a:lnTo>
                    <a:pt x="14" y="26"/>
                  </a:lnTo>
                  <a:lnTo>
                    <a:pt x="10" y="30"/>
                  </a:lnTo>
                  <a:lnTo>
                    <a:pt x="2" y="36"/>
                  </a:lnTo>
                  <a:lnTo>
                    <a:pt x="0" y="40"/>
                  </a:lnTo>
                  <a:lnTo>
                    <a:pt x="0" y="44"/>
                  </a:lnTo>
                  <a:lnTo>
                    <a:pt x="0" y="48"/>
                  </a:lnTo>
                  <a:lnTo>
                    <a:pt x="8" y="50"/>
                  </a:lnTo>
                  <a:lnTo>
                    <a:pt x="18" y="60"/>
                  </a:lnTo>
                  <a:lnTo>
                    <a:pt x="38" y="62"/>
                  </a:lnTo>
                  <a:lnTo>
                    <a:pt x="54" y="64"/>
                  </a:lnTo>
                  <a:lnTo>
                    <a:pt x="80" y="78"/>
                  </a:lnTo>
                  <a:lnTo>
                    <a:pt x="104" y="84"/>
                  </a:lnTo>
                  <a:lnTo>
                    <a:pt x="106" y="84"/>
                  </a:lnTo>
                  <a:lnTo>
                    <a:pt x="98" y="80"/>
                  </a:lnTo>
                  <a:lnTo>
                    <a:pt x="94" y="80"/>
                  </a:lnTo>
                  <a:lnTo>
                    <a:pt x="92" y="78"/>
                  </a:lnTo>
                  <a:lnTo>
                    <a:pt x="98" y="78"/>
                  </a:lnTo>
                  <a:lnTo>
                    <a:pt x="110" y="82"/>
                  </a:lnTo>
                  <a:lnTo>
                    <a:pt x="126" y="86"/>
                  </a:lnTo>
                  <a:lnTo>
                    <a:pt x="136" y="86"/>
                  </a:lnTo>
                  <a:lnTo>
                    <a:pt x="142" y="84"/>
                  </a:lnTo>
                  <a:lnTo>
                    <a:pt x="144" y="82"/>
                  </a:lnTo>
                  <a:lnTo>
                    <a:pt x="148" y="78"/>
                  </a:lnTo>
                  <a:lnTo>
                    <a:pt x="148" y="70"/>
                  </a:lnTo>
                  <a:lnTo>
                    <a:pt x="150" y="70"/>
                  </a:lnTo>
                  <a:lnTo>
                    <a:pt x="154" y="66"/>
                  </a:lnTo>
                  <a:lnTo>
                    <a:pt x="154" y="64"/>
                  </a:lnTo>
                  <a:lnTo>
                    <a:pt x="152" y="62"/>
                  </a:lnTo>
                  <a:lnTo>
                    <a:pt x="152" y="62"/>
                  </a:lnTo>
                  <a:lnTo>
                    <a:pt x="152" y="58"/>
                  </a:lnTo>
                  <a:lnTo>
                    <a:pt x="152" y="54"/>
                  </a:lnTo>
                  <a:lnTo>
                    <a:pt x="156" y="42"/>
                  </a:lnTo>
                  <a:lnTo>
                    <a:pt x="154" y="40"/>
                  </a:lnTo>
                  <a:lnTo>
                    <a:pt x="150" y="36"/>
                  </a:lnTo>
                  <a:lnTo>
                    <a:pt x="144" y="36"/>
                  </a:lnTo>
                  <a:lnTo>
                    <a:pt x="138" y="38"/>
                  </a:lnTo>
                  <a:lnTo>
                    <a:pt x="134" y="36"/>
                  </a:lnTo>
                  <a:lnTo>
                    <a:pt x="132" y="32"/>
                  </a:lnTo>
                  <a:lnTo>
                    <a:pt x="128" y="30"/>
                  </a:lnTo>
                  <a:lnTo>
                    <a:pt x="118" y="34"/>
                  </a:lnTo>
                  <a:lnTo>
                    <a:pt x="110" y="38"/>
                  </a:lnTo>
                  <a:lnTo>
                    <a:pt x="108" y="40"/>
                  </a:lnTo>
                  <a:lnTo>
                    <a:pt x="106" y="40"/>
                  </a:lnTo>
                  <a:lnTo>
                    <a:pt x="104" y="36"/>
                  </a:lnTo>
                  <a:lnTo>
                    <a:pt x="104" y="32"/>
                  </a:lnTo>
                  <a:lnTo>
                    <a:pt x="104" y="30"/>
                  </a:lnTo>
                  <a:lnTo>
                    <a:pt x="98" y="30"/>
                  </a:lnTo>
                  <a:lnTo>
                    <a:pt x="94" y="28"/>
                  </a:lnTo>
                  <a:lnTo>
                    <a:pt x="90" y="28"/>
                  </a:lnTo>
                  <a:lnTo>
                    <a:pt x="88" y="24"/>
                  </a:lnTo>
                  <a:lnTo>
                    <a:pt x="82" y="22"/>
                  </a:lnTo>
                  <a:lnTo>
                    <a:pt x="80" y="18"/>
                  </a:lnTo>
                  <a:lnTo>
                    <a:pt x="72" y="12"/>
                  </a:lnTo>
                  <a:lnTo>
                    <a:pt x="70" y="10"/>
                  </a:lnTo>
                  <a:lnTo>
                    <a:pt x="68" y="8"/>
                  </a:lnTo>
                  <a:lnTo>
                    <a:pt x="64" y="4"/>
                  </a:lnTo>
                  <a:lnTo>
                    <a:pt x="60" y="6"/>
                  </a:lnTo>
                  <a:lnTo>
                    <a:pt x="50" y="2"/>
                  </a:lnTo>
                  <a:lnTo>
                    <a:pt x="48"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87" name="Google Shape;4854;p64">
              <a:extLst>
                <a:ext uri="{FF2B5EF4-FFF2-40B4-BE49-F238E27FC236}">
                  <a16:creationId xmlns:a16="http://schemas.microsoft.com/office/drawing/2014/main" id="{D6AE8932-24CD-3292-7CC3-D7D2BF07759C}"/>
                </a:ext>
              </a:extLst>
            </p:cNvPr>
            <p:cNvSpPr/>
            <p:nvPr/>
          </p:nvSpPr>
          <p:spPr>
            <a:xfrm>
              <a:off x="5442495" y="4740706"/>
              <a:ext cx="135201" cy="76133"/>
            </a:xfrm>
            <a:custGeom>
              <a:avLst/>
              <a:gdLst/>
              <a:ahLst/>
              <a:cxnLst/>
              <a:rect l="l" t="t" r="r" b="b"/>
              <a:pathLst>
                <a:path w="412" h="232" extrusionOk="0">
                  <a:moveTo>
                    <a:pt x="412" y="16"/>
                  </a:moveTo>
                  <a:lnTo>
                    <a:pt x="410" y="16"/>
                  </a:lnTo>
                  <a:lnTo>
                    <a:pt x="396" y="12"/>
                  </a:lnTo>
                  <a:lnTo>
                    <a:pt x="388" y="12"/>
                  </a:lnTo>
                  <a:lnTo>
                    <a:pt x="380" y="14"/>
                  </a:lnTo>
                  <a:lnTo>
                    <a:pt x="352" y="24"/>
                  </a:lnTo>
                  <a:lnTo>
                    <a:pt x="332" y="26"/>
                  </a:lnTo>
                  <a:lnTo>
                    <a:pt x="316" y="22"/>
                  </a:lnTo>
                  <a:lnTo>
                    <a:pt x="312" y="22"/>
                  </a:lnTo>
                  <a:lnTo>
                    <a:pt x="300" y="26"/>
                  </a:lnTo>
                  <a:lnTo>
                    <a:pt x="284" y="38"/>
                  </a:lnTo>
                  <a:lnTo>
                    <a:pt x="256" y="50"/>
                  </a:lnTo>
                  <a:lnTo>
                    <a:pt x="250" y="50"/>
                  </a:lnTo>
                  <a:lnTo>
                    <a:pt x="236" y="48"/>
                  </a:lnTo>
                  <a:lnTo>
                    <a:pt x="222" y="46"/>
                  </a:lnTo>
                  <a:lnTo>
                    <a:pt x="208" y="44"/>
                  </a:lnTo>
                  <a:lnTo>
                    <a:pt x="200" y="46"/>
                  </a:lnTo>
                  <a:lnTo>
                    <a:pt x="176" y="56"/>
                  </a:lnTo>
                  <a:lnTo>
                    <a:pt x="150" y="70"/>
                  </a:lnTo>
                  <a:lnTo>
                    <a:pt x="114" y="70"/>
                  </a:lnTo>
                  <a:lnTo>
                    <a:pt x="108" y="68"/>
                  </a:lnTo>
                  <a:lnTo>
                    <a:pt x="98" y="62"/>
                  </a:lnTo>
                  <a:lnTo>
                    <a:pt x="78" y="48"/>
                  </a:lnTo>
                  <a:lnTo>
                    <a:pt x="64" y="30"/>
                  </a:lnTo>
                  <a:lnTo>
                    <a:pt x="52" y="10"/>
                  </a:lnTo>
                  <a:lnTo>
                    <a:pt x="40" y="0"/>
                  </a:lnTo>
                  <a:lnTo>
                    <a:pt x="34" y="8"/>
                  </a:lnTo>
                  <a:lnTo>
                    <a:pt x="26" y="20"/>
                  </a:lnTo>
                  <a:lnTo>
                    <a:pt x="18" y="32"/>
                  </a:lnTo>
                  <a:lnTo>
                    <a:pt x="16" y="36"/>
                  </a:lnTo>
                  <a:lnTo>
                    <a:pt x="14" y="40"/>
                  </a:lnTo>
                  <a:lnTo>
                    <a:pt x="10" y="44"/>
                  </a:lnTo>
                  <a:lnTo>
                    <a:pt x="8" y="48"/>
                  </a:lnTo>
                  <a:lnTo>
                    <a:pt x="0" y="58"/>
                  </a:lnTo>
                  <a:lnTo>
                    <a:pt x="0" y="60"/>
                  </a:lnTo>
                  <a:lnTo>
                    <a:pt x="2" y="62"/>
                  </a:lnTo>
                  <a:lnTo>
                    <a:pt x="4" y="66"/>
                  </a:lnTo>
                  <a:lnTo>
                    <a:pt x="8" y="74"/>
                  </a:lnTo>
                  <a:lnTo>
                    <a:pt x="12" y="82"/>
                  </a:lnTo>
                  <a:lnTo>
                    <a:pt x="12" y="86"/>
                  </a:lnTo>
                  <a:lnTo>
                    <a:pt x="18" y="90"/>
                  </a:lnTo>
                  <a:lnTo>
                    <a:pt x="24" y="98"/>
                  </a:lnTo>
                  <a:lnTo>
                    <a:pt x="28" y="104"/>
                  </a:lnTo>
                  <a:lnTo>
                    <a:pt x="36" y="108"/>
                  </a:lnTo>
                  <a:lnTo>
                    <a:pt x="38" y="114"/>
                  </a:lnTo>
                  <a:lnTo>
                    <a:pt x="42" y="126"/>
                  </a:lnTo>
                  <a:lnTo>
                    <a:pt x="48" y="134"/>
                  </a:lnTo>
                  <a:lnTo>
                    <a:pt x="54" y="140"/>
                  </a:lnTo>
                  <a:lnTo>
                    <a:pt x="62" y="144"/>
                  </a:lnTo>
                  <a:lnTo>
                    <a:pt x="64" y="144"/>
                  </a:lnTo>
                  <a:lnTo>
                    <a:pt x="78" y="156"/>
                  </a:lnTo>
                  <a:lnTo>
                    <a:pt x="88" y="166"/>
                  </a:lnTo>
                  <a:lnTo>
                    <a:pt x="90" y="166"/>
                  </a:lnTo>
                  <a:lnTo>
                    <a:pt x="130" y="180"/>
                  </a:lnTo>
                  <a:lnTo>
                    <a:pt x="148" y="186"/>
                  </a:lnTo>
                  <a:lnTo>
                    <a:pt x="170" y="194"/>
                  </a:lnTo>
                  <a:lnTo>
                    <a:pt x="190" y="200"/>
                  </a:lnTo>
                  <a:lnTo>
                    <a:pt x="210" y="208"/>
                  </a:lnTo>
                  <a:lnTo>
                    <a:pt x="262" y="224"/>
                  </a:lnTo>
                  <a:lnTo>
                    <a:pt x="280" y="230"/>
                  </a:lnTo>
                  <a:lnTo>
                    <a:pt x="284" y="232"/>
                  </a:lnTo>
                  <a:lnTo>
                    <a:pt x="350" y="232"/>
                  </a:lnTo>
                  <a:lnTo>
                    <a:pt x="360" y="218"/>
                  </a:lnTo>
                  <a:lnTo>
                    <a:pt x="368" y="202"/>
                  </a:lnTo>
                  <a:lnTo>
                    <a:pt x="380" y="188"/>
                  </a:lnTo>
                  <a:lnTo>
                    <a:pt x="392" y="168"/>
                  </a:lnTo>
                  <a:lnTo>
                    <a:pt x="402" y="150"/>
                  </a:lnTo>
                  <a:lnTo>
                    <a:pt x="412" y="136"/>
                  </a:lnTo>
                  <a:lnTo>
                    <a:pt x="412" y="70"/>
                  </a:lnTo>
                  <a:lnTo>
                    <a:pt x="412" y="52"/>
                  </a:lnTo>
                  <a:lnTo>
                    <a:pt x="412"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88" name="Google Shape;4855;p64">
              <a:extLst>
                <a:ext uri="{FF2B5EF4-FFF2-40B4-BE49-F238E27FC236}">
                  <a16:creationId xmlns:a16="http://schemas.microsoft.com/office/drawing/2014/main" id="{776BE427-AEBB-0956-F09C-7925FBF83E90}"/>
                </a:ext>
              </a:extLst>
            </p:cNvPr>
            <p:cNvCxnSpPr/>
            <p:nvPr/>
          </p:nvCxnSpPr>
          <p:spPr>
            <a:xfrm>
              <a:off x="5577695" y="4745957"/>
              <a:ext cx="0" cy="0"/>
            </a:xfrm>
            <a:prstGeom prst="straightConnector1">
              <a:avLst/>
            </a:prstGeom>
            <a:grpFill/>
            <a:ln w="9525" cap="flat" cmpd="sng">
              <a:solidFill>
                <a:schemeClr val="bg2"/>
              </a:solidFill>
              <a:prstDash val="solid"/>
              <a:round/>
              <a:headEnd type="none" w="med" len="med"/>
              <a:tailEnd type="none" w="med" len="med"/>
            </a:ln>
          </p:spPr>
        </p:cxnSp>
        <p:cxnSp>
          <p:nvCxnSpPr>
            <p:cNvPr id="389" name="Google Shape;4856;p64">
              <a:extLst>
                <a:ext uri="{FF2B5EF4-FFF2-40B4-BE49-F238E27FC236}">
                  <a16:creationId xmlns:a16="http://schemas.microsoft.com/office/drawing/2014/main" id="{531CBBB8-C884-B5FE-B1A5-8BC897386308}"/>
                </a:ext>
              </a:extLst>
            </p:cNvPr>
            <p:cNvCxnSpPr/>
            <p:nvPr/>
          </p:nvCxnSpPr>
          <p:spPr>
            <a:xfrm>
              <a:off x="5577695" y="4745957"/>
              <a:ext cx="0" cy="0"/>
            </a:xfrm>
            <a:prstGeom prst="straightConnector1">
              <a:avLst/>
            </a:prstGeom>
            <a:grpFill/>
            <a:ln w="9525" cap="flat" cmpd="sng">
              <a:solidFill>
                <a:schemeClr val="bg2"/>
              </a:solidFill>
              <a:prstDash val="solid"/>
              <a:round/>
              <a:headEnd type="none" w="med" len="med"/>
              <a:tailEnd type="none" w="med" len="med"/>
            </a:ln>
          </p:spPr>
        </p:cxnSp>
        <p:sp>
          <p:nvSpPr>
            <p:cNvPr id="390" name="Google Shape;4857;p64">
              <a:extLst>
                <a:ext uri="{FF2B5EF4-FFF2-40B4-BE49-F238E27FC236}">
                  <a16:creationId xmlns:a16="http://schemas.microsoft.com/office/drawing/2014/main" id="{0009269B-069D-B8DE-C18C-28C191B5087B}"/>
                </a:ext>
              </a:extLst>
            </p:cNvPr>
            <p:cNvSpPr/>
            <p:nvPr/>
          </p:nvSpPr>
          <p:spPr>
            <a:xfrm>
              <a:off x="5406397" y="4730205"/>
              <a:ext cx="223803" cy="295998"/>
            </a:xfrm>
            <a:custGeom>
              <a:avLst/>
              <a:gdLst/>
              <a:ahLst/>
              <a:cxnLst/>
              <a:rect l="l" t="t" r="r" b="b"/>
              <a:pathLst>
                <a:path w="682" h="902" extrusionOk="0">
                  <a:moveTo>
                    <a:pt x="36" y="902"/>
                  </a:moveTo>
                  <a:lnTo>
                    <a:pt x="44" y="894"/>
                  </a:lnTo>
                  <a:lnTo>
                    <a:pt x="50" y="884"/>
                  </a:lnTo>
                  <a:lnTo>
                    <a:pt x="58" y="870"/>
                  </a:lnTo>
                  <a:lnTo>
                    <a:pt x="60" y="866"/>
                  </a:lnTo>
                  <a:lnTo>
                    <a:pt x="62" y="860"/>
                  </a:lnTo>
                  <a:lnTo>
                    <a:pt x="66" y="854"/>
                  </a:lnTo>
                  <a:lnTo>
                    <a:pt x="74" y="846"/>
                  </a:lnTo>
                  <a:lnTo>
                    <a:pt x="82" y="840"/>
                  </a:lnTo>
                  <a:lnTo>
                    <a:pt x="94" y="824"/>
                  </a:lnTo>
                  <a:lnTo>
                    <a:pt x="98" y="820"/>
                  </a:lnTo>
                  <a:lnTo>
                    <a:pt x="104" y="812"/>
                  </a:lnTo>
                  <a:lnTo>
                    <a:pt x="108" y="808"/>
                  </a:lnTo>
                  <a:lnTo>
                    <a:pt x="114" y="802"/>
                  </a:lnTo>
                  <a:lnTo>
                    <a:pt x="164" y="750"/>
                  </a:lnTo>
                  <a:lnTo>
                    <a:pt x="180" y="734"/>
                  </a:lnTo>
                  <a:lnTo>
                    <a:pt x="200" y="718"/>
                  </a:lnTo>
                  <a:lnTo>
                    <a:pt x="220" y="700"/>
                  </a:lnTo>
                  <a:lnTo>
                    <a:pt x="260" y="672"/>
                  </a:lnTo>
                  <a:lnTo>
                    <a:pt x="318" y="640"/>
                  </a:lnTo>
                  <a:lnTo>
                    <a:pt x="334" y="628"/>
                  </a:lnTo>
                  <a:lnTo>
                    <a:pt x="388" y="574"/>
                  </a:lnTo>
                  <a:lnTo>
                    <a:pt x="428" y="530"/>
                  </a:lnTo>
                  <a:lnTo>
                    <a:pt x="460" y="496"/>
                  </a:lnTo>
                  <a:lnTo>
                    <a:pt x="476" y="466"/>
                  </a:lnTo>
                  <a:lnTo>
                    <a:pt x="504" y="430"/>
                  </a:lnTo>
                  <a:lnTo>
                    <a:pt x="530" y="384"/>
                  </a:lnTo>
                  <a:lnTo>
                    <a:pt x="532" y="370"/>
                  </a:lnTo>
                  <a:lnTo>
                    <a:pt x="542" y="346"/>
                  </a:lnTo>
                  <a:lnTo>
                    <a:pt x="550" y="332"/>
                  </a:lnTo>
                  <a:lnTo>
                    <a:pt x="564" y="310"/>
                  </a:lnTo>
                  <a:lnTo>
                    <a:pt x="570" y="300"/>
                  </a:lnTo>
                  <a:lnTo>
                    <a:pt x="576" y="286"/>
                  </a:lnTo>
                  <a:lnTo>
                    <a:pt x="582" y="266"/>
                  </a:lnTo>
                  <a:lnTo>
                    <a:pt x="598" y="252"/>
                  </a:lnTo>
                  <a:lnTo>
                    <a:pt x="610" y="230"/>
                  </a:lnTo>
                  <a:lnTo>
                    <a:pt x="614" y="224"/>
                  </a:lnTo>
                  <a:lnTo>
                    <a:pt x="620" y="208"/>
                  </a:lnTo>
                  <a:lnTo>
                    <a:pt x="634" y="190"/>
                  </a:lnTo>
                  <a:lnTo>
                    <a:pt x="636" y="182"/>
                  </a:lnTo>
                  <a:lnTo>
                    <a:pt x="646" y="170"/>
                  </a:lnTo>
                  <a:lnTo>
                    <a:pt x="646" y="150"/>
                  </a:lnTo>
                  <a:lnTo>
                    <a:pt x="650" y="136"/>
                  </a:lnTo>
                  <a:lnTo>
                    <a:pt x="650" y="114"/>
                  </a:lnTo>
                  <a:lnTo>
                    <a:pt x="654" y="110"/>
                  </a:lnTo>
                  <a:lnTo>
                    <a:pt x="660" y="106"/>
                  </a:lnTo>
                  <a:lnTo>
                    <a:pt x="672" y="102"/>
                  </a:lnTo>
                  <a:lnTo>
                    <a:pt x="674" y="104"/>
                  </a:lnTo>
                  <a:lnTo>
                    <a:pt x="682" y="106"/>
                  </a:lnTo>
                  <a:lnTo>
                    <a:pt x="682" y="104"/>
                  </a:lnTo>
                  <a:lnTo>
                    <a:pt x="682" y="100"/>
                  </a:lnTo>
                  <a:lnTo>
                    <a:pt x="678" y="98"/>
                  </a:lnTo>
                  <a:lnTo>
                    <a:pt x="670" y="94"/>
                  </a:lnTo>
                  <a:lnTo>
                    <a:pt x="670" y="96"/>
                  </a:lnTo>
                  <a:lnTo>
                    <a:pt x="670" y="100"/>
                  </a:lnTo>
                  <a:lnTo>
                    <a:pt x="662" y="102"/>
                  </a:lnTo>
                  <a:lnTo>
                    <a:pt x="660" y="102"/>
                  </a:lnTo>
                  <a:lnTo>
                    <a:pt x="660" y="100"/>
                  </a:lnTo>
                  <a:lnTo>
                    <a:pt x="664" y="98"/>
                  </a:lnTo>
                  <a:lnTo>
                    <a:pt x="664" y="96"/>
                  </a:lnTo>
                  <a:lnTo>
                    <a:pt x="666" y="92"/>
                  </a:lnTo>
                  <a:lnTo>
                    <a:pt x="666" y="88"/>
                  </a:lnTo>
                  <a:lnTo>
                    <a:pt x="666" y="60"/>
                  </a:lnTo>
                  <a:lnTo>
                    <a:pt x="664" y="42"/>
                  </a:lnTo>
                  <a:lnTo>
                    <a:pt x="666" y="32"/>
                  </a:lnTo>
                  <a:lnTo>
                    <a:pt x="672" y="20"/>
                  </a:lnTo>
                  <a:lnTo>
                    <a:pt x="672" y="16"/>
                  </a:lnTo>
                  <a:lnTo>
                    <a:pt x="674" y="10"/>
                  </a:lnTo>
                  <a:lnTo>
                    <a:pt x="670" y="8"/>
                  </a:lnTo>
                  <a:lnTo>
                    <a:pt x="644" y="0"/>
                  </a:lnTo>
                  <a:lnTo>
                    <a:pt x="634" y="2"/>
                  </a:lnTo>
                  <a:lnTo>
                    <a:pt x="626" y="10"/>
                  </a:lnTo>
                  <a:lnTo>
                    <a:pt x="622" y="16"/>
                  </a:lnTo>
                  <a:lnTo>
                    <a:pt x="600" y="30"/>
                  </a:lnTo>
                  <a:lnTo>
                    <a:pt x="568" y="34"/>
                  </a:lnTo>
                  <a:lnTo>
                    <a:pt x="552" y="42"/>
                  </a:lnTo>
                  <a:lnTo>
                    <a:pt x="530" y="46"/>
                  </a:lnTo>
                  <a:lnTo>
                    <a:pt x="522" y="48"/>
                  </a:lnTo>
                  <a:lnTo>
                    <a:pt x="522" y="84"/>
                  </a:lnTo>
                  <a:lnTo>
                    <a:pt x="522" y="102"/>
                  </a:lnTo>
                  <a:lnTo>
                    <a:pt x="522" y="168"/>
                  </a:lnTo>
                  <a:lnTo>
                    <a:pt x="512" y="182"/>
                  </a:lnTo>
                  <a:lnTo>
                    <a:pt x="502" y="200"/>
                  </a:lnTo>
                  <a:lnTo>
                    <a:pt x="490" y="220"/>
                  </a:lnTo>
                  <a:lnTo>
                    <a:pt x="478" y="234"/>
                  </a:lnTo>
                  <a:lnTo>
                    <a:pt x="470" y="250"/>
                  </a:lnTo>
                  <a:lnTo>
                    <a:pt x="460" y="264"/>
                  </a:lnTo>
                  <a:lnTo>
                    <a:pt x="444" y="280"/>
                  </a:lnTo>
                  <a:lnTo>
                    <a:pt x="424" y="298"/>
                  </a:lnTo>
                  <a:lnTo>
                    <a:pt x="406" y="316"/>
                  </a:lnTo>
                  <a:lnTo>
                    <a:pt x="394" y="328"/>
                  </a:lnTo>
                  <a:lnTo>
                    <a:pt x="374" y="348"/>
                  </a:lnTo>
                  <a:lnTo>
                    <a:pt x="358" y="364"/>
                  </a:lnTo>
                  <a:lnTo>
                    <a:pt x="340" y="382"/>
                  </a:lnTo>
                  <a:lnTo>
                    <a:pt x="326" y="396"/>
                  </a:lnTo>
                  <a:lnTo>
                    <a:pt x="306" y="418"/>
                  </a:lnTo>
                  <a:lnTo>
                    <a:pt x="292" y="432"/>
                  </a:lnTo>
                  <a:lnTo>
                    <a:pt x="272" y="454"/>
                  </a:lnTo>
                  <a:lnTo>
                    <a:pt x="260" y="468"/>
                  </a:lnTo>
                  <a:lnTo>
                    <a:pt x="258" y="468"/>
                  </a:lnTo>
                  <a:lnTo>
                    <a:pt x="240" y="468"/>
                  </a:lnTo>
                  <a:lnTo>
                    <a:pt x="222" y="466"/>
                  </a:lnTo>
                  <a:lnTo>
                    <a:pt x="200" y="466"/>
                  </a:lnTo>
                  <a:lnTo>
                    <a:pt x="198" y="466"/>
                  </a:lnTo>
                  <a:lnTo>
                    <a:pt x="192" y="466"/>
                  </a:lnTo>
                  <a:lnTo>
                    <a:pt x="188" y="468"/>
                  </a:lnTo>
                  <a:lnTo>
                    <a:pt x="172" y="472"/>
                  </a:lnTo>
                  <a:lnTo>
                    <a:pt x="168" y="472"/>
                  </a:lnTo>
                  <a:lnTo>
                    <a:pt x="154" y="478"/>
                  </a:lnTo>
                  <a:lnTo>
                    <a:pt x="142" y="486"/>
                  </a:lnTo>
                  <a:lnTo>
                    <a:pt x="134" y="492"/>
                  </a:lnTo>
                  <a:lnTo>
                    <a:pt x="128" y="498"/>
                  </a:lnTo>
                  <a:lnTo>
                    <a:pt x="126" y="504"/>
                  </a:lnTo>
                  <a:lnTo>
                    <a:pt x="124" y="506"/>
                  </a:lnTo>
                  <a:lnTo>
                    <a:pt x="120" y="508"/>
                  </a:lnTo>
                  <a:lnTo>
                    <a:pt x="90" y="514"/>
                  </a:lnTo>
                  <a:lnTo>
                    <a:pt x="82" y="514"/>
                  </a:lnTo>
                  <a:lnTo>
                    <a:pt x="70" y="520"/>
                  </a:lnTo>
                  <a:lnTo>
                    <a:pt x="62" y="526"/>
                  </a:lnTo>
                  <a:lnTo>
                    <a:pt x="60" y="530"/>
                  </a:lnTo>
                  <a:lnTo>
                    <a:pt x="52" y="542"/>
                  </a:lnTo>
                  <a:lnTo>
                    <a:pt x="42" y="556"/>
                  </a:lnTo>
                  <a:lnTo>
                    <a:pt x="24" y="580"/>
                  </a:lnTo>
                  <a:lnTo>
                    <a:pt x="10" y="594"/>
                  </a:lnTo>
                  <a:lnTo>
                    <a:pt x="0" y="604"/>
                  </a:lnTo>
                  <a:lnTo>
                    <a:pt x="0" y="606"/>
                  </a:lnTo>
                  <a:lnTo>
                    <a:pt x="0" y="644"/>
                  </a:lnTo>
                  <a:lnTo>
                    <a:pt x="0" y="700"/>
                  </a:lnTo>
                  <a:lnTo>
                    <a:pt x="0" y="756"/>
                  </a:lnTo>
                  <a:lnTo>
                    <a:pt x="0" y="810"/>
                  </a:lnTo>
                  <a:lnTo>
                    <a:pt x="0" y="838"/>
                  </a:lnTo>
                  <a:lnTo>
                    <a:pt x="0" y="848"/>
                  </a:lnTo>
                  <a:lnTo>
                    <a:pt x="18" y="870"/>
                  </a:lnTo>
                  <a:lnTo>
                    <a:pt x="30" y="886"/>
                  </a:lnTo>
                  <a:lnTo>
                    <a:pt x="36" y="894"/>
                  </a:lnTo>
                  <a:lnTo>
                    <a:pt x="38" y="896"/>
                  </a:lnTo>
                  <a:lnTo>
                    <a:pt x="36" y="90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1" name="Google Shape;4858;p64">
              <a:extLst>
                <a:ext uri="{FF2B5EF4-FFF2-40B4-BE49-F238E27FC236}">
                  <a16:creationId xmlns:a16="http://schemas.microsoft.com/office/drawing/2014/main" id="{B6D8B466-5C26-862A-7A98-3E7641835913}"/>
                </a:ext>
              </a:extLst>
            </p:cNvPr>
            <p:cNvSpPr/>
            <p:nvPr/>
          </p:nvSpPr>
          <p:spPr>
            <a:xfrm>
              <a:off x="5256101" y="4871313"/>
              <a:ext cx="169985" cy="219209"/>
            </a:xfrm>
            <a:custGeom>
              <a:avLst/>
              <a:gdLst/>
              <a:ahLst/>
              <a:cxnLst/>
              <a:rect l="l" t="t" r="r" b="b"/>
              <a:pathLst>
                <a:path w="1234168" h="1591552" extrusionOk="0">
                  <a:moveTo>
                    <a:pt x="1110272" y="1176986"/>
                  </a:moveTo>
                  <a:lnTo>
                    <a:pt x="1115040" y="1181752"/>
                  </a:lnTo>
                  <a:lnTo>
                    <a:pt x="1115040" y="1186518"/>
                  </a:lnTo>
                  <a:lnTo>
                    <a:pt x="1095980" y="1196048"/>
                  </a:lnTo>
                  <a:lnTo>
                    <a:pt x="1091212" y="1196048"/>
                  </a:lnTo>
                  <a:lnTo>
                    <a:pt x="1091212" y="1186518"/>
                  </a:lnTo>
                  <a:close/>
                  <a:moveTo>
                    <a:pt x="200136" y="0"/>
                  </a:moveTo>
                  <a:lnTo>
                    <a:pt x="200136" y="4766"/>
                  </a:lnTo>
                  <a:lnTo>
                    <a:pt x="200136" y="14296"/>
                  </a:lnTo>
                  <a:lnTo>
                    <a:pt x="204900" y="19060"/>
                  </a:lnTo>
                  <a:lnTo>
                    <a:pt x="209664" y="19060"/>
                  </a:lnTo>
                  <a:lnTo>
                    <a:pt x="219196" y="19060"/>
                  </a:lnTo>
                  <a:lnTo>
                    <a:pt x="223960" y="14296"/>
                  </a:lnTo>
                  <a:lnTo>
                    <a:pt x="233492" y="9530"/>
                  </a:lnTo>
                  <a:lnTo>
                    <a:pt x="276376" y="23826"/>
                  </a:lnTo>
                  <a:lnTo>
                    <a:pt x="281140" y="33356"/>
                  </a:lnTo>
                  <a:lnTo>
                    <a:pt x="281140" y="42886"/>
                  </a:lnTo>
                  <a:lnTo>
                    <a:pt x="285908" y="52416"/>
                  </a:lnTo>
                  <a:lnTo>
                    <a:pt x="281140" y="61946"/>
                  </a:lnTo>
                  <a:lnTo>
                    <a:pt x="276376" y="85772"/>
                  </a:lnTo>
                  <a:lnTo>
                    <a:pt x="276376" y="104832"/>
                  </a:lnTo>
                  <a:lnTo>
                    <a:pt x="290672" y="123894"/>
                  </a:lnTo>
                  <a:lnTo>
                    <a:pt x="300204" y="138188"/>
                  </a:lnTo>
                  <a:lnTo>
                    <a:pt x="309732" y="157250"/>
                  </a:lnTo>
                  <a:lnTo>
                    <a:pt x="319264" y="162014"/>
                  </a:lnTo>
                  <a:lnTo>
                    <a:pt x="328792" y="162014"/>
                  </a:lnTo>
                  <a:lnTo>
                    <a:pt x="357384" y="162014"/>
                  </a:lnTo>
                  <a:lnTo>
                    <a:pt x="400268" y="166780"/>
                  </a:lnTo>
                  <a:lnTo>
                    <a:pt x="443156" y="166780"/>
                  </a:lnTo>
                  <a:lnTo>
                    <a:pt x="447920" y="166780"/>
                  </a:lnTo>
                  <a:lnTo>
                    <a:pt x="457452" y="166780"/>
                  </a:lnTo>
                  <a:lnTo>
                    <a:pt x="495572" y="195370"/>
                  </a:lnTo>
                  <a:lnTo>
                    <a:pt x="528928" y="214430"/>
                  </a:lnTo>
                  <a:lnTo>
                    <a:pt x="562284" y="238256"/>
                  </a:lnTo>
                  <a:lnTo>
                    <a:pt x="590876" y="257316"/>
                  </a:lnTo>
                  <a:lnTo>
                    <a:pt x="619464" y="271612"/>
                  </a:lnTo>
                  <a:lnTo>
                    <a:pt x="638528" y="290672"/>
                  </a:lnTo>
                  <a:lnTo>
                    <a:pt x="662352" y="295438"/>
                  </a:lnTo>
                  <a:lnTo>
                    <a:pt x="695708" y="295438"/>
                  </a:lnTo>
                  <a:lnTo>
                    <a:pt x="724300" y="295438"/>
                  </a:lnTo>
                  <a:lnTo>
                    <a:pt x="743360" y="304968"/>
                  </a:lnTo>
                  <a:lnTo>
                    <a:pt x="776716" y="309734"/>
                  </a:lnTo>
                  <a:lnTo>
                    <a:pt x="805304" y="309734"/>
                  </a:lnTo>
                  <a:lnTo>
                    <a:pt x="819600" y="314498"/>
                  </a:lnTo>
                  <a:lnTo>
                    <a:pt x="862488" y="319264"/>
                  </a:lnTo>
                  <a:lnTo>
                    <a:pt x="867252" y="314498"/>
                  </a:lnTo>
                  <a:lnTo>
                    <a:pt x="886312" y="300202"/>
                  </a:lnTo>
                  <a:lnTo>
                    <a:pt x="905372" y="271612"/>
                  </a:lnTo>
                  <a:lnTo>
                    <a:pt x="914904" y="257316"/>
                  </a:lnTo>
                  <a:lnTo>
                    <a:pt x="943496" y="243022"/>
                  </a:lnTo>
                  <a:lnTo>
                    <a:pt x="991144" y="219196"/>
                  </a:lnTo>
                  <a:lnTo>
                    <a:pt x="1024500" y="204900"/>
                  </a:lnTo>
                  <a:lnTo>
                    <a:pt x="1057856" y="190606"/>
                  </a:lnTo>
                  <a:lnTo>
                    <a:pt x="1076916" y="204900"/>
                  </a:lnTo>
                  <a:lnTo>
                    <a:pt x="1100744" y="223960"/>
                  </a:lnTo>
                  <a:lnTo>
                    <a:pt x="1110272" y="233492"/>
                  </a:lnTo>
                  <a:lnTo>
                    <a:pt x="1119804" y="238256"/>
                  </a:lnTo>
                  <a:lnTo>
                    <a:pt x="1129336" y="243022"/>
                  </a:lnTo>
                  <a:lnTo>
                    <a:pt x="1153160" y="243022"/>
                  </a:lnTo>
                  <a:lnTo>
                    <a:pt x="1172220" y="238256"/>
                  </a:lnTo>
                  <a:lnTo>
                    <a:pt x="1210340" y="238256"/>
                  </a:lnTo>
                  <a:lnTo>
                    <a:pt x="1234168" y="238256"/>
                  </a:lnTo>
                  <a:lnTo>
                    <a:pt x="1215108" y="266848"/>
                  </a:lnTo>
                  <a:lnTo>
                    <a:pt x="1191280" y="300202"/>
                  </a:lnTo>
                  <a:lnTo>
                    <a:pt x="1148396" y="357384"/>
                  </a:lnTo>
                  <a:lnTo>
                    <a:pt x="1115040" y="390740"/>
                  </a:lnTo>
                  <a:lnTo>
                    <a:pt x="1091212" y="414566"/>
                  </a:lnTo>
                  <a:lnTo>
                    <a:pt x="1091212" y="419332"/>
                  </a:lnTo>
                  <a:lnTo>
                    <a:pt x="1091212" y="509868"/>
                  </a:lnTo>
                  <a:lnTo>
                    <a:pt x="1091212" y="643292"/>
                  </a:lnTo>
                  <a:lnTo>
                    <a:pt x="1091212" y="776716"/>
                  </a:lnTo>
                  <a:lnTo>
                    <a:pt x="1091212" y="905374"/>
                  </a:lnTo>
                  <a:lnTo>
                    <a:pt x="1091212" y="972086"/>
                  </a:lnTo>
                  <a:lnTo>
                    <a:pt x="1091212" y="995912"/>
                  </a:lnTo>
                  <a:lnTo>
                    <a:pt x="1134100" y="1048328"/>
                  </a:lnTo>
                  <a:lnTo>
                    <a:pt x="1162692" y="1086448"/>
                  </a:lnTo>
                  <a:lnTo>
                    <a:pt x="1176984" y="1105510"/>
                  </a:lnTo>
                  <a:lnTo>
                    <a:pt x="1181752" y="1110274"/>
                  </a:lnTo>
                  <a:lnTo>
                    <a:pt x="1176984" y="1124570"/>
                  </a:lnTo>
                  <a:lnTo>
                    <a:pt x="1157924" y="1148396"/>
                  </a:lnTo>
                  <a:lnTo>
                    <a:pt x="1138864" y="1162690"/>
                  </a:lnTo>
                  <a:lnTo>
                    <a:pt x="1110272" y="1167456"/>
                  </a:lnTo>
                  <a:lnTo>
                    <a:pt x="1105508" y="1167456"/>
                  </a:lnTo>
                  <a:lnTo>
                    <a:pt x="1095980" y="1162690"/>
                  </a:lnTo>
                  <a:lnTo>
                    <a:pt x="1091212" y="1172220"/>
                  </a:lnTo>
                  <a:lnTo>
                    <a:pt x="1086448" y="1181752"/>
                  </a:lnTo>
                  <a:lnTo>
                    <a:pt x="1081684" y="1176986"/>
                  </a:lnTo>
                  <a:lnTo>
                    <a:pt x="1076916" y="1176986"/>
                  </a:lnTo>
                  <a:lnTo>
                    <a:pt x="1081684" y="1191282"/>
                  </a:lnTo>
                  <a:lnTo>
                    <a:pt x="1081684" y="1200812"/>
                  </a:lnTo>
                  <a:lnTo>
                    <a:pt x="1081684" y="1215108"/>
                  </a:lnTo>
                  <a:lnTo>
                    <a:pt x="1067388" y="1224638"/>
                  </a:lnTo>
                  <a:lnTo>
                    <a:pt x="1067388" y="1234168"/>
                  </a:lnTo>
                  <a:lnTo>
                    <a:pt x="1038796" y="1257994"/>
                  </a:lnTo>
                  <a:lnTo>
                    <a:pt x="1005440" y="1257994"/>
                  </a:lnTo>
                  <a:lnTo>
                    <a:pt x="981616" y="1272288"/>
                  </a:lnTo>
                  <a:lnTo>
                    <a:pt x="972084" y="1277054"/>
                  </a:lnTo>
                  <a:lnTo>
                    <a:pt x="967320" y="1300880"/>
                  </a:lnTo>
                  <a:lnTo>
                    <a:pt x="972084" y="1329470"/>
                  </a:lnTo>
                  <a:lnTo>
                    <a:pt x="957788" y="1353296"/>
                  </a:lnTo>
                  <a:lnTo>
                    <a:pt x="957788" y="1367592"/>
                  </a:lnTo>
                  <a:lnTo>
                    <a:pt x="938728" y="1381886"/>
                  </a:lnTo>
                  <a:lnTo>
                    <a:pt x="929200" y="1396182"/>
                  </a:lnTo>
                  <a:lnTo>
                    <a:pt x="924432" y="1410478"/>
                  </a:lnTo>
                  <a:lnTo>
                    <a:pt x="919668" y="1420008"/>
                  </a:lnTo>
                  <a:lnTo>
                    <a:pt x="910140" y="1448598"/>
                  </a:lnTo>
                  <a:lnTo>
                    <a:pt x="900608" y="1472424"/>
                  </a:lnTo>
                  <a:lnTo>
                    <a:pt x="900608" y="1477190"/>
                  </a:lnTo>
                  <a:lnTo>
                    <a:pt x="895844" y="1481954"/>
                  </a:lnTo>
                  <a:lnTo>
                    <a:pt x="891076" y="1496250"/>
                  </a:lnTo>
                  <a:lnTo>
                    <a:pt x="886312" y="1501014"/>
                  </a:lnTo>
                  <a:lnTo>
                    <a:pt x="881548" y="1510544"/>
                  </a:lnTo>
                  <a:lnTo>
                    <a:pt x="857720" y="1558196"/>
                  </a:lnTo>
                  <a:lnTo>
                    <a:pt x="843428" y="1582022"/>
                  </a:lnTo>
                  <a:lnTo>
                    <a:pt x="829132" y="1577256"/>
                  </a:lnTo>
                  <a:lnTo>
                    <a:pt x="819600" y="1586786"/>
                  </a:lnTo>
                  <a:lnTo>
                    <a:pt x="819600" y="1591552"/>
                  </a:lnTo>
                  <a:lnTo>
                    <a:pt x="814836" y="1591552"/>
                  </a:lnTo>
                  <a:lnTo>
                    <a:pt x="776716" y="1562962"/>
                  </a:lnTo>
                  <a:lnTo>
                    <a:pt x="752888" y="1548666"/>
                  </a:lnTo>
                  <a:lnTo>
                    <a:pt x="729064" y="1529606"/>
                  </a:lnTo>
                  <a:lnTo>
                    <a:pt x="705236" y="1510544"/>
                  </a:lnTo>
                  <a:lnTo>
                    <a:pt x="681412" y="1496250"/>
                  </a:lnTo>
                  <a:lnTo>
                    <a:pt x="633760" y="1458128"/>
                  </a:lnTo>
                  <a:lnTo>
                    <a:pt x="609936" y="1443834"/>
                  </a:lnTo>
                  <a:lnTo>
                    <a:pt x="595640" y="1434302"/>
                  </a:lnTo>
                  <a:lnTo>
                    <a:pt x="590876" y="1429538"/>
                  </a:lnTo>
                  <a:lnTo>
                    <a:pt x="586108" y="1415242"/>
                  </a:lnTo>
                  <a:lnTo>
                    <a:pt x="581344" y="1410478"/>
                  </a:lnTo>
                  <a:lnTo>
                    <a:pt x="576580" y="1410478"/>
                  </a:lnTo>
                  <a:lnTo>
                    <a:pt x="567048" y="1405712"/>
                  </a:lnTo>
                  <a:lnTo>
                    <a:pt x="567048" y="1400946"/>
                  </a:lnTo>
                  <a:lnTo>
                    <a:pt x="567048" y="1391416"/>
                  </a:lnTo>
                  <a:lnTo>
                    <a:pt x="576580" y="1377122"/>
                  </a:lnTo>
                  <a:lnTo>
                    <a:pt x="576580" y="1367592"/>
                  </a:lnTo>
                  <a:lnTo>
                    <a:pt x="576580" y="1353296"/>
                  </a:lnTo>
                  <a:lnTo>
                    <a:pt x="576580" y="1339000"/>
                  </a:lnTo>
                  <a:lnTo>
                    <a:pt x="571816" y="1334236"/>
                  </a:lnTo>
                  <a:lnTo>
                    <a:pt x="557520" y="1324706"/>
                  </a:lnTo>
                  <a:lnTo>
                    <a:pt x="524164" y="1305644"/>
                  </a:lnTo>
                  <a:lnTo>
                    <a:pt x="490808" y="1291350"/>
                  </a:lnTo>
                  <a:lnTo>
                    <a:pt x="457452" y="1272288"/>
                  </a:lnTo>
                  <a:lnTo>
                    <a:pt x="424096" y="1253228"/>
                  </a:lnTo>
                  <a:lnTo>
                    <a:pt x="390740" y="1234168"/>
                  </a:lnTo>
                  <a:lnTo>
                    <a:pt x="357384" y="1215108"/>
                  </a:lnTo>
                  <a:lnTo>
                    <a:pt x="324028" y="1196046"/>
                  </a:lnTo>
                  <a:lnTo>
                    <a:pt x="290672" y="1176986"/>
                  </a:lnTo>
                  <a:lnTo>
                    <a:pt x="223960" y="1138866"/>
                  </a:lnTo>
                  <a:lnTo>
                    <a:pt x="190604" y="1119804"/>
                  </a:lnTo>
                  <a:lnTo>
                    <a:pt x="123892" y="1086448"/>
                  </a:lnTo>
                  <a:lnTo>
                    <a:pt x="90536" y="1067388"/>
                  </a:lnTo>
                  <a:lnTo>
                    <a:pt x="57180" y="1048328"/>
                  </a:lnTo>
                  <a:lnTo>
                    <a:pt x="23824" y="1029268"/>
                  </a:lnTo>
                  <a:lnTo>
                    <a:pt x="9528" y="1019736"/>
                  </a:lnTo>
                  <a:lnTo>
                    <a:pt x="14296" y="1019736"/>
                  </a:lnTo>
                  <a:lnTo>
                    <a:pt x="14296" y="1014972"/>
                  </a:lnTo>
                  <a:lnTo>
                    <a:pt x="19060" y="1010206"/>
                  </a:lnTo>
                  <a:lnTo>
                    <a:pt x="23824" y="1005442"/>
                  </a:lnTo>
                  <a:lnTo>
                    <a:pt x="28588" y="995912"/>
                  </a:lnTo>
                  <a:lnTo>
                    <a:pt x="19060" y="981616"/>
                  </a:lnTo>
                  <a:lnTo>
                    <a:pt x="14296" y="972086"/>
                  </a:lnTo>
                  <a:lnTo>
                    <a:pt x="9528" y="957790"/>
                  </a:lnTo>
                  <a:lnTo>
                    <a:pt x="14296" y="948260"/>
                  </a:lnTo>
                  <a:lnTo>
                    <a:pt x="28588" y="933964"/>
                  </a:lnTo>
                  <a:lnTo>
                    <a:pt x="38120" y="929200"/>
                  </a:lnTo>
                  <a:lnTo>
                    <a:pt x="47652" y="929200"/>
                  </a:lnTo>
                  <a:lnTo>
                    <a:pt x="52416" y="929200"/>
                  </a:lnTo>
                  <a:lnTo>
                    <a:pt x="61944" y="929200"/>
                  </a:lnTo>
                  <a:lnTo>
                    <a:pt x="66712" y="938730"/>
                  </a:lnTo>
                  <a:lnTo>
                    <a:pt x="71476" y="938730"/>
                  </a:lnTo>
                  <a:lnTo>
                    <a:pt x="76240" y="929200"/>
                  </a:lnTo>
                  <a:lnTo>
                    <a:pt x="76240" y="914904"/>
                  </a:lnTo>
                  <a:lnTo>
                    <a:pt x="90536" y="910138"/>
                  </a:lnTo>
                  <a:lnTo>
                    <a:pt x="114364" y="910138"/>
                  </a:lnTo>
                  <a:lnTo>
                    <a:pt x="128656" y="905374"/>
                  </a:lnTo>
                  <a:lnTo>
                    <a:pt x="128656" y="900608"/>
                  </a:lnTo>
                  <a:lnTo>
                    <a:pt x="114364" y="872018"/>
                  </a:lnTo>
                  <a:lnTo>
                    <a:pt x="85772" y="881548"/>
                  </a:lnTo>
                  <a:lnTo>
                    <a:pt x="66712" y="891078"/>
                  </a:lnTo>
                  <a:lnTo>
                    <a:pt x="61944" y="895844"/>
                  </a:lnTo>
                  <a:lnTo>
                    <a:pt x="57180" y="910138"/>
                  </a:lnTo>
                  <a:lnTo>
                    <a:pt x="52416" y="910138"/>
                  </a:lnTo>
                  <a:lnTo>
                    <a:pt x="52416" y="914904"/>
                  </a:lnTo>
                  <a:lnTo>
                    <a:pt x="47652" y="914904"/>
                  </a:lnTo>
                  <a:lnTo>
                    <a:pt x="38120" y="900608"/>
                  </a:lnTo>
                  <a:lnTo>
                    <a:pt x="19060" y="886314"/>
                  </a:lnTo>
                  <a:lnTo>
                    <a:pt x="19060" y="881548"/>
                  </a:lnTo>
                  <a:lnTo>
                    <a:pt x="23824" y="872018"/>
                  </a:lnTo>
                  <a:lnTo>
                    <a:pt x="19060" y="872018"/>
                  </a:lnTo>
                  <a:lnTo>
                    <a:pt x="9528" y="872018"/>
                  </a:lnTo>
                  <a:lnTo>
                    <a:pt x="9528" y="867252"/>
                  </a:lnTo>
                  <a:lnTo>
                    <a:pt x="4764" y="862488"/>
                  </a:lnTo>
                  <a:lnTo>
                    <a:pt x="0" y="857722"/>
                  </a:lnTo>
                  <a:lnTo>
                    <a:pt x="0" y="843428"/>
                  </a:lnTo>
                  <a:lnTo>
                    <a:pt x="0" y="824366"/>
                  </a:lnTo>
                  <a:lnTo>
                    <a:pt x="9528" y="814836"/>
                  </a:lnTo>
                  <a:lnTo>
                    <a:pt x="14296" y="800542"/>
                  </a:lnTo>
                  <a:lnTo>
                    <a:pt x="19060" y="781480"/>
                  </a:lnTo>
                  <a:lnTo>
                    <a:pt x="28588" y="762420"/>
                  </a:lnTo>
                  <a:lnTo>
                    <a:pt x="47652" y="752890"/>
                  </a:lnTo>
                  <a:lnTo>
                    <a:pt x="47652" y="743360"/>
                  </a:lnTo>
                  <a:lnTo>
                    <a:pt x="66712" y="724300"/>
                  </a:lnTo>
                  <a:lnTo>
                    <a:pt x="76240" y="695708"/>
                  </a:lnTo>
                  <a:lnTo>
                    <a:pt x="85772" y="686178"/>
                  </a:lnTo>
                  <a:lnTo>
                    <a:pt x="95300" y="676648"/>
                  </a:lnTo>
                  <a:lnTo>
                    <a:pt x="104832" y="671882"/>
                  </a:lnTo>
                  <a:lnTo>
                    <a:pt x="114364" y="667118"/>
                  </a:lnTo>
                  <a:lnTo>
                    <a:pt x="123892" y="667118"/>
                  </a:lnTo>
                  <a:lnTo>
                    <a:pt x="128656" y="667118"/>
                  </a:lnTo>
                  <a:lnTo>
                    <a:pt x="128656" y="662352"/>
                  </a:lnTo>
                  <a:lnTo>
                    <a:pt x="123892" y="643292"/>
                  </a:lnTo>
                  <a:lnTo>
                    <a:pt x="133424" y="624232"/>
                  </a:lnTo>
                  <a:lnTo>
                    <a:pt x="142952" y="614702"/>
                  </a:lnTo>
                  <a:lnTo>
                    <a:pt x="147716" y="609936"/>
                  </a:lnTo>
                  <a:lnTo>
                    <a:pt x="152484" y="600406"/>
                  </a:lnTo>
                  <a:lnTo>
                    <a:pt x="152484" y="590876"/>
                  </a:lnTo>
                  <a:lnTo>
                    <a:pt x="157248" y="581346"/>
                  </a:lnTo>
                  <a:lnTo>
                    <a:pt x="157248" y="567050"/>
                  </a:lnTo>
                  <a:lnTo>
                    <a:pt x="152484" y="538460"/>
                  </a:lnTo>
                  <a:lnTo>
                    <a:pt x="147716" y="509868"/>
                  </a:lnTo>
                  <a:lnTo>
                    <a:pt x="142952" y="481278"/>
                  </a:lnTo>
                  <a:lnTo>
                    <a:pt x="142952" y="471748"/>
                  </a:lnTo>
                  <a:lnTo>
                    <a:pt x="138188" y="452686"/>
                  </a:lnTo>
                  <a:lnTo>
                    <a:pt x="133424" y="452686"/>
                  </a:lnTo>
                  <a:lnTo>
                    <a:pt x="128656" y="447922"/>
                  </a:lnTo>
                  <a:lnTo>
                    <a:pt x="123892" y="433626"/>
                  </a:lnTo>
                  <a:lnTo>
                    <a:pt x="119128" y="419332"/>
                  </a:lnTo>
                  <a:lnTo>
                    <a:pt x="114364" y="414566"/>
                  </a:lnTo>
                  <a:lnTo>
                    <a:pt x="95300" y="400270"/>
                  </a:lnTo>
                  <a:lnTo>
                    <a:pt x="85772" y="371680"/>
                  </a:lnTo>
                  <a:lnTo>
                    <a:pt x="71476" y="362150"/>
                  </a:lnTo>
                  <a:lnTo>
                    <a:pt x="66712" y="333558"/>
                  </a:lnTo>
                  <a:lnTo>
                    <a:pt x="66712" y="324028"/>
                  </a:lnTo>
                  <a:lnTo>
                    <a:pt x="71476" y="295438"/>
                  </a:lnTo>
                  <a:lnTo>
                    <a:pt x="71476" y="285908"/>
                  </a:lnTo>
                  <a:lnTo>
                    <a:pt x="61944" y="281142"/>
                  </a:lnTo>
                  <a:lnTo>
                    <a:pt x="42884" y="276378"/>
                  </a:lnTo>
                  <a:lnTo>
                    <a:pt x="28588" y="262082"/>
                  </a:lnTo>
                  <a:lnTo>
                    <a:pt x="28588" y="257316"/>
                  </a:lnTo>
                  <a:lnTo>
                    <a:pt x="33356" y="252552"/>
                  </a:lnTo>
                  <a:lnTo>
                    <a:pt x="23824" y="252552"/>
                  </a:lnTo>
                  <a:lnTo>
                    <a:pt x="0" y="200136"/>
                  </a:lnTo>
                  <a:lnTo>
                    <a:pt x="61944" y="138188"/>
                  </a:lnTo>
                  <a:lnTo>
                    <a:pt x="104832" y="95302"/>
                  </a:lnTo>
                  <a:lnTo>
                    <a:pt x="138188" y="61946"/>
                  </a:lnTo>
                  <a:lnTo>
                    <a:pt x="171544" y="2859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2" name="Google Shape;4859;p64">
              <a:extLst>
                <a:ext uri="{FF2B5EF4-FFF2-40B4-BE49-F238E27FC236}">
                  <a16:creationId xmlns:a16="http://schemas.microsoft.com/office/drawing/2014/main" id="{9DA5C88F-A940-2257-2F31-85F8FB1701A7}"/>
                </a:ext>
              </a:extLst>
            </p:cNvPr>
            <p:cNvSpPr/>
            <p:nvPr/>
          </p:nvSpPr>
          <p:spPr>
            <a:xfrm>
              <a:off x="4930569" y="3867151"/>
              <a:ext cx="88602" cy="118137"/>
            </a:xfrm>
            <a:custGeom>
              <a:avLst/>
              <a:gdLst/>
              <a:ahLst/>
              <a:cxnLst/>
              <a:rect l="l" t="t" r="r" b="b"/>
              <a:pathLst>
                <a:path w="270" h="360" extrusionOk="0">
                  <a:moveTo>
                    <a:pt x="92" y="6"/>
                  </a:moveTo>
                  <a:lnTo>
                    <a:pt x="88" y="4"/>
                  </a:lnTo>
                  <a:lnTo>
                    <a:pt x="86" y="4"/>
                  </a:lnTo>
                  <a:lnTo>
                    <a:pt x="70" y="2"/>
                  </a:lnTo>
                  <a:lnTo>
                    <a:pt x="64" y="2"/>
                  </a:lnTo>
                  <a:lnTo>
                    <a:pt x="58" y="2"/>
                  </a:lnTo>
                  <a:lnTo>
                    <a:pt x="50" y="0"/>
                  </a:lnTo>
                  <a:lnTo>
                    <a:pt x="44" y="2"/>
                  </a:lnTo>
                  <a:lnTo>
                    <a:pt x="40" y="8"/>
                  </a:lnTo>
                  <a:lnTo>
                    <a:pt x="38" y="10"/>
                  </a:lnTo>
                  <a:lnTo>
                    <a:pt x="36" y="12"/>
                  </a:lnTo>
                  <a:lnTo>
                    <a:pt x="32" y="14"/>
                  </a:lnTo>
                  <a:lnTo>
                    <a:pt x="28" y="16"/>
                  </a:lnTo>
                  <a:lnTo>
                    <a:pt x="24" y="18"/>
                  </a:lnTo>
                  <a:lnTo>
                    <a:pt x="20" y="18"/>
                  </a:lnTo>
                  <a:lnTo>
                    <a:pt x="16" y="14"/>
                  </a:lnTo>
                  <a:lnTo>
                    <a:pt x="14" y="16"/>
                  </a:lnTo>
                  <a:lnTo>
                    <a:pt x="12" y="18"/>
                  </a:lnTo>
                  <a:lnTo>
                    <a:pt x="10" y="20"/>
                  </a:lnTo>
                  <a:lnTo>
                    <a:pt x="4" y="22"/>
                  </a:lnTo>
                  <a:lnTo>
                    <a:pt x="4" y="22"/>
                  </a:lnTo>
                  <a:lnTo>
                    <a:pt x="4" y="26"/>
                  </a:lnTo>
                  <a:lnTo>
                    <a:pt x="2" y="30"/>
                  </a:lnTo>
                  <a:lnTo>
                    <a:pt x="0" y="32"/>
                  </a:lnTo>
                  <a:lnTo>
                    <a:pt x="2" y="38"/>
                  </a:lnTo>
                  <a:lnTo>
                    <a:pt x="6" y="48"/>
                  </a:lnTo>
                  <a:lnTo>
                    <a:pt x="4" y="54"/>
                  </a:lnTo>
                  <a:lnTo>
                    <a:pt x="6" y="58"/>
                  </a:lnTo>
                  <a:lnTo>
                    <a:pt x="14" y="60"/>
                  </a:lnTo>
                  <a:lnTo>
                    <a:pt x="14" y="62"/>
                  </a:lnTo>
                  <a:lnTo>
                    <a:pt x="12" y="64"/>
                  </a:lnTo>
                  <a:lnTo>
                    <a:pt x="10" y="66"/>
                  </a:lnTo>
                  <a:lnTo>
                    <a:pt x="10" y="72"/>
                  </a:lnTo>
                  <a:lnTo>
                    <a:pt x="16" y="78"/>
                  </a:lnTo>
                  <a:lnTo>
                    <a:pt x="28" y="84"/>
                  </a:lnTo>
                  <a:lnTo>
                    <a:pt x="32" y="86"/>
                  </a:lnTo>
                  <a:lnTo>
                    <a:pt x="32" y="88"/>
                  </a:lnTo>
                  <a:lnTo>
                    <a:pt x="34" y="88"/>
                  </a:lnTo>
                  <a:lnTo>
                    <a:pt x="36" y="90"/>
                  </a:lnTo>
                  <a:lnTo>
                    <a:pt x="36" y="92"/>
                  </a:lnTo>
                  <a:lnTo>
                    <a:pt x="36" y="94"/>
                  </a:lnTo>
                  <a:lnTo>
                    <a:pt x="30" y="94"/>
                  </a:lnTo>
                  <a:lnTo>
                    <a:pt x="24" y="94"/>
                  </a:lnTo>
                  <a:lnTo>
                    <a:pt x="18" y="92"/>
                  </a:lnTo>
                  <a:lnTo>
                    <a:pt x="18" y="94"/>
                  </a:lnTo>
                  <a:lnTo>
                    <a:pt x="18" y="96"/>
                  </a:lnTo>
                  <a:lnTo>
                    <a:pt x="14" y="98"/>
                  </a:lnTo>
                  <a:lnTo>
                    <a:pt x="16" y="112"/>
                  </a:lnTo>
                  <a:lnTo>
                    <a:pt x="16" y="116"/>
                  </a:lnTo>
                  <a:lnTo>
                    <a:pt x="14" y="118"/>
                  </a:lnTo>
                  <a:lnTo>
                    <a:pt x="12" y="118"/>
                  </a:lnTo>
                  <a:lnTo>
                    <a:pt x="10" y="118"/>
                  </a:lnTo>
                  <a:lnTo>
                    <a:pt x="10" y="118"/>
                  </a:lnTo>
                  <a:lnTo>
                    <a:pt x="10" y="122"/>
                  </a:lnTo>
                  <a:lnTo>
                    <a:pt x="12" y="122"/>
                  </a:lnTo>
                  <a:lnTo>
                    <a:pt x="18" y="120"/>
                  </a:lnTo>
                  <a:lnTo>
                    <a:pt x="26" y="118"/>
                  </a:lnTo>
                  <a:lnTo>
                    <a:pt x="30" y="120"/>
                  </a:lnTo>
                  <a:lnTo>
                    <a:pt x="32" y="122"/>
                  </a:lnTo>
                  <a:lnTo>
                    <a:pt x="32" y="124"/>
                  </a:lnTo>
                  <a:lnTo>
                    <a:pt x="32" y="130"/>
                  </a:lnTo>
                  <a:lnTo>
                    <a:pt x="28" y="138"/>
                  </a:lnTo>
                  <a:lnTo>
                    <a:pt x="24" y="146"/>
                  </a:lnTo>
                  <a:lnTo>
                    <a:pt x="20" y="154"/>
                  </a:lnTo>
                  <a:lnTo>
                    <a:pt x="18" y="158"/>
                  </a:lnTo>
                  <a:lnTo>
                    <a:pt x="18" y="164"/>
                  </a:lnTo>
                  <a:lnTo>
                    <a:pt x="18" y="170"/>
                  </a:lnTo>
                  <a:lnTo>
                    <a:pt x="18" y="172"/>
                  </a:lnTo>
                  <a:lnTo>
                    <a:pt x="20" y="174"/>
                  </a:lnTo>
                  <a:lnTo>
                    <a:pt x="24" y="176"/>
                  </a:lnTo>
                  <a:lnTo>
                    <a:pt x="32" y="182"/>
                  </a:lnTo>
                  <a:lnTo>
                    <a:pt x="38" y="188"/>
                  </a:lnTo>
                  <a:lnTo>
                    <a:pt x="46" y="196"/>
                  </a:lnTo>
                  <a:lnTo>
                    <a:pt x="48" y="198"/>
                  </a:lnTo>
                  <a:lnTo>
                    <a:pt x="48" y="200"/>
                  </a:lnTo>
                  <a:lnTo>
                    <a:pt x="46" y="204"/>
                  </a:lnTo>
                  <a:lnTo>
                    <a:pt x="40" y="204"/>
                  </a:lnTo>
                  <a:lnTo>
                    <a:pt x="32" y="204"/>
                  </a:lnTo>
                  <a:lnTo>
                    <a:pt x="30" y="202"/>
                  </a:lnTo>
                  <a:lnTo>
                    <a:pt x="28" y="204"/>
                  </a:lnTo>
                  <a:lnTo>
                    <a:pt x="26" y="206"/>
                  </a:lnTo>
                  <a:lnTo>
                    <a:pt x="26" y="206"/>
                  </a:lnTo>
                  <a:lnTo>
                    <a:pt x="34" y="216"/>
                  </a:lnTo>
                  <a:lnTo>
                    <a:pt x="42" y="228"/>
                  </a:lnTo>
                  <a:lnTo>
                    <a:pt x="42" y="234"/>
                  </a:lnTo>
                  <a:lnTo>
                    <a:pt x="42" y="238"/>
                  </a:lnTo>
                  <a:lnTo>
                    <a:pt x="40" y="242"/>
                  </a:lnTo>
                  <a:lnTo>
                    <a:pt x="36" y="242"/>
                  </a:lnTo>
                  <a:lnTo>
                    <a:pt x="34" y="238"/>
                  </a:lnTo>
                  <a:lnTo>
                    <a:pt x="30" y="238"/>
                  </a:lnTo>
                  <a:lnTo>
                    <a:pt x="26" y="240"/>
                  </a:lnTo>
                  <a:lnTo>
                    <a:pt x="22" y="244"/>
                  </a:lnTo>
                  <a:lnTo>
                    <a:pt x="22" y="246"/>
                  </a:lnTo>
                  <a:lnTo>
                    <a:pt x="22" y="248"/>
                  </a:lnTo>
                  <a:lnTo>
                    <a:pt x="24" y="252"/>
                  </a:lnTo>
                  <a:lnTo>
                    <a:pt x="30" y="254"/>
                  </a:lnTo>
                  <a:lnTo>
                    <a:pt x="36" y="262"/>
                  </a:lnTo>
                  <a:lnTo>
                    <a:pt x="46" y="274"/>
                  </a:lnTo>
                  <a:lnTo>
                    <a:pt x="50" y="276"/>
                  </a:lnTo>
                  <a:lnTo>
                    <a:pt x="54" y="278"/>
                  </a:lnTo>
                  <a:lnTo>
                    <a:pt x="60" y="282"/>
                  </a:lnTo>
                  <a:lnTo>
                    <a:pt x="66" y="284"/>
                  </a:lnTo>
                  <a:lnTo>
                    <a:pt x="72" y="284"/>
                  </a:lnTo>
                  <a:lnTo>
                    <a:pt x="86" y="296"/>
                  </a:lnTo>
                  <a:lnTo>
                    <a:pt x="92" y="298"/>
                  </a:lnTo>
                  <a:lnTo>
                    <a:pt x="98" y="302"/>
                  </a:lnTo>
                  <a:lnTo>
                    <a:pt x="98" y="306"/>
                  </a:lnTo>
                  <a:lnTo>
                    <a:pt x="98" y="308"/>
                  </a:lnTo>
                  <a:lnTo>
                    <a:pt x="106" y="304"/>
                  </a:lnTo>
                  <a:lnTo>
                    <a:pt x="108" y="304"/>
                  </a:lnTo>
                  <a:lnTo>
                    <a:pt x="106" y="300"/>
                  </a:lnTo>
                  <a:lnTo>
                    <a:pt x="106" y="296"/>
                  </a:lnTo>
                  <a:lnTo>
                    <a:pt x="116" y="290"/>
                  </a:lnTo>
                  <a:lnTo>
                    <a:pt x="118" y="286"/>
                  </a:lnTo>
                  <a:lnTo>
                    <a:pt x="118" y="284"/>
                  </a:lnTo>
                  <a:lnTo>
                    <a:pt x="118" y="280"/>
                  </a:lnTo>
                  <a:lnTo>
                    <a:pt x="116" y="276"/>
                  </a:lnTo>
                  <a:lnTo>
                    <a:pt x="116" y="274"/>
                  </a:lnTo>
                  <a:lnTo>
                    <a:pt x="122" y="272"/>
                  </a:lnTo>
                  <a:lnTo>
                    <a:pt x="126" y="270"/>
                  </a:lnTo>
                  <a:lnTo>
                    <a:pt x="128" y="268"/>
                  </a:lnTo>
                  <a:lnTo>
                    <a:pt x="130" y="270"/>
                  </a:lnTo>
                  <a:lnTo>
                    <a:pt x="130" y="272"/>
                  </a:lnTo>
                  <a:lnTo>
                    <a:pt x="130" y="276"/>
                  </a:lnTo>
                  <a:lnTo>
                    <a:pt x="134" y="278"/>
                  </a:lnTo>
                  <a:lnTo>
                    <a:pt x="138" y="282"/>
                  </a:lnTo>
                  <a:lnTo>
                    <a:pt x="144" y="284"/>
                  </a:lnTo>
                  <a:lnTo>
                    <a:pt x="150" y="288"/>
                  </a:lnTo>
                  <a:lnTo>
                    <a:pt x="156" y="296"/>
                  </a:lnTo>
                  <a:lnTo>
                    <a:pt x="156" y="300"/>
                  </a:lnTo>
                  <a:lnTo>
                    <a:pt x="162" y="304"/>
                  </a:lnTo>
                  <a:lnTo>
                    <a:pt x="168" y="308"/>
                  </a:lnTo>
                  <a:lnTo>
                    <a:pt x="166" y="314"/>
                  </a:lnTo>
                  <a:lnTo>
                    <a:pt x="184" y="320"/>
                  </a:lnTo>
                  <a:lnTo>
                    <a:pt x="188" y="320"/>
                  </a:lnTo>
                  <a:lnTo>
                    <a:pt x="190" y="322"/>
                  </a:lnTo>
                  <a:lnTo>
                    <a:pt x="190" y="324"/>
                  </a:lnTo>
                  <a:lnTo>
                    <a:pt x="188" y="328"/>
                  </a:lnTo>
                  <a:lnTo>
                    <a:pt x="182" y="344"/>
                  </a:lnTo>
                  <a:lnTo>
                    <a:pt x="180" y="346"/>
                  </a:lnTo>
                  <a:lnTo>
                    <a:pt x="176" y="350"/>
                  </a:lnTo>
                  <a:lnTo>
                    <a:pt x="174" y="352"/>
                  </a:lnTo>
                  <a:lnTo>
                    <a:pt x="176" y="356"/>
                  </a:lnTo>
                  <a:lnTo>
                    <a:pt x="178" y="360"/>
                  </a:lnTo>
                  <a:lnTo>
                    <a:pt x="182" y="360"/>
                  </a:lnTo>
                  <a:lnTo>
                    <a:pt x="190" y="358"/>
                  </a:lnTo>
                  <a:lnTo>
                    <a:pt x="194" y="354"/>
                  </a:lnTo>
                  <a:lnTo>
                    <a:pt x="196" y="354"/>
                  </a:lnTo>
                  <a:lnTo>
                    <a:pt x="200" y="352"/>
                  </a:lnTo>
                  <a:lnTo>
                    <a:pt x="206" y="352"/>
                  </a:lnTo>
                  <a:lnTo>
                    <a:pt x="210" y="354"/>
                  </a:lnTo>
                  <a:lnTo>
                    <a:pt x="216" y="352"/>
                  </a:lnTo>
                  <a:lnTo>
                    <a:pt x="222" y="350"/>
                  </a:lnTo>
                  <a:lnTo>
                    <a:pt x="224" y="350"/>
                  </a:lnTo>
                  <a:lnTo>
                    <a:pt x="228" y="352"/>
                  </a:lnTo>
                  <a:lnTo>
                    <a:pt x="228" y="354"/>
                  </a:lnTo>
                  <a:lnTo>
                    <a:pt x="234" y="352"/>
                  </a:lnTo>
                  <a:lnTo>
                    <a:pt x="236" y="350"/>
                  </a:lnTo>
                  <a:lnTo>
                    <a:pt x="240" y="342"/>
                  </a:lnTo>
                  <a:lnTo>
                    <a:pt x="242" y="338"/>
                  </a:lnTo>
                  <a:lnTo>
                    <a:pt x="240" y="336"/>
                  </a:lnTo>
                  <a:lnTo>
                    <a:pt x="238" y="334"/>
                  </a:lnTo>
                  <a:lnTo>
                    <a:pt x="234" y="326"/>
                  </a:lnTo>
                  <a:lnTo>
                    <a:pt x="236" y="318"/>
                  </a:lnTo>
                  <a:lnTo>
                    <a:pt x="236" y="314"/>
                  </a:lnTo>
                  <a:lnTo>
                    <a:pt x="236" y="310"/>
                  </a:lnTo>
                  <a:lnTo>
                    <a:pt x="236" y="306"/>
                  </a:lnTo>
                  <a:lnTo>
                    <a:pt x="240" y="304"/>
                  </a:lnTo>
                  <a:lnTo>
                    <a:pt x="242" y="304"/>
                  </a:lnTo>
                  <a:lnTo>
                    <a:pt x="252" y="302"/>
                  </a:lnTo>
                  <a:lnTo>
                    <a:pt x="258" y="294"/>
                  </a:lnTo>
                  <a:lnTo>
                    <a:pt x="262" y="290"/>
                  </a:lnTo>
                  <a:lnTo>
                    <a:pt x="266" y="286"/>
                  </a:lnTo>
                  <a:lnTo>
                    <a:pt x="268" y="284"/>
                  </a:lnTo>
                  <a:lnTo>
                    <a:pt x="270" y="280"/>
                  </a:lnTo>
                  <a:lnTo>
                    <a:pt x="270" y="276"/>
                  </a:lnTo>
                  <a:lnTo>
                    <a:pt x="262" y="270"/>
                  </a:lnTo>
                  <a:lnTo>
                    <a:pt x="260" y="266"/>
                  </a:lnTo>
                  <a:lnTo>
                    <a:pt x="256" y="260"/>
                  </a:lnTo>
                  <a:lnTo>
                    <a:pt x="252" y="256"/>
                  </a:lnTo>
                  <a:lnTo>
                    <a:pt x="242" y="252"/>
                  </a:lnTo>
                  <a:lnTo>
                    <a:pt x="240" y="246"/>
                  </a:lnTo>
                  <a:lnTo>
                    <a:pt x="238" y="238"/>
                  </a:lnTo>
                  <a:lnTo>
                    <a:pt x="234" y="232"/>
                  </a:lnTo>
                  <a:lnTo>
                    <a:pt x="232" y="228"/>
                  </a:lnTo>
                  <a:lnTo>
                    <a:pt x="232" y="226"/>
                  </a:lnTo>
                  <a:lnTo>
                    <a:pt x="230" y="222"/>
                  </a:lnTo>
                  <a:lnTo>
                    <a:pt x="230" y="214"/>
                  </a:lnTo>
                  <a:lnTo>
                    <a:pt x="232" y="204"/>
                  </a:lnTo>
                  <a:lnTo>
                    <a:pt x="234" y="202"/>
                  </a:lnTo>
                  <a:lnTo>
                    <a:pt x="236" y="200"/>
                  </a:lnTo>
                  <a:lnTo>
                    <a:pt x="246" y="196"/>
                  </a:lnTo>
                  <a:lnTo>
                    <a:pt x="246" y="188"/>
                  </a:lnTo>
                  <a:lnTo>
                    <a:pt x="248" y="184"/>
                  </a:lnTo>
                  <a:lnTo>
                    <a:pt x="250" y="182"/>
                  </a:lnTo>
                  <a:lnTo>
                    <a:pt x="252" y="180"/>
                  </a:lnTo>
                  <a:lnTo>
                    <a:pt x="252" y="180"/>
                  </a:lnTo>
                  <a:lnTo>
                    <a:pt x="252" y="176"/>
                  </a:lnTo>
                  <a:lnTo>
                    <a:pt x="248" y="172"/>
                  </a:lnTo>
                  <a:lnTo>
                    <a:pt x="244" y="170"/>
                  </a:lnTo>
                  <a:lnTo>
                    <a:pt x="242" y="168"/>
                  </a:lnTo>
                  <a:lnTo>
                    <a:pt x="238" y="162"/>
                  </a:lnTo>
                  <a:lnTo>
                    <a:pt x="240" y="158"/>
                  </a:lnTo>
                  <a:lnTo>
                    <a:pt x="242" y="152"/>
                  </a:lnTo>
                  <a:lnTo>
                    <a:pt x="248" y="150"/>
                  </a:lnTo>
                  <a:lnTo>
                    <a:pt x="252" y="152"/>
                  </a:lnTo>
                  <a:lnTo>
                    <a:pt x="254" y="150"/>
                  </a:lnTo>
                  <a:lnTo>
                    <a:pt x="254" y="146"/>
                  </a:lnTo>
                  <a:lnTo>
                    <a:pt x="248" y="142"/>
                  </a:lnTo>
                  <a:lnTo>
                    <a:pt x="240" y="138"/>
                  </a:lnTo>
                  <a:lnTo>
                    <a:pt x="230" y="140"/>
                  </a:lnTo>
                  <a:lnTo>
                    <a:pt x="220" y="150"/>
                  </a:lnTo>
                  <a:lnTo>
                    <a:pt x="212" y="152"/>
                  </a:lnTo>
                  <a:lnTo>
                    <a:pt x="208" y="146"/>
                  </a:lnTo>
                  <a:lnTo>
                    <a:pt x="200" y="140"/>
                  </a:lnTo>
                  <a:lnTo>
                    <a:pt x="190" y="140"/>
                  </a:lnTo>
                  <a:lnTo>
                    <a:pt x="182" y="136"/>
                  </a:lnTo>
                  <a:lnTo>
                    <a:pt x="180" y="132"/>
                  </a:lnTo>
                  <a:lnTo>
                    <a:pt x="176" y="130"/>
                  </a:lnTo>
                  <a:lnTo>
                    <a:pt x="164" y="126"/>
                  </a:lnTo>
                  <a:lnTo>
                    <a:pt x="164" y="122"/>
                  </a:lnTo>
                  <a:lnTo>
                    <a:pt x="166" y="122"/>
                  </a:lnTo>
                  <a:lnTo>
                    <a:pt x="170" y="122"/>
                  </a:lnTo>
                  <a:lnTo>
                    <a:pt x="174" y="122"/>
                  </a:lnTo>
                  <a:lnTo>
                    <a:pt x="176" y="120"/>
                  </a:lnTo>
                  <a:lnTo>
                    <a:pt x="176" y="118"/>
                  </a:lnTo>
                  <a:lnTo>
                    <a:pt x="172" y="116"/>
                  </a:lnTo>
                  <a:lnTo>
                    <a:pt x="168" y="114"/>
                  </a:lnTo>
                  <a:lnTo>
                    <a:pt x="166" y="112"/>
                  </a:lnTo>
                  <a:lnTo>
                    <a:pt x="164" y="110"/>
                  </a:lnTo>
                  <a:lnTo>
                    <a:pt x="164" y="110"/>
                  </a:lnTo>
                  <a:lnTo>
                    <a:pt x="166" y="108"/>
                  </a:lnTo>
                  <a:lnTo>
                    <a:pt x="166" y="108"/>
                  </a:lnTo>
                  <a:lnTo>
                    <a:pt x="168" y="106"/>
                  </a:lnTo>
                  <a:lnTo>
                    <a:pt x="170" y="104"/>
                  </a:lnTo>
                  <a:lnTo>
                    <a:pt x="172" y="100"/>
                  </a:lnTo>
                  <a:lnTo>
                    <a:pt x="174" y="98"/>
                  </a:lnTo>
                  <a:lnTo>
                    <a:pt x="174" y="96"/>
                  </a:lnTo>
                  <a:lnTo>
                    <a:pt x="172" y="94"/>
                  </a:lnTo>
                  <a:lnTo>
                    <a:pt x="170" y="92"/>
                  </a:lnTo>
                  <a:lnTo>
                    <a:pt x="166" y="90"/>
                  </a:lnTo>
                  <a:lnTo>
                    <a:pt x="156" y="88"/>
                  </a:lnTo>
                  <a:lnTo>
                    <a:pt x="150" y="82"/>
                  </a:lnTo>
                  <a:lnTo>
                    <a:pt x="148" y="82"/>
                  </a:lnTo>
                  <a:lnTo>
                    <a:pt x="142" y="80"/>
                  </a:lnTo>
                  <a:lnTo>
                    <a:pt x="136" y="76"/>
                  </a:lnTo>
                  <a:lnTo>
                    <a:pt x="132" y="70"/>
                  </a:lnTo>
                  <a:lnTo>
                    <a:pt x="128" y="66"/>
                  </a:lnTo>
                  <a:lnTo>
                    <a:pt x="126" y="64"/>
                  </a:lnTo>
                  <a:lnTo>
                    <a:pt x="126" y="64"/>
                  </a:lnTo>
                  <a:lnTo>
                    <a:pt x="126" y="62"/>
                  </a:lnTo>
                  <a:lnTo>
                    <a:pt x="126" y="60"/>
                  </a:lnTo>
                  <a:lnTo>
                    <a:pt x="126" y="54"/>
                  </a:lnTo>
                  <a:lnTo>
                    <a:pt x="126" y="48"/>
                  </a:lnTo>
                  <a:lnTo>
                    <a:pt x="126" y="42"/>
                  </a:lnTo>
                  <a:lnTo>
                    <a:pt x="126" y="40"/>
                  </a:lnTo>
                  <a:lnTo>
                    <a:pt x="126" y="40"/>
                  </a:lnTo>
                  <a:lnTo>
                    <a:pt x="124" y="42"/>
                  </a:lnTo>
                  <a:lnTo>
                    <a:pt x="122" y="42"/>
                  </a:lnTo>
                  <a:lnTo>
                    <a:pt x="118" y="38"/>
                  </a:lnTo>
                  <a:lnTo>
                    <a:pt x="114" y="28"/>
                  </a:lnTo>
                  <a:lnTo>
                    <a:pt x="110" y="26"/>
                  </a:lnTo>
                  <a:lnTo>
                    <a:pt x="104" y="22"/>
                  </a:lnTo>
                  <a:lnTo>
                    <a:pt x="98" y="18"/>
                  </a:lnTo>
                  <a:lnTo>
                    <a:pt x="94" y="12"/>
                  </a:lnTo>
                  <a:lnTo>
                    <a:pt x="9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3" name="Google Shape;4860;p64">
              <a:extLst>
                <a:ext uri="{FF2B5EF4-FFF2-40B4-BE49-F238E27FC236}">
                  <a16:creationId xmlns:a16="http://schemas.microsoft.com/office/drawing/2014/main" id="{5671ACF1-D41E-9505-C89A-1A9E5AC30DC2}"/>
                </a:ext>
              </a:extLst>
            </p:cNvPr>
            <p:cNvSpPr/>
            <p:nvPr/>
          </p:nvSpPr>
          <p:spPr>
            <a:xfrm>
              <a:off x="4664105" y="4980918"/>
              <a:ext cx="5907" cy="7876"/>
            </a:xfrm>
            <a:custGeom>
              <a:avLst/>
              <a:gdLst/>
              <a:ahLst/>
              <a:cxnLst/>
              <a:rect l="l" t="t" r="r" b="b"/>
              <a:pathLst>
                <a:path w="18" h="24" extrusionOk="0">
                  <a:moveTo>
                    <a:pt x="12" y="18"/>
                  </a:moveTo>
                  <a:lnTo>
                    <a:pt x="18" y="10"/>
                  </a:lnTo>
                  <a:lnTo>
                    <a:pt x="18" y="6"/>
                  </a:lnTo>
                  <a:lnTo>
                    <a:pt x="14" y="0"/>
                  </a:lnTo>
                  <a:lnTo>
                    <a:pt x="10" y="0"/>
                  </a:lnTo>
                  <a:lnTo>
                    <a:pt x="4" y="4"/>
                  </a:lnTo>
                  <a:lnTo>
                    <a:pt x="0" y="8"/>
                  </a:lnTo>
                  <a:lnTo>
                    <a:pt x="0" y="12"/>
                  </a:lnTo>
                  <a:lnTo>
                    <a:pt x="2" y="18"/>
                  </a:lnTo>
                  <a:lnTo>
                    <a:pt x="4" y="22"/>
                  </a:lnTo>
                  <a:lnTo>
                    <a:pt x="6" y="24"/>
                  </a:lnTo>
                  <a:lnTo>
                    <a:pt x="12"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4" name="Google Shape;4861;p64">
              <a:extLst>
                <a:ext uri="{FF2B5EF4-FFF2-40B4-BE49-F238E27FC236}">
                  <a16:creationId xmlns:a16="http://schemas.microsoft.com/office/drawing/2014/main" id="{8B9D1773-B307-FB58-FD56-37AE337EB34A}"/>
                </a:ext>
              </a:extLst>
            </p:cNvPr>
            <p:cNvSpPr/>
            <p:nvPr/>
          </p:nvSpPr>
          <p:spPr>
            <a:xfrm>
              <a:off x="4682483" y="4953352"/>
              <a:ext cx="2625" cy="3281"/>
            </a:xfrm>
            <a:custGeom>
              <a:avLst/>
              <a:gdLst/>
              <a:ahLst/>
              <a:cxnLst/>
              <a:rect l="l" t="t" r="r" b="b"/>
              <a:pathLst>
                <a:path w="8" h="10" extrusionOk="0">
                  <a:moveTo>
                    <a:pt x="6" y="8"/>
                  </a:moveTo>
                  <a:lnTo>
                    <a:pt x="8" y="4"/>
                  </a:lnTo>
                  <a:lnTo>
                    <a:pt x="8" y="2"/>
                  </a:lnTo>
                  <a:lnTo>
                    <a:pt x="8" y="0"/>
                  </a:lnTo>
                  <a:lnTo>
                    <a:pt x="6" y="0"/>
                  </a:lnTo>
                  <a:lnTo>
                    <a:pt x="4" y="0"/>
                  </a:lnTo>
                  <a:lnTo>
                    <a:pt x="0" y="6"/>
                  </a:lnTo>
                  <a:lnTo>
                    <a:pt x="2" y="8"/>
                  </a:lnTo>
                  <a:lnTo>
                    <a:pt x="4" y="10"/>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395" name="Google Shape;4862;p64">
              <a:extLst>
                <a:ext uri="{FF2B5EF4-FFF2-40B4-BE49-F238E27FC236}">
                  <a16:creationId xmlns:a16="http://schemas.microsoft.com/office/drawing/2014/main" id="{F7FBB351-FE99-B964-00D0-EAA0D7C8FF3F}"/>
                </a:ext>
              </a:extLst>
            </p:cNvPr>
            <p:cNvCxnSpPr/>
            <p:nvPr/>
          </p:nvCxnSpPr>
          <p:spPr>
            <a:xfrm>
              <a:off x="4684451" y="4955978"/>
              <a:ext cx="0" cy="0"/>
            </a:xfrm>
            <a:prstGeom prst="straightConnector1">
              <a:avLst/>
            </a:prstGeom>
            <a:grpFill/>
            <a:ln w="9525" cap="flat" cmpd="sng">
              <a:solidFill>
                <a:schemeClr val="bg2"/>
              </a:solidFill>
              <a:prstDash val="solid"/>
              <a:round/>
              <a:headEnd type="none" w="med" len="med"/>
              <a:tailEnd type="none" w="med" len="med"/>
            </a:ln>
          </p:spPr>
        </p:cxnSp>
        <p:cxnSp>
          <p:nvCxnSpPr>
            <p:cNvPr id="396" name="Google Shape;4863;p64">
              <a:extLst>
                <a:ext uri="{FF2B5EF4-FFF2-40B4-BE49-F238E27FC236}">
                  <a16:creationId xmlns:a16="http://schemas.microsoft.com/office/drawing/2014/main" id="{F3C9CEFC-700D-2596-C816-7F13F7CFB99C}"/>
                </a:ext>
              </a:extLst>
            </p:cNvPr>
            <p:cNvCxnSpPr/>
            <p:nvPr/>
          </p:nvCxnSpPr>
          <p:spPr>
            <a:xfrm>
              <a:off x="4684451" y="4955978"/>
              <a:ext cx="0" cy="0"/>
            </a:xfrm>
            <a:prstGeom prst="straightConnector1">
              <a:avLst/>
            </a:prstGeom>
            <a:grpFill/>
            <a:ln w="9525" cap="flat" cmpd="sng">
              <a:solidFill>
                <a:schemeClr val="bg2"/>
              </a:solidFill>
              <a:prstDash val="solid"/>
              <a:round/>
              <a:headEnd type="none" w="med" len="med"/>
              <a:tailEnd type="none" w="med" len="med"/>
            </a:ln>
          </p:spPr>
        </p:cxnSp>
        <p:sp>
          <p:nvSpPr>
            <p:cNvPr id="397" name="Google Shape;4864;p64">
              <a:extLst>
                <a:ext uri="{FF2B5EF4-FFF2-40B4-BE49-F238E27FC236}">
                  <a16:creationId xmlns:a16="http://schemas.microsoft.com/office/drawing/2014/main" id="{63819B50-7A56-81B2-7CAB-E1CBC42F23F1}"/>
                </a:ext>
              </a:extLst>
            </p:cNvPr>
            <p:cNvSpPr/>
            <p:nvPr/>
          </p:nvSpPr>
          <p:spPr>
            <a:xfrm>
              <a:off x="3276000" y="4860156"/>
              <a:ext cx="87290" cy="89915"/>
            </a:xfrm>
            <a:custGeom>
              <a:avLst/>
              <a:gdLst/>
              <a:ahLst/>
              <a:cxnLst/>
              <a:rect l="l" t="t" r="r" b="b"/>
              <a:pathLst>
                <a:path w="266" h="274" extrusionOk="0">
                  <a:moveTo>
                    <a:pt x="256" y="42"/>
                  </a:moveTo>
                  <a:lnTo>
                    <a:pt x="260" y="34"/>
                  </a:lnTo>
                  <a:lnTo>
                    <a:pt x="262" y="26"/>
                  </a:lnTo>
                  <a:lnTo>
                    <a:pt x="264" y="18"/>
                  </a:lnTo>
                  <a:lnTo>
                    <a:pt x="262" y="14"/>
                  </a:lnTo>
                  <a:lnTo>
                    <a:pt x="256" y="10"/>
                  </a:lnTo>
                  <a:lnTo>
                    <a:pt x="242" y="6"/>
                  </a:lnTo>
                  <a:lnTo>
                    <a:pt x="212" y="2"/>
                  </a:lnTo>
                  <a:lnTo>
                    <a:pt x="190" y="0"/>
                  </a:lnTo>
                  <a:lnTo>
                    <a:pt x="176" y="4"/>
                  </a:lnTo>
                  <a:lnTo>
                    <a:pt x="158" y="2"/>
                  </a:lnTo>
                  <a:lnTo>
                    <a:pt x="146" y="4"/>
                  </a:lnTo>
                  <a:lnTo>
                    <a:pt x="140" y="8"/>
                  </a:lnTo>
                  <a:lnTo>
                    <a:pt x="142" y="14"/>
                  </a:lnTo>
                  <a:lnTo>
                    <a:pt x="142" y="20"/>
                  </a:lnTo>
                  <a:lnTo>
                    <a:pt x="140" y="14"/>
                  </a:lnTo>
                  <a:lnTo>
                    <a:pt x="120" y="8"/>
                  </a:lnTo>
                  <a:lnTo>
                    <a:pt x="104" y="4"/>
                  </a:lnTo>
                  <a:lnTo>
                    <a:pt x="72" y="2"/>
                  </a:lnTo>
                  <a:lnTo>
                    <a:pt x="66" y="4"/>
                  </a:lnTo>
                  <a:lnTo>
                    <a:pt x="62" y="12"/>
                  </a:lnTo>
                  <a:lnTo>
                    <a:pt x="60" y="18"/>
                  </a:lnTo>
                  <a:lnTo>
                    <a:pt x="60" y="24"/>
                  </a:lnTo>
                  <a:lnTo>
                    <a:pt x="58" y="32"/>
                  </a:lnTo>
                  <a:lnTo>
                    <a:pt x="56" y="30"/>
                  </a:lnTo>
                  <a:lnTo>
                    <a:pt x="54" y="34"/>
                  </a:lnTo>
                  <a:lnTo>
                    <a:pt x="52" y="36"/>
                  </a:lnTo>
                  <a:lnTo>
                    <a:pt x="50" y="42"/>
                  </a:lnTo>
                  <a:lnTo>
                    <a:pt x="48" y="44"/>
                  </a:lnTo>
                  <a:lnTo>
                    <a:pt x="52" y="50"/>
                  </a:lnTo>
                  <a:lnTo>
                    <a:pt x="54" y="50"/>
                  </a:lnTo>
                  <a:lnTo>
                    <a:pt x="54" y="52"/>
                  </a:lnTo>
                  <a:lnTo>
                    <a:pt x="56" y="52"/>
                  </a:lnTo>
                  <a:lnTo>
                    <a:pt x="56" y="54"/>
                  </a:lnTo>
                  <a:lnTo>
                    <a:pt x="54" y="54"/>
                  </a:lnTo>
                  <a:lnTo>
                    <a:pt x="52" y="56"/>
                  </a:lnTo>
                  <a:lnTo>
                    <a:pt x="48" y="60"/>
                  </a:lnTo>
                  <a:lnTo>
                    <a:pt x="50" y="62"/>
                  </a:lnTo>
                  <a:lnTo>
                    <a:pt x="48" y="66"/>
                  </a:lnTo>
                  <a:lnTo>
                    <a:pt x="42" y="66"/>
                  </a:lnTo>
                  <a:lnTo>
                    <a:pt x="32" y="66"/>
                  </a:lnTo>
                  <a:lnTo>
                    <a:pt x="26" y="66"/>
                  </a:lnTo>
                  <a:lnTo>
                    <a:pt x="22" y="66"/>
                  </a:lnTo>
                  <a:lnTo>
                    <a:pt x="20" y="70"/>
                  </a:lnTo>
                  <a:lnTo>
                    <a:pt x="16" y="70"/>
                  </a:lnTo>
                  <a:lnTo>
                    <a:pt x="14" y="72"/>
                  </a:lnTo>
                  <a:lnTo>
                    <a:pt x="12" y="74"/>
                  </a:lnTo>
                  <a:lnTo>
                    <a:pt x="10" y="78"/>
                  </a:lnTo>
                  <a:lnTo>
                    <a:pt x="10" y="80"/>
                  </a:lnTo>
                  <a:lnTo>
                    <a:pt x="12" y="84"/>
                  </a:lnTo>
                  <a:lnTo>
                    <a:pt x="14" y="88"/>
                  </a:lnTo>
                  <a:lnTo>
                    <a:pt x="12" y="94"/>
                  </a:lnTo>
                  <a:lnTo>
                    <a:pt x="10" y="98"/>
                  </a:lnTo>
                  <a:lnTo>
                    <a:pt x="8" y="102"/>
                  </a:lnTo>
                  <a:lnTo>
                    <a:pt x="6" y="110"/>
                  </a:lnTo>
                  <a:lnTo>
                    <a:pt x="4" y="116"/>
                  </a:lnTo>
                  <a:lnTo>
                    <a:pt x="0" y="120"/>
                  </a:lnTo>
                  <a:lnTo>
                    <a:pt x="0" y="126"/>
                  </a:lnTo>
                  <a:lnTo>
                    <a:pt x="2" y="132"/>
                  </a:lnTo>
                  <a:lnTo>
                    <a:pt x="10" y="142"/>
                  </a:lnTo>
                  <a:lnTo>
                    <a:pt x="12" y="146"/>
                  </a:lnTo>
                  <a:lnTo>
                    <a:pt x="14" y="154"/>
                  </a:lnTo>
                  <a:lnTo>
                    <a:pt x="22" y="160"/>
                  </a:lnTo>
                  <a:lnTo>
                    <a:pt x="26" y="164"/>
                  </a:lnTo>
                  <a:lnTo>
                    <a:pt x="26" y="170"/>
                  </a:lnTo>
                  <a:lnTo>
                    <a:pt x="26" y="172"/>
                  </a:lnTo>
                  <a:lnTo>
                    <a:pt x="30" y="174"/>
                  </a:lnTo>
                  <a:lnTo>
                    <a:pt x="34" y="174"/>
                  </a:lnTo>
                  <a:lnTo>
                    <a:pt x="38" y="174"/>
                  </a:lnTo>
                  <a:lnTo>
                    <a:pt x="40" y="174"/>
                  </a:lnTo>
                  <a:lnTo>
                    <a:pt x="42" y="174"/>
                  </a:lnTo>
                  <a:lnTo>
                    <a:pt x="50" y="174"/>
                  </a:lnTo>
                  <a:lnTo>
                    <a:pt x="50" y="174"/>
                  </a:lnTo>
                  <a:lnTo>
                    <a:pt x="50" y="184"/>
                  </a:lnTo>
                  <a:lnTo>
                    <a:pt x="52" y="186"/>
                  </a:lnTo>
                  <a:lnTo>
                    <a:pt x="54" y="188"/>
                  </a:lnTo>
                  <a:lnTo>
                    <a:pt x="54" y="190"/>
                  </a:lnTo>
                  <a:lnTo>
                    <a:pt x="54" y="192"/>
                  </a:lnTo>
                  <a:lnTo>
                    <a:pt x="54" y="198"/>
                  </a:lnTo>
                  <a:lnTo>
                    <a:pt x="56" y="200"/>
                  </a:lnTo>
                  <a:lnTo>
                    <a:pt x="56" y="206"/>
                  </a:lnTo>
                  <a:lnTo>
                    <a:pt x="56" y="208"/>
                  </a:lnTo>
                  <a:lnTo>
                    <a:pt x="58" y="208"/>
                  </a:lnTo>
                  <a:lnTo>
                    <a:pt x="62" y="212"/>
                  </a:lnTo>
                  <a:lnTo>
                    <a:pt x="62" y="214"/>
                  </a:lnTo>
                  <a:lnTo>
                    <a:pt x="62" y="214"/>
                  </a:lnTo>
                  <a:lnTo>
                    <a:pt x="66" y="220"/>
                  </a:lnTo>
                  <a:lnTo>
                    <a:pt x="66" y="222"/>
                  </a:lnTo>
                  <a:lnTo>
                    <a:pt x="68" y="222"/>
                  </a:lnTo>
                  <a:lnTo>
                    <a:pt x="68" y="224"/>
                  </a:lnTo>
                  <a:lnTo>
                    <a:pt x="70" y="228"/>
                  </a:lnTo>
                  <a:lnTo>
                    <a:pt x="70" y="230"/>
                  </a:lnTo>
                  <a:lnTo>
                    <a:pt x="74" y="234"/>
                  </a:lnTo>
                  <a:lnTo>
                    <a:pt x="74" y="238"/>
                  </a:lnTo>
                  <a:lnTo>
                    <a:pt x="76" y="242"/>
                  </a:lnTo>
                  <a:lnTo>
                    <a:pt x="80" y="246"/>
                  </a:lnTo>
                  <a:lnTo>
                    <a:pt x="82" y="248"/>
                  </a:lnTo>
                  <a:lnTo>
                    <a:pt x="86" y="256"/>
                  </a:lnTo>
                  <a:lnTo>
                    <a:pt x="88" y="260"/>
                  </a:lnTo>
                  <a:lnTo>
                    <a:pt x="94" y="262"/>
                  </a:lnTo>
                  <a:lnTo>
                    <a:pt x="98" y="264"/>
                  </a:lnTo>
                  <a:lnTo>
                    <a:pt x="100" y="266"/>
                  </a:lnTo>
                  <a:lnTo>
                    <a:pt x="104" y="268"/>
                  </a:lnTo>
                  <a:lnTo>
                    <a:pt x="106" y="268"/>
                  </a:lnTo>
                  <a:lnTo>
                    <a:pt x="110" y="268"/>
                  </a:lnTo>
                  <a:lnTo>
                    <a:pt x="120" y="272"/>
                  </a:lnTo>
                  <a:lnTo>
                    <a:pt x="134" y="274"/>
                  </a:lnTo>
                  <a:lnTo>
                    <a:pt x="138" y="272"/>
                  </a:lnTo>
                  <a:lnTo>
                    <a:pt x="140" y="270"/>
                  </a:lnTo>
                  <a:lnTo>
                    <a:pt x="140" y="264"/>
                  </a:lnTo>
                  <a:lnTo>
                    <a:pt x="140" y="260"/>
                  </a:lnTo>
                  <a:lnTo>
                    <a:pt x="138" y="258"/>
                  </a:lnTo>
                  <a:lnTo>
                    <a:pt x="134" y="252"/>
                  </a:lnTo>
                  <a:lnTo>
                    <a:pt x="130" y="248"/>
                  </a:lnTo>
                  <a:lnTo>
                    <a:pt x="126" y="246"/>
                  </a:lnTo>
                  <a:lnTo>
                    <a:pt x="126" y="244"/>
                  </a:lnTo>
                  <a:lnTo>
                    <a:pt x="130" y="242"/>
                  </a:lnTo>
                  <a:lnTo>
                    <a:pt x="132" y="240"/>
                  </a:lnTo>
                  <a:lnTo>
                    <a:pt x="134" y="238"/>
                  </a:lnTo>
                  <a:lnTo>
                    <a:pt x="136" y="230"/>
                  </a:lnTo>
                  <a:lnTo>
                    <a:pt x="136" y="230"/>
                  </a:lnTo>
                  <a:lnTo>
                    <a:pt x="138" y="230"/>
                  </a:lnTo>
                  <a:lnTo>
                    <a:pt x="140" y="230"/>
                  </a:lnTo>
                  <a:lnTo>
                    <a:pt x="142" y="232"/>
                  </a:lnTo>
                  <a:lnTo>
                    <a:pt x="152" y="236"/>
                  </a:lnTo>
                  <a:lnTo>
                    <a:pt x="158" y="236"/>
                  </a:lnTo>
                  <a:lnTo>
                    <a:pt x="176" y="234"/>
                  </a:lnTo>
                  <a:lnTo>
                    <a:pt x="178" y="232"/>
                  </a:lnTo>
                  <a:lnTo>
                    <a:pt x="182" y="230"/>
                  </a:lnTo>
                  <a:lnTo>
                    <a:pt x="188" y="228"/>
                  </a:lnTo>
                  <a:lnTo>
                    <a:pt x="190" y="228"/>
                  </a:lnTo>
                  <a:lnTo>
                    <a:pt x="192" y="228"/>
                  </a:lnTo>
                  <a:lnTo>
                    <a:pt x="196" y="228"/>
                  </a:lnTo>
                  <a:lnTo>
                    <a:pt x="200" y="224"/>
                  </a:lnTo>
                  <a:lnTo>
                    <a:pt x="202" y="224"/>
                  </a:lnTo>
                  <a:lnTo>
                    <a:pt x="202" y="228"/>
                  </a:lnTo>
                  <a:lnTo>
                    <a:pt x="206" y="230"/>
                  </a:lnTo>
                  <a:lnTo>
                    <a:pt x="208" y="234"/>
                  </a:lnTo>
                  <a:lnTo>
                    <a:pt x="210" y="234"/>
                  </a:lnTo>
                  <a:lnTo>
                    <a:pt x="216" y="234"/>
                  </a:lnTo>
                  <a:lnTo>
                    <a:pt x="218" y="234"/>
                  </a:lnTo>
                  <a:lnTo>
                    <a:pt x="220" y="238"/>
                  </a:lnTo>
                  <a:lnTo>
                    <a:pt x="220" y="240"/>
                  </a:lnTo>
                  <a:lnTo>
                    <a:pt x="222" y="242"/>
                  </a:lnTo>
                  <a:lnTo>
                    <a:pt x="226" y="242"/>
                  </a:lnTo>
                  <a:lnTo>
                    <a:pt x="226" y="242"/>
                  </a:lnTo>
                  <a:lnTo>
                    <a:pt x="228" y="240"/>
                  </a:lnTo>
                  <a:lnTo>
                    <a:pt x="230" y="240"/>
                  </a:lnTo>
                  <a:lnTo>
                    <a:pt x="234" y="236"/>
                  </a:lnTo>
                  <a:lnTo>
                    <a:pt x="240" y="234"/>
                  </a:lnTo>
                  <a:lnTo>
                    <a:pt x="250" y="216"/>
                  </a:lnTo>
                  <a:lnTo>
                    <a:pt x="254" y="210"/>
                  </a:lnTo>
                  <a:lnTo>
                    <a:pt x="254" y="206"/>
                  </a:lnTo>
                  <a:lnTo>
                    <a:pt x="254" y="198"/>
                  </a:lnTo>
                  <a:lnTo>
                    <a:pt x="252" y="188"/>
                  </a:lnTo>
                  <a:lnTo>
                    <a:pt x="254" y="186"/>
                  </a:lnTo>
                  <a:lnTo>
                    <a:pt x="262" y="174"/>
                  </a:lnTo>
                  <a:lnTo>
                    <a:pt x="266" y="168"/>
                  </a:lnTo>
                  <a:lnTo>
                    <a:pt x="266" y="162"/>
                  </a:lnTo>
                  <a:lnTo>
                    <a:pt x="266" y="160"/>
                  </a:lnTo>
                  <a:lnTo>
                    <a:pt x="266" y="158"/>
                  </a:lnTo>
                  <a:lnTo>
                    <a:pt x="264" y="156"/>
                  </a:lnTo>
                  <a:lnTo>
                    <a:pt x="260" y="152"/>
                  </a:lnTo>
                  <a:lnTo>
                    <a:pt x="258" y="148"/>
                  </a:lnTo>
                  <a:lnTo>
                    <a:pt x="252" y="142"/>
                  </a:lnTo>
                  <a:lnTo>
                    <a:pt x="250" y="138"/>
                  </a:lnTo>
                  <a:lnTo>
                    <a:pt x="242" y="128"/>
                  </a:lnTo>
                  <a:lnTo>
                    <a:pt x="244" y="124"/>
                  </a:lnTo>
                  <a:lnTo>
                    <a:pt x="240" y="118"/>
                  </a:lnTo>
                  <a:lnTo>
                    <a:pt x="240" y="116"/>
                  </a:lnTo>
                  <a:lnTo>
                    <a:pt x="238" y="110"/>
                  </a:lnTo>
                  <a:lnTo>
                    <a:pt x="238" y="104"/>
                  </a:lnTo>
                  <a:lnTo>
                    <a:pt x="236" y="100"/>
                  </a:lnTo>
                  <a:lnTo>
                    <a:pt x="238" y="94"/>
                  </a:lnTo>
                  <a:lnTo>
                    <a:pt x="238" y="86"/>
                  </a:lnTo>
                  <a:lnTo>
                    <a:pt x="236" y="82"/>
                  </a:lnTo>
                  <a:lnTo>
                    <a:pt x="234" y="78"/>
                  </a:lnTo>
                  <a:lnTo>
                    <a:pt x="234" y="72"/>
                  </a:lnTo>
                  <a:lnTo>
                    <a:pt x="236" y="70"/>
                  </a:lnTo>
                  <a:lnTo>
                    <a:pt x="236" y="66"/>
                  </a:lnTo>
                  <a:lnTo>
                    <a:pt x="244" y="54"/>
                  </a:lnTo>
                  <a:lnTo>
                    <a:pt x="250" y="48"/>
                  </a:lnTo>
                  <a:lnTo>
                    <a:pt x="256" y="4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8" name="Google Shape;4865;p64">
              <a:extLst>
                <a:ext uri="{FF2B5EF4-FFF2-40B4-BE49-F238E27FC236}">
                  <a16:creationId xmlns:a16="http://schemas.microsoft.com/office/drawing/2014/main" id="{C5A137FF-892E-0E31-4FEB-515A78AA600E}"/>
                </a:ext>
              </a:extLst>
            </p:cNvPr>
            <p:cNvSpPr/>
            <p:nvPr/>
          </p:nvSpPr>
          <p:spPr>
            <a:xfrm>
              <a:off x="4887909" y="3757547"/>
              <a:ext cx="122075" cy="59725"/>
            </a:xfrm>
            <a:custGeom>
              <a:avLst/>
              <a:gdLst/>
              <a:ahLst/>
              <a:cxnLst/>
              <a:rect l="l" t="t" r="r" b="b"/>
              <a:pathLst>
                <a:path w="372" h="182" extrusionOk="0">
                  <a:moveTo>
                    <a:pt x="372" y="52"/>
                  </a:moveTo>
                  <a:lnTo>
                    <a:pt x="368" y="52"/>
                  </a:lnTo>
                  <a:lnTo>
                    <a:pt x="350" y="44"/>
                  </a:lnTo>
                  <a:lnTo>
                    <a:pt x="338" y="38"/>
                  </a:lnTo>
                  <a:lnTo>
                    <a:pt x="336" y="34"/>
                  </a:lnTo>
                  <a:lnTo>
                    <a:pt x="334" y="30"/>
                  </a:lnTo>
                  <a:lnTo>
                    <a:pt x="330" y="24"/>
                  </a:lnTo>
                  <a:lnTo>
                    <a:pt x="318" y="20"/>
                  </a:lnTo>
                  <a:lnTo>
                    <a:pt x="312" y="18"/>
                  </a:lnTo>
                  <a:lnTo>
                    <a:pt x="294" y="16"/>
                  </a:lnTo>
                  <a:lnTo>
                    <a:pt x="286" y="16"/>
                  </a:lnTo>
                  <a:lnTo>
                    <a:pt x="280" y="18"/>
                  </a:lnTo>
                  <a:lnTo>
                    <a:pt x="276" y="18"/>
                  </a:lnTo>
                  <a:lnTo>
                    <a:pt x="270" y="24"/>
                  </a:lnTo>
                  <a:lnTo>
                    <a:pt x="268" y="28"/>
                  </a:lnTo>
                  <a:lnTo>
                    <a:pt x="262" y="28"/>
                  </a:lnTo>
                  <a:lnTo>
                    <a:pt x="258" y="26"/>
                  </a:lnTo>
                  <a:lnTo>
                    <a:pt x="254" y="22"/>
                  </a:lnTo>
                  <a:lnTo>
                    <a:pt x="246" y="20"/>
                  </a:lnTo>
                  <a:lnTo>
                    <a:pt x="240" y="20"/>
                  </a:lnTo>
                  <a:lnTo>
                    <a:pt x="236" y="20"/>
                  </a:lnTo>
                  <a:lnTo>
                    <a:pt x="232" y="20"/>
                  </a:lnTo>
                  <a:lnTo>
                    <a:pt x="232" y="20"/>
                  </a:lnTo>
                  <a:lnTo>
                    <a:pt x="228" y="20"/>
                  </a:lnTo>
                  <a:lnTo>
                    <a:pt x="226" y="22"/>
                  </a:lnTo>
                  <a:lnTo>
                    <a:pt x="220" y="26"/>
                  </a:lnTo>
                  <a:lnTo>
                    <a:pt x="216" y="28"/>
                  </a:lnTo>
                  <a:lnTo>
                    <a:pt x="212" y="32"/>
                  </a:lnTo>
                  <a:lnTo>
                    <a:pt x="208" y="40"/>
                  </a:lnTo>
                  <a:lnTo>
                    <a:pt x="200" y="38"/>
                  </a:lnTo>
                  <a:lnTo>
                    <a:pt x="196" y="38"/>
                  </a:lnTo>
                  <a:lnTo>
                    <a:pt x="192" y="40"/>
                  </a:lnTo>
                  <a:lnTo>
                    <a:pt x="190" y="38"/>
                  </a:lnTo>
                  <a:lnTo>
                    <a:pt x="190" y="36"/>
                  </a:lnTo>
                  <a:lnTo>
                    <a:pt x="192" y="32"/>
                  </a:lnTo>
                  <a:lnTo>
                    <a:pt x="192" y="28"/>
                  </a:lnTo>
                  <a:lnTo>
                    <a:pt x="190" y="22"/>
                  </a:lnTo>
                  <a:lnTo>
                    <a:pt x="188" y="20"/>
                  </a:lnTo>
                  <a:lnTo>
                    <a:pt x="184" y="20"/>
                  </a:lnTo>
                  <a:lnTo>
                    <a:pt x="182" y="18"/>
                  </a:lnTo>
                  <a:lnTo>
                    <a:pt x="180" y="16"/>
                  </a:lnTo>
                  <a:lnTo>
                    <a:pt x="178" y="14"/>
                  </a:lnTo>
                  <a:lnTo>
                    <a:pt x="174" y="8"/>
                  </a:lnTo>
                  <a:lnTo>
                    <a:pt x="172" y="2"/>
                  </a:lnTo>
                  <a:lnTo>
                    <a:pt x="168" y="0"/>
                  </a:lnTo>
                  <a:lnTo>
                    <a:pt x="166" y="2"/>
                  </a:lnTo>
                  <a:lnTo>
                    <a:pt x="160" y="6"/>
                  </a:lnTo>
                  <a:lnTo>
                    <a:pt x="156" y="8"/>
                  </a:lnTo>
                  <a:lnTo>
                    <a:pt x="150" y="20"/>
                  </a:lnTo>
                  <a:lnTo>
                    <a:pt x="138" y="20"/>
                  </a:lnTo>
                  <a:lnTo>
                    <a:pt x="136" y="14"/>
                  </a:lnTo>
                  <a:lnTo>
                    <a:pt x="136" y="10"/>
                  </a:lnTo>
                  <a:lnTo>
                    <a:pt x="128" y="8"/>
                  </a:lnTo>
                  <a:lnTo>
                    <a:pt x="126" y="8"/>
                  </a:lnTo>
                  <a:lnTo>
                    <a:pt x="124" y="10"/>
                  </a:lnTo>
                  <a:lnTo>
                    <a:pt x="118" y="10"/>
                  </a:lnTo>
                  <a:lnTo>
                    <a:pt x="114" y="10"/>
                  </a:lnTo>
                  <a:lnTo>
                    <a:pt x="110" y="12"/>
                  </a:lnTo>
                  <a:lnTo>
                    <a:pt x="106" y="16"/>
                  </a:lnTo>
                  <a:lnTo>
                    <a:pt x="102" y="20"/>
                  </a:lnTo>
                  <a:lnTo>
                    <a:pt x="100" y="22"/>
                  </a:lnTo>
                  <a:lnTo>
                    <a:pt x="98" y="26"/>
                  </a:lnTo>
                  <a:lnTo>
                    <a:pt x="84" y="34"/>
                  </a:lnTo>
                  <a:lnTo>
                    <a:pt x="82" y="36"/>
                  </a:lnTo>
                  <a:lnTo>
                    <a:pt x="82" y="42"/>
                  </a:lnTo>
                  <a:lnTo>
                    <a:pt x="80" y="48"/>
                  </a:lnTo>
                  <a:lnTo>
                    <a:pt x="80" y="52"/>
                  </a:lnTo>
                  <a:lnTo>
                    <a:pt x="78" y="56"/>
                  </a:lnTo>
                  <a:lnTo>
                    <a:pt x="70" y="58"/>
                  </a:lnTo>
                  <a:lnTo>
                    <a:pt x="68" y="60"/>
                  </a:lnTo>
                  <a:lnTo>
                    <a:pt x="68" y="62"/>
                  </a:lnTo>
                  <a:lnTo>
                    <a:pt x="62" y="66"/>
                  </a:lnTo>
                  <a:lnTo>
                    <a:pt x="58" y="70"/>
                  </a:lnTo>
                  <a:lnTo>
                    <a:pt x="50" y="74"/>
                  </a:lnTo>
                  <a:lnTo>
                    <a:pt x="40" y="76"/>
                  </a:lnTo>
                  <a:lnTo>
                    <a:pt x="28" y="74"/>
                  </a:lnTo>
                  <a:lnTo>
                    <a:pt x="20" y="72"/>
                  </a:lnTo>
                  <a:lnTo>
                    <a:pt x="18" y="74"/>
                  </a:lnTo>
                  <a:lnTo>
                    <a:pt x="12" y="80"/>
                  </a:lnTo>
                  <a:lnTo>
                    <a:pt x="8" y="92"/>
                  </a:lnTo>
                  <a:lnTo>
                    <a:pt x="6" y="98"/>
                  </a:lnTo>
                  <a:lnTo>
                    <a:pt x="6" y="100"/>
                  </a:lnTo>
                  <a:lnTo>
                    <a:pt x="4" y="104"/>
                  </a:lnTo>
                  <a:lnTo>
                    <a:pt x="2" y="108"/>
                  </a:lnTo>
                  <a:lnTo>
                    <a:pt x="0" y="114"/>
                  </a:lnTo>
                  <a:lnTo>
                    <a:pt x="0" y="120"/>
                  </a:lnTo>
                  <a:lnTo>
                    <a:pt x="6" y="138"/>
                  </a:lnTo>
                  <a:lnTo>
                    <a:pt x="12" y="150"/>
                  </a:lnTo>
                  <a:lnTo>
                    <a:pt x="14" y="154"/>
                  </a:lnTo>
                  <a:lnTo>
                    <a:pt x="18" y="158"/>
                  </a:lnTo>
                  <a:lnTo>
                    <a:pt x="20" y="158"/>
                  </a:lnTo>
                  <a:lnTo>
                    <a:pt x="26" y="158"/>
                  </a:lnTo>
                  <a:lnTo>
                    <a:pt x="28" y="158"/>
                  </a:lnTo>
                  <a:lnTo>
                    <a:pt x="30" y="160"/>
                  </a:lnTo>
                  <a:lnTo>
                    <a:pt x="40" y="170"/>
                  </a:lnTo>
                  <a:lnTo>
                    <a:pt x="50" y="176"/>
                  </a:lnTo>
                  <a:lnTo>
                    <a:pt x="58" y="180"/>
                  </a:lnTo>
                  <a:lnTo>
                    <a:pt x="70" y="180"/>
                  </a:lnTo>
                  <a:lnTo>
                    <a:pt x="84" y="182"/>
                  </a:lnTo>
                  <a:lnTo>
                    <a:pt x="106" y="180"/>
                  </a:lnTo>
                  <a:lnTo>
                    <a:pt x="122" y="178"/>
                  </a:lnTo>
                  <a:lnTo>
                    <a:pt x="122" y="178"/>
                  </a:lnTo>
                  <a:lnTo>
                    <a:pt x="126" y="172"/>
                  </a:lnTo>
                  <a:lnTo>
                    <a:pt x="124" y="168"/>
                  </a:lnTo>
                  <a:lnTo>
                    <a:pt x="124" y="164"/>
                  </a:lnTo>
                  <a:lnTo>
                    <a:pt x="126" y="158"/>
                  </a:lnTo>
                  <a:lnTo>
                    <a:pt x="134" y="154"/>
                  </a:lnTo>
                  <a:lnTo>
                    <a:pt x="158" y="152"/>
                  </a:lnTo>
                  <a:lnTo>
                    <a:pt x="170" y="148"/>
                  </a:lnTo>
                  <a:lnTo>
                    <a:pt x="172" y="142"/>
                  </a:lnTo>
                  <a:lnTo>
                    <a:pt x="176" y="138"/>
                  </a:lnTo>
                  <a:lnTo>
                    <a:pt x="180" y="136"/>
                  </a:lnTo>
                  <a:lnTo>
                    <a:pt x="186" y="138"/>
                  </a:lnTo>
                  <a:lnTo>
                    <a:pt x="192" y="142"/>
                  </a:lnTo>
                  <a:lnTo>
                    <a:pt x="198" y="146"/>
                  </a:lnTo>
                  <a:lnTo>
                    <a:pt x="202" y="144"/>
                  </a:lnTo>
                  <a:lnTo>
                    <a:pt x="214" y="136"/>
                  </a:lnTo>
                  <a:lnTo>
                    <a:pt x="228" y="130"/>
                  </a:lnTo>
                  <a:lnTo>
                    <a:pt x="236" y="110"/>
                  </a:lnTo>
                  <a:lnTo>
                    <a:pt x="238" y="106"/>
                  </a:lnTo>
                  <a:lnTo>
                    <a:pt x="248" y="104"/>
                  </a:lnTo>
                  <a:lnTo>
                    <a:pt x="262" y="104"/>
                  </a:lnTo>
                  <a:lnTo>
                    <a:pt x="270" y="106"/>
                  </a:lnTo>
                  <a:lnTo>
                    <a:pt x="276" y="108"/>
                  </a:lnTo>
                  <a:lnTo>
                    <a:pt x="284" y="108"/>
                  </a:lnTo>
                  <a:lnTo>
                    <a:pt x="296" y="104"/>
                  </a:lnTo>
                  <a:lnTo>
                    <a:pt x="300" y="104"/>
                  </a:lnTo>
                  <a:lnTo>
                    <a:pt x="304" y="106"/>
                  </a:lnTo>
                  <a:lnTo>
                    <a:pt x="308" y="110"/>
                  </a:lnTo>
                  <a:lnTo>
                    <a:pt x="310" y="112"/>
                  </a:lnTo>
                  <a:lnTo>
                    <a:pt x="312" y="118"/>
                  </a:lnTo>
                  <a:lnTo>
                    <a:pt x="314" y="118"/>
                  </a:lnTo>
                  <a:lnTo>
                    <a:pt x="314" y="120"/>
                  </a:lnTo>
                  <a:lnTo>
                    <a:pt x="318" y="124"/>
                  </a:lnTo>
                  <a:lnTo>
                    <a:pt x="322" y="126"/>
                  </a:lnTo>
                  <a:lnTo>
                    <a:pt x="344" y="120"/>
                  </a:lnTo>
                  <a:lnTo>
                    <a:pt x="346" y="118"/>
                  </a:lnTo>
                  <a:lnTo>
                    <a:pt x="346" y="102"/>
                  </a:lnTo>
                  <a:lnTo>
                    <a:pt x="356" y="90"/>
                  </a:lnTo>
                  <a:lnTo>
                    <a:pt x="358" y="84"/>
                  </a:lnTo>
                  <a:lnTo>
                    <a:pt x="362" y="72"/>
                  </a:lnTo>
                  <a:lnTo>
                    <a:pt x="364" y="66"/>
                  </a:lnTo>
                  <a:lnTo>
                    <a:pt x="368" y="60"/>
                  </a:lnTo>
                  <a:lnTo>
                    <a:pt x="370" y="56"/>
                  </a:lnTo>
                  <a:lnTo>
                    <a:pt x="372" y="5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399" name="Google Shape;4866;p64">
              <a:extLst>
                <a:ext uri="{FF2B5EF4-FFF2-40B4-BE49-F238E27FC236}">
                  <a16:creationId xmlns:a16="http://schemas.microsoft.com/office/drawing/2014/main" id="{5F4AB691-85C7-D5A9-DFA4-07D0C52049B2}"/>
                </a:ext>
              </a:extLst>
            </p:cNvPr>
            <p:cNvSpPr/>
            <p:nvPr/>
          </p:nvSpPr>
          <p:spPr>
            <a:xfrm>
              <a:off x="4813089" y="3845493"/>
              <a:ext cx="66944" cy="44629"/>
            </a:xfrm>
            <a:custGeom>
              <a:avLst/>
              <a:gdLst/>
              <a:ahLst/>
              <a:cxnLst/>
              <a:rect l="l" t="t" r="r" b="b"/>
              <a:pathLst>
                <a:path w="204" h="136" extrusionOk="0">
                  <a:moveTo>
                    <a:pt x="204" y="34"/>
                  </a:moveTo>
                  <a:lnTo>
                    <a:pt x="204" y="32"/>
                  </a:lnTo>
                  <a:lnTo>
                    <a:pt x="198" y="24"/>
                  </a:lnTo>
                  <a:lnTo>
                    <a:pt x="196" y="22"/>
                  </a:lnTo>
                  <a:lnTo>
                    <a:pt x="196" y="18"/>
                  </a:lnTo>
                  <a:lnTo>
                    <a:pt x="196" y="16"/>
                  </a:lnTo>
                  <a:lnTo>
                    <a:pt x="192" y="14"/>
                  </a:lnTo>
                  <a:lnTo>
                    <a:pt x="192" y="8"/>
                  </a:lnTo>
                  <a:lnTo>
                    <a:pt x="192" y="4"/>
                  </a:lnTo>
                  <a:lnTo>
                    <a:pt x="190" y="0"/>
                  </a:lnTo>
                  <a:lnTo>
                    <a:pt x="176" y="0"/>
                  </a:lnTo>
                  <a:lnTo>
                    <a:pt x="174" y="2"/>
                  </a:lnTo>
                  <a:lnTo>
                    <a:pt x="170" y="6"/>
                  </a:lnTo>
                  <a:lnTo>
                    <a:pt x="170" y="16"/>
                  </a:lnTo>
                  <a:lnTo>
                    <a:pt x="170" y="16"/>
                  </a:lnTo>
                  <a:lnTo>
                    <a:pt x="168" y="18"/>
                  </a:lnTo>
                  <a:lnTo>
                    <a:pt x="156" y="14"/>
                  </a:lnTo>
                  <a:lnTo>
                    <a:pt x="156" y="14"/>
                  </a:lnTo>
                  <a:lnTo>
                    <a:pt x="146" y="16"/>
                  </a:lnTo>
                  <a:lnTo>
                    <a:pt x="142" y="20"/>
                  </a:lnTo>
                  <a:lnTo>
                    <a:pt x="134" y="22"/>
                  </a:lnTo>
                  <a:lnTo>
                    <a:pt x="120" y="22"/>
                  </a:lnTo>
                  <a:lnTo>
                    <a:pt x="106" y="24"/>
                  </a:lnTo>
                  <a:lnTo>
                    <a:pt x="102" y="24"/>
                  </a:lnTo>
                  <a:lnTo>
                    <a:pt x="98" y="24"/>
                  </a:lnTo>
                  <a:lnTo>
                    <a:pt x="94" y="28"/>
                  </a:lnTo>
                  <a:lnTo>
                    <a:pt x="92" y="30"/>
                  </a:lnTo>
                  <a:lnTo>
                    <a:pt x="90" y="36"/>
                  </a:lnTo>
                  <a:lnTo>
                    <a:pt x="84" y="38"/>
                  </a:lnTo>
                  <a:lnTo>
                    <a:pt x="80" y="42"/>
                  </a:lnTo>
                  <a:lnTo>
                    <a:pt x="78" y="44"/>
                  </a:lnTo>
                  <a:lnTo>
                    <a:pt x="76" y="44"/>
                  </a:lnTo>
                  <a:lnTo>
                    <a:pt x="72" y="42"/>
                  </a:lnTo>
                  <a:lnTo>
                    <a:pt x="70" y="42"/>
                  </a:lnTo>
                  <a:lnTo>
                    <a:pt x="68" y="42"/>
                  </a:lnTo>
                  <a:lnTo>
                    <a:pt x="58" y="40"/>
                  </a:lnTo>
                  <a:lnTo>
                    <a:pt x="46" y="38"/>
                  </a:lnTo>
                  <a:lnTo>
                    <a:pt x="42" y="36"/>
                  </a:lnTo>
                  <a:lnTo>
                    <a:pt x="36" y="36"/>
                  </a:lnTo>
                  <a:lnTo>
                    <a:pt x="28" y="34"/>
                  </a:lnTo>
                  <a:lnTo>
                    <a:pt x="24" y="34"/>
                  </a:lnTo>
                  <a:lnTo>
                    <a:pt x="20" y="34"/>
                  </a:lnTo>
                  <a:lnTo>
                    <a:pt x="18" y="38"/>
                  </a:lnTo>
                  <a:lnTo>
                    <a:pt x="16" y="40"/>
                  </a:lnTo>
                  <a:lnTo>
                    <a:pt x="12" y="44"/>
                  </a:lnTo>
                  <a:lnTo>
                    <a:pt x="6" y="48"/>
                  </a:lnTo>
                  <a:lnTo>
                    <a:pt x="0" y="52"/>
                  </a:lnTo>
                  <a:lnTo>
                    <a:pt x="0" y="58"/>
                  </a:lnTo>
                  <a:lnTo>
                    <a:pt x="0" y="62"/>
                  </a:lnTo>
                  <a:lnTo>
                    <a:pt x="2" y="62"/>
                  </a:lnTo>
                  <a:lnTo>
                    <a:pt x="4" y="62"/>
                  </a:lnTo>
                  <a:lnTo>
                    <a:pt x="6" y="62"/>
                  </a:lnTo>
                  <a:lnTo>
                    <a:pt x="10" y="64"/>
                  </a:lnTo>
                  <a:lnTo>
                    <a:pt x="16" y="66"/>
                  </a:lnTo>
                  <a:lnTo>
                    <a:pt x="16" y="68"/>
                  </a:lnTo>
                  <a:lnTo>
                    <a:pt x="14" y="70"/>
                  </a:lnTo>
                  <a:lnTo>
                    <a:pt x="10" y="74"/>
                  </a:lnTo>
                  <a:lnTo>
                    <a:pt x="6" y="78"/>
                  </a:lnTo>
                  <a:lnTo>
                    <a:pt x="6" y="82"/>
                  </a:lnTo>
                  <a:lnTo>
                    <a:pt x="6" y="84"/>
                  </a:lnTo>
                  <a:lnTo>
                    <a:pt x="8" y="84"/>
                  </a:lnTo>
                  <a:lnTo>
                    <a:pt x="14" y="84"/>
                  </a:lnTo>
                  <a:lnTo>
                    <a:pt x="14" y="86"/>
                  </a:lnTo>
                  <a:lnTo>
                    <a:pt x="12" y="98"/>
                  </a:lnTo>
                  <a:lnTo>
                    <a:pt x="12" y="100"/>
                  </a:lnTo>
                  <a:lnTo>
                    <a:pt x="18" y="102"/>
                  </a:lnTo>
                  <a:lnTo>
                    <a:pt x="22" y="104"/>
                  </a:lnTo>
                  <a:lnTo>
                    <a:pt x="28" y="112"/>
                  </a:lnTo>
                  <a:lnTo>
                    <a:pt x="32" y="118"/>
                  </a:lnTo>
                  <a:lnTo>
                    <a:pt x="30" y="120"/>
                  </a:lnTo>
                  <a:lnTo>
                    <a:pt x="26" y="122"/>
                  </a:lnTo>
                  <a:lnTo>
                    <a:pt x="22" y="122"/>
                  </a:lnTo>
                  <a:lnTo>
                    <a:pt x="16" y="126"/>
                  </a:lnTo>
                  <a:lnTo>
                    <a:pt x="12" y="128"/>
                  </a:lnTo>
                  <a:lnTo>
                    <a:pt x="14" y="132"/>
                  </a:lnTo>
                  <a:lnTo>
                    <a:pt x="32" y="136"/>
                  </a:lnTo>
                  <a:lnTo>
                    <a:pt x="36" y="134"/>
                  </a:lnTo>
                  <a:lnTo>
                    <a:pt x="38" y="132"/>
                  </a:lnTo>
                  <a:lnTo>
                    <a:pt x="38" y="130"/>
                  </a:lnTo>
                  <a:lnTo>
                    <a:pt x="40" y="128"/>
                  </a:lnTo>
                  <a:lnTo>
                    <a:pt x="46" y="132"/>
                  </a:lnTo>
                  <a:lnTo>
                    <a:pt x="50" y="130"/>
                  </a:lnTo>
                  <a:lnTo>
                    <a:pt x="58" y="130"/>
                  </a:lnTo>
                  <a:lnTo>
                    <a:pt x="64" y="132"/>
                  </a:lnTo>
                  <a:lnTo>
                    <a:pt x="68" y="128"/>
                  </a:lnTo>
                  <a:lnTo>
                    <a:pt x="74" y="120"/>
                  </a:lnTo>
                  <a:lnTo>
                    <a:pt x="74" y="116"/>
                  </a:lnTo>
                  <a:lnTo>
                    <a:pt x="78" y="114"/>
                  </a:lnTo>
                  <a:lnTo>
                    <a:pt x="78" y="116"/>
                  </a:lnTo>
                  <a:lnTo>
                    <a:pt x="80" y="120"/>
                  </a:lnTo>
                  <a:lnTo>
                    <a:pt x="82" y="122"/>
                  </a:lnTo>
                  <a:lnTo>
                    <a:pt x="88" y="128"/>
                  </a:lnTo>
                  <a:lnTo>
                    <a:pt x="92" y="132"/>
                  </a:lnTo>
                  <a:lnTo>
                    <a:pt x="96" y="132"/>
                  </a:lnTo>
                  <a:lnTo>
                    <a:pt x="98" y="130"/>
                  </a:lnTo>
                  <a:lnTo>
                    <a:pt x="102" y="130"/>
                  </a:lnTo>
                  <a:lnTo>
                    <a:pt x="112" y="134"/>
                  </a:lnTo>
                  <a:lnTo>
                    <a:pt x="122" y="136"/>
                  </a:lnTo>
                  <a:lnTo>
                    <a:pt x="128" y="132"/>
                  </a:lnTo>
                  <a:lnTo>
                    <a:pt x="126" y="130"/>
                  </a:lnTo>
                  <a:lnTo>
                    <a:pt x="124" y="126"/>
                  </a:lnTo>
                  <a:lnTo>
                    <a:pt x="124" y="122"/>
                  </a:lnTo>
                  <a:lnTo>
                    <a:pt x="124" y="118"/>
                  </a:lnTo>
                  <a:lnTo>
                    <a:pt x="128" y="116"/>
                  </a:lnTo>
                  <a:lnTo>
                    <a:pt x="128" y="114"/>
                  </a:lnTo>
                  <a:lnTo>
                    <a:pt x="124" y="108"/>
                  </a:lnTo>
                  <a:lnTo>
                    <a:pt x="124" y="108"/>
                  </a:lnTo>
                  <a:lnTo>
                    <a:pt x="136" y="102"/>
                  </a:lnTo>
                  <a:lnTo>
                    <a:pt x="146" y="98"/>
                  </a:lnTo>
                  <a:lnTo>
                    <a:pt x="148" y="96"/>
                  </a:lnTo>
                  <a:lnTo>
                    <a:pt x="150" y="92"/>
                  </a:lnTo>
                  <a:lnTo>
                    <a:pt x="150" y="84"/>
                  </a:lnTo>
                  <a:lnTo>
                    <a:pt x="150" y="78"/>
                  </a:lnTo>
                  <a:lnTo>
                    <a:pt x="144" y="72"/>
                  </a:lnTo>
                  <a:lnTo>
                    <a:pt x="144" y="70"/>
                  </a:lnTo>
                  <a:lnTo>
                    <a:pt x="146" y="66"/>
                  </a:lnTo>
                  <a:lnTo>
                    <a:pt x="148" y="64"/>
                  </a:lnTo>
                  <a:lnTo>
                    <a:pt x="152" y="62"/>
                  </a:lnTo>
                  <a:lnTo>
                    <a:pt x="156" y="60"/>
                  </a:lnTo>
                  <a:lnTo>
                    <a:pt x="160" y="58"/>
                  </a:lnTo>
                  <a:lnTo>
                    <a:pt x="166" y="56"/>
                  </a:lnTo>
                  <a:lnTo>
                    <a:pt x="172" y="54"/>
                  </a:lnTo>
                  <a:lnTo>
                    <a:pt x="176" y="48"/>
                  </a:lnTo>
                  <a:lnTo>
                    <a:pt x="178" y="46"/>
                  </a:lnTo>
                  <a:lnTo>
                    <a:pt x="186" y="48"/>
                  </a:lnTo>
                  <a:lnTo>
                    <a:pt x="188" y="46"/>
                  </a:lnTo>
                  <a:lnTo>
                    <a:pt x="186" y="36"/>
                  </a:lnTo>
                  <a:lnTo>
                    <a:pt x="188" y="34"/>
                  </a:lnTo>
                  <a:lnTo>
                    <a:pt x="190" y="32"/>
                  </a:lnTo>
                  <a:lnTo>
                    <a:pt x="192" y="32"/>
                  </a:lnTo>
                  <a:lnTo>
                    <a:pt x="198" y="32"/>
                  </a:lnTo>
                  <a:lnTo>
                    <a:pt x="204" y="3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00" name="Google Shape;4867;p64">
              <a:extLst>
                <a:ext uri="{FF2B5EF4-FFF2-40B4-BE49-F238E27FC236}">
                  <a16:creationId xmlns:a16="http://schemas.microsoft.com/office/drawing/2014/main" id="{53AC672E-CD6C-1CD5-E7F9-C72F9406497D}"/>
                </a:ext>
              </a:extLst>
            </p:cNvPr>
            <p:cNvSpPr/>
            <p:nvPr/>
          </p:nvSpPr>
          <p:spPr>
            <a:xfrm>
              <a:off x="4764521" y="2909589"/>
              <a:ext cx="280246" cy="644501"/>
            </a:xfrm>
            <a:custGeom>
              <a:avLst/>
              <a:gdLst/>
              <a:ahLst/>
              <a:cxnLst/>
              <a:rect l="l" t="t" r="r" b="b"/>
              <a:pathLst>
                <a:path w="2034708" h="4679355" extrusionOk="0">
                  <a:moveTo>
                    <a:pt x="919668" y="4112305"/>
                  </a:moveTo>
                  <a:lnTo>
                    <a:pt x="929198" y="4117070"/>
                  </a:lnTo>
                  <a:lnTo>
                    <a:pt x="933964" y="4121835"/>
                  </a:lnTo>
                  <a:lnTo>
                    <a:pt x="924434" y="4131365"/>
                  </a:lnTo>
                  <a:lnTo>
                    <a:pt x="924434" y="4145661"/>
                  </a:lnTo>
                  <a:lnTo>
                    <a:pt x="924434" y="4155191"/>
                  </a:lnTo>
                  <a:lnTo>
                    <a:pt x="895844" y="4217138"/>
                  </a:lnTo>
                  <a:lnTo>
                    <a:pt x="891078" y="4260024"/>
                  </a:lnTo>
                  <a:lnTo>
                    <a:pt x="881548" y="4269554"/>
                  </a:lnTo>
                  <a:lnTo>
                    <a:pt x="843426" y="4417273"/>
                  </a:lnTo>
                  <a:lnTo>
                    <a:pt x="833896" y="4431568"/>
                  </a:lnTo>
                  <a:lnTo>
                    <a:pt x="829132" y="4426803"/>
                  </a:lnTo>
                  <a:lnTo>
                    <a:pt x="824366" y="4407742"/>
                  </a:lnTo>
                  <a:lnTo>
                    <a:pt x="819600" y="4360091"/>
                  </a:lnTo>
                  <a:lnTo>
                    <a:pt x="824366" y="4336266"/>
                  </a:lnTo>
                  <a:lnTo>
                    <a:pt x="857722" y="4250493"/>
                  </a:lnTo>
                  <a:lnTo>
                    <a:pt x="872018" y="4240963"/>
                  </a:lnTo>
                  <a:lnTo>
                    <a:pt x="895844" y="4188547"/>
                  </a:lnTo>
                  <a:lnTo>
                    <a:pt x="900608" y="4164721"/>
                  </a:lnTo>
                  <a:lnTo>
                    <a:pt x="910138" y="4140896"/>
                  </a:lnTo>
                  <a:lnTo>
                    <a:pt x="914904" y="4121835"/>
                  </a:lnTo>
                  <a:close/>
                  <a:moveTo>
                    <a:pt x="1205576" y="3950290"/>
                  </a:moveTo>
                  <a:lnTo>
                    <a:pt x="1215104" y="3950290"/>
                  </a:lnTo>
                  <a:lnTo>
                    <a:pt x="1219872" y="3950290"/>
                  </a:lnTo>
                  <a:lnTo>
                    <a:pt x="1238932" y="3969351"/>
                  </a:lnTo>
                  <a:lnTo>
                    <a:pt x="1229400" y="3978881"/>
                  </a:lnTo>
                  <a:lnTo>
                    <a:pt x="1219872" y="3997941"/>
                  </a:lnTo>
                  <a:lnTo>
                    <a:pt x="1210340" y="4002706"/>
                  </a:lnTo>
                  <a:lnTo>
                    <a:pt x="1200812" y="4007472"/>
                  </a:lnTo>
                  <a:lnTo>
                    <a:pt x="1196044" y="4074183"/>
                  </a:lnTo>
                  <a:lnTo>
                    <a:pt x="1215104" y="4098009"/>
                  </a:lnTo>
                  <a:lnTo>
                    <a:pt x="1205576" y="4102774"/>
                  </a:lnTo>
                  <a:lnTo>
                    <a:pt x="1196044" y="4107539"/>
                  </a:lnTo>
                  <a:lnTo>
                    <a:pt x="1186516" y="4121835"/>
                  </a:lnTo>
                  <a:lnTo>
                    <a:pt x="1181748" y="4145660"/>
                  </a:lnTo>
                  <a:lnTo>
                    <a:pt x="1157924" y="4155191"/>
                  </a:lnTo>
                  <a:lnTo>
                    <a:pt x="1148392" y="4164721"/>
                  </a:lnTo>
                  <a:lnTo>
                    <a:pt x="1134100" y="4188547"/>
                  </a:lnTo>
                  <a:lnTo>
                    <a:pt x="1124568" y="4221903"/>
                  </a:lnTo>
                  <a:lnTo>
                    <a:pt x="1110272" y="4231433"/>
                  </a:lnTo>
                  <a:lnTo>
                    <a:pt x="1095976" y="4236198"/>
                  </a:lnTo>
                  <a:lnTo>
                    <a:pt x="1105508" y="4212372"/>
                  </a:lnTo>
                  <a:lnTo>
                    <a:pt x="1115036" y="4188547"/>
                  </a:lnTo>
                  <a:lnTo>
                    <a:pt x="1105508" y="4174251"/>
                  </a:lnTo>
                  <a:lnTo>
                    <a:pt x="1095976" y="4150426"/>
                  </a:lnTo>
                  <a:lnTo>
                    <a:pt x="1086448" y="4136130"/>
                  </a:lnTo>
                  <a:lnTo>
                    <a:pt x="1095976" y="4117070"/>
                  </a:lnTo>
                  <a:lnTo>
                    <a:pt x="1091212" y="4083714"/>
                  </a:lnTo>
                  <a:lnTo>
                    <a:pt x="1095976" y="4055123"/>
                  </a:lnTo>
                  <a:lnTo>
                    <a:pt x="1105508" y="4036062"/>
                  </a:lnTo>
                  <a:lnTo>
                    <a:pt x="1115036" y="4021767"/>
                  </a:lnTo>
                  <a:lnTo>
                    <a:pt x="1134100" y="3993176"/>
                  </a:lnTo>
                  <a:lnTo>
                    <a:pt x="1157924" y="3974116"/>
                  </a:lnTo>
                  <a:lnTo>
                    <a:pt x="1186516" y="3964585"/>
                  </a:lnTo>
                  <a:lnTo>
                    <a:pt x="1196044" y="3974116"/>
                  </a:lnTo>
                  <a:close/>
                  <a:moveTo>
                    <a:pt x="1248460" y="3926465"/>
                  </a:moveTo>
                  <a:lnTo>
                    <a:pt x="1272288" y="3931230"/>
                  </a:lnTo>
                  <a:lnTo>
                    <a:pt x="1281816" y="3935995"/>
                  </a:lnTo>
                  <a:lnTo>
                    <a:pt x="1253228" y="3945526"/>
                  </a:lnTo>
                  <a:lnTo>
                    <a:pt x="1248460" y="3964586"/>
                  </a:lnTo>
                  <a:lnTo>
                    <a:pt x="1243696" y="3964586"/>
                  </a:lnTo>
                  <a:lnTo>
                    <a:pt x="1234168" y="3950291"/>
                  </a:lnTo>
                  <a:close/>
                  <a:moveTo>
                    <a:pt x="1143630" y="3592906"/>
                  </a:moveTo>
                  <a:lnTo>
                    <a:pt x="1148396" y="3592906"/>
                  </a:lnTo>
                  <a:lnTo>
                    <a:pt x="1138864" y="3616732"/>
                  </a:lnTo>
                  <a:lnTo>
                    <a:pt x="1129334" y="3616732"/>
                  </a:lnTo>
                  <a:lnTo>
                    <a:pt x="1124568" y="3616732"/>
                  </a:lnTo>
                  <a:lnTo>
                    <a:pt x="1129334" y="3602436"/>
                  </a:lnTo>
                  <a:lnTo>
                    <a:pt x="1134100" y="3597671"/>
                  </a:lnTo>
                  <a:close/>
                  <a:moveTo>
                    <a:pt x="1167456" y="3454717"/>
                  </a:moveTo>
                  <a:lnTo>
                    <a:pt x="1181752" y="3459482"/>
                  </a:lnTo>
                  <a:lnTo>
                    <a:pt x="1181752" y="3464247"/>
                  </a:lnTo>
                  <a:lnTo>
                    <a:pt x="1172220" y="3473778"/>
                  </a:lnTo>
                  <a:lnTo>
                    <a:pt x="1167456" y="3478543"/>
                  </a:lnTo>
                  <a:lnTo>
                    <a:pt x="1162690" y="3488073"/>
                  </a:lnTo>
                  <a:lnTo>
                    <a:pt x="1157924" y="3478543"/>
                  </a:lnTo>
                  <a:lnTo>
                    <a:pt x="1157924" y="3473778"/>
                  </a:lnTo>
                  <a:lnTo>
                    <a:pt x="1162690" y="3464247"/>
                  </a:lnTo>
                  <a:close/>
                  <a:moveTo>
                    <a:pt x="1481954" y="0"/>
                  </a:moveTo>
                  <a:lnTo>
                    <a:pt x="1524840" y="23826"/>
                  </a:lnTo>
                  <a:lnTo>
                    <a:pt x="1524840" y="33356"/>
                  </a:lnTo>
                  <a:lnTo>
                    <a:pt x="1524840" y="42886"/>
                  </a:lnTo>
                  <a:lnTo>
                    <a:pt x="1529604" y="57182"/>
                  </a:lnTo>
                  <a:lnTo>
                    <a:pt x="1567726" y="90537"/>
                  </a:lnTo>
                  <a:lnTo>
                    <a:pt x="1582020" y="109598"/>
                  </a:lnTo>
                  <a:lnTo>
                    <a:pt x="1605846" y="138189"/>
                  </a:lnTo>
                  <a:lnTo>
                    <a:pt x="1615376" y="152484"/>
                  </a:lnTo>
                  <a:lnTo>
                    <a:pt x="1639202" y="166779"/>
                  </a:lnTo>
                  <a:lnTo>
                    <a:pt x="1653498" y="185840"/>
                  </a:lnTo>
                  <a:lnTo>
                    <a:pt x="1672558" y="200135"/>
                  </a:lnTo>
                  <a:lnTo>
                    <a:pt x="1696384" y="223961"/>
                  </a:lnTo>
                  <a:lnTo>
                    <a:pt x="1729740" y="243021"/>
                  </a:lnTo>
                  <a:lnTo>
                    <a:pt x="1753566" y="247787"/>
                  </a:lnTo>
                  <a:lnTo>
                    <a:pt x="1820278" y="281142"/>
                  </a:lnTo>
                  <a:lnTo>
                    <a:pt x="1829808" y="290673"/>
                  </a:lnTo>
                  <a:lnTo>
                    <a:pt x="1848868" y="309733"/>
                  </a:lnTo>
                  <a:lnTo>
                    <a:pt x="1867928" y="333559"/>
                  </a:lnTo>
                  <a:lnTo>
                    <a:pt x="1882224" y="385975"/>
                  </a:lnTo>
                  <a:lnTo>
                    <a:pt x="1901284" y="390740"/>
                  </a:lnTo>
                  <a:lnTo>
                    <a:pt x="1910814" y="405036"/>
                  </a:lnTo>
                  <a:lnTo>
                    <a:pt x="1925110" y="438392"/>
                  </a:lnTo>
                  <a:lnTo>
                    <a:pt x="1953700" y="462217"/>
                  </a:lnTo>
                  <a:lnTo>
                    <a:pt x="1953700" y="471748"/>
                  </a:lnTo>
                  <a:lnTo>
                    <a:pt x="1929876" y="495573"/>
                  </a:lnTo>
                  <a:lnTo>
                    <a:pt x="1929876" y="528929"/>
                  </a:lnTo>
                  <a:lnTo>
                    <a:pt x="1929876" y="571815"/>
                  </a:lnTo>
                  <a:lnTo>
                    <a:pt x="1939406" y="600406"/>
                  </a:lnTo>
                  <a:lnTo>
                    <a:pt x="1939406" y="614701"/>
                  </a:lnTo>
                  <a:lnTo>
                    <a:pt x="1934640" y="624232"/>
                  </a:lnTo>
                  <a:lnTo>
                    <a:pt x="1925110" y="643292"/>
                  </a:lnTo>
                  <a:lnTo>
                    <a:pt x="1925110" y="657588"/>
                  </a:lnTo>
                  <a:lnTo>
                    <a:pt x="1925110" y="667118"/>
                  </a:lnTo>
                  <a:lnTo>
                    <a:pt x="1925110" y="671883"/>
                  </a:lnTo>
                  <a:lnTo>
                    <a:pt x="1939406" y="671883"/>
                  </a:lnTo>
                  <a:lnTo>
                    <a:pt x="1958466" y="671883"/>
                  </a:lnTo>
                  <a:lnTo>
                    <a:pt x="1967996" y="681413"/>
                  </a:lnTo>
                  <a:lnTo>
                    <a:pt x="1972762" y="719534"/>
                  </a:lnTo>
                  <a:lnTo>
                    <a:pt x="1972762" y="729064"/>
                  </a:lnTo>
                  <a:lnTo>
                    <a:pt x="1953700" y="743360"/>
                  </a:lnTo>
                  <a:lnTo>
                    <a:pt x="1953700" y="757655"/>
                  </a:lnTo>
                  <a:lnTo>
                    <a:pt x="1948936" y="776716"/>
                  </a:lnTo>
                  <a:lnTo>
                    <a:pt x="1953700" y="800541"/>
                  </a:lnTo>
                  <a:lnTo>
                    <a:pt x="1958466" y="824367"/>
                  </a:lnTo>
                  <a:lnTo>
                    <a:pt x="1972762" y="852958"/>
                  </a:lnTo>
                  <a:lnTo>
                    <a:pt x="1991822" y="876783"/>
                  </a:lnTo>
                  <a:lnTo>
                    <a:pt x="2001352" y="900609"/>
                  </a:lnTo>
                  <a:lnTo>
                    <a:pt x="2006118" y="914904"/>
                  </a:lnTo>
                  <a:lnTo>
                    <a:pt x="2006118" y="929200"/>
                  </a:lnTo>
                  <a:lnTo>
                    <a:pt x="2001352" y="943495"/>
                  </a:lnTo>
                  <a:lnTo>
                    <a:pt x="1991822" y="967321"/>
                  </a:lnTo>
                  <a:lnTo>
                    <a:pt x="1991822" y="1000677"/>
                  </a:lnTo>
                  <a:lnTo>
                    <a:pt x="1987056" y="1019737"/>
                  </a:lnTo>
                  <a:lnTo>
                    <a:pt x="1972762" y="1048328"/>
                  </a:lnTo>
                  <a:lnTo>
                    <a:pt x="1963232" y="1057858"/>
                  </a:lnTo>
                  <a:lnTo>
                    <a:pt x="1958466" y="1072154"/>
                  </a:lnTo>
                  <a:lnTo>
                    <a:pt x="1958466" y="1095979"/>
                  </a:lnTo>
                  <a:lnTo>
                    <a:pt x="1963232" y="1124570"/>
                  </a:lnTo>
                  <a:lnTo>
                    <a:pt x="1963232" y="1143630"/>
                  </a:lnTo>
                  <a:lnTo>
                    <a:pt x="1967996" y="1162691"/>
                  </a:lnTo>
                  <a:lnTo>
                    <a:pt x="1972762" y="1167456"/>
                  </a:lnTo>
                  <a:lnTo>
                    <a:pt x="1996588" y="1186517"/>
                  </a:lnTo>
                  <a:lnTo>
                    <a:pt x="2010882" y="1219873"/>
                  </a:lnTo>
                  <a:lnTo>
                    <a:pt x="2015648" y="1248463"/>
                  </a:lnTo>
                  <a:lnTo>
                    <a:pt x="2034708" y="1319940"/>
                  </a:lnTo>
                  <a:lnTo>
                    <a:pt x="1991822" y="1324705"/>
                  </a:lnTo>
                  <a:lnTo>
                    <a:pt x="1963232" y="1310410"/>
                  </a:lnTo>
                  <a:lnTo>
                    <a:pt x="1944170" y="1319940"/>
                  </a:lnTo>
                  <a:lnTo>
                    <a:pt x="1920344" y="1319940"/>
                  </a:lnTo>
                  <a:lnTo>
                    <a:pt x="1886990" y="1324705"/>
                  </a:lnTo>
                  <a:lnTo>
                    <a:pt x="1877458" y="1339001"/>
                  </a:lnTo>
                  <a:lnTo>
                    <a:pt x="1867928" y="1343766"/>
                  </a:lnTo>
                  <a:lnTo>
                    <a:pt x="1839338" y="1324705"/>
                  </a:lnTo>
                  <a:lnTo>
                    <a:pt x="1815512" y="1291350"/>
                  </a:lnTo>
                  <a:lnTo>
                    <a:pt x="1796452" y="1319940"/>
                  </a:lnTo>
                  <a:lnTo>
                    <a:pt x="1782156" y="1319940"/>
                  </a:lnTo>
                  <a:lnTo>
                    <a:pt x="1767860" y="1300880"/>
                  </a:lnTo>
                  <a:lnTo>
                    <a:pt x="1758330" y="1296115"/>
                  </a:lnTo>
                  <a:lnTo>
                    <a:pt x="1753566" y="1305645"/>
                  </a:lnTo>
                  <a:lnTo>
                    <a:pt x="1748800" y="1324705"/>
                  </a:lnTo>
                  <a:lnTo>
                    <a:pt x="1744036" y="1339001"/>
                  </a:lnTo>
                  <a:lnTo>
                    <a:pt x="1739270" y="1348531"/>
                  </a:lnTo>
                  <a:lnTo>
                    <a:pt x="1739270" y="1386652"/>
                  </a:lnTo>
                  <a:lnTo>
                    <a:pt x="1739270" y="1396182"/>
                  </a:lnTo>
                  <a:lnTo>
                    <a:pt x="1710680" y="1391417"/>
                  </a:lnTo>
                  <a:lnTo>
                    <a:pt x="1710680" y="1400947"/>
                  </a:lnTo>
                  <a:lnTo>
                    <a:pt x="1720210" y="1405712"/>
                  </a:lnTo>
                  <a:lnTo>
                    <a:pt x="1720210" y="1415243"/>
                  </a:lnTo>
                  <a:lnTo>
                    <a:pt x="1710680" y="1424773"/>
                  </a:lnTo>
                  <a:lnTo>
                    <a:pt x="1686854" y="1420008"/>
                  </a:lnTo>
                  <a:lnTo>
                    <a:pt x="1682088" y="1429538"/>
                  </a:lnTo>
                  <a:lnTo>
                    <a:pt x="1686854" y="1443834"/>
                  </a:lnTo>
                  <a:lnTo>
                    <a:pt x="1682088" y="1458129"/>
                  </a:lnTo>
                  <a:lnTo>
                    <a:pt x="1677324" y="1462894"/>
                  </a:lnTo>
                  <a:lnTo>
                    <a:pt x="1648732" y="1472424"/>
                  </a:lnTo>
                  <a:lnTo>
                    <a:pt x="1629672" y="1467659"/>
                  </a:lnTo>
                  <a:lnTo>
                    <a:pt x="1624908" y="1477190"/>
                  </a:lnTo>
                  <a:lnTo>
                    <a:pt x="1624908" y="1486720"/>
                  </a:lnTo>
                  <a:lnTo>
                    <a:pt x="1624908" y="1496250"/>
                  </a:lnTo>
                  <a:lnTo>
                    <a:pt x="1634438" y="1501015"/>
                  </a:lnTo>
                  <a:lnTo>
                    <a:pt x="1639202" y="1510545"/>
                  </a:lnTo>
                  <a:lnTo>
                    <a:pt x="1634438" y="1524841"/>
                  </a:lnTo>
                  <a:lnTo>
                    <a:pt x="1629672" y="1524841"/>
                  </a:lnTo>
                  <a:lnTo>
                    <a:pt x="1610612" y="1501015"/>
                  </a:lnTo>
                  <a:lnTo>
                    <a:pt x="1605846" y="1501015"/>
                  </a:lnTo>
                  <a:lnTo>
                    <a:pt x="1610612" y="1515310"/>
                  </a:lnTo>
                  <a:lnTo>
                    <a:pt x="1620142" y="1529606"/>
                  </a:lnTo>
                  <a:lnTo>
                    <a:pt x="1624908" y="1543901"/>
                  </a:lnTo>
                  <a:lnTo>
                    <a:pt x="1629672" y="1558197"/>
                  </a:lnTo>
                  <a:lnTo>
                    <a:pt x="1629672" y="1572492"/>
                  </a:lnTo>
                  <a:lnTo>
                    <a:pt x="1605846" y="1615378"/>
                  </a:lnTo>
                  <a:lnTo>
                    <a:pt x="1586786" y="1643969"/>
                  </a:lnTo>
                  <a:lnTo>
                    <a:pt x="1572490" y="1667794"/>
                  </a:lnTo>
                  <a:lnTo>
                    <a:pt x="1562960" y="1691620"/>
                  </a:lnTo>
                  <a:lnTo>
                    <a:pt x="1572490" y="1701150"/>
                  </a:lnTo>
                  <a:lnTo>
                    <a:pt x="1586786" y="1720211"/>
                  </a:lnTo>
                  <a:lnTo>
                    <a:pt x="1591552" y="1758332"/>
                  </a:lnTo>
                  <a:lnTo>
                    <a:pt x="1601082" y="1786923"/>
                  </a:lnTo>
                  <a:lnTo>
                    <a:pt x="1620142" y="1815514"/>
                  </a:lnTo>
                  <a:lnTo>
                    <a:pt x="1620142" y="1834574"/>
                  </a:lnTo>
                  <a:lnTo>
                    <a:pt x="1615376" y="1848869"/>
                  </a:lnTo>
                  <a:lnTo>
                    <a:pt x="1582020" y="1877460"/>
                  </a:lnTo>
                  <a:lnTo>
                    <a:pt x="1543900" y="1920346"/>
                  </a:lnTo>
                  <a:lnTo>
                    <a:pt x="1505780" y="2029944"/>
                  </a:lnTo>
                  <a:lnTo>
                    <a:pt x="1491484" y="2044240"/>
                  </a:lnTo>
                  <a:lnTo>
                    <a:pt x="1453362" y="2063300"/>
                  </a:lnTo>
                  <a:lnTo>
                    <a:pt x="1443832" y="2082361"/>
                  </a:lnTo>
                  <a:lnTo>
                    <a:pt x="1415242" y="2101421"/>
                  </a:lnTo>
                  <a:lnTo>
                    <a:pt x="1372356" y="2120482"/>
                  </a:lnTo>
                  <a:lnTo>
                    <a:pt x="1348530" y="2144307"/>
                  </a:lnTo>
                  <a:lnTo>
                    <a:pt x="1343764" y="2172898"/>
                  </a:lnTo>
                  <a:lnTo>
                    <a:pt x="1329470" y="2172898"/>
                  </a:lnTo>
                  <a:lnTo>
                    <a:pt x="1319940" y="2163368"/>
                  </a:lnTo>
                  <a:lnTo>
                    <a:pt x="1305644" y="2158603"/>
                  </a:lnTo>
                  <a:lnTo>
                    <a:pt x="1305644" y="2172898"/>
                  </a:lnTo>
                  <a:lnTo>
                    <a:pt x="1305644" y="2187194"/>
                  </a:lnTo>
                  <a:lnTo>
                    <a:pt x="1281818" y="2168133"/>
                  </a:lnTo>
                  <a:lnTo>
                    <a:pt x="1272288" y="2182428"/>
                  </a:lnTo>
                  <a:lnTo>
                    <a:pt x="1267522" y="2211019"/>
                  </a:lnTo>
                  <a:lnTo>
                    <a:pt x="1234166" y="2249140"/>
                  </a:lnTo>
                  <a:lnTo>
                    <a:pt x="1200810" y="2244375"/>
                  </a:lnTo>
                  <a:lnTo>
                    <a:pt x="1196046" y="2249140"/>
                  </a:lnTo>
                  <a:lnTo>
                    <a:pt x="1205576" y="2253905"/>
                  </a:lnTo>
                  <a:lnTo>
                    <a:pt x="1205576" y="2263436"/>
                  </a:lnTo>
                  <a:lnTo>
                    <a:pt x="1200810" y="2263436"/>
                  </a:lnTo>
                  <a:lnTo>
                    <a:pt x="1191280" y="2263436"/>
                  </a:lnTo>
                  <a:lnTo>
                    <a:pt x="1176986" y="2272966"/>
                  </a:lnTo>
                  <a:lnTo>
                    <a:pt x="1167456" y="2272966"/>
                  </a:lnTo>
                  <a:lnTo>
                    <a:pt x="1162690" y="2292026"/>
                  </a:lnTo>
                  <a:lnTo>
                    <a:pt x="1153160" y="2311087"/>
                  </a:lnTo>
                  <a:lnTo>
                    <a:pt x="1134100" y="2320617"/>
                  </a:lnTo>
                  <a:lnTo>
                    <a:pt x="1124568" y="2320617"/>
                  </a:lnTo>
                  <a:lnTo>
                    <a:pt x="1119804" y="2334912"/>
                  </a:lnTo>
                  <a:lnTo>
                    <a:pt x="1153160" y="2334912"/>
                  </a:lnTo>
                  <a:lnTo>
                    <a:pt x="1148394" y="2349208"/>
                  </a:lnTo>
                  <a:lnTo>
                    <a:pt x="1148394" y="2358738"/>
                  </a:lnTo>
                  <a:lnTo>
                    <a:pt x="1143630" y="2368268"/>
                  </a:lnTo>
                  <a:lnTo>
                    <a:pt x="1110274" y="2387329"/>
                  </a:lnTo>
                  <a:lnTo>
                    <a:pt x="1105508" y="2396859"/>
                  </a:lnTo>
                  <a:lnTo>
                    <a:pt x="1100744" y="2406389"/>
                  </a:lnTo>
                  <a:lnTo>
                    <a:pt x="1081682" y="2406389"/>
                  </a:lnTo>
                  <a:lnTo>
                    <a:pt x="1086448" y="2396859"/>
                  </a:lnTo>
                  <a:lnTo>
                    <a:pt x="1086448" y="2387329"/>
                  </a:lnTo>
                  <a:lnTo>
                    <a:pt x="1062622" y="2392094"/>
                  </a:lnTo>
                  <a:lnTo>
                    <a:pt x="1057858" y="2373034"/>
                  </a:lnTo>
                  <a:lnTo>
                    <a:pt x="1053092" y="2377798"/>
                  </a:lnTo>
                  <a:lnTo>
                    <a:pt x="1057858" y="2392094"/>
                  </a:lnTo>
                  <a:lnTo>
                    <a:pt x="1062622" y="2406389"/>
                  </a:lnTo>
                  <a:lnTo>
                    <a:pt x="1067388" y="2430215"/>
                  </a:lnTo>
                  <a:lnTo>
                    <a:pt x="1062622" y="2444510"/>
                  </a:lnTo>
                  <a:lnTo>
                    <a:pt x="1057858" y="2449276"/>
                  </a:lnTo>
                  <a:lnTo>
                    <a:pt x="1062622" y="2454040"/>
                  </a:lnTo>
                  <a:lnTo>
                    <a:pt x="1072152" y="2458806"/>
                  </a:lnTo>
                  <a:lnTo>
                    <a:pt x="1076918" y="2468336"/>
                  </a:lnTo>
                  <a:lnTo>
                    <a:pt x="1062622" y="2477866"/>
                  </a:lnTo>
                  <a:lnTo>
                    <a:pt x="1048326" y="2501692"/>
                  </a:lnTo>
                  <a:lnTo>
                    <a:pt x="1029266" y="2501692"/>
                  </a:lnTo>
                  <a:lnTo>
                    <a:pt x="1014970" y="2520752"/>
                  </a:lnTo>
                  <a:lnTo>
                    <a:pt x="1005440" y="2520752"/>
                  </a:lnTo>
                  <a:lnTo>
                    <a:pt x="995910" y="2511222"/>
                  </a:lnTo>
                  <a:lnTo>
                    <a:pt x="981616" y="2501692"/>
                  </a:lnTo>
                  <a:lnTo>
                    <a:pt x="976850" y="2515987"/>
                  </a:lnTo>
                  <a:lnTo>
                    <a:pt x="976850" y="2530282"/>
                  </a:lnTo>
                  <a:lnTo>
                    <a:pt x="981616" y="2558873"/>
                  </a:lnTo>
                  <a:lnTo>
                    <a:pt x="1000676" y="2582699"/>
                  </a:lnTo>
                  <a:lnTo>
                    <a:pt x="1014970" y="2592229"/>
                  </a:lnTo>
                  <a:lnTo>
                    <a:pt x="1005440" y="2601760"/>
                  </a:lnTo>
                  <a:lnTo>
                    <a:pt x="995910" y="2616055"/>
                  </a:lnTo>
                  <a:lnTo>
                    <a:pt x="986380" y="2663706"/>
                  </a:lnTo>
                  <a:lnTo>
                    <a:pt x="981616" y="2682767"/>
                  </a:lnTo>
                  <a:lnTo>
                    <a:pt x="976850" y="2716122"/>
                  </a:lnTo>
                  <a:lnTo>
                    <a:pt x="976850" y="2744713"/>
                  </a:lnTo>
                  <a:lnTo>
                    <a:pt x="981616" y="2759009"/>
                  </a:lnTo>
                  <a:lnTo>
                    <a:pt x="991146" y="2778069"/>
                  </a:lnTo>
                  <a:lnTo>
                    <a:pt x="967320" y="2773304"/>
                  </a:lnTo>
                  <a:lnTo>
                    <a:pt x="948260" y="2763774"/>
                  </a:lnTo>
                  <a:lnTo>
                    <a:pt x="948260" y="2782834"/>
                  </a:lnTo>
                  <a:lnTo>
                    <a:pt x="938728" y="2811425"/>
                  </a:lnTo>
                  <a:lnTo>
                    <a:pt x="938728" y="2835251"/>
                  </a:lnTo>
                  <a:lnTo>
                    <a:pt x="943494" y="2849546"/>
                  </a:lnTo>
                  <a:lnTo>
                    <a:pt x="938728" y="2873372"/>
                  </a:lnTo>
                  <a:lnTo>
                    <a:pt x="943494" y="2882902"/>
                  </a:lnTo>
                  <a:lnTo>
                    <a:pt x="948260" y="2897198"/>
                  </a:lnTo>
                  <a:lnTo>
                    <a:pt x="943494" y="2906728"/>
                  </a:lnTo>
                  <a:lnTo>
                    <a:pt x="943494" y="2916258"/>
                  </a:lnTo>
                  <a:lnTo>
                    <a:pt x="943494" y="2949614"/>
                  </a:lnTo>
                  <a:lnTo>
                    <a:pt x="948260" y="3002030"/>
                  </a:lnTo>
                  <a:lnTo>
                    <a:pt x="948260" y="3016326"/>
                  </a:lnTo>
                  <a:lnTo>
                    <a:pt x="957790" y="3059212"/>
                  </a:lnTo>
                  <a:lnTo>
                    <a:pt x="957790" y="3073507"/>
                  </a:lnTo>
                  <a:lnTo>
                    <a:pt x="957790" y="3092568"/>
                  </a:lnTo>
                  <a:lnTo>
                    <a:pt x="972084" y="3116393"/>
                  </a:lnTo>
                  <a:lnTo>
                    <a:pt x="986380" y="3111628"/>
                  </a:lnTo>
                  <a:lnTo>
                    <a:pt x="1000676" y="3111628"/>
                  </a:lnTo>
                  <a:lnTo>
                    <a:pt x="1010206" y="3116393"/>
                  </a:lnTo>
                  <a:lnTo>
                    <a:pt x="1014970" y="3130689"/>
                  </a:lnTo>
                  <a:lnTo>
                    <a:pt x="1019736" y="3149749"/>
                  </a:lnTo>
                  <a:lnTo>
                    <a:pt x="1034032" y="3144984"/>
                  </a:lnTo>
                  <a:lnTo>
                    <a:pt x="1053092" y="3135454"/>
                  </a:lnTo>
                  <a:lnTo>
                    <a:pt x="1067388" y="3130689"/>
                  </a:lnTo>
                  <a:lnTo>
                    <a:pt x="1072152" y="3154514"/>
                  </a:lnTo>
                  <a:lnTo>
                    <a:pt x="1095978" y="3187870"/>
                  </a:lnTo>
                  <a:lnTo>
                    <a:pt x="1110274" y="3202166"/>
                  </a:lnTo>
                  <a:lnTo>
                    <a:pt x="1134100" y="3211696"/>
                  </a:lnTo>
                  <a:lnTo>
                    <a:pt x="1157924" y="3235522"/>
                  </a:lnTo>
                  <a:lnTo>
                    <a:pt x="1157924" y="3268877"/>
                  </a:lnTo>
                  <a:lnTo>
                    <a:pt x="1167456" y="3278408"/>
                  </a:lnTo>
                  <a:lnTo>
                    <a:pt x="1196046" y="3292703"/>
                  </a:lnTo>
                  <a:lnTo>
                    <a:pt x="1205576" y="3306998"/>
                  </a:lnTo>
                  <a:lnTo>
                    <a:pt x="1210342" y="3321294"/>
                  </a:lnTo>
                  <a:lnTo>
                    <a:pt x="1219872" y="3335589"/>
                  </a:lnTo>
                  <a:lnTo>
                    <a:pt x="1229402" y="3368945"/>
                  </a:lnTo>
                  <a:lnTo>
                    <a:pt x="1224636" y="3392771"/>
                  </a:lnTo>
                  <a:lnTo>
                    <a:pt x="1210342" y="3397536"/>
                  </a:lnTo>
                  <a:lnTo>
                    <a:pt x="1186516" y="3421362"/>
                  </a:lnTo>
                  <a:lnTo>
                    <a:pt x="1172220" y="3440422"/>
                  </a:lnTo>
                  <a:lnTo>
                    <a:pt x="1162690" y="3449952"/>
                  </a:lnTo>
                  <a:lnTo>
                    <a:pt x="1134100" y="3473778"/>
                  </a:lnTo>
                  <a:lnTo>
                    <a:pt x="1124568" y="3478543"/>
                  </a:lnTo>
                  <a:lnTo>
                    <a:pt x="1115038" y="3488073"/>
                  </a:lnTo>
                  <a:lnTo>
                    <a:pt x="1105508" y="3497604"/>
                  </a:lnTo>
                  <a:lnTo>
                    <a:pt x="1095978" y="3492838"/>
                  </a:lnTo>
                  <a:lnTo>
                    <a:pt x="1067388" y="3511899"/>
                  </a:lnTo>
                  <a:lnTo>
                    <a:pt x="1067388" y="3521429"/>
                  </a:lnTo>
                  <a:lnTo>
                    <a:pt x="1091212" y="3526194"/>
                  </a:lnTo>
                  <a:lnTo>
                    <a:pt x="1105508" y="3521429"/>
                  </a:lnTo>
                  <a:lnTo>
                    <a:pt x="1115038" y="3511899"/>
                  </a:lnTo>
                  <a:lnTo>
                    <a:pt x="1124568" y="3507134"/>
                  </a:lnTo>
                  <a:lnTo>
                    <a:pt x="1134100" y="3511899"/>
                  </a:lnTo>
                  <a:lnTo>
                    <a:pt x="1143630" y="3502368"/>
                  </a:lnTo>
                  <a:lnTo>
                    <a:pt x="1153160" y="3497604"/>
                  </a:lnTo>
                  <a:lnTo>
                    <a:pt x="1157924" y="3502368"/>
                  </a:lnTo>
                  <a:lnTo>
                    <a:pt x="1167456" y="3526194"/>
                  </a:lnTo>
                  <a:lnTo>
                    <a:pt x="1148394" y="3535724"/>
                  </a:lnTo>
                  <a:lnTo>
                    <a:pt x="1138864" y="3535724"/>
                  </a:lnTo>
                  <a:lnTo>
                    <a:pt x="1129334" y="3569080"/>
                  </a:lnTo>
                  <a:lnTo>
                    <a:pt x="1124568" y="3583376"/>
                  </a:lnTo>
                  <a:lnTo>
                    <a:pt x="1115038" y="3592906"/>
                  </a:lnTo>
                  <a:lnTo>
                    <a:pt x="1086448" y="3607201"/>
                  </a:lnTo>
                  <a:lnTo>
                    <a:pt x="1067388" y="3621497"/>
                  </a:lnTo>
                  <a:lnTo>
                    <a:pt x="1043562" y="3635792"/>
                  </a:lnTo>
                  <a:lnTo>
                    <a:pt x="1034032" y="3635792"/>
                  </a:lnTo>
                  <a:lnTo>
                    <a:pt x="1019736" y="3650088"/>
                  </a:lnTo>
                  <a:lnTo>
                    <a:pt x="986380" y="3664383"/>
                  </a:lnTo>
                  <a:lnTo>
                    <a:pt x="972084" y="3688208"/>
                  </a:lnTo>
                  <a:lnTo>
                    <a:pt x="933964" y="3712034"/>
                  </a:lnTo>
                  <a:lnTo>
                    <a:pt x="914904" y="3726330"/>
                  </a:lnTo>
                  <a:lnTo>
                    <a:pt x="857722" y="3731095"/>
                  </a:lnTo>
                  <a:lnTo>
                    <a:pt x="810070" y="3726330"/>
                  </a:lnTo>
                  <a:lnTo>
                    <a:pt x="795776" y="3731095"/>
                  </a:lnTo>
                  <a:lnTo>
                    <a:pt x="810070" y="3735860"/>
                  </a:lnTo>
                  <a:lnTo>
                    <a:pt x="819600" y="3745390"/>
                  </a:lnTo>
                  <a:lnTo>
                    <a:pt x="833896" y="3740625"/>
                  </a:lnTo>
                  <a:lnTo>
                    <a:pt x="867252" y="3745390"/>
                  </a:lnTo>
                  <a:lnTo>
                    <a:pt x="881548" y="3750155"/>
                  </a:lnTo>
                  <a:lnTo>
                    <a:pt x="905372" y="3778746"/>
                  </a:lnTo>
                  <a:lnTo>
                    <a:pt x="886312" y="3788276"/>
                  </a:lnTo>
                  <a:lnTo>
                    <a:pt x="862486" y="3793041"/>
                  </a:lnTo>
                  <a:lnTo>
                    <a:pt x="872018" y="3831162"/>
                  </a:lnTo>
                  <a:lnTo>
                    <a:pt x="881548" y="3859753"/>
                  </a:lnTo>
                  <a:lnTo>
                    <a:pt x="867252" y="3874048"/>
                  </a:lnTo>
                  <a:lnTo>
                    <a:pt x="867252" y="3945526"/>
                  </a:lnTo>
                  <a:lnTo>
                    <a:pt x="852956" y="3950290"/>
                  </a:lnTo>
                  <a:lnTo>
                    <a:pt x="848192" y="3978881"/>
                  </a:lnTo>
                  <a:lnTo>
                    <a:pt x="852956" y="3993177"/>
                  </a:lnTo>
                  <a:lnTo>
                    <a:pt x="852956" y="4026532"/>
                  </a:lnTo>
                  <a:lnTo>
                    <a:pt x="852956" y="4050358"/>
                  </a:lnTo>
                  <a:lnTo>
                    <a:pt x="862486" y="4069419"/>
                  </a:lnTo>
                  <a:lnTo>
                    <a:pt x="857722" y="4088479"/>
                  </a:lnTo>
                  <a:lnTo>
                    <a:pt x="833896" y="4136130"/>
                  </a:lnTo>
                  <a:lnTo>
                    <a:pt x="833896" y="4159956"/>
                  </a:lnTo>
                  <a:lnTo>
                    <a:pt x="838662" y="4174252"/>
                  </a:lnTo>
                  <a:lnTo>
                    <a:pt x="843426" y="4193312"/>
                  </a:lnTo>
                  <a:lnTo>
                    <a:pt x="833896" y="4236198"/>
                  </a:lnTo>
                  <a:lnTo>
                    <a:pt x="824366" y="4269554"/>
                  </a:lnTo>
                  <a:lnTo>
                    <a:pt x="814836" y="4298145"/>
                  </a:lnTo>
                  <a:lnTo>
                    <a:pt x="795776" y="4331500"/>
                  </a:lnTo>
                  <a:lnTo>
                    <a:pt x="781480" y="4355326"/>
                  </a:lnTo>
                  <a:lnTo>
                    <a:pt x="757654" y="4436334"/>
                  </a:lnTo>
                  <a:lnTo>
                    <a:pt x="748124" y="4450629"/>
                  </a:lnTo>
                  <a:lnTo>
                    <a:pt x="733828" y="4460159"/>
                  </a:lnTo>
                  <a:lnTo>
                    <a:pt x="714768" y="4450629"/>
                  </a:lnTo>
                  <a:lnTo>
                    <a:pt x="700472" y="4445864"/>
                  </a:lnTo>
                  <a:lnTo>
                    <a:pt x="681412" y="4445864"/>
                  </a:lnTo>
                  <a:lnTo>
                    <a:pt x="652822" y="4455394"/>
                  </a:lnTo>
                  <a:lnTo>
                    <a:pt x="609936" y="4450629"/>
                  </a:lnTo>
                  <a:lnTo>
                    <a:pt x="571814" y="4450629"/>
                  </a:lnTo>
                  <a:lnTo>
                    <a:pt x="557518" y="4460159"/>
                  </a:lnTo>
                  <a:lnTo>
                    <a:pt x="567050" y="4488750"/>
                  </a:lnTo>
                  <a:lnTo>
                    <a:pt x="547988" y="4488750"/>
                  </a:lnTo>
                  <a:lnTo>
                    <a:pt x="533694" y="4483985"/>
                  </a:lnTo>
                  <a:lnTo>
                    <a:pt x="524162" y="4493515"/>
                  </a:lnTo>
                  <a:lnTo>
                    <a:pt x="509868" y="4503046"/>
                  </a:lnTo>
                  <a:lnTo>
                    <a:pt x="490808" y="4526871"/>
                  </a:lnTo>
                  <a:lnTo>
                    <a:pt x="481276" y="4541166"/>
                  </a:lnTo>
                  <a:lnTo>
                    <a:pt x="481276" y="4569757"/>
                  </a:lnTo>
                  <a:lnTo>
                    <a:pt x="490808" y="4598348"/>
                  </a:lnTo>
                  <a:lnTo>
                    <a:pt x="500338" y="4626938"/>
                  </a:lnTo>
                  <a:lnTo>
                    <a:pt x="476512" y="4665060"/>
                  </a:lnTo>
                  <a:lnTo>
                    <a:pt x="462216" y="4665060"/>
                  </a:lnTo>
                  <a:lnTo>
                    <a:pt x="419330" y="4655530"/>
                  </a:lnTo>
                  <a:lnTo>
                    <a:pt x="343088" y="4679355"/>
                  </a:lnTo>
                  <a:lnTo>
                    <a:pt x="271612" y="4660294"/>
                  </a:lnTo>
                  <a:lnTo>
                    <a:pt x="281142" y="4641234"/>
                  </a:lnTo>
                  <a:lnTo>
                    <a:pt x="281142" y="4626938"/>
                  </a:lnTo>
                  <a:lnTo>
                    <a:pt x="285906" y="4603113"/>
                  </a:lnTo>
                  <a:lnTo>
                    <a:pt x="285906" y="4584052"/>
                  </a:lnTo>
                  <a:lnTo>
                    <a:pt x="285906" y="4564992"/>
                  </a:lnTo>
                  <a:lnTo>
                    <a:pt x="281142" y="4550696"/>
                  </a:lnTo>
                  <a:lnTo>
                    <a:pt x="266846" y="4531636"/>
                  </a:lnTo>
                  <a:lnTo>
                    <a:pt x="228726" y="4460159"/>
                  </a:lnTo>
                  <a:lnTo>
                    <a:pt x="214430" y="4426804"/>
                  </a:lnTo>
                  <a:lnTo>
                    <a:pt x="209664" y="4417273"/>
                  </a:lnTo>
                  <a:lnTo>
                    <a:pt x="214430" y="4412508"/>
                  </a:lnTo>
                  <a:lnTo>
                    <a:pt x="247786" y="4431568"/>
                  </a:lnTo>
                  <a:lnTo>
                    <a:pt x="252550" y="4426804"/>
                  </a:lnTo>
                  <a:lnTo>
                    <a:pt x="262080" y="4422038"/>
                  </a:lnTo>
                  <a:lnTo>
                    <a:pt x="252550" y="4398212"/>
                  </a:lnTo>
                  <a:lnTo>
                    <a:pt x="243020" y="4388682"/>
                  </a:lnTo>
                  <a:lnTo>
                    <a:pt x="238256" y="4374387"/>
                  </a:lnTo>
                  <a:lnTo>
                    <a:pt x="257316" y="4369622"/>
                  </a:lnTo>
                  <a:lnTo>
                    <a:pt x="271612" y="4369622"/>
                  </a:lnTo>
                  <a:lnTo>
                    <a:pt x="281142" y="4350561"/>
                  </a:lnTo>
                  <a:lnTo>
                    <a:pt x="271612" y="4321970"/>
                  </a:lnTo>
                  <a:lnTo>
                    <a:pt x="257316" y="4312440"/>
                  </a:lnTo>
                  <a:lnTo>
                    <a:pt x="247786" y="4307675"/>
                  </a:lnTo>
                  <a:lnTo>
                    <a:pt x="223960" y="4264789"/>
                  </a:lnTo>
                  <a:lnTo>
                    <a:pt x="200134" y="4240964"/>
                  </a:lnTo>
                  <a:lnTo>
                    <a:pt x="157248" y="4150426"/>
                  </a:lnTo>
                  <a:lnTo>
                    <a:pt x="142952" y="4083714"/>
                  </a:lnTo>
                  <a:lnTo>
                    <a:pt x="128658" y="4088479"/>
                  </a:lnTo>
                  <a:lnTo>
                    <a:pt x="123892" y="4064654"/>
                  </a:lnTo>
                  <a:lnTo>
                    <a:pt x="119128" y="4036063"/>
                  </a:lnTo>
                  <a:lnTo>
                    <a:pt x="114362" y="4017002"/>
                  </a:lnTo>
                  <a:lnTo>
                    <a:pt x="95302" y="4007472"/>
                  </a:lnTo>
                  <a:lnTo>
                    <a:pt x="95302" y="3993177"/>
                  </a:lnTo>
                  <a:lnTo>
                    <a:pt x="90536" y="3931230"/>
                  </a:lnTo>
                  <a:lnTo>
                    <a:pt x="66710" y="3921700"/>
                  </a:lnTo>
                  <a:lnTo>
                    <a:pt x="47650" y="3888344"/>
                  </a:lnTo>
                  <a:lnTo>
                    <a:pt x="47650" y="3821632"/>
                  </a:lnTo>
                  <a:lnTo>
                    <a:pt x="33354" y="3812102"/>
                  </a:lnTo>
                  <a:lnTo>
                    <a:pt x="19060" y="3812102"/>
                  </a:lnTo>
                  <a:lnTo>
                    <a:pt x="19060" y="3797806"/>
                  </a:lnTo>
                  <a:lnTo>
                    <a:pt x="23824" y="3783511"/>
                  </a:lnTo>
                  <a:lnTo>
                    <a:pt x="14294" y="3721564"/>
                  </a:lnTo>
                  <a:lnTo>
                    <a:pt x="9530" y="3664383"/>
                  </a:lnTo>
                  <a:lnTo>
                    <a:pt x="4764" y="3645322"/>
                  </a:lnTo>
                  <a:lnTo>
                    <a:pt x="0" y="3626262"/>
                  </a:lnTo>
                  <a:lnTo>
                    <a:pt x="4764" y="3611966"/>
                  </a:lnTo>
                  <a:lnTo>
                    <a:pt x="9530" y="3602436"/>
                  </a:lnTo>
                  <a:lnTo>
                    <a:pt x="23824" y="3597671"/>
                  </a:lnTo>
                  <a:lnTo>
                    <a:pt x="38120" y="3611966"/>
                  </a:lnTo>
                  <a:lnTo>
                    <a:pt x="52416" y="3650088"/>
                  </a:lnTo>
                  <a:lnTo>
                    <a:pt x="61946" y="3654853"/>
                  </a:lnTo>
                  <a:lnTo>
                    <a:pt x="81006" y="3645322"/>
                  </a:lnTo>
                  <a:lnTo>
                    <a:pt x="90536" y="3616732"/>
                  </a:lnTo>
                  <a:lnTo>
                    <a:pt x="95302" y="3573846"/>
                  </a:lnTo>
                  <a:lnTo>
                    <a:pt x="104832" y="3535724"/>
                  </a:lnTo>
                  <a:lnTo>
                    <a:pt x="95302" y="3492838"/>
                  </a:lnTo>
                  <a:lnTo>
                    <a:pt x="85772" y="3454717"/>
                  </a:lnTo>
                  <a:lnTo>
                    <a:pt x="85772" y="3445187"/>
                  </a:lnTo>
                  <a:lnTo>
                    <a:pt x="109596" y="3411831"/>
                  </a:lnTo>
                  <a:lnTo>
                    <a:pt x="119128" y="3383240"/>
                  </a:lnTo>
                  <a:lnTo>
                    <a:pt x="123892" y="3359415"/>
                  </a:lnTo>
                  <a:lnTo>
                    <a:pt x="133422" y="3349884"/>
                  </a:lnTo>
                  <a:lnTo>
                    <a:pt x="147718" y="3349884"/>
                  </a:lnTo>
                  <a:lnTo>
                    <a:pt x="162014" y="3345119"/>
                  </a:lnTo>
                  <a:lnTo>
                    <a:pt x="181074" y="3326059"/>
                  </a:lnTo>
                  <a:lnTo>
                    <a:pt x="200134" y="3302233"/>
                  </a:lnTo>
                  <a:lnTo>
                    <a:pt x="209664" y="3283173"/>
                  </a:lnTo>
                  <a:lnTo>
                    <a:pt x="214430" y="3240286"/>
                  </a:lnTo>
                  <a:lnTo>
                    <a:pt x="214430" y="3221226"/>
                  </a:lnTo>
                  <a:lnTo>
                    <a:pt x="219194" y="3206931"/>
                  </a:lnTo>
                  <a:lnTo>
                    <a:pt x="228726" y="3173575"/>
                  </a:lnTo>
                  <a:lnTo>
                    <a:pt x="223960" y="3144984"/>
                  </a:lnTo>
                  <a:lnTo>
                    <a:pt x="204900" y="3097333"/>
                  </a:lnTo>
                  <a:lnTo>
                    <a:pt x="185838" y="3035386"/>
                  </a:lnTo>
                  <a:lnTo>
                    <a:pt x="181074" y="2997265"/>
                  </a:lnTo>
                  <a:lnTo>
                    <a:pt x="190604" y="2992500"/>
                  </a:lnTo>
                  <a:lnTo>
                    <a:pt x="209664" y="2982970"/>
                  </a:lnTo>
                  <a:lnTo>
                    <a:pt x="243020" y="2982970"/>
                  </a:lnTo>
                  <a:lnTo>
                    <a:pt x="247786" y="2978204"/>
                  </a:lnTo>
                  <a:lnTo>
                    <a:pt x="247786" y="2963909"/>
                  </a:lnTo>
                  <a:lnTo>
                    <a:pt x="257316" y="2944849"/>
                  </a:lnTo>
                  <a:lnTo>
                    <a:pt x="262080" y="2925788"/>
                  </a:lnTo>
                  <a:lnTo>
                    <a:pt x="271612" y="2906728"/>
                  </a:lnTo>
                  <a:lnTo>
                    <a:pt x="271612" y="2882902"/>
                  </a:lnTo>
                  <a:lnTo>
                    <a:pt x="252550" y="2854311"/>
                  </a:lnTo>
                  <a:lnTo>
                    <a:pt x="228726" y="2820955"/>
                  </a:lnTo>
                  <a:lnTo>
                    <a:pt x="209664" y="2811425"/>
                  </a:lnTo>
                  <a:lnTo>
                    <a:pt x="181074" y="2787600"/>
                  </a:lnTo>
                  <a:lnTo>
                    <a:pt x="157248" y="2763774"/>
                  </a:lnTo>
                  <a:lnTo>
                    <a:pt x="171544" y="2678002"/>
                  </a:lnTo>
                  <a:lnTo>
                    <a:pt x="181074" y="2616055"/>
                  </a:lnTo>
                  <a:lnTo>
                    <a:pt x="181074" y="2601760"/>
                  </a:lnTo>
                  <a:lnTo>
                    <a:pt x="181074" y="2577934"/>
                  </a:lnTo>
                  <a:lnTo>
                    <a:pt x="152484" y="2473101"/>
                  </a:lnTo>
                  <a:lnTo>
                    <a:pt x="152484" y="2449276"/>
                  </a:lnTo>
                  <a:lnTo>
                    <a:pt x="157248" y="2430215"/>
                  </a:lnTo>
                  <a:lnTo>
                    <a:pt x="152484" y="2392094"/>
                  </a:lnTo>
                  <a:lnTo>
                    <a:pt x="152484" y="2358738"/>
                  </a:lnTo>
                  <a:lnTo>
                    <a:pt x="157248" y="2349208"/>
                  </a:lnTo>
                  <a:lnTo>
                    <a:pt x="171544" y="2334912"/>
                  </a:lnTo>
                  <a:lnTo>
                    <a:pt x="157248" y="2306322"/>
                  </a:lnTo>
                  <a:lnTo>
                    <a:pt x="157248" y="2301556"/>
                  </a:lnTo>
                  <a:lnTo>
                    <a:pt x="133422" y="2234845"/>
                  </a:lnTo>
                  <a:lnTo>
                    <a:pt x="166778" y="2163368"/>
                  </a:lnTo>
                  <a:lnTo>
                    <a:pt x="162014" y="2125247"/>
                  </a:lnTo>
                  <a:lnTo>
                    <a:pt x="181074" y="2101421"/>
                  </a:lnTo>
                  <a:lnTo>
                    <a:pt x="219194" y="2039474"/>
                  </a:lnTo>
                  <a:lnTo>
                    <a:pt x="238256" y="2006119"/>
                  </a:lnTo>
                  <a:lnTo>
                    <a:pt x="243020" y="1996588"/>
                  </a:lnTo>
                  <a:lnTo>
                    <a:pt x="257316" y="1982293"/>
                  </a:lnTo>
                  <a:lnTo>
                    <a:pt x="290672" y="1963232"/>
                  </a:lnTo>
                  <a:lnTo>
                    <a:pt x="324028" y="1958467"/>
                  </a:lnTo>
                  <a:lnTo>
                    <a:pt x="338322" y="1958467"/>
                  </a:lnTo>
                  <a:lnTo>
                    <a:pt x="395504" y="1967998"/>
                  </a:lnTo>
                  <a:lnTo>
                    <a:pt x="443156" y="1977528"/>
                  </a:lnTo>
                  <a:lnTo>
                    <a:pt x="447920" y="1967998"/>
                  </a:lnTo>
                  <a:lnTo>
                    <a:pt x="457452" y="1948937"/>
                  </a:lnTo>
                  <a:lnTo>
                    <a:pt x="471746" y="1920346"/>
                  </a:lnTo>
                  <a:lnTo>
                    <a:pt x="471746" y="1891756"/>
                  </a:lnTo>
                  <a:lnTo>
                    <a:pt x="466982" y="1844104"/>
                  </a:lnTo>
                  <a:lnTo>
                    <a:pt x="457452" y="1815514"/>
                  </a:lnTo>
                  <a:lnTo>
                    <a:pt x="428860" y="1796453"/>
                  </a:lnTo>
                  <a:lnTo>
                    <a:pt x="390740" y="1772627"/>
                  </a:lnTo>
                  <a:lnTo>
                    <a:pt x="433626" y="1696385"/>
                  </a:lnTo>
                  <a:lnTo>
                    <a:pt x="466982" y="1639204"/>
                  </a:lnTo>
                  <a:lnTo>
                    <a:pt x="505102" y="1558197"/>
                  </a:lnTo>
                  <a:lnTo>
                    <a:pt x="514632" y="1520076"/>
                  </a:lnTo>
                  <a:lnTo>
                    <a:pt x="524162" y="1510545"/>
                  </a:lnTo>
                  <a:lnTo>
                    <a:pt x="533694" y="1377122"/>
                  </a:lnTo>
                  <a:lnTo>
                    <a:pt x="543224" y="1343766"/>
                  </a:lnTo>
                  <a:lnTo>
                    <a:pt x="547988" y="1324705"/>
                  </a:lnTo>
                  <a:lnTo>
                    <a:pt x="547988" y="1300880"/>
                  </a:lnTo>
                  <a:lnTo>
                    <a:pt x="543224" y="1267524"/>
                  </a:lnTo>
                  <a:lnTo>
                    <a:pt x="533694" y="1196047"/>
                  </a:lnTo>
                  <a:lnTo>
                    <a:pt x="590874" y="1186517"/>
                  </a:lnTo>
                  <a:lnTo>
                    <a:pt x="609936" y="1176986"/>
                  </a:lnTo>
                  <a:lnTo>
                    <a:pt x="628996" y="1167456"/>
                  </a:lnTo>
                  <a:lnTo>
                    <a:pt x="662352" y="1148396"/>
                  </a:lnTo>
                  <a:lnTo>
                    <a:pt x="681412" y="1124570"/>
                  </a:lnTo>
                  <a:lnTo>
                    <a:pt x="671882" y="1053093"/>
                  </a:lnTo>
                  <a:lnTo>
                    <a:pt x="690942" y="1029268"/>
                  </a:lnTo>
                  <a:lnTo>
                    <a:pt x="743358" y="943495"/>
                  </a:lnTo>
                  <a:lnTo>
                    <a:pt x="795776" y="862488"/>
                  </a:lnTo>
                  <a:lnTo>
                    <a:pt x="824366" y="829132"/>
                  </a:lnTo>
                  <a:lnTo>
                    <a:pt x="824366" y="814837"/>
                  </a:lnTo>
                  <a:lnTo>
                    <a:pt x="829132" y="791011"/>
                  </a:lnTo>
                  <a:lnTo>
                    <a:pt x="814836" y="752890"/>
                  </a:lnTo>
                  <a:lnTo>
                    <a:pt x="805306" y="724299"/>
                  </a:lnTo>
                  <a:lnTo>
                    <a:pt x="781480" y="681413"/>
                  </a:lnTo>
                  <a:lnTo>
                    <a:pt x="791010" y="648057"/>
                  </a:lnTo>
                  <a:lnTo>
                    <a:pt x="810070" y="643292"/>
                  </a:lnTo>
                  <a:lnTo>
                    <a:pt x="833896" y="628997"/>
                  </a:lnTo>
                  <a:lnTo>
                    <a:pt x="848192" y="600406"/>
                  </a:lnTo>
                  <a:lnTo>
                    <a:pt x="852956" y="595641"/>
                  </a:lnTo>
                  <a:lnTo>
                    <a:pt x="881548" y="486043"/>
                  </a:lnTo>
                  <a:lnTo>
                    <a:pt x="943494" y="428861"/>
                  </a:lnTo>
                  <a:lnTo>
                    <a:pt x="967320" y="400271"/>
                  </a:lnTo>
                  <a:lnTo>
                    <a:pt x="1005440" y="424096"/>
                  </a:lnTo>
                  <a:lnTo>
                    <a:pt x="1057858" y="457452"/>
                  </a:lnTo>
                  <a:lnTo>
                    <a:pt x="1081682" y="405036"/>
                  </a:lnTo>
                  <a:lnTo>
                    <a:pt x="1091212" y="385975"/>
                  </a:lnTo>
                  <a:lnTo>
                    <a:pt x="1100744" y="357385"/>
                  </a:lnTo>
                  <a:lnTo>
                    <a:pt x="1095978" y="309733"/>
                  </a:lnTo>
                  <a:lnTo>
                    <a:pt x="1095978" y="247787"/>
                  </a:lnTo>
                  <a:lnTo>
                    <a:pt x="1095978" y="219196"/>
                  </a:lnTo>
                  <a:lnTo>
                    <a:pt x="1119804" y="209666"/>
                  </a:lnTo>
                  <a:lnTo>
                    <a:pt x="1134100" y="204900"/>
                  </a:lnTo>
                  <a:lnTo>
                    <a:pt x="1191280" y="233491"/>
                  </a:lnTo>
                  <a:lnTo>
                    <a:pt x="1210342" y="233491"/>
                  </a:lnTo>
                  <a:lnTo>
                    <a:pt x="1238932" y="238256"/>
                  </a:lnTo>
                  <a:lnTo>
                    <a:pt x="1267522" y="247787"/>
                  </a:lnTo>
                  <a:lnTo>
                    <a:pt x="1334234" y="276377"/>
                  </a:lnTo>
                  <a:lnTo>
                    <a:pt x="1362826" y="290673"/>
                  </a:lnTo>
                  <a:lnTo>
                    <a:pt x="1381886" y="295438"/>
                  </a:lnTo>
                  <a:lnTo>
                    <a:pt x="1391416" y="281142"/>
                  </a:lnTo>
                  <a:lnTo>
                    <a:pt x="1424772" y="243021"/>
                  </a:lnTo>
                  <a:lnTo>
                    <a:pt x="1381886" y="214431"/>
                  </a:lnTo>
                  <a:lnTo>
                    <a:pt x="1405712" y="185840"/>
                  </a:lnTo>
                  <a:lnTo>
                    <a:pt x="1424772" y="157249"/>
                  </a:lnTo>
                  <a:lnTo>
                    <a:pt x="1434302" y="123893"/>
                  </a:lnTo>
                  <a:lnTo>
                    <a:pt x="1439068" y="81007"/>
                  </a:lnTo>
                  <a:lnTo>
                    <a:pt x="1439068" y="61947"/>
                  </a:lnTo>
                  <a:lnTo>
                    <a:pt x="1429536" y="47651"/>
                  </a:lnTo>
                  <a:lnTo>
                    <a:pt x="1400946" y="9530"/>
                  </a:lnTo>
                  <a:lnTo>
                    <a:pt x="1462892" y="4765"/>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01" name="Google Shape;4868;p64">
              <a:extLst>
                <a:ext uri="{FF2B5EF4-FFF2-40B4-BE49-F238E27FC236}">
                  <a16:creationId xmlns:a16="http://schemas.microsoft.com/office/drawing/2014/main" id="{57D4D96C-0C17-E2A4-B15C-094F4C591C5A}"/>
                </a:ext>
              </a:extLst>
            </p:cNvPr>
            <p:cNvSpPr/>
            <p:nvPr/>
          </p:nvSpPr>
          <p:spPr>
            <a:xfrm>
              <a:off x="5187188" y="5562740"/>
              <a:ext cx="28878" cy="37410"/>
            </a:xfrm>
            <a:custGeom>
              <a:avLst/>
              <a:gdLst/>
              <a:ahLst/>
              <a:cxnLst/>
              <a:rect l="l" t="t" r="r" b="b"/>
              <a:pathLst>
                <a:path w="88" h="114" extrusionOk="0">
                  <a:moveTo>
                    <a:pt x="76" y="16"/>
                  </a:moveTo>
                  <a:lnTo>
                    <a:pt x="74" y="16"/>
                  </a:lnTo>
                  <a:lnTo>
                    <a:pt x="72" y="18"/>
                  </a:lnTo>
                  <a:lnTo>
                    <a:pt x="56" y="10"/>
                  </a:lnTo>
                  <a:lnTo>
                    <a:pt x="42" y="0"/>
                  </a:lnTo>
                  <a:lnTo>
                    <a:pt x="40" y="0"/>
                  </a:lnTo>
                  <a:lnTo>
                    <a:pt x="36" y="0"/>
                  </a:lnTo>
                  <a:lnTo>
                    <a:pt x="28" y="8"/>
                  </a:lnTo>
                  <a:lnTo>
                    <a:pt x="20" y="18"/>
                  </a:lnTo>
                  <a:lnTo>
                    <a:pt x="16" y="26"/>
                  </a:lnTo>
                  <a:lnTo>
                    <a:pt x="10" y="34"/>
                  </a:lnTo>
                  <a:lnTo>
                    <a:pt x="2" y="48"/>
                  </a:lnTo>
                  <a:lnTo>
                    <a:pt x="0" y="52"/>
                  </a:lnTo>
                  <a:lnTo>
                    <a:pt x="0" y="64"/>
                  </a:lnTo>
                  <a:lnTo>
                    <a:pt x="0" y="74"/>
                  </a:lnTo>
                  <a:lnTo>
                    <a:pt x="2" y="76"/>
                  </a:lnTo>
                  <a:lnTo>
                    <a:pt x="6" y="76"/>
                  </a:lnTo>
                  <a:lnTo>
                    <a:pt x="10" y="86"/>
                  </a:lnTo>
                  <a:lnTo>
                    <a:pt x="18" y="100"/>
                  </a:lnTo>
                  <a:lnTo>
                    <a:pt x="32" y="110"/>
                  </a:lnTo>
                  <a:lnTo>
                    <a:pt x="46" y="114"/>
                  </a:lnTo>
                  <a:lnTo>
                    <a:pt x="62" y="114"/>
                  </a:lnTo>
                  <a:lnTo>
                    <a:pt x="78" y="114"/>
                  </a:lnTo>
                  <a:lnTo>
                    <a:pt x="76" y="104"/>
                  </a:lnTo>
                  <a:lnTo>
                    <a:pt x="78" y="88"/>
                  </a:lnTo>
                  <a:lnTo>
                    <a:pt x="80" y="78"/>
                  </a:lnTo>
                  <a:lnTo>
                    <a:pt x="82" y="78"/>
                  </a:lnTo>
                  <a:lnTo>
                    <a:pt x="86" y="80"/>
                  </a:lnTo>
                  <a:lnTo>
                    <a:pt x="88" y="80"/>
                  </a:lnTo>
                  <a:lnTo>
                    <a:pt x="86" y="56"/>
                  </a:lnTo>
                  <a:lnTo>
                    <a:pt x="84" y="52"/>
                  </a:lnTo>
                  <a:lnTo>
                    <a:pt x="84" y="44"/>
                  </a:lnTo>
                  <a:lnTo>
                    <a:pt x="82" y="40"/>
                  </a:lnTo>
                  <a:lnTo>
                    <a:pt x="84" y="34"/>
                  </a:lnTo>
                  <a:lnTo>
                    <a:pt x="84" y="26"/>
                  </a:lnTo>
                  <a:lnTo>
                    <a:pt x="84" y="20"/>
                  </a:lnTo>
                  <a:lnTo>
                    <a:pt x="78" y="16"/>
                  </a:lnTo>
                  <a:lnTo>
                    <a:pt x="76"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02" name="Google Shape;4869;p64">
              <a:extLst>
                <a:ext uri="{FF2B5EF4-FFF2-40B4-BE49-F238E27FC236}">
                  <a16:creationId xmlns:a16="http://schemas.microsoft.com/office/drawing/2014/main" id="{EE635E36-FEE7-EBDE-3787-99E8D86D3561}"/>
                </a:ext>
              </a:extLst>
            </p:cNvPr>
            <p:cNvSpPr/>
            <p:nvPr/>
          </p:nvSpPr>
          <p:spPr>
            <a:xfrm>
              <a:off x="3167051" y="4594348"/>
              <a:ext cx="2625" cy="1313"/>
            </a:xfrm>
            <a:custGeom>
              <a:avLst/>
              <a:gdLst/>
              <a:ahLst/>
              <a:cxnLst/>
              <a:rect l="l" t="t" r="r" b="b"/>
              <a:pathLst>
                <a:path w="8" h="4" extrusionOk="0">
                  <a:moveTo>
                    <a:pt x="0" y="0"/>
                  </a:moveTo>
                  <a:lnTo>
                    <a:pt x="0" y="0"/>
                  </a:lnTo>
                  <a:lnTo>
                    <a:pt x="2" y="2"/>
                  </a:lnTo>
                  <a:lnTo>
                    <a:pt x="6" y="4"/>
                  </a:lnTo>
                  <a:lnTo>
                    <a:pt x="8" y="2"/>
                  </a:lnTo>
                  <a:lnTo>
                    <a:pt x="8" y="0"/>
                  </a:lnTo>
                  <a:lnTo>
                    <a:pt x="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03" name="Google Shape;4870;p64">
              <a:extLst>
                <a:ext uri="{FF2B5EF4-FFF2-40B4-BE49-F238E27FC236}">
                  <a16:creationId xmlns:a16="http://schemas.microsoft.com/office/drawing/2014/main" id="{F45B60C0-3067-A240-402A-C635A04CDDC1}"/>
                </a:ext>
              </a:extLst>
            </p:cNvPr>
            <p:cNvCxnSpPr/>
            <p:nvPr/>
          </p:nvCxnSpPr>
          <p:spPr>
            <a:xfrm>
              <a:off x="3167051" y="4594348"/>
              <a:ext cx="0" cy="0"/>
            </a:xfrm>
            <a:prstGeom prst="straightConnector1">
              <a:avLst/>
            </a:prstGeom>
            <a:grpFill/>
            <a:ln w="9525" cap="flat" cmpd="sng">
              <a:solidFill>
                <a:schemeClr val="bg2"/>
              </a:solidFill>
              <a:prstDash val="solid"/>
              <a:round/>
              <a:headEnd type="none" w="med" len="med"/>
              <a:tailEnd type="none" w="med" len="med"/>
            </a:ln>
          </p:spPr>
        </p:cxnSp>
        <p:cxnSp>
          <p:nvCxnSpPr>
            <p:cNvPr id="404" name="Google Shape;4871;p64">
              <a:extLst>
                <a:ext uri="{FF2B5EF4-FFF2-40B4-BE49-F238E27FC236}">
                  <a16:creationId xmlns:a16="http://schemas.microsoft.com/office/drawing/2014/main" id="{71BFD51E-0008-2778-373F-A6E1FF1B2F99}"/>
                </a:ext>
              </a:extLst>
            </p:cNvPr>
            <p:cNvCxnSpPr/>
            <p:nvPr/>
          </p:nvCxnSpPr>
          <p:spPr>
            <a:xfrm>
              <a:off x="3167051" y="4594348"/>
              <a:ext cx="0" cy="0"/>
            </a:xfrm>
            <a:prstGeom prst="straightConnector1">
              <a:avLst/>
            </a:prstGeom>
            <a:grpFill/>
            <a:ln w="9525" cap="flat" cmpd="sng">
              <a:solidFill>
                <a:schemeClr val="bg2"/>
              </a:solidFill>
              <a:prstDash val="solid"/>
              <a:round/>
              <a:headEnd type="none" w="med" len="med"/>
              <a:tailEnd type="none" w="med" len="med"/>
            </a:ln>
          </p:spPr>
        </p:cxnSp>
        <p:sp>
          <p:nvSpPr>
            <p:cNvPr id="405" name="Google Shape;4872;p64">
              <a:extLst>
                <a:ext uri="{FF2B5EF4-FFF2-40B4-BE49-F238E27FC236}">
                  <a16:creationId xmlns:a16="http://schemas.microsoft.com/office/drawing/2014/main" id="{CC46D6E2-6DA9-27DA-97AE-07457936982B}"/>
                </a:ext>
              </a:extLst>
            </p:cNvPr>
            <p:cNvSpPr/>
            <p:nvPr/>
          </p:nvSpPr>
          <p:spPr>
            <a:xfrm>
              <a:off x="5716177" y="5087897"/>
              <a:ext cx="3938" cy="4594"/>
            </a:xfrm>
            <a:custGeom>
              <a:avLst/>
              <a:gdLst/>
              <a:ahLst/>
              <a:cxnLst/>
              <a:rect l="l" t="t" r="r" b="b"/>
              <a:pathLst>
                <a:path w="12" h="14" extrusionOk="0">
                  <a:moveTo>
                    <a:pt x="12" y="8"/>
                  </a:moveTo>
                  <a:lnTo>
                    <a:pt x="6" y="0"/>
                  </a:lnTo>
                  <a:lnTo>
                    <a:pt x="0" y="2"/>
                  </a:lnTo>
                  <a:lnTo>
                    <a:pt x="4" y="6"/>
                  </a:lnTo>
                  <a:lnTo>
                    <a:pt x="8" y="8"/>
                  </a:lnTo>
                  <a:lnTo>
                    <a:pt x="8" y="12"/>
                  </a:lnTo>
                  <a:lnTo>
                    <a:pt x="12" y="14"/>
                  </a:lnTo>
                  <a:lnTo>
                    <a:pt x="1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06" name="Google Shape;4873;p64">
              <a:extLst>
                <a:ext uri="{FF2B5EF4-FFF2-40B4-BE49-F238E27FC236}">
                  <a16:creationId xmlns:a16="http://schemas.microsoft.com/office/drawing/2014/main" id="{6F91F2D6-6E00-AACC-F67F-45780A837D52}"/>
                </a:ext>
              </a:extLst>
            </p:cNvPr>
            <p:cNvCxnSpPr/>
            <p:nvPr/>
          </p:nvCxnSpPr>
          <p:spPr>
            <a:xfrm>
              <a:off x="5720116" y="5090523"/>
              <a:ext cx="0" cy="0"/>
            </a:xfrm>
            <a:prstGeom prst="straightConnector1">
              <a:avLst/>
            </a:prstGeom>
            <a:grpFill/>
            <a:ln w="9525" cap="flat" cmpd="sng">
              <a:solidFill>
                <a:schemeClr val="bg2"/>
              </a:solidFill>
              <a:prstDash val="solid"/>
              <a:round/>
              <a:headEnd type="none" w="med" len="med"/>
              <a:tailEnd type="none" w="med" len="med"/>
            </a:ln>
          </p:spPr>
        </p:cxnSp>
        <p:cxnSp>
          <p:nvCxnSpPr>
            <p:cNvPr id="407" name="Google Shape;4874;p64">
              <a:extLst>
                <a:ext uri="{FF2B5EF4-FFF2-40B4-BE49-F238E27FC236}">
                  <a16:creationId xmlns:a16="http://schemas.microsoft.com/office/drawing/2014/main" id="{8A5B2573-17D0-DC7C-7A4B-630CEBDC9776}"/>
                </a:ext>
              </a:extLst>
            </p:cNvPr>
            <p:cNvCxnSpPr/>
            <p:nvPr/>
          </p:nvCxnSpPr>
          <p:spPr>
            <a:xfrm>
              <a:off x="5720116" y="5090523"/>
              <a:ext cx="0" cy="0"/>
            </a:xfrm>
            <a:prstGeom prst="straightConnector1">
              <a:avLst/>
            </a:prstGeom>
            <a:grpFill/>
            <a:ln w="9525" cap="flat" cmpd="sng">
              <a:solidFill>
                <a:schemeClr val="bg2"/>
              </a:solidFill>
              <a:prstDash val="solid"/>
              <a:round/>
              <a:headEnd type="none" w="med" len="med"/>
              <a:tailEnd type="none" w="med" len="med"/>
            </a:ln>
          </p:spPr>
        </p:cxnSp>
        <p:sp>
          <p:nvSpPr>
            <p:cNvPr id="408" name="Google Shape;4875;p64">
              <a:extLst>
                <a:ext uri="{FF2B5EF4-FFF2-40B4-BE49-F238E27FC236}">
                  <a16:creationId xmlns:a16="http://schemas.microsoft.com/office/drawing/2014/main" id="{B0000DB7-B6AC-54D7-7804-7C267A4FBAC2}"/>
                </a:ext>
              </a:extLst>
            </p:cNvPr>
            <p:cNvSpPr/>
            <p:nvPr/>
          </p:nvSpPr>
          <p:spPr>
            <a:xfrm>
              <a:off x="5294168" y="4123771"/>
              <a:ext cx="141763" cy="130606"/>
            </a:xfrm>
            <a:custGeom>
              <a:avLst/>
              <a:gdLst/>
              <a:ahLst/>
              <a:cxnLst/>
              <a:rect l="l" t="t" r="r" b="b"/>
              <a:pathLst>
                <a:path w="432" h="398" extrusionOk="0">
                  <a:moveTo>
                    <a:pt x="432" y="16"/>
                  </a:moveTo>
                  <a:lnTo>
                    <a:pt x="430" y="6"/>
                  </a:lnTo>
                  <a:lnTo>
                    <a:pt x="428" y="2"/>
                  </a:lnTo>
                  <a:lnTo>
                    <a:pt x="426" y="0"/>
                  </a:lnTo>
                  <a:lnTo>
                    <a:pt x="422" y="0"/>
                  </a:lnTo>
                  <a:lnTo>
                    <a:pt x="420" y="0"/>
                  </a:lnTo>
                  <a:lnTo>
                    <a:pt x="414" y="8"/>
                  </a:lnTo>
                  <a:lnTo>
                    <a:pt x="402" y="12"/>
                  </a:lnTo>
                  <a:lnTo>
                    <a:pt x="392" y="14"/>
                  </a:lnTo>
                  <a:lnTo>
                    <a:pt x="378" y="16"/>
                  </a:lnTo>
                  <a:lnTo>
                    <a:pt x="366" y="18"/>
                  </a:lnTo>
                  <a:lnTo>
                    <a:pt x="362" y="18"/>
                  </a:lnTo>
                  <a:lnTo>
                    <a:pt x="350" y="18"/>
                  </a:lnTo>
                  <a:lnTo>
                    <a:pt x="342" y="16"/>
                  </a:lnTo>
                  <a:lnTo>
                    <a:pt x="332" y="16"/>
                  </a:lnTo>
                  <a:lnTo>
                    <a:pt x="324" y="16"/>
                  </a:lnTo>
                  <a:lnTo>
                    <a:pt x="308" y="24"/>
                  </a:lnTo>
                  <a:lnTo>
                    <a:pt x="280" y="38"/>
                  </a:lnTo>
                  <a:lnTo>
                    <a:pt x="258" y="46"/>
                  </a:lnTo>
                  <a:lnTo>
                    <a:pt x="246" y="48"/>
                  </a:lnTo>
                  <a:lnTo>
                    <a:pt x="236" y="50"/>
                  </a:lnTo>
                  <a:lnTo>
                    <a:pt x="220" y="50"/>
                  </a:lnTo>
                  <a:lnTo>
                    <a:pt x="206" y="50"/>
                  </a:lnTo>
                  <a:lnTo>
                    <a:pt x="198" y="50"/>
                  </a:lnTo>
                  <a:lnTo>
                    <a:pt x="192" y="48"/>
                  </a:lnTo>
                  <a:lnTo>
                    <a:pt x="186" y="42"/>
                  </a:lnTo>
                  <a:lnTo>
                    <a:pt x="176" y="36"/>
                  </a:lnTo>
                  <a:lnTo>
                    <a:pt x="172" y="34"/>
                  </a:lnTo>
                  <a:lnTo>
                    <a:pt x="168" y="32"/>
                  </a:lnTo>
                  <a:lnTo>
                    <a:pt x="160" y="32"/>
                  </a:lnTo>
                  <a:lnTo>
                    <a:pt x="142" y="42"/>
                  </a:lnTo>
                  <a:lnTo>
                    <a:pt x="136" y="44"/>
                  </a:lnTo>
                  <a:lnTo>
                    <a:pt x="128" y="46"/>
                  </a:lnTo>
                  <a:lnTo>
                    <a:pt x="116" y="50"/>
                  </a:lnTo>
                  <a:lnTo>
                    <a:pt x="110" y="54"/>
                  </a:lnTo>
                  <a:lnTo>
                    <a:pt x="104" y="54"/>
                  </a:lnTo>
                  <a:lnTo>
                    <a:pt x="94" y="52"/>
                  </a:lnTo>
                  <a:lnTo>
                    <a:pt x="86" y="52"/>
                  </a:lnTo>
                  <a:lnTo>
                    <a:pt x="80" y="48"/>
                  </a:lnTo>
                  <a:lnTo>
                    <a:pt x="78" y="44"/>
                  </a:lnTo>
                  <a:lnTo>
                    <a:pt x="68" y="42"/>
                  </a:lnTo>
                  <a:lnTo>
                    <a:pt x="60" y="40"/>
                  </a:lnTo>
                  <a:lnTo>
                    <a:pt x="58" y="42"/>
                  </a:lnTo>
                  <a:lnTo>
                    <a:pt x="56" y="48"/>
                  </a:lnTo>
                  <a:lnTo>
                    <a:pt x="52" y="64"/>
                  </a:lnTo>
                  <a:lnTo>
                    <a:pt x="52" y="68"/>
                  </a:lnTo>
                  <a:lnTo>
                    <a:pt x="58" y="84"/>
                  </a:lnTo>
                  <a:lnTo>
                    <a:pt x="58" y="86"/>
                  </a:lnTo>
                  <a:lnTo>
                    <a:pt x="54" y="88"/>
                  </a:lnTo>
                  <a:lnTo>
                    <a:pt x="48" y="88"/>
                  </a:lnTo>
                  <a:lnTo>
                    <a:pt x="44" y="90"/>
                  </a:lnTo>
                  <a:lnTo>
                    <a:pt x="40" y="92"/>
                  </a:lnTo>
                  <a:lnTo>
                    <a:pt x="38" y="106"/>
                  </a:lnTo>
                  <a:lnTo>
                    <a:pt x="32" y="108"/>
                  </a:lnTo>
                  <a:lnTo>
                    <a:pt x="30" y="110"/>
                  </a:lnTo>
                  <a:lnTo>
                    <a:pt x="26" y="120"/>
                  </a:lnTo>
                  <a:lnTo>
                    <a:pt x="24" y="120"/>
                  </a:lnTo>
                  <a:lnTo>
                    <a:pt x="14" y="114"/>
                  </a:lnTo>
                  <a:lnTo>
                    <a:pt x="10" y="112"/>
                  </a:lnTo>
                  <a:lnTo>
                    <a:pt x="6" y="118"/>
                  </a:lnTo>
                  <a:lnTo>
                    <a:pt x="0" y="140"/>
                  </a:lnTo>
                  <a:lnTo>
                    <a:pt x="10" y="152"/>
                  </a:lnTo>
                  <a:lnTo>
                    <a:pt x="10" y="158"/>
                  </a:lnTo>
                  <a:lnTo>
                    <a:pt x="10" y="162"/>
                  </a:lnTo>
                  <a:lnTo>
                    <a:pt x="12" y="168"/>
                  </a:lnTo>
                  <a:lnTo>
                    <a:pt x="10" y="182"/>
                  </a:lnTo>
                  <a:lnTo>
                    <a:pt x="8" y="190"/>
                  </a:lnTo>
                  <a:lnTo>
                    <a:pt x="10" y="198"/>
                  </a:lnTo>
                  <a:lnTo>
                    <a:pt x="14" y="216"/>
                  </a:lnTo>
                  <a:lnTo>
                    <a:pt x="26" y="216"/>
                  </a:lnTo>
                  <a:lnTo>
                    <a:pt x="34" y="216"/>
                  </a:lnTo>
                  <a:lnTo>
                    <a:pt x="36" y="212"/>
                  </a:lnTo>
                  <a:lnTo>
                    <a:pt x="42" y="214"/>
                  </a:lnTo>
                  <a:lnTo>
                    <a:pt x="44" y="218"/>
                  </a:lnTo>
                  <a:lnTo>
                    <a:pt x="42" y="220"/>
                  </a:lnTo>
                  <a:lnTo>
                    <a:pt x="38" y="226"/>
                  </a:lnTo>
                  <a:lnTo>
                    <a:pt x="38" y="226"/>
                  </a:lnTo>
                  <a:lnTo>
                    <a:pt x="40" y="226"/>
                  </a:lnTo>
                  <a:lnTo>
                    <a:pt x="46" y="228"/>
                  </a:lnTo>
                  <a:lnTo>
                    <a:pt x="50" y="232"/>
                  </a:lnTo>
                  <a:lnTo>
                    <a:pt x="54" y="248"/>
                  </a:lnTo>
                  <a:lnTo>
                    <a:pt x="52" y="256"/>
                  </a:lnTo>
                  <a:lnTo>
                    <a:pt x="46" y="262"/>
                  </a:lnTo>
                  <a:lnTo>
                    <a:pt x="44" y="262"/>
                  </a:lnTo>
                  <a:lnTo>
                    <a:pt x="40" y="266"/>
                  </a:lnTo>
                  <a:lnTo>
                    <a:pt x="36" y="270"/>
                  </a:lnTo>
                  <a:lnTo>
                    <a:pt x="34" y="272"/>
                  </a:lnTo>
                  <a:lnTo>
                    <a:pt x="34" y="274"/>
                  </a:lnTo>
                  <a:lnTo>
                    <a:pt x="40" y="278"/>
                  </a:lnTo>
                  <a:lnTo>
                    <a:pt x="40" y="278"/>
                  </a:lnTo>
                  <a:lnTo>
                    <a:pt x="38" y="280"/>
                  </a:lnTo>
                  <a:lnTo>
                    <a:pt x="34" y="278"/>
                  </a:lnTo>
                  <a:lnTo>
                    <a:pt x="30" y="278"/>
                  </a:lnTo>
                  <a:lnTo>
                    <a:pt x="26" y="278"/>
                  </a:lnTo>
                  <a:lnTo>
                    <a:pt x="22" y="280"/>
                  </a:lnTo>
                  <a:lnTo>
                    <a:pt x="18" y="284"/>
                  </a:lnTo>
                  <a:lnTo>
                    <a:pt x="16" y="286"/>
                  </a:lnTo>
                  <a:lnTo>
                    <a:pt x="14" y="286"/>
                  </a:lnTo>
                  <a:lnTo>
                    <a:pt x="12" y="292"/>
                  </a:lnTo>
                  <a:lnTo>
                    <a:pt x="14" y="296"/>
                  </a:lnTo>
                  <a:lnTo>
                    <a:pt x="18" y="298"/>
                  </a:lnTo>
                  <a:lnTo>
                    <a:pt x="18" y="298"/>
                  </a:lnTo>
                  <a:lnTo>
                    <a:pt x="18" y="300"/>
                  </a:lnTo>
                  <a:lnTo>
                    <a:pt x="14" y="302"/>
                  </a:lnTo>
                  <a:lnTo>
                    <a:pt x="12" y="306"/>
                  </a:lnTo>
                  <a:lnTo>
                    <a:pt x="10" y="308"/>
                  </a:lnTo>
                  <a:lnTo>
                    <a:pt x="8" y="310"/>
                  </a:lnTo>
                  <a:lnTo>
                    <a:pt x="6" y="316"/>
                  </a:lnTo>
                  <a:lnTo>
                    <a:pt x="6" y="318"/>
                  </a:lnTo>
                  <a:lnTo>
                    <a:pt x="6" y="322"/>
                  </a:lnTo>
                  <a:lnTo>
                    <a:pt x="6" y="326"/>
                  </a:lnTo>
                  <a:lnTo>
                    <a:pt x="8" y="330"/>
                  </a:lnTo>
                  <a:lnTo>
                    <a:pt x="10" y="334"/>
                  </a:lnTo>
                  <a:lnTo>
                    <a:pt x="8" y="338"/>
                  </a:lnTo>
                  <a:lnTo>
                    <a:pt x="8" y="342"/>
                  </a:lnTo>
                  <a:lnTo>
                    <a:pt x="8" y="344"/>
                  </a:lnTo>
                  <a:lnTo>
                    <a:pt x="10" y="348"/>
                  </a:lnTo>
                  <a:lnTo>
                    <a:pt x="6" y="356"/>
                  </a:lnTo>
                  <a:lnTo>
                    <a:pt x="4" y="362"/>
                  </a:lnTo>
                  <a:lnTo>
                    <a:pt x="2" y="366"/>
                  </a:lnTo>
                  <a:lnTo>
                    <a:pt x="10" y="366"/>
                  </a:lnTo>
                  <a:lnTo>
                    <a:pt x="14" y="370"/>
                  </a:lnTo>
                  <a:lnTo>
                    <a:pt x="20" y="380"/>
                  </a:lnTo>
                  <a:lnTo>
                    <a:pt x="30" y="384"/>
                  </a:lnTo>
                  <a:lnTo>
                    <a:pt x="34" y="386"/>
                  </a:lnTo>
                  <a:lnTo>
                    <a:pt x="40" y="392"/>
                  </a:lnTo>
                  <a:lnTo>
                    <a:pt x="48" y="394"/>
                  </a:lnTo>
                  <a:lnTo>
                    <a:pt x="70" y="398"/>
                  </a:lnTo>
                  <a:lnTo>
                    <a:pt x="88" y="386"/>
                  </a:lnTo>
                  <a:lnTo>
                    <a:pt x="102" y="376"/>
                  </a:lnTo>
                  <a:lnTo>
                    <a:pt x="120" y="366"/>
                  </a:lnTo>
                  <a:lnTo>
                    <a:pt x="132" y="358"/>
                  </a:lnTo>
                  <a:lnTo>
                    <a:pt x="150" y="344"/>
                  </a:lnTo>
                  <a:lnTo>
                    <a:pt x="164" y="336"/>
                  </a:lnTo>
                  <a:lnTo>
                    <a:pt x="182" y="326"/>
                  </a:lnTo>
                  <a:lnTo>
                    <a:pt x="198" y="316"/>
                  </a:lnTo>
                  <a:lnTo>
                    <a:pt x="216" y="304"/>
                  </a:lnTo>
                  <a:lnTo>
                    <a:pt x="230" y="296"/>
                  </a:lnTo>
                  <a:lnTo>
                    <a:pt x="250" y="284"/>
                  </a:lnTo>
                  <a:lnTo>
                    <a:pt x="268" y="272"/>
                  </a:lnTo>
                  <a:lnTo>
                    <a:pt x="286" y="262"/>
                  </a:lnTo>
                  <a:lnTo>
                    <a:pt x="306" y="250"/>
                  </a:lnTo>
                  <a:lnTo>
                    <a:pt x="324" y="240"/>
                  </a:lnTo>
                  <a:lnTo>
                    <a:pt x="340" y="236"/>
                  </a:lnTo>
                  <a:lnTo>
                    <a:pt x="344" y="232"/>
                  </a:lnTo>
                  <a:lnTo>
                    <a:pt x="350" y="218"/>
                  </a:lnTo>
                  <a:lnTo>
                    <a:pt x="356" y="204"/>
                  </a:lnTo>
                  <a:lnTo>
                    <a:pt x="358" y="202"/>
                  </a:lnTo>
                  <a:lnTo>
                    <a:pt x="358" y="184"/>
                  </a:lnTo>
                  <a:lnTo>
                    <a:pt x="358" y="164"/>
                  </a:lnTo>
                  <a:lnTo>
                    <a:pt x="360" y="152"/>
                  </a:lnTo>
                  <a:lnTo>
                    <a:pt x="364" y="142"/>
                  </a:lnTo>
                  <a:lnTo>
                    <a:pt x="368" y="134"/>
                  </a:lnTo>
                  <a:lnTo>
                    <a:pt x="368" y="128"/>
                  </a:lnTo>
                  <a:lnTo>
                    <a:pt x="368" y="122"/>
                  </a:lnTo>
                  <a:lnTo>
                    <a:pt x="364" y="110"/>
                  </a:lnTo>
                  <a:lnTo>
                    <a:pt x="360" y="100"/>
                  </a:lnTo>
                  <a:lnTo>
                    <a:pt x="360" y="90"/>
                  </a:lnTo>
                  <a:lnTo>
                    <a:pt x="362" y="84"/>
                  </a:lnTo>
                  <a:lnTo>
                    <a:pt x="364" y="74"/>
                  </a:lnTo>
                  <a:lnTo>
                    <a:pt x="368" y="68"/>
                  </a:lnTo>
                  <a:lnTo>
                    <a:pt x="372" y="64"/>
                  </a:lnTo>
                  <a:lnTo>
                    <a:pt x="386" y="60"/>
                  </a:lnTo>
                  <a:lnTo>
                    <a:pt x="396" y="58"/>
                  </a:lnTo>
                  <a:lnTo>
                    <a:pt x="408" y="46"/>
                  </a:lnTo>
                  <a:lnTo>
                    <a:pt x="414" y="38"/>
                  </a:lnTo>
                  <a:lnTo>
                    <a:pt x="424" y="28"/>
                  </a:lnTo>
                  <a:lnTo>
                    <a:pt x="432" y="20"/>
                  </a:lnTo>
                  <a:lnTo>
                    <a:pt x="432" y="16"/>
                  </a:lnTo>
                  <a:lnTo>
                    <a:pt x="432" y="1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09" name="Google Shape;4876;p64">
              <a:extLst>
                <a:ext uri="{FF2B5EF4-FFF2-40B4-BE49-F238E27FC236}">
                  <a16:creationId xmlns:a16="http://schemas.microsoft.com/office/drawing/2014/main" id="{52888D39-3ED2-3E02-ECFA-034573EDD418}"/>
                </a:ext>
              </a:extLst>
            </p:cNvPr>
            <p:cNvSpPr/>
            <p:nvPr/>
          </p:nvSpPr>
          <p:spPr>
            <a:xfrm>
              <a:off x="4814402" y="4470305"/>
              <a:ext cx="226428" cy="358348"/>
            </a:xfrm>
            <a:custGeom>
              <a:avLst/>
              <a:gdLst/>
              <a:ahLst/>
              <a:cxnLst/>
              <a:rect l="l" t="t" r="r" b="b"/>
              <a:pathLst>
                <a:path w="690" h="1092" extrusionOk="0">
                  <a:moveTo>
                    <a:pt x="690" y="280"/>
                  </a:moveTo>
                  <a:lnTo>
                    <a:pt x="596" y="230"/>
                  </a:lnTo>
                  <a:lnTo>
                    <a:pt x="564" y="214"/>
                  </a:lnTo>
                  <a:lnTo>
                    <a:pt x="502" y="180"/>
                  </a:lnTo>
                  <a:lnTo>
                    <a:pt x="470" y="164"/>
                  </a:lnTo>
                  <a:lnTo>
                    <a:pt x="408" y="130"/>
                  </a:lnTo>
                  <a:lnTo>
                    <a:pt x="376" y="114"/>
                  </a:lnTo>
                  <a:lnTo>
                    <a:pt x="344" y="96"/>
                  </a:lnTo>
                  <a:lnTo>
                    <a:pt x="314" y="80"/>
                  </a:lnTo>
                  <a:lnTo>
                    <a:pt x="282" y="62"/>
                  </a:lnTo>
                  <a:lnTo>
                    <a:pt x="188" y="12"/>
                  </a:lnTo>
                  <a:lnTo>
                    <a:pt x="166" y="0"/>
                  </a:lnTo>
                  <a:lnTo>
                    <a:pt x="142" y="12"/>
                  </a:lnTo>
                  <a:lnTo>
                    <a:pt x="124" y="22"/>
                  </a:lnTo>
                  <a:lnTo>
                    <a:pt x="100" y="32"/>
                  </a:lnTo>
                  <a:lnTo>
                    <a:pt x="108" y="74"/>
                  </a:lnTo>
                  <a:lnTo>
                    <a:pt x="112" y="108"/>
                  </a:lnTo>
                  <a:lnTo>
                    <a:pt x="114" y="132"/>
                  </a:lnTo>
                  <a:lnTo>
                    <a:pt x="114" y="138"/>
                  </a:lnTo>
                  <a:lnTo>
                    <a:pt x="116" y="142"/>
                  </a:lnTo>
                  <a:lnTo>
                    <a:pt x="120" y="144"/>
                  </a:lnTo>
                  <a:lnTo>
                    <a:pt x="142" y="176"/>
                  </a:lnTo>
                  <a:lnTo>
                    <a:pt x="136" y="182"/>
                  </a:lnTo>
                  <a:lnTo>
                    <a:pt x="140" y="192"/>
                  </a:lnTo>
                  <a:lnTo>
                    <a:pt x="146" y="196"/>
                  </a:lnTo>
                  <a:lnTo>
                    <a:pt x="162" y="216"/>
                  </a:lnTo>
                  <a:lnTo>
                    <a:pt x="164" y="220"/>
                  </a:lnTo>
                  <a:lnTo>
                    <a:pt x="164" y="222"/>
                  </a:lnTo>
                  <a:lnTo>
                    <a:pt x="152" y="246"/>
                  </a:lnTo>
                  <a:lnTo>
                    <a:pt x="150" y="250"/>
                  </a:lnTo>
                  <a:lnTo>
                    <a:pt x="148" y="280"/>
                  </a:lnTo>
                  <a:lnTo>
                    <a:pt x="146" y="300"/>
                  </a:lnTo>
                  <a:lnTo>
                    <a:pt x="144" y="326"/>
                  </a:lnTo>
                  <a:lnTo>
                    <a:pt x="140" y="360"/>
                  </a:lnTo>
                  <a:lnTo>
                    <a:pt x="138" y="386"/>
                  </a:lnTo>
                  <a:lnTo>
                    <a:pt x="136" y="424"/>
                  </a:lnTo>
                  <a:lnTo>
                    <a:pt x="132" y="458"/>
                  </a:lnTo>
                  <a:lnTo>
                    <a:pt x="116" y="476"/>
                  </a:lnTo>
                  <a:lnTo>
                    <a:pt x="84" y="510"/>
                  </a:lnTo>
                  <a:lnTo>
                    <a:pt x="60" y="536"/>
                  </a:lnTo>
                  <a:lnTo>
                    <a:pt x="48" y="554"/>
                  </a:lnTo>
                  <a:lnTo>
                    <a:pt x="24" y="590"/>
                  </a:lnTo>
                  <a:lnTo>
                    <a:pt x="12" y="612"/>
                  </a:lnTo>
                  <a:lnTo>
                    <a:pt x="4" y="624"/>
                  </a:lnTo>
                  <a:lnTo>
                    <a:pt x="0" y="630"/>
                  </a:lnTo>
                  <a:lnTo>
                    <a:pt x="4" y="646"/>
                  </a:lnTo>
                  <a:lnTo>
                    <a:pt x="10" y="676"/>
                  </a:lnTo>
                  <a:lnTo>
                    <a:pt x="20" y="690"/>
                  </a:lnTo>
                  <a:lnTo>
                    <a:pt x="32" y="706"/>
                  </a:lnTo>
                  <a:lnTo>
                    <a:pt x="40" y="718"/>
                  </a:lnTo>
                  <a:lnTo>
                    <a:pt x="52" y="718"/>
                  </a:lnTo>
                  <a:lnTo>
                    <a:pt x="66" y="722"/>
                  </a:lnTo>
                  <a:lnTo>
                    <a:pt x="70" y="724"/>
                  </a:lnTo>
                  <a:lnTo>
                    <a:pt x="72" y="736"/>
                  </a:lnTo>
                  <a:lnTo>
                    <a:pt x="76" y="740"/>
                  </a:lnTo>
                  <a:lnTo>
                    <a:pt x="86" y="746"/>
                  </a:lnTo>
                  <a:lnTo>
                    <a:pt x="92" y="756"/>
                  </a:lnTo>
                  <a:lnTo>
                    <a:pt x="94" y="772"/>
                  </a:lnTo>
                  <a:lnTo>
                    <a:pt x="98" y="782"/>
                  </a:lnTo>
                  <a:lnTo>
                    <a:pt x="100" y="782"/>
                  </a:lnTo>
                  <a:lnTo>
                    <a:pt x="106" y="796"/>
                  </a:lnTo>
                  <a:lnTo>
                    <a:pt x="106" y="800"/>
                  </a:lnTo>
                  <a:lnTo>
                    <a:pt x="108" y="808"/>
                  </a:lnTo>
                  <a:lnTo>
                    <a:pt x="106" y="814"/>
                  </a:lnTo>
                  <a:lnTo>
                    <a:pt x="110" y="820"/>
                  </a:lnTo>
                  <a:lnTo>
                    <a:pt x="106" y="832"/>
                  </a:lnTo>
                  <a:lnTo>
                    <a:pt x="104" y="840"/>
                  </a:lnTo>
                  <a:lnTo>
                    <a:pt x="104" y="850"/>
                  </a:lnTo>
                  <a:lnTo>
                    <a:pt x="106" y="868"/>
                  </a:lnTo>
                  <a:lnTo>
                    <a:pt x="110" y="880"/>
                  </a:lnTo>
                  <a:lnTo>
                    <a:pt x="114" y="892"/>
                  </a:lnTo>
                  <a:lnTo>
                    <a:pt x="120" y="900"/>
                  </a:lnTo>
                  <a:lnTo>
                    <a:pt x="128" y="908"/>
                  </a:lnTo>
                  <a:lnTo>
                    <a:pt x="136" y="918"/>
                  </a:lnTo>
                  <a:lnTo>
                    <a:pt x="144" y="922"/>
                  </a:lnTo>
                  <a:lnTo>
                    <a:pt x="136" y="926"/>
                  </a:lnTo>
                  <a:lnTo>
                    <a:pt x="122" y="926"/>
                  </a:lnTo>
                  <a:lnTo>
                    <a:pt x="114" y="924"/>
                  </a:lnTo>
                  <a:lnTo>
                    <a:pt x="110" y="924"/>
                  </a:lnTo>
                  <a:lnTo>
                    <a:pt x="106" y="926"/>
                  </a:lnTo>
                  <a:lnTo>
                    <a:pt x="90" y="928"/>
                  </a:lnTo>
                  <a:lnTo>
                    <a:pt x="76" y="926"/>
                  </a:lnTo>
                  <a:lnTo>
                    <a:pt x="60" y="924"/>
                  </a:lnTo>
                  <a:lnTo>
                    <a:pt x="52" y="924"/>
                  </a:lnTo>
                  <a:lnTo>
                    <a:pt x="46" y="930"/>
                  </a:lnTo>
                  <a:lnTo>
                    <a:pt x="40" y="938"/>
                  </a:lnTo>
                  <a:lnTo>
                    <a:pt x="34" y="944"/>
                  </a:lnTo>
                  <a:lnTo>
                    <a:pt x="36" y="952"/>
                  </a:lnTo>
                  <a:lnTo>
                    <a:pt x="40" y="954"/>
                  </a:lnTo>
                  <a:lnTo>
                    <a:pt x="48" y="964"/>
                  </a:lnTo>
                  <a:lnTo>
                    <a:pt x="54" y="972"/>
                  </a:lnTo>
                  <a:lnTo>
                    <a:pt x="58" y="976"/>
                  </a:lnTo>
                  <a:lnTo>
                    <a:pt x="72" y="988"/>
                  </a:lnTo>
                  <a:lnTo>
                    <a:pt x="84" y="1000"/>
                  </a:lnTo>
                  <a:lnTo>
                    <a:pt x="86" y="1000"/>
                  </a:lnTo>
                  <a:lnTo>
                    <a:pt x="90" y="1002"/>
                  </a:lnTo>
                  <a:lnTo>
                    <a:pt x="92" y="1004"/>
                  </a:lnTo>
                  <a:lnTo>
                    <a:pt x="100" y="1010"/>
                  </a:lnTo>
                  <a:lnTo>
                    <a:pt x="110" y="1020"/>
                  </a:lnTo>
                  <a:lnTo>
                    <a:pt x="118" y="1036"/>
                  </a:lnTo>
                  <a:lnTo>
                    <a:pt x="124" y="1050"/>
                  </a:lnTo>
                  <a:lnTo>
                    <a:pt x="130" y="1066"/>
                  </a:lnTo>
                  <a:lnTo>
                    <a:pt x="134" y="1068"/>
                  </a:lnTo>
                  <a:lnTo>
                    <a:pt x="138" y="1070"/>
                  </a:lnTo>
                  <a:lnTo>
                    <a:pt x="138" y="1074"/>
                  </a:lnTo>
                  <a:lnTo>
                    <a:pt x="138" y="1078"/>
                  </a:lnTo>
                  <a:lnTo>
                    <a:pt x="136" y="1082"/>
                  </a:lnTo>
                  <a:lnTo>
                    <a:pt x="134" y="1088"/>
                  </a:lnTo>
                  <a:lnTo>
                    <a:pt x="140" y="1088"/>
                  </a:lnTo>
                  <a:lnTo>
                    <a:pt x="148" y="1090"/>
                  </a:lnTo>
                  <a:lnTo>
                    <a:pt x="156" y="1092"/>
                  </a:lnTo>
                  <a:lnTo>
                    <a:pt x="164" y="1088"/>
                  </a:lnTo>
                  <a:lnTo>
                    <a:pt x="170" y="1084"/>
                  </a:lnTo>
                  <a:lnTo>
                    <a:pt x="180" y="1082"/>
                  </a:lnTo>
                  <a:lnTo>
                    <a:pt x="192" y="1078"/>
                  </a:lnTo>
                  <a:lnTo>
                    <a:pt x="194" y="1072"/>
                  </a:lnTo>
                  <a:lnTo>
                    <a:pt x="198" y="1068"/>
                  </a:lnTo>
                  <a:lnTo>
                    <a:pt x="202" y="1066"/>
                  </a:lnTo>
                  <a:lnTo>
                    <a:pt x="202" y="1066"/>
                  </a:lnTo>
                  <a:lnTo>
                    <a:pt x="204" y="1068"/>
                  </a:lnTo>
                  <a:lnTo>
                    <a:pt x="206" y="1074"/>
                  </a:lnTo>
                  <a:lnTo>
                    <a:pt x="210" y="1080"/>
                  </a:lnTo>
                  <a:lnTo>
                    <a:pt x="218" y="1086"/>
                  </a:lnTo>
                  <a:lnTo>
                    <a:pt x="220" y="1086"/>
                  </a:lnTo>
                  <a:lnTo>
                    <a:pt x="226" y="1080"/>
                  </a:lnTo>
                  <a:lnTo>
                    <a:pt x="238" y="1078"/>
                  </a:lnTo>
                  <a:lnTo>
                    <a:pt x="240" y="1076"/>
                  </a:lnTo>
                  <a:lnTo>
                    <a:pt x="248" y="1068"/>
                  </a:lnTo>
                  <a:lnTo>
                    <a:pt x="258" y="1064"/>
                  </a:lnTo>
                  <a:lnTo>
                    <a:pt x="262" y="1064"/>
                  </a:lnTo>
                  <a:lnTo>
                    <a:pt x="264" y="1062"/>
                  </a:lnTo>
                  <a:lnTo>
                    <a:pt x="276" y="1058"/>
                  </a:lnTo>
                  <a:lnTo>
                    <a:pt x="282" y="1058"/>
                  </a:lnTo>
                  <a:lnTo>
                    <a:pt x="294" y="1058"/>
                  </a:lnTo>
                  <a:lnTo>
                    <a:pt x="314" y="1054"/>
                  </a:lnTo>
                  <a:lnTo>
                    <a:pt x="328" y="1054"/>
                  </a:lnTo>
                  <a:lnTo>
                    <a:pt x="336" y="1054"/>
                  </a:lnTo>
                  <a:lnTo>
                    <a:pt x="336" y="1052"/>
                  </a:lnTo>
                  <a:lnTo>
                    <a:pt x="340" y="1046"/>
                  </a:lnTo>
                  <a:lnTo>
                    <a:pt x="342" y="1044"/>
                  </a:lnTo>
                  <a:lnTo>
                    <a:pt x="348" y="1040"/>
                  </a:lnTo>
                  <a:lnTo>
                    <a:pt x="358" y="1030"/>
                  </a:lnTo>
                  <a:lnTo>
                    <a:pt x="364" y="1020"/>
                  </a:lnTo>
                  <a:lnTo>
                    <a:pt x="366" y="1018"/>
                  </a:lnTo>
                  <a:lnTo>
                    <a:pt x="366" y="1018"/>
                  </a:lnTo>
                  <a:lnTo>
                    <a:pt x="368" y="1016"/>
                  </a:lnTo>
                  <a:lnTo>
                    <a:pt x="370" y="1012"/>
                  </a:lnTo>
                  <a:lnTo>
                    <a:pt x="368" y="1010"/>
                  </a:lnTo>
                  <a:lnTo>
                    <a:pt x="356" y="1002"/>
                  </a:lnTo>
                  <a:lnTo>
                    <a:pt x="356" y="1000"/>
                  </a:lnTo>
                  <a:lnTo>
                    <a:pt x="356" y="998"/>
                  </a:lnTo>
                  <a:lnTo>
                    <a:pt x="356" y="998"/>
                  </a:lnTo>
                  <a:lnTo>
                    <a:pt x="360" y="994"/>
                  </a:lnTo>
                  <a:lnTo>
                    <a:pt x="366" y="990"/>
                  </a:lnTo>
                  <a:lnTo>
                    <a:pt x="374" y="988"/>
                  </a:lnTo>
                  <a:lnTo>
                    <a:pt x="390" y="990"/>
                  </a:lnTo>
                  <a:lnTo>
                    <a:pt x="404" y="988"/>
                  </a:lnTo>
                  <a:lnTo>
                    <a:pt x="408" y="988"/>
                  </a:lnTo>
                  <a:lnTo>
                    <a:pt x="418" y="986"/>
                  </a:lnTo>
                  <a:lnTo>
                    <a:pt x="426" y="986"/>
                  </a:lnTo>
                  <a:lnTo>
                    <a:pt x="434" y="982"/>
                  </a:lnTo>
                  <a:lnTo>
                    <a:pt x="452" y="982"/>
                  </a:lnTo>
                  <a:lnTo>
                    <a:pt x="466" y="972"/>
                  </a:lnTo>
                  <a:lnTo>
                    <a:pt x="470" y="970"/>
                  </a:lnTo>
                  <a:lnTo>
                    <a:pt x="472" y="968"/>
                  </a:lnTo>
                  <a:lnTo>
                    <a:pt x="474" y="968"/>
                  </a:lnTo>
                  <a:lnTo>
                    <a:pt x="480" y="964"/>
                  </a:lnTo>
                  <a:lnTo>
                    <a:pt x="488" y="954"/>
                  </a:lnTo>
                  <a:lnTo>
                    <a:pt x="494" y="948"/>
                  </a:lnTo>
                  <a:lnTo>
                    <a:pt x="496" y="942"/>
                  </a:lnTo>
                  <a:lnTo>
                    <a:pt x="512" y="926"/>
                  </a:lnTo>
                  <a:lnTo>
                    <a:pt x="518" y="926"/>
                  </a:lnTo>
                  <a:lnTo>
                    <a:pt x="520" y="924"/>
                  </a:lnTo>
                  <a:lnTo>
                    <a:pt x="528" y="912"/>
                  </a:lnTo>
                  <a:lnTo>
                    <a:pt x="530" y="910"/>
                  </a:lnTo>
                  <a:lnTo>
                    <a:pt x="532" y="908"/>
                  </a:lnTo>
                  <a:lnTo>
                    <a:pt x="536" y="908"/>
                  </a:lnTo>
                  <a:lnTo>
                    <a:pt x="540" y="904"/>
                  </a:lnTo>
                  <a:lnTo>
                    <a:pt x="542" y="900"/>
                  </a:lnTo>
                  <a:lnTo>
                    <a:pt x="542" y="892"/>
                  </a:lnTo>
                  <a:lnTo>
                    <a:pt x="542" y="888"/>
                  </a:lnTo>
                  <a:lnTo>
                    <a:pt x="542" y="886"/>
                  </a:lnTo>
                  <a:lnTo>
                    <a:pt x="542" y="884"/>
                  </a:lnTo>
                  <a:lnTo>
                    <a:pt x="546" y="880"/>
                  </a:lnTo>
                  <a:lnTo>
                    <a:pt x="558" y="874"/>
                  </a:lnTo>
                  <a:lnTo>
                    <a:pt x="562" y="872"/>
                  </a:lnTo>
                  <a:lnTo>
                    <a:pt x="564" y="868"/>
                  </a:lnTo>
                  <a:lnTo>
                    <a:pt x="566" y="868"/>
                  </a:lnTo>
                  <a:lnTo>
                    <a:pt x="570" y="868"/>
                  </a:lnTo>
                  <a:lnTo>
                    <a:pt x="572" y="868"/>
                  </a:lnTo>
                  <a:lnTo>
                    <a:pt x="576" y="864"/>
                  </a:lnTo>
                  <a:lnTo>
                    <a:pt x="584" y="860"/>
                  </a:lnTo>
                  <a:lnTo>
                    <a:pt x="592" y="858"/>
                  </a:lnTo>
                  <a:lnTo>
                    <a:pt x="602" y="858"/>
                  </a:lnTo>
                  <a:lnTo>
                    <a:pt x="608" y="860"/>
                  </a:lnTo>
                  <a:lnTo>
                    <a:pt x="614" y="862"/>
                  </a:lnTo>
                  <a:lnTo>
                    <a:pt x="616" y="862"/>
                  </a:lnTo>
                  <a:lnTo>
                    <a:pt x="620" y="854"/>
                  </a:lnTo>
                  <a:lnTo>
                    <a:pt x="622" y="844"/>
                  </a:lnTo>
                  <a:lnTo>
                    <a:pt x="622" y="840"/>
                  </a:lnTo>
                  <a:lnTo>
                    <a:pt x="620" y="834"/>
                  </a:lnTo>
                  <a:lnTo>
                    <a:pt x="616" y="830"/>
                  </a:lnTo>
                  <a:lnTo>
                    <a:pt x="612" y="830"/>
                  </a:lnTo>
                  <a:lnTo>
                    <a:pt x="610" y="828"/>
                  </a:lnTo>
                  <a:lnTo>
                    <a:pt x="606" y="824"/>
                  </a:lnTo>
                  <a:lnTo>
                    <a:pt x="602" y="822"/>
                  </a:lnTo>
                  <a:lnTo>
                    <a:pt x="598" y="818"/>
                  </a:lnTo>
                  <a:lnTo>
                    <a:pt x="596" y="812"/>
                  </a:lnTo>
                  <a:lnTo>
                    <a:pt x="598" y="790"/>
                  </a:lnTo>
                  <a:lnTo>
                    <a:pt x="598" y="788"/>
                  </a:lnTo>
                  <a:lnTo>
                    <a:pt x="592" y="788"/>
                  </a:lnTo>
                  <a:lnTo>
                    <a:pt x="592" y="786"/>
                  </a:lnTo>
                  <a:lnTo>
                    <a:pt x="592" y="782"/>
                  </a:lnTo>
                  <a:lnTo>
                    <a:pt x="588" y="770"/>
                  </a:lnTo>
                  <a:lnTo>
                    <a:pt x="586" y="758"/>
                  </a:lnTo>
                  <a:lnTo>
                    <a:pt x="588" y="754"/>
                  </a:lnTo>
                  <a:lnTo>
                    <a:pt x="584" y="746"/>
                  </a:lnTo>
                  <a:lnTo>
                    <a:pt x="576" y="742"/>
                  </a:lnTo>
                  <a:lnTo>
                    <a:pt x="568" y="744"/>
                  </a:lnTo>
                  <a:lnTo>
                    <a:pt x="560" y="746"/>
                  </a:lnTo>
                  <a:lnTo>
                    <a:pt x="556" y="744"/>
                  </a:lnTo>
                  <a:lnTo>
                    <a:pt x="552" y="742"/>
                  </a:lnTo>
                  <a:lnTo>
                    <a:pt x="550" y="740"/>
                  </a:lnTo>
                  <a:lnTo>
                    <a:pt x="548" y="738"/>
                  </a:lnTo>
                  <a:lnTo>
                    <a:pt x="550" y="732"/>
                  </a:lnTo>
                  <a:lnTo>
                    <a:pt x="554" y="722"/>
                  </a:lnTo>
                  <a:lnTo>
                    <a:pt x="560" y="716"/>
                  </a:lnTo>
                  <a:lnTo>
                    <a:pt x="570" y="708"/>
                  </a:lnTo>
                  <a:lnTo>
                    <a:pt x="574" y="704"/>
                  </a:lnTo>
                  <a:lnTo>
                    <a:pt x="576" y="700"/>
                  </a:lnTo>
                  <a:lnTo>
                    <a:pt x="576" y="696"/>
                  </a:lnTo>
                  <a:lnTo>
                    <a:pt x="574" y="692"/>
                  </a:lnTo>
                  <a:lnTo>
                    <a:pt x="574" y="686"/>
                  </a:lnTo>
                  <a:lnTo>
                    <a:pt x="570" y="680"/>
                  </a:lnTo>
                  <a:lnTo>
                    <a:pt x="568" y="674"/>
                  </a:lnTo>
                  <a:lnTo>
                    <a:pt x="568" y="668"/>
                  </a:lnTo>
                  <a:lnTo>
                    <a:pt x="568" y="666"/>
                  </a:lnTo>
                  <a:lnTo>
                    <a:pt x="572" y="662"/>
                  </a:lnTo>
                  <a:lnTo>
                    <a:pt x="578" y="656"/>
                  </a:lnTo>
                  <a:lnTo>
                    <a:pt x="578" y="656"/>
                  </a:lnTo>
                  <a:lnTo>
                    <a:pt x="582" y="654"/>
                  </a:lnTo>
                  <a:lnTo>
                    <a:pt x="586" y="652"/>
                  </a:lnTo>
                  <a:lnTo>
                    <a:pt x="594" y="646"/>
                  </a:lnTo>
                  <a:lnTo>
                    <a:pt x="596" y="644"/>
                  </a:lnTo>
                  <a:lnTo>
                    <a:pt x="596" y="642"/>
                  </a:lnTo>
                  <a:lnTo>
                    <a:pt x="594" y="640"/>
                  </a:lnTo>
                  <a:lnTo>
                    <a:pt x="590" y="636"/>
                  </a:lnTo>
                  <a:lnTo>
                    <a:pt x="590" y="632"/>
                  </a:lnTo>
                  <a:lnTo>
                    <a:pt x="588" y="626"/>
                  </a:lnTo>
                  <a:lnTo>
                    <a:pt x="586" y="618"/>
                  </a:lnTo>
                  <a:lnTo>
                    <a:pt x="590" y="612"/>
                  </a:lnTo>
                  <a:lnTo>
                    <a:pt x="596" y="610"/>
                  </a:lnTo>
                  <a:lnTo>
                    <a:pt x="602" y="608"/>
                  </a:lnTo>
                  <a:lnTo>
                    <a:pt x="604" y="606"/>
                  </a:lnTo>
                  <a:lnTo>
                    <a:pt x="606" y="602"/>
                  </a:lnTo>
                  <a:lnTo>
                    <a:pt x="604" y="598"/>
                  </a:lnTo>
                  <a:lnTo>
                    <a:pt x="608" y="594"/>
                  </a:lnTo>
                  <a:lnTo>
                    <a:pt x="610" y="588"/>
                  </a:lnTo>
                  <a:lnTo>
                    <a:pt x="612" y="584"/>
                  </a:lnTo>
                  <a:lnTo>
                    <a:pt x="618" y="582"/>
                  </a:lnTo>
                  <a:lnTo>
                    <a:pt x="622" y="576"/>
                  </a:lnTo>
                  <a:lnTo>
                    <a:pt x="624" y="572"/>
                  </a:lnTo>
                  <a:lnTo>
                    <a:pt x="624" y="566"/>
                  </a:lnTo>
                  <a:lnTo>
                    <a:pt x="622" y="552"/>
                  </a:lnTo>
                  <a:lnTo>
                    <a:pt x="626" y="546"/>
                  </a:lnTo>
                  <a:lnTo>
                    <a:pt x="632" y="540"/>
                  </a:lnTo>
                  <a:lnTo>
                    <a:pt x="642" y="540"/>
                  </a:lnTo>
                  <a:lnTo>
                    <a:pt x="656" y="540"/>
                  </a:lnTo>
                  <a:lnTo>
                    <a:pt x="666" y="536"/>
                  </a:lnTo>
                  <a:lnTo>
                    <a:pt x="672" y="536"/>
                  </a:lnTo>
                  <a:lnTo>
                    <a:pt x="688" y="540"/>
                  </a:lnTo>
                  <a:lnTo>
                    <a:pt x="690" y="540"/>
                  </a:lnTo>
                  <a:lnTo>
                    <a:pt x="690" y="538"/>
                  </a:lnTo>
                  <a:lnTo>
                    <a:pt x="690" y="534"/>
                  </a:lnTo>
                  <a:lnTo>
                    <a:pt x="690" y="434"/>
                  </a:lnTo>
                  <a:lnTo>
                    <a:pt x="690" y="402"/>
                  </a:lnTo>
                  <a:lnTo>
                    <a:pt x="690" y="28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10" name="Google Shape;4877;p64">
              <a:extLst>
                <a:ext uri="{FF2B5EF4-FFF2-40B4-BE49-F238E27FC236}">
                  <a16:creationId xmlns:a16="http://schemas.microsoft.com/office/drawing/2014/main" id="{34B956FF-CB18-9423-C922-C282639210CA}"/>
                </a:ext>
              </a:extLst>
            </p:cNvPr>
            <p:cNvCxnSpPr/>
            <p:nvPr/>
          </p:nvCxnSpPr>
          <p:spPr>
            <a:xfrm>
              <a:off x="5040830" y="4562189"/>
              <a:ext cx="0" cy="0"/>
            </a:xfrm>
            <a:prstGeom prst="straightConnector1">
              <a:avLst/>
            </a:prstGeom>
            <a:grpFill/>
            <a:ln w="9525" cap="flat" cmpd="sng">
              <a:solidFill>
                <a:schemeClr val="bg2"/>
              </a:solidFill>
              <a:prstDash val="solid"/>
              <a:round/>
              <a:headEnd type="none" w="med" len="med"/>
              <a:tailEnd type="none" w="med" len="med"/>
            </a:ln>
          </p:spPr>
        </p:cxnSp>
        <p:cxnSp>
          <p:nvCxnSpPr>
            <p:cNvPr id="411" name="Google Shape;4878;p64">
              <a:extLst>
                <a:ext uri="{FF2B5EF4-FFF2-40B4-BE49-F238E27FC236}">
                  <a16:creationId xmlns:a16="http://schemas.microsoft.com/office/drawing/2014/main" id="{35FC5F79-27A7-254A-D20F-E9D3CC14DA53}"/>
                </a:ext>
              </a:extLst>
            </p:cNvPr>
            <p:cNvCxnSpPr/>
            <p:nvPr/>
          </p:nvCxnSpPr>
          <p:spPr>
            <a:xfrm>
              <a:off x="5040830" y="4562189"/>
              <a:ext cx="0" cy="0"/>
            </a:xfrm>
            <a:prstGeom prst="straightConnector1">
              <a:avLst/>
            </a:prstGeom>
            <a:grpFill/>
            <a:ln w="9525" cap="flat" cmpd="sng">
              <a:solidFill>
                <a:schemeClr val="bg2"/>
              </a:solidFill>
              <a:prstDash val="solid"/>
              <a:round/>
              <a:headEnd type="none" w="med" len="med"/>
              <a:tailEnd type="none" w="med" len="med"/>
            </a:ln>
          </p:spPr>
        </p:cxnSp>
        <p:sp>
          <p:nvSpPr>
            <p:cNvPr id="412" name="Google Shape;4879;p64">
              <a:extLst>
                <a:ext uri="{FF2B5EF4-FFF2-40B4-BE49-F238E27FC236}">
                  <a16:creationId xmlns:a16="http://schemas.microsoft.com/office/drawing/2014/main" id="{1A7415B2-3C8D-E29D-5C4E-426265E9618B}"/>
                </a:ext>
              </a:extLst>
            </p:cNvPr>
            <p:cNvSpPr/>
            <p:nvPr/>
          </p:nvSpPr>
          <p:spPr>
            <a:xfrm>
              <a:off x="4522998" y="4749239"/>
              <a:ext cx="40036" cy="108948"/>
            </a:xfrm>
            <a:custGeom>
              <a:avLst/>
              <a:gdLst/>
              <a:ahLst/>
              <a:cxnLst/>
              <a:rect l="l" t="t" r="r" b="b"/>
              <a:pathLst>
                <a:path w="122" h="332" extrusionOk="0">
                  <a:moveTo>
                    <a:pt x="66" y="8"/>
                  </a:moveTo>
                  <a:lnTo>
                    <a:pt x="48" y="8"/>
                  </a:lnTo>
                  <a:lnTo>
                    <a:pt x="42" y="10"/>
                  </a:lnTo>
                  <a:lnTo>
                    <a:pt x="38" y="10"/>
                  </a:lnTo>
                  <a:lnTo>
                    <a:pt x="38" y="8"/>
                  </a:lnTo>
                  <a:lnTo>
                    <a:pt x="38" y="8"/>
                  </a:lnTo>
                  <a:lnTo>
                    <a:pt x="16" y="2"/>
                  </a:lnTo>
                  <a:lnTo>
                    <a:pt x="2" y="0"/>
                  </a:lnTo>
                  <a:lnTo>
                    <a:pt x="6" y="4"/>
                  </a:lnTo>
                  <a:lnTo>
                    <a:pt x="6" y="6"/>
                  </a:lnTo>
                  <a:lnTo>
                    <a:pt x="6" y="14"/>
                  </a:lnTo>
                  <a:lnTo>
                    <a:pt x="2" y="20"/>
                  </a:lnTo>
                  <a:lnTo>
                    <a:pt x="0" y="26"/>
                  </a:lnTo>
                  <a:lnTo>
                    <a:pt x="0" y="28"/>
                  </a:lnTo>
                  <a:lnTo>
                    <a:pt x="2" y="32"/>
                  </a:lnTo>
                  <a:lnTo>
                    <a:pt x="8" y="36"/>
                  </a:lnTo>
                  <a:lnTo>
                    <a:pt x="12" y="38"/>
                  </a:lnTo>
                  <a:lnTo>
                    <a:pt x="16" y="44"/>
                  </a:lnTo>
                  <a:lnTo>
                    <a:pt x="20" y="48"/>
                  </a:lnTo>
                  <a:lnTo>
                    <a:pt x="28" y="54"/>
                  </a:lnTo>
                  <a:lnTo>
                    <a:pt x="32" y="54"/>
                  </a:lnTo>
                  <a:lnTo>
                    <a:pt x="30" y="56"/>
                  </a:lnTo>
                  <a:lnTo>
                    <a:pt x="30" y="58"/>
                  </a:lnTo>
                  <a:lnTo>
                    <a:pt x="30" y="78"/>
                  </a:lnTo>
                  <a:lnTo>
                    <a:pt x="28" y="84"/>
                  </a:lnTo>
                  <a:lnTo>
                    <a:pt x="28" y="86"/>
                  </a:lnTo>
                  <a:lnTo>
                    <a:pt x="28" y="94"/>
                  </a:lnTo>
                  <a:lnTo>
                    <a:pt x="26" y="96"/>
                  </a:lnTo>
                  <a:lnTo>
                    <a:pt x="24" y="96"/>
                  </a:lnTo>
                  <a:lnTo>
                    <a:pt x="24" y="96"/>
                  </a:lnTo>
                  <a:lnTo>
                    <a:pt x="24" y="98"/>
                  </a:lnTo>
                  <a:lnTo>
                    <a:pt x="24" y="98"/>
                  </a:lnTo>
                  <a:lnTo>
                    <a:pt x="28" y="100"/>
                  </a:lnTo>
                  <a:lnTo>
                    <a:pt x="28" y="102"/>
                  </a:lnTo>
                  <a:lnTo>
                    <a:pt x="24" y="102"/>
                  </a:lnTo>
                  <a:lnTo>
                    <a:pt x="22" y="104"/>
                  </a:lnTo>
                  <a:lnTo>
                    <a:pt x="24" y="108"/>
                  </a:lnTo>
                  <a:lnTo>
                    <a:pt x="22" y="110"/>
                  </a:lnTo>
                  <a:lnTo>
                    <a:pt x="22" y="110"/>
                  </a:lnTo>
                  <a:lnTo>
                    <a:pt x="24" y="112"/>
                  </a:lnTo>
                  <a:lnTo>
                    <a:pt x="24" y="112"/>
                  </a:lnTo>
                  <a:lnTo>
                    <a:pt x="30" y="108"/>
                  </a:lnTo>
                  <a:lnTo>
                    <a:pt x="32" y="108"/>
                  </a:lnTo>
                  <a:lnTo>
                    <a:pt x="36" y="108"/>
                  </a:lnTo>
                  <a:lnTo>
                    <a:pt x="40" y="114"/>
                  </a:lnTo>
                  <a:lnTo>
                    <a:pt x="40" y="116"/>
                  </a:lnTo>
                  <a:lnTo>
                    <a:pt x="38" y="126"/>
                  </a:lnTo>
                  <a:lnTo>
                    <a:pt x="36" y="132"/>
                  </a:lnTo>
                  <a:lnTo>
                    <a:pt x="36" y="142"/>
                  </a:lnTo>
                  <a:lnTo>
                    <a:pt x="38" y="146"/>
                  </a:lnTo>
                  <a:lnTo>
                    <a:pt x="38" y="150"/>
                  </a:lnTo>
                  <a:lnTo>
                    <a:pt x="36" y="152"/>
                  </a:lnTo>
                  <a:lnTo>
                    <a:pt x="30" y="156"/>
                  </a:lnTo>
                  <a:lnTo>
                    <a:pt x="30" y="158"/>
                  </a:lnTo>
                  <a:lnTo>
                    <a:pt x="34" y="164"/>
                  </a:lnTo>
                  <a:lnTo>
                    <a:pt x="38" y="168"/>
                  </a:lnTo>
                  <a:lnTo>
                    <a:pt x="46" y="174"/>
                  </a:lnTo>
                  <a:lnTo>
                    <a:pt x="50" y="182"/>
                  </a:lnTo>
                  <a:lnTo>
                    <a:pt x="52" y="186"/>
                  </a:lnTo>
                  <a:lnTo>
                    <a:pt x="48" y="190"/>
                  </a:lnTo>
                  <a:lnTo>
                    <a:pt x="46" y="192"/>
                  </a:lnTo>
                  <a:lnTo>
                    <a:pt x="44" y="196"/>
                  </a:lnTo>
                  <a:lnTo>
                    <a:pt x="46" y="224"/>
                  </a:lnTo>
                  <a:lnTo>
                    <a:pt x="38" y="236"/>
                  </a:lnTo>
                  <a:lnTo>
                    <a:pt x="38" y="240"/>
                  </a:lnTo>
                  <a:lnTo>
                    <a:pt x="40" y="244"/>
                  </a:lnTo>
                  <a:lnTo>
                    <a:pt x="42" y="246"/>
                  </a:lnTo>
                  <a:lnTo>
                    <a:pt x="44" y="246"/>
                  </a:lnTo>
                  <a:lnTo>
                    <a:pt x="48" y="250"/>
                  </a:lnTo>
                  <a:lnTo>
                    <a:pt x="46" y="258"/>
                  </a:lnTo>
                  <a:lnTo>
                    <a:pt x="46" y="266"/>
                  </a:lnTo>
                  <a:lnTo>
                    <a:pt x="46" y="270"/>
                  </a:lnTo>
                  <a:lnTo>
                    <a:pt x="44" y="272"/>
                  </a:lnTo>
                  <a:lnTo>
                    <a:pt x="42" y="274"/>
                  </a:lnTo>
                  <a:lnTo>
                    <a:pt x="40" y="276"/>
                  </a:lnTo>
                  <a:lnTo>
                    <a:pt x="40" y="280"/>
                  </a:lnTo>
                  <a:lnTo>
                    <a:pt x="40" y="282"/>
                  </a:lnTo>
                  <a:lnTo>
                    <a:pt x="42" y="286"/>
                  </a:lnTo>
                  <a:lnTo>
                    <a:pt x="46" y="290"/>
                  </a:lnTo>
                  <a:lnTo>
                    <a:pt x="50" y="300"/>
                  </a:lnTo>
                  <a:lnTo>
                    <a:pt x="52" y="300"/>
                  </a:lnTo>
                  <a:lnTo>
                    <a:pt x="54" y="302"/>
                  </a:lnTo>
                  <a:lnTo>
                    <a:pt x="52" y="304"/>
                  </a:lnTo>
                  <a:lnTo>
                    <a:pt x="54" y="308"/>
                  </a:lnTo>
                  <a:lnTo>
                    <a:pt x="60" y="314"/>
                  </a:lnTo>
                  <a:lnTo>
                    <a:pt x="66" y="316"/>
                  </a:lnTo>
                  <a:lnTo>
                    <a:pt x="70" y="318"/>
                  </a:lnTo>
                  <a:lnTo>
                    <a:pt x="72" y="320"/>
                  </a:lnTo>
                  <a:lnTo>
                    <a:pt x="74" y="326"/>
                  </a:lnTo>
                  <a:lnTo>
                    <a:pt x="78" y="326"/>
                  </a:lnTo>
                  <a:lnTo>
                    <a:pt x="80" y="328"/>
                  </a:lnTo>
                  <a:lnTo>
                    <a:pt x="84" y="328"/>
                  </a:lnTo>
                  <a:lnTo>
                    <a:pt x="84" y="332"/>
                  </a:lnTo>
                  <a:lnTo>
                    <a:pt x="92" y="328"/>
                  </a:lnTo>
                  <a:lnTo>
                    <a:pt x="112" y="324"/>
                  </a:lnTo>
                  <a:lnTo>
                    <a:pt x="112" y="322"/>
                  </a:lnTo>
                  <a:lnTo>
                    <a:pt x="122" y="318"/>
                  </a:lnTo>
                  <a:lnTo>
                    <a:pt x="120" y="310"/>
                  </a:lnTo>
                  <a:lnTo>
                    <a:pt x="114" y="300"/>
                  </a:lnTo>
                  <a:lnTo>
                    <a:pt x="110" y="298"/>
                  </a:lnTo>
                  <a:lnTo>
                    <a:pt x="110" y="294"/>
                  </a:lnTo>
                  <a:lnTo>
                    <a:pt x="112" y="290"/>
                  </a:lnTo>
                  <a:lnTo>
                    <a:pt x="110" y="288"/>
                  </a:lnTo>
                  <a:lnTo>
                    <a:pt x="110" y="280"/>
                  </a:lnTo>
                  <a:lnTo>
                    <a:pt x="106" y="274"/>
                  </a:lnTo>
                  <a:lnTo>
                    <a:pt x="112" y="272"/>
                  </a:lnTo>
                  <a:lnTo>
                    <a:pt x="112" y="188"/>
                  </a:lnTo>
                  <a:lnTo>
                    <a:pt x="112" y="170"/>
                  </a:lnTo>
                  <a:lnTo>
                    <a:pt x="112" y="156"/>
                  </a:lnTo>
                  <a:lnTo>
                    <a:pt x="112" y="136"/>
                  </a:lnTo>
                  <a:lnTo>
                    <a:pt x="108" y="130"/>
                  </a:lnTo>
                  <a:lnTo>
                    <a:pt x="100" y="122"/>
                  </a:lnTo>
                  <a:lnTo>
                    <a:pt x="96" y="116"/>
                  </a:lnTo>
                  <a:lnTo>
                    <a:pt x="96" y="110"/>
                  </a:lnTo>
                  <a:lnTo>
                    <a:pt x="94" y="102"/>
                  </a:lnTo>
                  <a:lnTo>
                    <a:pt x="94" y="90"/>
                  </a:lnTo>
                  <a:lnTo>
                    <a:pt x="94" y="76"/>
                  </a:lnTo>
                  <a:lnTo>
                    <a:pt x="94" y="74"/>
                  </a:lnTo>
                  <a:lnTo>
                    <a:pt x="84" y="68"/>
                  </a:lnTo>
                  <a:lnTo>
                    <a:pt x="70" y="58"/>
                  </a:lnTo>
                  <a:lnTo>
                    <a:pt x="58" y="50"/>
                  </a:lnTo>
                  <a:lnTo>
                    <a:pt x="58" y="50"/>
                  </a:lnTo>
                  <a:lnTo>
                    <a:pt x="56" y="48"/>
                  </a:lnTo>
                  <a:lnTo>
                    <a:pt x="58" y="26"/>
                  </a:lnTo>
                  <a:lnTo>
                    <a:pt x="60" y="24"/>
                  </a:lnTo>
                  <a:lnTo>
                    <a:pt x="64" y="14"/>
                  </a:lnTo>
                  <a:lnTo>
                    <a:pt x="6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13" name="Google Shape;4880;p64">
              <a:extLst>
                <a:ext uri="{FF2B5EF4-FFF2-40B4-BE49-F238E27FC236}">
                  <a16:creationId xmlns:a16="http://schemas.microsoft.com/office/drawing/2014/main" id="{C45BE7E9-5926-D3C1-833E-3516A5258245}"/>
                </a:ext>
              </a:extLst>
            </p:cNvPr>
            <p:cNvSpPr/>
            <p:nvPr/>
          </p:nvSpPr>
          <p:spPr>
            <a:xfrm>
              <a:off x="6619923" y="4540531"/>
              <a:ext cx="177533" cy="327501"/>
            </a:xfrm>
            <a:custGeom>
              <a:avLst/>
              <a:gdLst/>
              <a:ahLst/>
              <a:cxnLst/>
              <a:rect l="l" t="t" r="r" b="b"/>
              <a:pathLst>
                <a:path w="1288968" h="2377798" extrusionOk="0">
                  <a:moveTo>
                    <a:pt x="355004" y="2211018"/>
                  </a:moveTo>
                  <a:lnTo>
                    <a:pt x="359768" y="2230080"/>
                  </a:lnTo>
                  <a:lnTo>
                    <a:pt x="355004" y="2239610"/>
                  </a:lnTo>
                  <a:lnTo>
                    <a:pt x="350236" y="2239610"/>
                  </a:lnTo>
                  <a:lnTo>
                    <a:pt x="345472" y="2230080"/>
                  </a:lnTo>
                  <a:close/>
                  <a:moveTo>
                    <a:pt x="259700" y="2063300"/>
                  </a:moveTo>
                  <a:lnTo>
                    <a:pt x="264464" y="2072830"/>
                  </a:lnTo>
                  <a:lnTo>
                    <a:pt x="269228" y="2091890"/>
                  </a:lnTo>
                  <a:lnTo>
                    <a:pt x="259700" y="2087126"/>
                  </a:lnTo>
                  <a:lnTo>
                    <a:pt x="254936" y="2077596"/>
                  </a:lnTo>
                  <a:lnTo>
                    <a:pt x="254936" y="2068066"/>
                  </a:lnTo>
                  <a:close/>
                  <a:moveTo>
                    <a:pt x="178692" y="1991824"/>
                  </a:moveTo>
                  <a:lnTo>
                    <a:pt x="188224" y="1996590"/>
                  </a:lnTo>
                  <a:lnTo>
                    <a:pt x="188224" y="2015650"/>
                  </a:lnTo>
                  <a:lnTo>
                    <a:pt x="183460" y="2020414"/>
                  </a:lnTo>
                  <a:close/>
                  <a:moveTo>
                    <a:pt x="145336" y="1982294"/>
                  </a:moveTo>
                  <a:lnTo>
                    <a:pt x="150104" y="1991824"/>
                  </a:lnTo>
                  <a:lnTo>
                    <a:pt x="164396" y="1991824"/>
                  </a:lnTo>
                  <a:lnTo>
                    <a:pt x="154868" y="2010884"/>
                  </a:lnTo>
                  <a:lnTo>
                    <a:pt x="159632" y="2020414"/>
                  </a:lnTo>
                  <a:lnTo>
                    <a:pt x="154868" y="2034710"/>
                  </a:lnTo>
                  <a:lnTo>
                    <a:pt x="150104" y="2034710"/>
                  </a:lnTo>
                  <a:lnTo>
                    <a:pt x="145336" y="2039474"/>
                  </a:lnTo>
                  <a:lnTo>
                    <a:pt x="140572" y="2044240"/>
                  </a:lnTo>
                  <a:lnTo>
                    <a:pt x="135808" y="2020414"/>
                  </a:lnTo>
                  <a:lnTo>
                    <a:pt x="140572" y="1987058"/>
                  </a:lnTo>
                  <a:close/>
                  <a:moveTo>
                    <a:pt x="140572" y="1825044"/>
                  </a:moveTo>
                  <a:lnTo>
                    <a:pt x="145336" y="1834574"/>
                  </a:lnTo>
                  <a:lnTo>
                    <a:pt x="140572" y="1839340"/>
                  </a:lnTo>
                  <a:lnTo>
                    <a:pt x="135808" y="1844106"/>
                  </a:lnTo>
                  <a:lnTo>
                    <a:pt x="135808" y="1834574"/>
                  </a:lnTo>
                  <a:lnTo>
                    <a:pt x="135808" y="1829810"/>
                  </a:lnTo>
                  <a:close/>
                  <a:moveTo>
                    <a:pt x="397888" y="1758332"/>
                  </a:moveTo>
                  <a:lnTo>
                    <a:pt x="412184" y="1758332"/>
                  </a:lnTo>
                  <a:lnTo>
                    <a:pt x="416948" y="1758332"/>
                  </a:lnTo>
                  <a:lnTo>
                    <a:pt x="416948" y="1763098"/>
                  </a:lnTo>
                  <a:lnTo>
                    <a:pt x="416948" y="1777392"/>
                  </a:lnTo>
                  <a:lnTo>
                    <a:pt x="402656" y="1782158"/>
                  </a:lnTo>
                  <a:lnTo>
                    <a:pt x="397888" y="1772628"/>
                  </a:lnTo>
                  <a:close/>
                  <a:moveTo>
                    <a:pt x="402652" y="1724976"/>
                  </a:moveTo>
                  <a:lnTo>
                    <a:pt x="412184" y="1724976"/>
                  </a:lnTo>
                  <a:lnTo>
                    <a:pt x="416948" y="1729742"/>
                  </a:lnTo>
                  <a:lnTo>
                    <a:pt x="416948" y="1739270"/>
                  </a:lnTo>
                  <a:lnTo>
                    <a:pt x="412184" y="1734506"/>
                  </a:lnTo>
                  <a:lnTo>
                    <a:pt x="407420" y="1729742"/>
                  </a:lnTo>
                  <a:close/>
                  <a:moveTo>
                    <a:pt x="807692" y="1420008"/>
                  </a:moveTo>
                  <a:lnTo>
                    <a:pt x="812456" y="1424774"/>
                  </a:lnTo>
                  <a:lnTo>
                    <a:pt x="812456" y="1439070"/>
                  </a:lnTo>
                  <a:lnTo>
                    <a:pt x="802924" y="1434304"/>
                  </a:lnTo>
                  <a:lnTo>
                    <a:pt x="802924" y="1424774"/>
                  </a:lnTo>
                  <a:close/>
                  <a:moveTo>
                    <a:pt x="764804" y="1348530"/>
                  </a:moveTo>
                  <a:lnTo>
                    <a:pt x="769568" y="1348530"/>
                  </a:lnTo>
                  <a:lnTo>
                    <a:pt x="779100" y="1362826"/>
                  </a:lnTo>
                  <a:lnTo>
                    <a:pt x="783864" y="1367592"/>
                  </a:lnTo>
                  <a:lnTo>
                    <a:pt x="783864" y="1372356"/>
                  </a:lnTo>
                  <a:lnTo>
                    <a:pt x="788628" y="1377122"/>
                  </a:lnTo>
                  <a:lnTo>
                    <a:pt x="779100" y="1377122"/>
                  </a:lnTo>
                  <a:lnTo>
                    <a:pt x="774332" y="1377122"/>
                  </a:lnTo>
                  <a:lnTo>
                    <a:pt x="764804" y="1377122"/>
                  </a:lnTo>
                  <a:lnTo>
                    <a:pt x="760036" y="1353296"/>
                  </a:lnTo>
                  <a:close/>
                  <a:moveTo>
                    <a:pt x="388360" y="0"/>
                  </a:moveTo>
                  <a:lnTo>
                    <a:pt x="397888" y="0"/>
                  </a:lnTo>
                  <a:lnTo>
                    <a:pt x="407420" y="9530"/>
                  </a:lnTo>
                  <a:lnTo>
                    <a:pt x="426480" y="19060"/>
                  </a:lnTo>
                  <a:lnTo>
                    <a:pt x="426480" y="28590"/>
                  </a:lnTo>
                  <a:lnTo>
                    <a:pt x="436012" y="23826"/>
                  </a:lnTo>
                  <a:lnTo>
                    <a:pt x="440776" y="14296"/>
                  </a:lnTo>
                  <a:lnTo>
                    <a:pt x="450304" y="9530"/>
                  </a:lnTo>
                  <a:lnTo>
                    <a:pt x="455072" y="4766"/>
                  </a:lnTo>
                  <a:lnTo>
                    <a:pt x="464600" y="14296"/>
                  </a:lnTo>
                  <a:lnTo>
                    <a:pt x="474132" y="28590"/>
                  </a:lnTo>
                  <a:lnTo>
                    <a:pt x="483660" y="42886"/>
                  </a:lnTo>
                  <a:lnTo>
                    <a:pt x="488428" y="42886"/>
                  </a:lnTo>
                  <a:lnTo>
                    <a:pt x="493192" y="47652"/>
                  </a:lnTo>
                  <a:lnTo>
                    <a:pt x="493192" y="57182"/>
                  </a:lnTo>
                  <a:lnTo>
                    <a:pt x="488428" y="71476"/>
                  </a:lnTo>
                  <a:lnTo>
                    <a:pt x="478896" y="90538"/>
                  </a:lnTo>
                  <a:lnTo>
                    <a:pt x="469368" y="114364"/>
                  </a:lnTo>
                  <a:lnTo>
                    <a:pt x="474132" y="128658"/>
                  </a:lnTo>
                  <a:lnTo>
                    <a:pt x="488428" y="142954"/>
                  </a:lnTo>
                  <a:lnTo>
                    <a:pt x="502724" y="152484"/>
                  </a:lnTo>
                  <a:lnTo>
                    <a:pt x="521784" y="152484"/>
                  </a:lnTo>
                  <a:lnTo>
                    <a:pt x="531312" y="147718"/>
                  </a:lnTo>
                  <a:lnTo>
                    <a:pt x="540844" y="138188"/>
                  </a:lnTo>
                  <a:lnTo>
                    <a:pt x="550372" y="138188"/>
                  </a:lnTo>
                  <a:lnTo>
                    <a:pt x="559904" y="138188"/>
                  </a:lnTo>
                  <a:lnTo>
                    <a:pt x="588496" y="142954"/>
                  </a:lnTo>
                  <a:lnTo>
                    <a:pt x="598024" y="147718"/>
                  </a:lnTo>
                  <a:lnTo>
                    <a:pt x="598024" y="157250"/>
                  </a:lnTo>
                  <a:lnTo>
                    <a:pt x="593260" y="181074"/>
                  </a:lnTo>
                  <a:lnTo>
                    <a:pt x="598024" y="200136"/>
                  </a:lnTo>
                  <a:lnTo>
                    <a:pt x="607556" y="223960"/>
                  </a:lnTo>
                  <a:lnTo>
                    <a:pt x="607556" y="238256"/>
                  </a:lnTo>
                  <a:lnTo>
                    <a:pt x="598024" y="271612"/>
                  </a:lnTo>
                  <a:lnTo>
                    <a:pt x="588496" y="300202"/>
                  </a:lnTo>
                  <a:lnTo>
                    <a:pt x="578964" y="314498"/>
                  </a:lnTo>
                  <a:lnTo>
                    <a:pt x="574200" y="324028"/>
                  </a:lnTo>
                  <a:lnTo>
                    <a:pt x="569436" y="328794"/>
                  </a:lnTo>
                  <a:lnTo>
                    <a:pt x="569436" y="333558"/>
                  </a:lnTo>
                  <a:lnTo>
                    <a:pt x="578964" y="343090"/>
                  </a:lnTo>
                  <a:lnTo>
                    <a:pt x="583728" y="352620"/>
                  </a:lnTo>
                  <a:lnTo>
                    <a:pt x="588496" y="366914"/>
                  </a:lnTo>
                  <a:lnTo>
                    <a:pt x="583728" y="376444"/>
                  </a:lnTo>
                  <a:lnTo>
                    <a:pt x="578964" y="395506"/>
                  </a:lnTo>
                  <a:lnTo>
                    <a:pt x="564668" y="433626"/>
                  </a:lnTo>
                  <a:lnTo>
                    <a:pt x="550372" y="471748"/>
                  </a:lnTo>
                  <a:lnTo>
                    <a:pt x="555140" y="476512"/>
                  </a:lnTo>
                  <a:lnTo>
                    <a:pt x="569436" y="481278"/>
                  </a:lnTo>
                  <a:lnTo>
                    <a:pt x="578964" y="486042"/>
                  </a:lnTo>
                  <a:lnTo>
                    <a:pt x="588496" y="486042"/>
                  </a:lnTo>
                  <a:lnTo>
                    <a:pt x="612320" y="462218"/>
                  </a:lnTo>
                  <a:lnTo>
                    <a:pt x="626616" y="447922"/>
                  </a:lnTo>
                  <a:lnTo>
                    <a:pt x="650440" y="433626"/>
                  </a:lnTo>
                  <a:lnTo>
                    <a:pt x="650440" y="428862"/>
                  </a:lnTo>
                  <a:lnTo>
                    <a:pt x="669500" y="419332"/>
                  </a:lnTo>
                  <a:lnTo>
                    <a:pt x="679032" y="409800"/>
                  </a:lnTo>
                  <a:lnTo>
                    <a:pt x="683796" y="395506"/>
                  </a:lnTo>
                  <a:lnTo>
                    <a:pt x="693328" y="390740"/>
                  </a:lnTo>
                  <a:lnTo>
                    <a:pt x="698092" y="395506"/>
                  </a:lnTo>
                  <a:lnTo>
                    <a:pt x="712388" y="390740"/>
                  </a:lnTo>
                  <a:lnTo>
                    <a:pt x="726684" y="371680"/>
                  </a:lnTo>
                  <a:lnTo>
                    <a:pt x="736212" y="366914"/>
                  </a:lnTo>
                  <a:lnTo>
                    <a:pt x="740980" y="366914"/>
                  </a:lnTo>
                  <a:lnTo>
                    <a:pt x="755276" y="376444"/>
                  </a:lnTo>
                  <a:lnTo>
                    <a:pt x="774336" y="395506"/>
                  </a:lnTo>
                  <a:lnTo>
                    <a:pt x="788632" y="405036"/>
                  </a:lnTo>
                  <a:lnTo>
                    <a:pt x="807692" y="409800"/>
                  </a:lnTo>
                  <a:lnTo>
                    <a:pt x="812456" y="414566"/>
                  </a:lnTo>
                  <a:lnTo>
                    <a:pt x="812456" y="424096"/>
                  </a:lnTo>
                  <a:lnTo>
                    <a:pt x="817220" y="428862"/>
                  </a:lnTo>
                  <a:lnTo>
                    <a:pt x="821988" y="433626"/>
                  </a:lnTo>
                  <a:lnTo>
                    <a:pt x="826752" y="428862"/>
                  </a:lnTo>
                  <a:lnTo>
                    <a:pt x="826752" y="424096"/>
                  </a:lnTo>
                  <a:lnTo>
                    <a:pt x="831516" y="419332"/>
                  </a:lnTo>
                  <a:lnTo>
                    <a:pt x="845812" y="409800"/>
                  </a:lnTo>
                  <a:lnTo>
                    <a:pt x="860108" y="405036"/>
                  </a:lnTo>
                  <a:lnTo>
                    <a:pt x="874404" y="405036"/>
                  </a:lnTo>
                  <a:lnTo>
                    <a:pt x="883932" y="395506"/>
                  </a:lnTo>
                  <a:lnTo>
                    <a:pt x="888700" y="376444"/>
                  </a:lnTo>
                  <a:lnTo>
                    <a:pt x="898228" y="366914"/>
                  </a:lnTo>
                  <a:lnTo>
                    <a:pt x="907760" y="357384"/>
                  </a:lnTo>
                  <a:lnTo>
                    <a:pt x="917288" y="357384"/>
                  </a:lnTo>
                  <a:lnTo>
                    <a:pt x="917288" y="352620"/>
                  </a:lnTo>
                  <a:lnTo>
                    <a:pt x="912524" y="347854"/>
                  </a:lnTo>
                  <a:lnTo>
                    <a:pt x="912524" y="338324"/>
                  </a:lnTo>
                  <a:lnTo>
                    <a:pt x="922052" y="333558"/>
                  </a:lnTo>
                  <a:lnTo>
                    <a:pt x="931584" y="333558"/>
                  </a:lnTo>
                  <a:lnTo>
                    <a:pt x="950644" y="333558"/>
                  </a:lnTo>
                  <a:lnTo>
                    <a:pt x="974472" y="338324"/>
                  </a:lnTo>
                  <a:lnTo>
                    <a:pt x="998296" y="347854"/>
                  </a:lnTo>
                  <a:lnTo>
                    <a:pt x="1017356" y="352620"/>
                  </a:lnTo>
                  <a:lnTo>
                    <a:pt x="1022120" y="347854"/>
                  </a:lnTo>
                  <a:lnTo>
                    <a:pt x="1041184" y="366914"/>
                  </a:lnTo>
                  <a:lnTo>
                    <a:pt x="1060244" y="405036"/>
                  </a:lnTo>
                  <a:lnTo>
                    <a:pt x="1084068" y="433626"/>
                  </a:lnTo>
                  <a:lnTo>
                    <a:pt x="1098364" y="452686"/>
                  </a:lnTo>
                  <a:lnTo>
                    <a:pt x="1117424" y="466982"/>
                  </a:lnTo>
                  <a:lnTo>
                    <a:pt x="1131720" y="476512"/>
                  </a:lnTo>
                  <a:lnTo>
                    <a:pt x="1146016" y="490808"/>
                  </a:lnTo>
                  <a:lnTo>
                    <a:pt x="1160312" y="514634"/>
                  </a:lnTo>
                  <a:lnTo>
                    <a:pt x="1150780" y="552754"/>
                  </a:lnTo>
                  <a:lnTo>
                    <a:pt x="1146016" y="586110"/>
                  </a:lnTo>
                  <a:lnTo>
                    <a:pt x="1150780" y="624232"/>
                  </a:lnTo>
                  <a:lnTo>
                    <a:pt x="1160312" y="652822"/>
                  </a:lnTo>
                  <a:lnTo>
                    <a:pt x="1179372" y="671882"/>
                  </a:lnTo>
                  <a:lnTo>
                    <a:pt x="1193668" y="690944"/>
                  </a:lnTo>
                  <a:lnTo>
                    <a:pt x="1193668" y="700474"/>
                  </a:lnTo>
                  <a:lnTo>
                    <a:pt x="1212728" y="714768"/>
                  </a:lnTo>
                  <a:lnTo>
                    <a:pt x="1241316" y="724300"/>
                  </a:lnTo>
                  <a:lnTo>
                    <a:pt x="1250848" y="729064"/>
                  </a:lnTo>
                  <a:lnTo>
                    <a:pt x="1246084" y="738594"/>
                  </a:lnTo>
                  <a:lnTo>
                    <a:pt x="1246084" y="748124"/>
                  </a:lnTo>
                  <a:lnTo>
                    <a:pt x="1250848" y="757656"/>
                  </a:lnTo>
                  <a:lnTo>
                    <a:pt x="1260380" y="762420"/>
                  </a:lnTo>
                  <a:lnTo>
                    <a:pt x="1274672" y="771950"/>
                  </a:lnTo>
                  <a:lnTo>
                    <a:pt x="1284204" y="776716"/>
                  </a:lnTo>
                  <a:lnTo>
                    <a:pt x="1288968" y="786246"/>
                  </a:lnTo>
                  <a:lnTo>
                    <a:pt x="1288968" y="795776"/>
                  </a:lnTo>
                  <a:lnTo>
                    <a:pt x="1284204" y="810072"/>
                  </a:lnTo>
                  <a:lnTo>
                    <a:pt x="1279440" y="824366"/>
                  </a:lnTo>
                  <a:lnTo>
                    <a:pt x="1269908" y="833898"/>
                  </a:lnTo>
                  <a:lnTo>
                    <a:pt x="1265144" y="838662"/>
                  </a:lnTo>
                  <a:lnTo>
                    <a:pt x="1265144" y="848192"/>
                  </a:lnTo>
                  <a:lnTo>
                    <a:pt x="1265144" y="867254"/>
                  </a:lnTo>
                  <a:lnTo>
                    <a:pt x="1269908" y="881548"/>
                  </a:lnTo>
                  <a:lnTo>
                    <a:pt x="1274672" y="900608"/>
                  </a:lnTo>
                  <a:lnTo>
                    <a:pt x="1269908" y="914904"/>
                  </a:lnTo>
                  <a:lnTo>
                    <a:pt x="1265144" y="943494"/>
                  </a:lnTo>
                  <a:lnTo>
                    <a:pt x="1265144" y="957790"/>
                  </a:lnTo>
                  <a:lnTo>
                    <a:pt x="1260380" y="967320"/>
                  </a:lnTo>
                  <a:lnTo>
                    <a:pt x="1255612" y="976850"/>
                  </a:lnTo>
                  <a:lnTo>
                    <a:pt x="1241316" y="986382"/>
                  </a:lnTo>
                  <a:lnTo>
                    <a:pt x="1227024" y="991146"/>
                  </a:lnTo>
                  <a:lnTo>
                    <a:pt x="1217492" y="995912"/>
                  </a:lnTo>
                  <a:lnTo>
                    <a:pt x="1212728" y="995912"/>
                  </a:lnTo>
                  <a:lnTo>
                    <a:pt x="1207960" y="1005442"/>
                  </a:lnTo>
                  <a:lnTo>
                    <a:pt x="1198432" y="1014972"/>
                  </a:lnTo>
                  <a:lnTo>
                    <a:pt x="1193668" y="1014972"/>
                  </a:lnTo>
                  <a:lnTo>
                    <a:pt x="1188900" y="1010206"/>
                  </a:lnTo>
                  <a:lnTo>
                    <a:pt x="1184136" y="1005442"/>
                  </a:lnTo>
                  <a:lnTo>
                    <a:pt x="1184136" y="991146"/>
                  </a:lnTo>
                  <a:lnTo>
                    <a:pt x="1169840" y="986382"/>
                  </a:lnTo>
                  <a:lnTo>
                    <a:pt x="1155544" y="981616"/>
                  </a:lnTo>
                  <a:lnTo>
                    <a:pt x="1122188" y="986382"/>
                  </a:lnTo>
                  <a:lnTo>
                    <a:pt x="1098364" y="991146"/>
                  </a:lnTo>
                  <a:lnTo>
                    <a:pt x="1065008" y="986382"/>
                  </a:lnTo>
                  <a:lnTo>
                    <a:pt x="1041184" y="995912"/>
                  </a:lnTo>
                  <a:lnTo>
                    <a:pt x="1026888" y="995912"/>
                  </a:lnTo>
                  <a:lnTo>
                    <a:pt x="1017356" y="991146"/>
                  </a:lnTo>
                  <a:lnTo>
                    <a:pt x="1003060" y="995912"/>
                  </a:lnTo>
                  <a:lnTo>
                    <a:pt x="993532" y="991146"/>
                  </a:lnTo>
                  <a:lnTo>
                    <a:pt x="969704" y="981616"/>
                  </a:lnTo>
                  <a:lnTo>
                    <a:pt x="960176" y="986382"/>
                  </a:lnTo>
                  <a:lnTo>
                    <a:pt x="941116" y="991146"/>
                  </a:lnTo>
                  <a:lnTo>
                    <a:pt x="926820" y="995912"/>
                  </a:lnTo>
                  <a:lnTo>
                    <a:pt x="907760" y="995912"/>
                  </a:lnTo>
                  <a:lnTo>
                    <a:pt x="879168" y="1010206"/>
                  </a:lnTo>
                  <a:lnTo>
                    <a:pt x="860108" y="1029268"/>
                  </a:lnTo>
                  <a:lnTo>
                    <a:pt x="855344" y="1043562"/>
                  </a:lnTo>
                  <a:lnTo>
                    <a:pt x="845812" y="1057858"/>
                  </a:lnTo>
                  <a:lnTo>
                    <a:pt x="831516" y="1076918"/>
                  </a:lnTo>
                  <a:lnTo>
                    <a:pt x="817220" y="1095978"/>
                  </a:lnTo>
                  <a:lnTo>
                    <a:pt x="802924" y="1105510"/>
                  </a:lnTo>
                  <a:lnTo>
                    <a:pt x="807692" y="1110274"/>
                  </a:lnTo>
                  <a:lnTo>
                    <a:pt x="802924" y="1119804"/>
                  </a:lnTo>
                  <a:lnTo>
                    <a:pt x="788632" y="1119804"/>
                  </a:lnTo>
                  <a:lnTo>
                    <a:pt x="769568" y="1124570"/>
                  </a:lnTo>
                  <a:lnTo>
                    <a:pt x="769568" y="1167456"/>
                  </a:lnTo>
                  <a:lnTo>
                    <a:pt x="774336" y="1181752"/>
                  </a:lnTo>
                  <a:lnTo>
                    <a:pt x="783864" y="1200812"/>
                  </a:lnTo>
                  <a:lnTo>
                    <a:pt x="793396" y="1210342"/>
                  </a:lnTo>
                  <a:lnTo>
                    <a:pt x="798160" y="1238932"/>
                  </a:lnTo>
                  <a:lnTo>
                    <a:pt x="798160" y="1267524"/>
                  </a:lnTo>
                  <a:lnTo>
                    <a:pt x="817220" y="1281818"/>
                  </a:lnTo>
                  <a:lnTo>
                    <a:pt x="831516" y="1291350"/>
                  </a:lnTo>
                  <a:lnTo>
                    <a:pt x="836280" y="1305644"/>
                  </a:lnTo>
                  <a:lnTo>
                    <a:pt x="836280" y="1310410"/>
                  </a:lnTo>
                  <a:lnTo>
                    <a:pt x="831516" y="1329470"/>
                  </a:lnTo>
                  <a:lnTo>
                    <a:pt x="836280" y="1358062"/>
                  </a:lnTo>
                  <a:lnTo>
                    <a:pt x="864872" y="1415242"/>
                  </a:lnTo>
                  <a:lnTo>
                    <a:pt x="864872" y="1420008"/>
                  </a:lnTo>
                  <a:lnTo>
                    <a:pt x="860108" y="1420008"/>
                  </a:lnTo>
                  <a:lnTo>
                    <a:pt x="855344" y="1410478"/>
                  </a:lnTo>
                  <a:lnTo>
                    <a:pt x="841048" y="1391416"/>
                  </a:lnTo>
                  <a:lnTo>
                    <a:pt x="841048" y="1372356"/>
                  </a:lnTo>
                  <a:lnTo>
                    <a:pt x="821988" y="1348530"/>
                  </a:lnTo>
                  <a:lnTo>
                    <a:pt x="812456" y="1339000"/>
                  </a:lnTo>
                  <a:lnTo>
                    <a:pt x="807692" y="1348530"/>
                  </a:lnTo>
                  <a:lnTo>
                    <a:pt x="802924" y="1353296"/>
                  </a:lnTo>
                  <a:lnTo>
                    <a:pt x="788632" y="1343766"/>
                  </a:lnTo>
                  <a:lnTo>
                    <a:pt x="774336" y="1334236"/>
                  </a:lnTo>
                  <a:lnTo>
                    <a:pt x="760040" y="1310410"/>
                  </a:lnTo>
                  <a:lnTo>
                    <a:pt x="760040" y="1315174"/>
                  </a:lnTo>
                  <a:lnTo>
                    <a:pt x="755276" y="1319940"/>
                  </a:lnTo>
                  <a:lnTo>
                    <a:pt x="740980" y="1300880"/>
                  </a:lnTo>
                  <a:lnTo>
                    <a:pt x="726684" y="1286584"/>
                  </a:lnTo>
                  <a:lnTo>
                    <a:pt x="712388" y="1281818"/>
                  </a:lnTo>
                  <a:lnTo>
                    <a:pt x="702856" y="1277054"/>
                  </a:lnTo>
                  <a:lnTo>
                    <a:pt x="693328" y="1272288"/>
                  </a:lnTo>
                  <a:lnTo>
                    <a:pt x="674268" y="1262758"/>
                  </a:lnTo>
                  <a:lnTo>
                    <a:pt x="631380" y="1272288"/>
                  </a:lnTo>
                  <a:lnTo>
                    <a:pt x="578964" y="1262758"/>
                  </a:lnTo>
                  <a:lnTo>
                    <a:pt x="555140" y="1272288"/>
                  </a:lnTo>
                  <a:lnTo>
                    <a:pt x="545608" y="1267524"/>
                  </a:lnTo>
                  <a:lnTo>
                    <a:pt x="540844" y="1257994"/>
                  </a:lnTo>
                  <a:lnTo>
                    <a:pt x="545608" y="1243698"/>
                  </a:lnTo>
                  <a:lnTo>
                    <a:pt x="550372" y="1205578"/>
                  </a:lnTo>
                  <a:lnTo>
                    <a:pt x="555140" y="1181752"/>
                  </a:lnTo>
                  <a:lnTo>
                    <a:pt x="550372" y="1162690"/>
                  </a:lnTo>
                  <a:lnTo>
                    <a:pt x="555140" y="1153160"/>
                  </a:lnTo>
                  <a:lnTo>
                    <a:pt x="555140" y="1143630"/>
                  </a:lnTo>
                  <a:lnTo>
                    <a:pt x="550372" y="1138866"/>
                  </a:lnTo>
                  <a:lnTo>
                    <a:pt x="507488" y="1129334"/>
                  </a:lnTo>
                  <a:lnTo>
                    <a:pt x="502724" y="1119804"/>
                  </a:lnTo>
                  <a:lnTo>
                    <a:pt x="493192" y="1129334"/>
                  </a:lnTo>
                  <a:lnTo>
                    <a:pt x="445540" y="1134100"/>
                  </a:lnTo>
                  <a:lnTo>
                    <a:pt x="426480" y="1143630"/>
                  </a:lnTo>
                  <a:lnTo>
                    <a:pt x="412184" y="1157926"/>
                  </a:lnTo>
                  <a:lnTo>
                    <a:pt x="407420" y="1172222"/>
                  </a:lnTo>
                  <a:lnTo>
                    <a:pt x="416948" y="1186516"/>
                  </a:lnTo>
                  <a:lnTo>
                    <a:pt x="421716" y="1205578"/>
                  </a:lnTo>
                  <a:lnTo>
                    <a:pt x="402656" y="1248464"/>
                  </a:lnTo>
                  <a:lnTo>
                    <a:pt x="402656" y="1262758"/>
                  </a:lnTo>
                  <a:lnTo>
                    <a:pt x="407420" y="1315174"/>
                  </a:lnTo>
                  <a:lnTo>
                    <a:pt x="402656" y="1343766"/>
                  </a:lnTo>
                  <a:lnTo>
                    <a:pt x="397888" y="1362826"/>
                  </a:lnTo>
                  <a:lnTo>
                    <a:pt x="383596" y="1381886"/>
                  </a:lnTo>
                  <a:lnTo>
                    <a:pt x="374064" y="1410478"/>
                  </a:lnTo>
                  <a:lnTo>
                    <a:pt x="364532" y="1424772"/>
                  </a:lnTo>
                  <a:lnTo>
                    <a:pt x="350240" y="1458128"/>
                  </a:lnTo>
                  <a:lnTo>
                    <a:pt x="340708" y="1496250"/>
                  </a:lnTo>
                  <a:lnTo>
                    <a:pt x="331176" y="1515310"/>
                  </a:lnTo>
                  <a:lnTo>
                    <a:pt x="326412" y="1548666"/>
                  </a:lnTo>
                  <a:lnTo>
                    <a:pt x="297820" y="1601082"/>
                  </a:lnTo>
                  <a:lnTo>
                    <a:pt x="288292" y="1629674"/>
                  </a:lnTo>
                  <a:lnTo>
                    <a:pt x="278760" y="1639204"/>
                  </a:lnTo>
                  <a:lnTo>
                    <a:pt x="278760" y="1648734"/>
                  </a:lnTo>
                  <a:lnTo>
                    <a:pt x="283528" y="1663030"/>
                  </a:lnTo>
                  <a:lnTo>
                    <a:pt x="278760" y="1701150"/>
                  </a:lnTo>
                  <a:lnTo>
                    <a:pt x="273996" y="1734506"/>
                  </a:lnTo>
                  <a:lnTo>
                    <a:pt x="278760" y="1748802"/>
                  </a:lnTo>
                  <a:lnTo>
                    <a:pt x="297820" y="1782158"/>
                  </a:lnTo>
                  <a:lnTo>
                    <a:pt x="293056" y="1791688"/>
                  </a:lnTo>
                  <a:lnTo>
                    <a:pt x="288292" y="1805982"/>
                  </a:lnTo>
                  <a:lnTo>
                    <a:pt x="302588" y="1815514"/>
                  </a:lnTo>
                  <a:lnTo>
                    <a:pt x="312116" y="1815514"/>
                  </a:lnTo>
                  <a:lnTo>
                    <a:pt x="364532" y="1801218"/>
                  </a:lnTo>
                  <a:lnTo>
                    <a:pt x="378828" y="1801218"/>
                  </a:lnTo>
                  <a:lnTo>
                    <a:pt x="388360" y="1820278"/>
                  </a:lnTo>
                  <a:lnTo>
                    <a:pt x="393124" y="1829808"/>
                  </a:lnTo>
                  <a:lnTo>
                    <a:pt x="402656" y="1901286"/>
                  </a:lnTo>
                  <a:lnTo>
                    <a:pt x="407420" y="1915580"/>
                  </a:lnTo>
                  <a:lnTo>
                    <a:pt x="416948" y="1925110"/>
                  </a:lnTo>
                  <a:lnTo>
                    <a:pt x="426480" y="1939406"/>
                  </a:lnTo>
                  <a:lnTo>
                    <a:pt x="431244" y="1939406"/>
                  </a:lnTo>
                  <a:lnTo>
                    <a:pt x="431244" y="1934642"/>
                  </a:lnTo>
                  <a:lnTo>
                    <a:pt x="431244" y="1925110"/>
                  </a:lnTo>
                  <a:lnTo>
                    <a:pt x="440776" y="1939406"/>
                  </a:lnTo>
                  <a:lnTo>
                    <a:pt x="450304" y="1963232"/>
                  </a:lnTo>
                  <a:lnTo>
                    <a:pt x="478896" y="2096656"/>
                  </a:lnTo>
                  <a:lnTo>
                    <a:pt x="483660" y="2110950"/>
                  </a:lnTo>
                  <a:lnTo>
                    <a:pt x="493192" y="2130012"/>
                  </a:lnTo>
                  <a:lnTo>
                    <a:pt x="474132" y="2120482"/>
                  </a:lnTo>
                  <a:lnTo>
                    <a:pt x="469368" y="2091890"/>
                  </a:lnTo>
                  <a:lnTo>
                    <a:pt x="464600" y="2077594"/>
                  </a:lnTo>
                  <a:lnTo>
                    <a:pt x="459836" y="2077594"/>
                  </a:lnTo>
                  <a:lnTo>
                    <a:pt x="450304" y="2077594"/>
                  </a:lnTo>
                  <a:lnTo>
                    <a:pt x="450304" y="2072830"/>
                  </a:lnTo>
                  <a:lnTo>
                    <a:pt x="459836" y="2063300"/>
                  </a:lnTo>
                  <a:lnTo>
                    <a:pt x="455072" y="2053770"/>
                  </a:lnTo>
                  <a:lnTo>
                    <a:pt x="445540" y="2044240"/>
                  </a:lnTo>
                  <a:lnTo>
                    <a:pt x="431244" y="2049004"/>
                  </a:lnTo>
                  <a:lnTo>
                    <a:pt x="431244" y="2068064"/>
                  </a:lnTo>
                  <a:lnTo>
                    <a:pt x="440776" y="2087126"/>
                  </a:lnTo>
                  <a:lnTo>
                    <a:pt x="464600" y="2120482"/>
                  </a:lnTo>
                  <a:lnTo>
                    <a:pt x="474132" y="2134776"/>
                  </a:lnTo>
                  <a:lnTo>
                    <a:pt x="483660" y="2139542"/>
                  </a:lnTo>
                  <a:lnTo>
                    <a:pt x="497956" y="2134776"/>
                  </a:lnTo>
                  <a:lnTo>
                    <a:pt x="517016" y="2153838"/>
                  </a:lnTo>
                  <a:lnTo>
                    <a:pt x="531312" y="2163368"/>
                  </a:lnTo>
                  <a:lnTo>
                    <a:pt x="564668" y="2187194"/>
                  </a:lnTo>
                  <a:lnTo>
                    <a:pt x="588496" y="2182428"/>
                  </a:lnTo>
                  <a:lnTo>
                    <a:pt x="612320" y="2177662"/>
                  </a:lnTo>
                  <a:lnTo>
                    <a:pt x="626616" y="2177662"/>
                  </a:lnTo>
                  <a:lnTo>
                    <a:pt x="640912" y="2187194"/>
                  </a:lnTo>
                  <a:lnTo>
                    <a:pt x="659972" y="2201488"/>
                  </a:lnTo>
                  <a:lnTo>
                    <a:pt x="688564" y="2249140"/>
                  </a:lnTo>
                  <a:lnTo>
                    <a:pt x="736212" y="2282496"/>
                  </a:lnTo>
                  <a:lnTo>
                    <a:pt x="731448" y="2292026"/>
                  </a:lnTo>
                  <a:lnTo>
                    <a:pt x="726684" y="2306322"/>
                  </a:lnTo>
                  <a:lnTo>
                    <a:pt x="707624" y="2325382"/>
                  </a:lnTo>
                  <a:lnTo>
                    <a:pt x="707624" y="2334912"/>
                  </a:lnTo>
                  <a:lnTo>
                    <a:pt x="698092" y="2349208"/>
                  </a:lnTo>
                  <a:lnTo>
                    <a:pt x="688564" y="2353972"/>
                  </a:lnTo>
                  <a:lnTo>
                    <a:pt x="674268" y="2358738"/>
                  </a:lnTo>
                  <a:lnTo>
                    <a:pt x="669500" y="2353972"/>
                  </a:lnTo>
                  <a:lnTo>
                    <a:pt x="664736" y="2353972"/>
                  </a:lnTo>
                  <a:lnTo>
                    <a:pt x="655208" y="2339678"/>
                  </a:lnTo>
                  <a:lnTo>
                    <a:pt x="655208" y="2334912"/>
                  </a:lnTo>
                  <a:lnTo>
                    <a:pt x="650440" y="2334912"/>
                  </a:lnTo>
                  <a:lnTo>
                    <a:pt x="626616" y="2344442"/>
                  </a:lnTo>
                  <a:lnTo>
                    <a:pt x="602792" y="2353972"/>
                  </a:lnTo>
                  <a:lnTo>
                    <a:pt x="598024" y="2363502"/>
                  </a:lnTo>
                  <a:lnTo>
                    <a:pt x="593260" y="2373032"/>
                  </a:lnTo>
                  <a:lnTo>
                    <a:pt x="588496" y="2377798"/>
                  </a:lnTo>
                  <a:lnTo>
                    <a:pt x="578964" y="2377798"/>
                  </a:lnTo>
                  <a:lnTo>
                    <a:pt x="574200" y="2373032"/>
                  </a:lnTo>
                  <a:lnTo>
                    <a:pt x="569436" y="2363502"/>
                  </a:lnTo>
                  <a:lnTo>
                    <a:pt x="559904" y="2358738"/>
                  </a:lnTo>
                  <a:lnTo>
                    <a:pt x="559904" y="2344442"/>
                  </a:lnTo>
                  <a:lnTo>
                    <a:pt x="574200" y="2330146"/>
                  </a:lnTo>
                  <a:lnTo>
                    <a:pt x="578964" y="2315852"/>
                  </a:lnTo>
                  <a:lnTo>
                    <a:pt x="574200" y="2296790"/>
                  </a:lnTo>
                  <a:lnTo>
                    <a:pt x="569436" y="2282496"/>
                  </a:lnTo>
                  <a:lnTo>
                    <a:pt x="559904" y="2282496"/>
                  </a:lnTo>
                  <a:lnTo>
                    <a:pt x="540844" y="2282496"/>
                  </a:lnTo>
                  <a:lnTo>
                    <a:pt x="536080" y="2268200"/>
                  </a:lnTo>
                  <a:lnTo>
                    <a:pt x="531312" y="2253904"/>
                  </a:lnTo>
                  <a:lnTo>
                    <a:pt x="526548" y="2249140"/>
                  </a:lnTo>
                  <a:lnTo>
                    <a:pt x="517016" y="2244374"/>
                  </a:lnTo>
                  <a:lnTo>
                    <a:pt x="502724" y="2249140"/>
                  </a:lnTo>
                  <a:lnTo>
                    <a:pt x="493192" y="2249140"/>
                  </a:lnTo>
                  <a:lnTo>
                    <a:pt x="459836" y="2234844"/>
                  </a:lnTo>
                  <a:lnTo>
                    <a:pt x="450304" y="2215784"/>
                  </a:lnTo>
                  <a:lnTo>
                    <a:pt x="440776" y="2215784"/>
                  </a:lnTo>
                  <a:lnTo>
                    <a:pt x="436012" y="2215784"/>
                  </a:lnTo>
                  <a:lnTo>
                    <a:pt x="431244" y="2220548"/>
                  </a:lnTo>
                  <a:lnTo>
                    <a:pt x="426480" y="2244374"/>
                  </a:lnTo>
                  <a:lnTo>
                    <a:pt x="426480" y="2253904"/>
                  </a:lnTo>
                  <a:lnTo>
                    <a:pt x="388360" y="2206254"/>
                  </a:lnTo>
                  <a:lnTo>
                    <a:pt x="359768" y="2182428"/>
                  </a:lnTo>
                  <a:lnTo>
                    <a:pt x="364532" y="2149072"/>
                  </a:lnTo>
                  <a:lnTo>
                    <a:pt x="355004" y="2139542"/>
                  </a:lnTo>
                  <a:lnTo>
                    <a:pt x="345472" y="2139542"/>
                  </a:lnTo>
                  <a:lnTo>
                    <a:pt x="335944" y="2130012"/>
                  </a:lnTo>
                  <a:lnTo>
                    <a:pt x="345472" y="2110950"/>
                  </a:lnTo>
                  <a:lnTo>
                    <a:pt x="335944" y="2110950"/>
                  </a:lnTo>
                  <a:lnTo>
                    <a:pt x="316884" y="2110950"/>
                  </a:lnTo>
                  <a:lnTo>
                    <a:pt x="307352" y="2106186"/>
                  </a:lnTo>
                  <a:lnTo>
                    <a:pt x="297820" y="2077594"/>
                  </a:lnTo>
                  <a:lnTo>
                    <a:pt x="293056" y="2068064"/>
                  </a:lnTo>
                  <a:lnTo>
                    <a:pt x="278760" y="2053770"/>
                  </a:lnTo>
                  <a:lnTo>
                    <a:pt x="264464" y="2053770"/>
                  </a:lnTo>
                  <a:lnTo>
                    <a:pt x="259700" y="2044240"/>
                  </a:lnTo>
                  <a:lnTo>
                    <a:pt x="259700" y="2025178"/>
                  </a:lnTo>
                  <a:lnTo>
                    <a:pt x="245404" y="2010884"/>
                  </a:lnTo>
                  <a:lnTo>
                    <a:pt x="231108" y="2001354"/>
                  </a:lnTo>
                  <a:lnTo>
                    <a:pt x="216816" y="1996588"/>
                  </a:lnTo>
                  <a:lnTo>
                    <a:pt x="202520" y="1967998"/>
                  </a:lnTo>
                  <a:lnTo>
                    <a:pt x="192988" y="1958466"/>
                  </a:lnTo>
                  <a:lnTo>
                    <a:pt x="183460" y="1953702"/>
                  </a:lnTo>
                  <a:lnTo>
                    <a:pt x="173928" y="1958466"/>
                  </a:lnTo>
                  <a:lnTo>
                    <a:pt x="169164" y="1967998"/>
                  </a:lnTo>
                  <a:lnTo>
                    <a:pt x="159632" y="1977528"/>
                  </a:lnTo>
                  <a:lnTo>
                    <a:pt x="150104" y="1977528"/>
                  </a:lnTo>
                  <a:lnTo>
                    <a:pt x="140572" y="1972762"/>
                  </a:lnTo>
                  <a:lnTo>
                    <a:pt x="131044" y="1939406"/>
                  </a:lnTo>
                  <a:lnTo>
                    <a:pt x="131044" y="1920346"/>
                  </a:lnTo>
                  <a:lnTo>
                    <a:pt x="131044" y="1886990"/>
                  </a:lnTo>
                  <a:lnTo>
                    <a:pt x="145336" y="1853634"/>
                  </a:lnTo>
                  <a:lnTo>
                    <a:pt x="150104" y="1801218"/>
                  </a:lnTo>
                  <a:lnTo>
                    <a:pt x="164400" y="1772626"/>
                  </a:lnTo>
                  <a:lnTo>
                    <a:pt x="169164" y="1758332"/>
                  </a:lnTo>
                  <a:lnTo>
                    <a:pt x="183460" y="1715446"/>
                  </a:lnTo>
                  <a:lnTo>
                    <a:pt x="202520" y="1658264"/>
                  </a:lnTo>
                  <a:lnTo>
                    <a:pt x="207284" y="1648734"/>
                  </a:lnTo>
                  <a:lnTo>
                    <a:pt x="212048" y="1634438"/>
                  </a:lnTo>
                  <a:lnTo>
                    <a:pt x="216816" y="1620142"/>
                  </a:lnTo>
                  <a:lnTo>
                    <a:pt x="216816" y="1601082"/>
                  </a:lnTo>
                  <a:lnTo>
                    <a:pt x="212048" y="1591552"/>
                  </a:lnTo>
                  <a:lnTo>
                    <a:pt x="212048" y="1586786"/>
                  </a:lnTo>
                  <a:lnTo>
                    <a:pt x="216816" y="1577256"/>
                  </a:lnTo>
                  <a:lnTo>
                    <a:pt x="231108" y="1567726"/>
                  </a:lnTo>
                  <a:lnTo>
                    <a:pt x="254936" y="1543900"/>
                  </a:lnTo>
                  <a:lnTo>
                    <a:pt x="278760" y="1515310"/>
                  </a:lnTo>
                  <a:lnTo>
                    <a:pt x="307352" y="1467658"/>
                  </a:lnTo>
                  <a:lnTo>
                    <a:pt x="321648" y="1443834"/>
                  </a:lnTo>
                  <a:lnTo>
                    <a:pt x="326412" y="1434302"/>
                  </a:lnTo>
                  <a:lnTo>
                    <a:pt x="331176" y="1429538"/>
                  </a:lnTo>
                  <a:lnTo>
                    <a:pt x="340708" y="1424772"/>
                  </a:lnTo>
                  <a:lnTo>
                    <a:pt x="345472" y="1410478"/>
                  </a:lnTo>
                  <a:lnTo>
                    <a:pt x="345472" y="1405712"/>
                  </a:lnTo>
                  <a:lnTo>
                    <a:pt x="331176" y="1358062"/>
                  </a:lnTo>
                  <a:lnTo>
                    <a:pt x="321648" y="1343766"/>
                  </a:lnTo>
                  <a:lnTo>
                    <a:pt x="316884" y="1324706"/>
                  </a:lnTo>
                  <a:lnTo>
                    <a:pt x="316884" y="1310410"/>
                  </a:lnTo>
                  <a:lnTo>
                    <a:pt x="312116" y="1296114"/>
                  </a:lnTo>
                  <a:lnTo>
                    <a:pt x="312116" y="1286584"/>
                  </a:lnTo>
                  <a:lnTo>
                    <a:pt x="307352" y="1277054"/>
                  </a:lnTo>
                  <a:lnTo>
                    <a:pt x="297820" y="1267524"/>
                  </a:lnTo>
                  <a:lnTo>
                    <a:pt x="283528" y="1253228"/>
                  </a:lnTo>
                  <a:lnTo>
                    <a:pt x="278760" y="1229402"/>
                  </a:lnTo>
                  <a:lnTo>
                    <a:pt x="278760" y="1219872"/>
                  </a:lnTo>
                  <a:lnTo>
                    <a:pt x="269232" y="1205578"/>
                  </a:lnTo>
                  <a:lnTo>
                    <a:pt x="269232" y="1196046"/>
                  </a:lnTo>
                  <a:lnTo>
                    <a:pt x="273996" y="1186516"/>
                  </a:lnTo>
                  <a:lnTo>
                    <a:pt x="278760" y="1176986"/>
                  </a:lnTo>
                  <a:lnTo>
                    <a:pt x="278760" y="1134100"/>
                  </a:lnTo>
                  <a:lnTo>
                    <a:pt x="273996" y="1119804"/>
                  </a:lnTo>
                  <a:lnTo>
                    <a:pt x="273996" y="1095978"/>
                  </a:lnTo>
                  <a:lnTo>
                    <a:pt x="264464" y="1081684"/>
                  </a:lnTo>
                  <a:lnTo>
                    <a:pt x="254936" y="1057858"/>
                  </a:lnTo>
                  <a:lnTo>
                    <a:pt x="240640" y="1043562"/>
                  </a:lnTo>
                  <a:lnTo>
                    <a:pt x="207284" y="1014972"/>
                  </a:lnTo>
                  <a:lnTo>
                    <a:pt x="183460" y="995912"/>
                  </a:lnTo>
                  <a:lnTo>
                    <a:pt x="173928" y="976850"/>
                  </a:lnTo>
                  <a:lnTo>
                    <a:pt x="159632" y="953026"/>
                  </a:lnTo>
                  <a:lnTo>
                    <a:pt x="145336" y="938730"/>
                  </a:lnTo>
                  <a:lnTo>
                    <a:pt x="131044" y="919670"/>
                  </a:lnTo>
                  <a:lnTo>
                    <a:pt x="126276" y="895844"/>
                  </a:lnTo>
                  <a:lnTo>
                    <a:pt x="121512" y="867254"/>
                  </a:lnTo>
                  <a:lnTo>
                    <a:pt x="126276" y="857722"/>
                  </a:lnTo>
                  <a:lnTo>
                    <a:pt x="131044" y="852958"/>
                  </a:lnTo>
                  <a:lnTo>
                    <a:pt x="140572" y="848192"/>
                  </a:lnTo>
                  <a:lnTo>
                    <a:pt x="145336" y="843428"/>
                  </a:lnTo>
                  <a:lnTo>
                    <a:pt x="164400" y="833898"/>
                  </a:lnTo>
                  <a:lnTo>
                    <a:pt x="178692" y="833898"/>
                  </a:lnTo>
                  <a:lnTo>
                    <a:pt x="183460" y="829132"/>
                  </a:lnTo>
                  <a:lnTo>
                    <a:pt x="183460" y="824366"/>
                  </a:lnTo>
                  <a:lnTo>
                    <a:pt x="183460" y="800542"/>
                  </a:lnTo>
                  <a:lnTo>
                    <a:pt x="183460" y="767186"/>
                  </a:lnTo>
                  <a:lnTo>
                    <a:pt x="183460" y="738594"/>
                  </a:lnTo>
                  <a:lnTo>
                    <a:pt x="188224" y="719534"/>
                  </a:lnTo>
                  <a:lnTo>
                    <a:pt x="221580" y="700474"/>
                  </a:lnTo>
                  <a:lnTo>
                    <a:pt x="231108" y="690944"/>
                  </a:lnTo>
                  <a:lnTo>
                    <a:pt x="235876" y="681414"/>
                  </a:lnTo>
                  <a:lnTo>
                    <a:pt x="235876" y="671882"/>
                  </a:lnTo>
                  <a:lnTo>
                    <a:pt x="231108" y="662352"/>
                  </a:lnTo>
                  <a:lnTo>
                    <a:pt x="226344" y="662352"/>
                  </a:lnTo>
                  <a:lnTo>
                    <a:pt x="202520" y="676648"/>
                  </a:lnTo>
                  <a:lnTo>
                    <a:pt x="197752" y="676648"/>
                  </a:lnTo>
                  <a:lnTo>
                    <a:pt x="188224" y="643292"/>
                  </a:lnTo>
                  <a:lnTo>
                    <a:pt x="183460" y="633762"/>
                  </a:lnTo>
                  <a:lnTo>
                    <a:pt x="178692" y="624232"/>
                  </a:lnTo>
                  <a:lnTo>
                    <a:pt x="169164" y="609936"/>
                  </a:lnTo>
                  <a:lnTo>
                    <a:pt x="169164" y="581346"/>
                  </a:lnTo>
                  <a:lnTo>
                    <a:pt x="164400" y="567050"/>
                  </a:lnTo>
                  <a:lnTo>
                    <a:pt x="135808" y="543224"/>
                  </a:lnTo>
                  <a:lnTo>
                    <a:pt x="121512" y="524164"/>
                  </a:lnTo>
                  <a:lnTo>
                    <a:pt x="104832" y="505104"/>
                  </a:lnTo>
                  <a:lnTo>
                    <a:pt x="85772" y="476512"/>
                  </a:lnTo>
                  <a:lnTo>
                    <a:pt x="66712" y="452686"/>
                  </a:lnTo>
                  <a:lnTo>
                    <a:pt x="52416" y="438392"/>
                  </a:lnTo>
                  <a:lnTo>
                    <a:pt x="52416" y="433626"/>
                  </a:lnTo>
                  <a:lnTo>
                    <a:pt x="47652" y="428862"/>
                  </a:lnTo>
                  <a:lnTo>
                    <a:pt x="57184" y="414566"/>
                  </a:lnTo>
                  <a:lnTo>
                    <a:pt x="52416" y="395506"/>
                  </a:lnTo>
                  <a:lnTo>
                    <a:pt x="42888" y="371680"/>
                  </a:lnTo>
                  <a:lnTo>
                    <a:pt x="38124" y="357384"/>
                  </a:lnTo>
                  <a:lnTo>
                    <a:pt x="38124" y="352620"/>
                  </a:lnTo>
                  <a:lnTo>
                    <a:pt x="33356" y="352620"/>
                  </a:lnTo>
                  <a:lnTo>
                    <a:pt x="23828" y="352620"/>
                  </a:lnTo>
                  <a:lnTo>
                    <a:pt x="9532" y="343090"/>
                  </a:lnTo>
                  <a:lnTo>
                    <a:pt x="0" y="319264"/>
                  </a:lnTo>
                  <a:lnTo>
                    <a:pt x="0" y="314498"/>
                  </a:lnTo>
                  <a:lnTo>
                    <a:pt x="4768" y="314498"/>
                  </a:lnTo>
                  <a:lnTo>
                    <a:pt x="14296" y="319264"/>
                  </a:lnTo>
                  <a:lnTo>
                    <a:pt x="23828" y="319264"/>
                  </a:lnTo>
                  <a:lnTo>
                    <a:pt x="28592" y="314498"/>
                  </a:lnTo>
                  <a:lnTo>
                    <a:pt x="47652" y="309734"/>
                  </a:lnTo>
                  <a:lnTo>
                    <a:pt x="52416" y="309734"/>
                  </a:lnTo>
                  <a:lnTo>
                    <a:pt x="57184" y="304968"/>
                  </a:lnTo>
                  <a:lnTo>
                    <a:pt x="57184" y="300202"/>
                  </a:lnTo>
                  <a:lnTo>
                    <a:pt x="52416" y="247786"/>
                  </a:lnTo>
                  <a:lnTo>
                    <a:pt x="52416" y="238256"/>
                  </a:lnTo>
                  <a:lnTo>
                    <a:pt x="66712" y="214430"/>
                  </a:lnTo>
                  <a:lnTo>
                    <a:pt x="66712" y="195370"/>
                  </a:lnTo>
                  <a:lnTo>
                    <a:pt x="66712" y="162014"/>
                  </a:lnTo>
                  <a:lnTo>
                    <a:pt x="85772" y="138188"/>
                  </a:lnTo>
                  <a:lnTo>
                    <a:pt x="95304" y="128658"/>
                  </a:lnTo>
                  <a:lnTo>
                    <a:pt x="100068" y="114364"/>
                  </a:lnTo>
                  <a:lnTo>
                    <a:pt x="104832" y="109598"/>
                  </a:lnTo>
                  <a:lnTo>
                    <a:pt x="114364" y="109598"/>
                  </a:lnTo>
                  <a:lnTo>
                    <a:pt x="131044" y="123894"/>
                  </a:lnTo>
                  <a:lnTo>
                    <a:pt x="140572" y="123894"/>
                  </a:lnTo>
                  <a:lnTo>
                    <a:pt x="150104" y="123894"/>
                  </a:lnTo>
                  <a:lnTo>
                    <a:pt x="164400" y="123894"/>
                  </a:lnTo>
                  <a:lnTo>
                    <a:pt x="169164" y="119128"/>
                  </a:lnTo>
                  <a:lnTo>
                    <a:pt x="212048" y="109598"/>
                  </a:lnTo>
                  <a:lnTo>
                    <a:pt x="221580" y="109598"/>
                  </a:lnTo>
                  <a:lnTo>
                    <a:pt x="231108" y="109598"/>
                  </a:lnTo>
                  <a:lnTo>
                    <a:pt x="235876" y="109598"/>
                  </a:lnTo>
                  <a:lnTo>
                    <a:pt x="245404" y="104832"/>
                  </a:lnTo>
                  <a:lnTo>
                    <a:pt x="250172" y="95302"/>
                  </a:lnTo>
                  <a:lnTo>
                    <a:pt x="254936" y="61946"/>
                  </a:lnTo>
                  <a:lnTo>
                    <a:pt x="254936" y="57182"/>
                  </a:lnTo>
                  <a:lnTo>
                    <a:pt x="264464" y="57182"/>
                  </a:lnTo>
                  <a:lnTo>
                    <a:pt x="269232" y="52416"/>
                  </a:lnTo>
                  <a:lnTo>
                    <a:pt x="283528" y="52416"/>
                  </a:lnTo>
                  <a:lnTo>
                    <a:pt x="293056" y="57182"/>
                  </a:lnTo>
                  <a:lnTo>
                    <a:pt x="302588" y="57182"/>
                  </a:lnTo>
                  <a:lnTo>
                    <a:pt x="312116" y="57182"/>
                  </a:lnTo>
                  <a:lnTo>
                    <a:pt x="321648" y="52416"/>
                  </a:lnTo>
                  <a:lnTo>
                    <a:pt x="326412" y="47652"/>
                  </a:lnTo>
                  <a:lnTo>
                    <a:pt x="331176" y="38122"/>
                  </a:lnTo>
                  <a:lnTo>
                    <a:pt x="326412" y="28590"/>
                  </a:lnTo>
                  <a:lnTo>
                    <a:pt x="321648" y="14296"/>
                  </a:lnTo>
                  <a:lnTo>
                    <a:pt x="321648" y="9530"/>
                  </a:lnTo>
                  <a:lnTo>
                    <a:pt x="335944" y="14296"/>
                  </a:lnTo>
                  <a:lnTo>
                    <a:pt x="350240" y="19060"/>
                  </a:lnTo>
                  <a:lnTo>
                    <a:pt x="364532" y="19060"/>
                  </a:lnTo>
                  <a:lnTo>
                    <a:pt x="374064" y="14296"/>
                  </a:lnTo>
                  <a:lnTo>
                    <a:pt x="378828"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14" name="Google Shape;4881;p64">
              <a:extLst>
                <a:ext uri="{FF2B5EF4-FFF2-40B4-BE49-F238E27FC236}">
                  <a16:creationId xmlns:a16="http://schemas.microsoft.com/office/drawing/2014/main" id="{FFB00710-5DCD-A09D-682A-B62520AD0E77}"/>
                </a:ext>
              </a:extLst>
            </p:cNvPr>
            <p:cNvSpPr/>
            <p:nvPr/>
          </p:nvSpPr>
          <p:spPr>
            <a:xfrm>
              <a:off x="6041053" y="4052233"/>
              <a:ext cx="4594" cy="3281"/>
            </a:xfrm>
            <a:custGeom>
              <a:avLst/>
              <a:gdLst/>
              <a:ahLst/>
              <a:cxnLst/>
              <a:rect l="l" t="t" r="r" b="b"/>
              <a:pathLst>
                <a:path w="14" h="10" extrusionOk="0">
                  <a:moveTo>
                    <a:pt x="14" y="6"/>
                  </a:moveTo>
                  <a:lnTo>
                    <a:pt x="14" y="4"/>
                  </a:lnTo>
                  <a:lnTo>
                    <a:pt x="12" y="4"/>
                  </a:lnTo>
                  <a:lnTo>
                    <a:pt x="6" y="2"/>
                  </a:lnTo>
                  <a:lnTo>
                    <a:pt x="2" y="2"/>
                  </a:lnTo>
                  <a:lnTo>
                    <a:pt x="0" y="0"/>
                  </a:lnTo>
                  <a:lnTo>
                    <a:pt x="2" y="2"/>
                  </a:lnTo>
                  <a:lnTo>
                    <a:pt x="4" y="6"/>
                  </a:lnTo>
                  <a:lnTo>
                    <a:pt x="6" y="8"/>
                  </a:lnTo>
                  <a:lnTo>
                    <a:pt x="10" y="10"/>
                  </a:lnTo>
                  <a:lnTo>
                    <a:pt x="1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15" name="Google Shape;4882;p64">
              <a:extLst>
                <a:ext uri="{FF2B5EF4-FFF2-40B4-BE49-F238E27FC236}">
                  <a16:creationId xmlns:a16="http://schemas.microsoft.com/office/drawing/2014/main" id="{2B60F646-B019-F23B-6135-047FA5DE7D4F}"/>
                </a:ext>
              </a:extLst>
            </p:cNvPr>
            <p:cNvSpPr/>
            <p:nvPr/>
          </p:nvSpPr>
          <p:spPr>
            <a:xfrm>
              <a:off x="6043022" y="4020073"/>
              <a:ext cx="1969" cy="2625"/>
            </a:xfrm>
            <a:custGeom>
              <a:avLst/>
              <a:gdLst/>
              <a:ahLst/>
              <a:cxnLst/>
              <a:rect l="l" t="t" r="r" b="b"/>
              <a:pathLst>
                <a:path w="6" h="8" extrusionOk="0">
                  <a:moveTo>
                    <a:pt x="6" y="8"/>
                  </a:moveTo>
                  <a:lnTo>
                    <a:pt x="6" y="6"/>
                  </a:lnTo>
                  <a:lnTo>
                    <a:pt x="4" y="2"/>
                  </a:lnTo>
                  <a:lnTo>
                    <a:pt x="0" y="0"/>
                  </a:lnTo>
                  <a:lnTo>
                    <a:pt x="0" y="2"/>
                  </a:lnTo>
                  <a:lnTo>
                    <a:pt x="0" y="4"/>
                  </a:lnTo>
                  <a:lnTo>
                    <a:pt x="4"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16" name="Google Shape;4883;p64">
              <a:extLst>
                <a:ext uri="{FF2B5EF4-FFF2-40B4-BE49-F238E27FC236}">
                  <a16:creationId xmlns:a16="http://schemas.microsoft.com/office/drawing/2014/main" id="{BA451510-27E4-4BDF-1EAA-311268C2FC3C}"/>
                </a:ext>
              </a:extLst>
            </p:cNvPr>
            <p:cNvCxnSpPr/>
            <p:nvPr/>
          </p:nvCxnSpPr>
          <p:spPr>
            <a:xfrm>
              <a:off x="6045648" y="4030574"/>
              <a:ext cx="0" cy="0"/>
            </a:xfrm>
            <a:prstGeom prst="straightConnector1">
              <a:avLst/>
            </a:prstGeom>
            <a:grpFill/>
            <a:ln w="9525" cap="flat" cmpd="sng">
              <a:solidFill>
                <a:schemeClr val="bg2"/>
              </a:solidFill>
              <a:prstDash val="solid"/>
              <a:round/>
              <a:headEnd type="none" w="med" len="med"/>
              <a:tailEnd type="none" w="med" len="med"/>
            </a:ln>
          </p:spPr>
        </p:cxnSp>
        <p:sp>
          <p:nvSpPr>
            <p:cNvPr id="417" name="Google Shape;4884;p64">
              <a:extLst>
                <a:ext uri="{FF2B5EF4-FFF2-40B4-BE49-F238E27FC236}">
                  <a16:creationId xmlns:a16="http://schemas.microsoft.com/office/drawing/2014/main" id="{2BD59EDA-DCAF-43B9-2D23-92136C5DB863}"/>
                </a:ext>
              </a:extLst>
            </p:cNvPr>
            <p:cNvSpPr/>
            <p:nvPr/>
          </p:nvSpPr>
          <p:spPr>
            <a:xfrm>
              <a:off x="5974109" y="4020073"/>
              <a:ext cx="166704" cy="120106"/>
            </a:xfrm>
            <a:custGeom>
              <a:avLst/>
              <a:gdLst/>
              <a:ahLst/>
              <a:cxnLst/>
              <a:rect l="l" t="t" r="r" b="b"/>
              <a:pathLst>
                <a:path w="1210344" h="872020" extrusionOk="0">
                  <a:moveTo>
                    <a:pt x="490808" y="238258"/>
                  </a:moveTo>
                  <a:lnTo>
                    <a:pt x="500340" y="238258"/>
                  </a:lnTo>
                  <a:lnTo>
                    <a:pt x="514632" y="243022"/>
                  </a:lnTo>
                  <a:lnTo>
                    <a:pt x="519400" y="243022"/>
                  </a:lnTo>
                  <a:lnTo>
                    <a:pt x="519400" y="247788"/>
                  </a:lnTo>
                  <a:lnTo>
                    <a:pt x="509868" y="257318"/>
                  </a:lnTo>
                  <a:lnTo>
                    <a:pt x="500340" y="252552"/>
                  </a:lnTo>
                  <a:lnTo>
                    <a:pt x="495572" y="247788"/>
                  </a:lnTo>
                  <a:close/>
                  <a:moveTo>
                    <a:pt x="471748" y="0"/>
                  </a:moveTo>
                  <a:lnTo>
                    <a:pt x="476512" y="0"/>
                  </a:lnTo>
                  <a:lnTo>
                    <a:pt x="481276" y="0"/>
                  </a:lnTo>
                  <a:lnTo>
                    <a:pt x="505104" y="23826"/>
                  </a:lnTo>
                  <a:lnTo>
                    <a:pt x="514632" y="38122"/>
                  </a:lnTo>
                  <a:lnTo>
                    <a:pt x="514632" y="42888"/>
                  </a:lnTo>
                  <a:lnTo>
                    <a:pt x="509868" y="47652"/>
                  </a:lnTo>
                  <a:lnTo>
                    <a:pt x="509868" y="52418"/>
                  </a:lnTo>
                  <a:lnTo>
                    <a:pt x="528928" y="61948"/>
                  </a:lnTo>
                  <a:lnTo>
                    <a:pt x="524164" y="71478"/>
                  </a:lnTo>
                  <a:lnTo>
                    <a:pt x="524164" y="76244"/>
                  </a:lnTo>
                  <a:lnTo>
                    <a:pt x="519400" y="76244"/>
                  </a:lnTo>
                  <a:lnTo>
                    <a:pt x="495572" y="95304"/>
                  </a:lnTo>
                  <a:lnTo>
                    <a:pt x="471748" y="119130"/>
                  </a:lnTo>
                  <a:lnTo>
                    <a:pt x="471748" y="123894"/>
                  </a:lnTo>
                  <a:lnTo>
                    <a:pt x="471748" y="128660"/>
                  </a:lnTo>
                  <a:lnTo>
                    <a:pt x="471748" y="133424"/>
                  </a:lnTo>
                  <a:lnTo>
                    <a:pt x="476512" y="138190"/>
                  </a:lnTo>
                  <a:lnTo>
                    <a:pt x="486044" y="142954"/>
                  </a:lnTo>
                  <a:lnTo>
                    <a:pt x="495572" y="147720"/>
                  </a:lnTo>
                  <a:lnTo>
                    <a:pt x="500340" y="157250"/>
                  </a:lnTo>
                  <a:lnTo>
                    <a:pt x="505104" y="166780"/>
                  </a:lnTo>
                  <a:lnTo>
                    <a:pt x="514632" y="171546"/>
                  </a:lnTo>
                  <a:lnTo>
                    <a:pt x="552756" y="162016"/>
                  </a:lnTo>
                  <a:lnTo>
                    <a:pt x="562284" y="162016"/>
                  </a:lnTo>
                  <a:lnTo>
                    <a:pt x="562284" y="166780"/>
                  </a:lnTo>
                  <a:lnTo>
                    <a:pt x="562284" y="171546"/>
                  </a:lnTo>
                  <a:lnTo>
                    <a:pt x="528928" y="185840"/>
                  </a:lnTo>
                  <a:lnTo>
                    <a:pt x="514632" y="195372"/>
                  </a:lnTo>
                  <a:lnTo>
                    <a:pt x="509868" y="214432"/>
                  </a:lnTo>
                  <a:lnTo>
                    <a:pt x="505104" y="219196"/>
                  </a:lnTo>
                  <a:lnTo>
                    <a:pt x="500340" y="219196"/>
                  </a:lnTo>
                  <a:lnTo>
                    <a:pt x="490808" y="223962"/>
                  </a:lnTo>
                  <a:lnTo>
                    <a:pt x="481276" y="200136"/>
                  </a:lnTo>
                  <a:lnTo>
                    <a:pt x="471748" y="195372"/>
                  </a:lnTo>
                  <a:lnTo>
                    <a:pt x="457452" y="190606"/>
                  </a:lnTo>
                  <a:lnTo>
                    <a:pt x="424096" y="176310"/>
                  </a:lnTo>
                  <a:lnTo>
                    <a:pt x="409800" y="171546"/>
                  </a:lnTo>
                  <a:lnTo>
                    <a:pt x="376444" y="181076"/>
                  </a:lnTo>
                  <a:lnTo>
                    <a:pt x="338324" y="190606"/>
                  </a:lnTo>
                  <a:lnTo>
                    <a:pt x="333560" y="200136"/>
                  </a:lnTo>
                  <a:lnTo>
                    <a:pt x="328792" y="209666"/>
                  </a:lnTo>
                  <a:lnTo>
                    <a:pt x="328792" y="214432"/>
                  </a:lnTo>
                  <a:lnTo>
                    <a:pt x="333560" y="223962"/>
                  </a:lnTo>
                  <a:lnTo>
                    <a:pt x="328792" y="228728"/>
                  </a:lnTo>
                  <a:lnTo>
                    <a:pt x="324028" y="228728"/>
                  </a:lnTo>
                  <a:lnTo>
                    <a:pt x="314500" y="223962"/>
                  </a:lnTo>
                  <a:lnTo>
                    <a:pt x="304968" y="219196"/>
                  </a:lnTo>
                  <a:lnTo>
                    <a:pt x="300204" y="228728"/>
                  </a:lnTo>
                  <a:lnTo>
                    <a:pt x="295436" y="247788"/>
                  </a:lnTo>
                  <a:lnTo>
                    <a:pt x="290672" y="262082"/>
                  </a:lnTo>
                  <a:lnTo>
                    <a:pt x="300204" y="281144"/>
                  </a:lnTo>
                  <a:lnTo>
                    <a:pt x="300204" y="309734"/>
                  </a:lnTo>
                  <a:lnTo>
                    <a:pt x="319264" y="304970"/>
                  </a:lnTo>
                  <a:lnTo>
                    <a:pt x="328792" y="304970"/>
                  </a:lnTo>
                  <a:lnTo>
                    <a:pt x="347856" y="300204"/>
                  </a:lnTo>
                  <a:lnTo>
                    <a:pt x="362148" y="300204"/>
                  </a:lnTo>
                  <a:lnTo>
                    <a:pt x="376444" y="300204"/>
                  </a:lnTo>
                  <a:lnTo>
                    <a:pt x="405036" y="300204"/>
                  </a:lnTo>
                  <a:lnTo>
                    <a:pt x="428860" y="300204"/>
                  </a:lnTo>
                  <a:lnTo>
                    <a:pt x="433628" y="300204"/>
                  </a:lnTo>
                  <a:lnTo>
                    <a:pt x="438392" y="295438"/>
                  </a:lnTo>
                  <a:lnTo>
                    <a:pt x="443156" y="300204"/>
                  </a:lnTo>
                  <a:lnTo>
                    <a:pt x="452688" y="304970"/>
                  </a:lnTo>
                  <a:lnTo>
                    <a:pt x="471748" y="295438"/>
                  </a:lnTo>
                  <a:lnTo>
                    <a:pt x="490808" y="295438"/>
                  </a:lnTo>
                  <a:lnTo>
                    <a:pt x="500340" y="300204"/>
                  </a:lnTo>
                  <a:lnTo>
                    <a:pt x="509868" y="300204"/>
                  </a:lnTo>
                  <a:lnTo>
                    <a:pt x="519400" y="319264"/>
                  </a:lnTo>
                  <a:lnTo>
                    <a:pt x="528928" y="328794"/>
                  </a:lnTo>
                  <a:lnTo>
                    <a:pt x="538460" y="333560"/>
                  </a:lnTo>
                  <a:lnTo>
                    <a:pt x="567048" y="333560"/>
                  </a:lnTo>
                  <a:lnTo>
                    <a:pt x="576580" y="314500"/>
                  </a:lnTo>
                  <a:lnTo>
                    <a:pt x="586112" y="309734"/>
                  </a:lnTo>
                  <a:lnTo>
                    <a:pt x="600404" y="309734"/>
                  </a:lnTo>
                  <a:lnTo>
                    <a:pt x="609936" y="304970"/>
                  </a:lnTo>
                  <a:lnTo>
                    <a:pt x="619468" y="300204"/>
                  </a:lnTo>
                  <a:lnTo>
                    <a:pt x="633760" y="295438"/>
                  </a:lnTo>
                  <a:lnTo>
                    <a:pt x="643292" y="290674"/>
                  </a:lnTo>
                  <a:lnTo>
                    <a:pt x="648056" y="295438"/>
                  </a:lnTo>
                  <a:lnTo>
                    <a:pt x="648056" y="300204"/>
                  </a:lnTo>
                  <a:lnTo>
                    <a:pt x="648056" y="309734"/>
                  </a:lnTo>
                  <a:lnTo>
                    <a:pt x="648056" y="319264"/>
                  </a:lnTo>
                  <a:lnTo>
                    <a:pt x="652824" y="324030"/>
                  </a:lnTo>
                  <a:lnTo>
                    <a:pt x="671884" y="324030"/>
                  </a:lnTo>
                  <a:lnTo>
                    <a:pt x="681412" y="328794"/>
                  </a:lnTo>
                  <a:lnTo>
                    <a:pt x="681412" y="338324"/>
                  </a:lnTo>
                  <a:lnTo>
                    <a:pt x="681412" y="352620"/>
                  </a:lnTo>
                  <a:lnTo>
                    <a:pt x="690944" y="357386"/>
                  </a:lnTo>
                  <a:lnTo>
                    <a:pt x="695708" y="357386"/>
                  </a:lnTo>
                  <a:lnTo>
                    <a:pt x="724300" y="343090"/>
                  </a:lnTo>
                  <a:lnTo>
                    <a:pt x="729064" y="343090"/>
                  </a:lnTo>
                  <a:lnTo>
                    <a:pt x="738596" y="352620"/>
                  </a:lnTo>
                  <a:lnTo>
                    <a:pt x="748124" y="362150"/>
                  </a:lnTo>
                  <a:lnTo>
                    <a:pt x="762420" y="371680"/>
                  </a:lnTo>
                  <a:lnTo>
                    <a:pt x="767184" y="357386"/>
                  </a:lnTo>
                  <a:lnTo>
                    <a:pt x="781480" y="347856"/>
                  </a:lnTo>
                  <a:lnTo>
                    <a:pt x="800540" y="343090"/>
                  </a:lnTo>
                  <a:lnTo>
                    <a:pt x="814836" y="338324"/>
                  </a:lnTo>
                  <a:lnTo>
                    <a:pt x="824368" y="338324"/>
                  </a:lnTo>
                  <a:lnTo>
                    <a:pt x="862488" y="343090"/>
                  </a:lnTo>
                  <a:lnTo>
                    <a:pt x="872020" y="343090"/>
                  </a:lnTo>
                  <a:lnTo>
                    <a:pt x="900608" y="343090"/>
                  </a:lnTo>
                  <a:lnTo>
                    <a:pt x="919668" y="338324"/>
                  </a:lnTo>
                  <a:lnTo>
                    <a:pt x="933964" y="333560"/>
                  </a:lnTo>
                  <a:lnTo>
                    <a:pt x="943496" y="324030"/>
                  </a:lnTo>
                  <a:lnTo>
                    <a:pt x="953024" y="319264"/>
                  </a:lnTo>
                  <a:lnTo>
                    <a:pt x="972084" y="324030"/>
                  </a:lnTo>
                  <a:lnTo>
                    <a:pt x="981616" y="324030"/>
                  </a:lnTo>
                  <a:lnTo>
                    <a:pt x="981616" y="333560"/>
                  </a:lnTo>
                  <a:lnTo>
                    <a:pt x="976852" y="352620"/>
                  </a:lnTo>
                  <a:lnTo>
                    <a:pt x="976852" y="366916"/>
                  </a:lnTo>
                  <a:lnTo>
                    <a:pt x="986380" y="395506"/>
                  </a:lnTo>
                  <a:lnTo>
                    <a:pt x="995912" y="405036"/>
                  </a:lnTo>
                  <a:lnTo>
                    <a:pt x="1005440" y="414566"/>
                  </a:lnTo>
                  <a:lnTo>
                    <a:pt x="1005440" y="419332"/>
                  </a:lnTo>
                  <a:lnTo>
                    <a:pt x="1005440" y="424098"/>
                  </a:lnTo>
                  <a:lnTo>
                    <a:pt x="995912" y="433628"/>
                  </a:lnTo>
                  <a:lnTo>
                    <a:pt x="991148" y="438392"/>
                  </a:lnTo>
                  <a:lnTo>
                    <a:pt x="991148" y="443158"/>
                  </a:lnTo>
                  <a:lnTo>
                    <a:pt x="991148" y="452688"/>
                  </a:lnTo>
                  <a:lnTo>
                    <a:pt x="1000676" y="476514"/>
                  </a:lnTo>
                  <a:lnTo>
                    <a:pt x="1005440" y="490808"/>
                  </a:lnTo>
                  <a:lnTo>
                    <a:pt x="1014972" y="500340"/>
                  </a:lnTo>
                  <a:lnTo>
                    <a:pt x="1034032" y="509870"/>
                  </a:lnTo>
                  <a:lnTo>
                    <a:pt x="1038796" y="505104"/>
                  </a:lnTo>
                  <a:lnTo>
                    <a:pt x="1048328" y="490808"/>
                  </a:lnTo>
                  <a:lnTo>
                    <a:pt x="1057856" y="481278"/>
                  </a:lnTo>
                  <a:lnTo>
                    <a:pt x="1067388" y="481278"/>
                  </a:lnTo>
                  <a:lnTo>
                    <a:pt x="1081684" y="481278"/>
                  </a:lnTo>
                  <a:lnTo>
                    <a:pt x="1119804" y="495574"/>
                  </a:lnTo>
                  <a:lnTo>
                    <a:pt x="1153160" y="514634"/>
                  </a:lnTo>
                  <a:lnTo>
                    <a:pt x="1162692" y="524164"/>
                  </a:lnTo>
                  <a:lnTo>
                    <a:pt x="1167456" y="533696"/>
                  </a:lnTo>
                  <a:lnTo>
                    <a:pt x="1157924" y="557520"/>
                  </a:lnTo>
                  <a:lnTo>
                    <a:pt x="1157924" y="576582"/>
                  </a:lnTo>
                  <a:lnTo>
                    <a:pt x="1162692" y="590876"/>
                  </a:lnTo>
                  <a:lnTo>
                    <a:pt x="1167456" y="605172"/>
                  </a:lnTo>
                  <a:lnTo>
                    <a:pt x="1176988" y="628998"/>
                  </a:lnTo>
                  <a:lnTo>
                    <a:pt x="1176988" y="648058"/>
                  </a:lnTo>
                  <a:lnTo>
                    <a:pt x="1181752" y="652824"/>
                  </a:lnTo>
                  <a:lnTo>
                    <a:pt x="1181752" y="657588"/>
                  </a:lnTo>
                  <a:lnTo>
                    <a:pt x="1181752" y="676648"/>
                  </a:lnTo>
                  <a:lnTo>
                    <a:pt x="1176988" y="690944"/>
                  </a:lnTo>
                  <a:lnTo>
                    <a:pt x="1181752" y="695710"/>
                  </a:lnTo>
                  <a:lnTo>
                    <a:pt x="1191280" y="705240"/>
                  </a:lnTo>
                  <a:lnTo>
                    <a:pt x="1210344" y="724300"/>
                  </a:lnTo>
                  <a:lnTo>
                    <a:pt x="1210344" y="733830"/>
                  </a:lnTo>
                  <a:lnTo>
                    <a:pt x="1205576" y="743360"/>
                  </a:lnTo>
                  <a:lnTo>
                    <a:pt x="1196048" y="752890"/>
                  </a:lnTo>
                  <a:lnTo>
                    <a:pt x="1181752" y="762422"/>
                  </a:lnTo>
                  <a:lnTo>
                    <a:pt x="1176988" y="767186"/>
                  </a:lnTo>
                  <a:lnTo>
                    <a:pt x="1172220" y="762422"/>
                  </a:lnTo>
                  <a:lnTo>
                    <a:pt x="1167456" y="752890"/>
                  </a:lnTo>
                  <a:lnTo>
                    <a:pt x="1153160" y="743360"/>
                  </a:lnTo>
                  <a:lnTo>
                    <a:pt x="1138864" y="733830"/>
                  </a:lnTo>
                  <a:lnTo>
                    <a:pt x="1119804" y="733830"/>
                  </a:lnTo>
                  <a:lnTo>
                    <a:pt x="1105508" y="733830"/>
                  </a:lnTo>
                  <a:lnTo>
                    <a:pt x="1091212" y="729066"/>
                  </a:lnTo>
                  <a:lnTo>
                    <a:pt x="1076920" y="729066"/>
                  </a:lnTo>
                  <a:lnTo>
                    <a:pt x="1067388" y="738596"/>
                  </a:lnTo>
                  <a:lnTo>
                    <a:pt x="1062624" y="748126"/>
                  </a:lnTo>
                  <a:lnTo>
                    <a:pt x="1048328" y="748126"/>
                  </a:lnTo>
                  <a:lnTo>
                    <a:pt x="1029268" y="752890"/>
                  </a:lnTo>
                  <a:lnTo>
                    <a:pt x="995912" y="767186"/>
                  </a:lnTo>
                  <a:lnTo>
                    <a:pt x="981616" y="762422"/>
                  </a:lnTo>
                  <a:lnTo>
                    <a:pt x="976852" y="757656"/>
                  </a:lnTo>
                  <a:lnTo>
                    <a:pt x="981616" y="752890"/>
                  </a:lnTo>
                  <a:lnTo>
                    <a:pt x="991148" y="748126"/>
                  </a:lnTo>
                  <a:lnTo>
                    <a:pt x="995912" y="738596"/>
                  </a:lnTo>
                  <a:lnTo>
                    <a:pt x="995912" y="729066"/>
                  </a:lnTo>
                  <a:lnTo>
                    <a:pt x="981616" y="724300"/>
                  </a:lnTo>
                  <a:lnTo>
                    <a:pt x="976852" y="724300"/>
                  </a:lnTo>
                  <a:lnTo>
                    <a:pt x="957792" y="719536"/>
                  </a:lnTo>
                  <a:lnTo>
                    <a:pt x="938728" y="719536"/>
                  </a:lnTo>
                  <a:lnTo>
                    <a:pt x="914904" y="729066"/>
                  </a:lnTo>
                  <a:lnTo>
                    <a:pt x="862488" y="757656"/>
                  </a:lnTo>
                  <a:lnTo>
                    <a:pt x="843428" y="776716"/>
                  </a:lnTo>
                  <a:lnTo>
                    <a:pt x="829132" y="805308"/>
                  </a:lnTo>
                  <a:lnTo>
                    <a:pt x="781480" y="814838"/>
                  </a:lnTo>
                  <a:lnTo>
                    <a:pt x="748124" y="829132"/>
                  </a:lnTo>
                  <a:lnTo>
                    <a:pt x="714768" y="857724"/>
                  </a:lnTo>
                  <a:lnTo>
                    <a:pt x="695708" y="872020"/>
                  </a:lnTo>
                  <a:lnTo>
                    <a:pt x="681412" y="872020"/>
                  </a:lnTo>
                  <a:lnTo>
                    <a:pt x="671884" y="872020"/>
                  </a:lnTo>
                  <a:lnTo>
                    <a:pt x="662352" y="862488"/>
                  </a:lnTo>
                  <a:lnTo>
                    <a:pt x="652824" y="843428"/>
                  </a:lnTo>
                  <a:lnTo>
                    <a:pt x="643292" y="810072"/>
                  </a:lnTo>
                  <a:lnTo>
                    <a:pt x="633760" y="786246"/>
                  </a:lnTo>
                  <a:lnTo>
                    <a:pt x="638528" y="757656"/>
                  </a:lnTo>
                  <a:lnTo>
                    <a:pt x="643292" y="724300"/>
                  </a:lnTo>
                  <a:lnTo>
                    <a:pt x="648056" y="690944"/>
                  </a:lnTo>
                  <a:lnTo>
                    <a:pt x="652824" y="652824"/>
                  </a:lnTo>
                  <a:lnTo>
                    <a:pt x="657588" y="643292"/>
                  </a:lnTo>
                  <a:lnTo>
                    <a:pt x="657588" y="633762"/>
                  </a:lnTo>
                  <a:lnTo>
                    <a:pt x="652824" y="628998"/>
                  </a:lnTo>
                  <a:lnTo>
                    <a:pt x="643292" y="628998"/>
                  </a:lnTo>
                  <a:lnTo>
                    <a:pt x="628996" y="633762"/>
                  </a:lnTo>
                  <a:lnTo>
                    <a:pt x="619468" y="633762"/>
                  </a:lnTo>
                  <a:lnTo>
                    <a:pt x="609936" y="628998"/>
                  </a:lnTo>
                  <a:lnTo>
                    <a:pt x="614700" y="609938"/>
                  </a:lnTo>
                  <a:lnTo>
                    <a:pt x="619468" y="581346"/>
                  </a:lnTo>
                  <a:lnTo>
                    <a:pt x="609936" y="552756"/>
                  </a:lnTo>
                  <a:lnTo>
                    <a:pt x="576580" y="528930"/>
                  </a:lnTo>
                  <a:lnTo>
                    <a:pt x="547988" y="524164"/>
                  </a:lnTo>
                  <a:lnTo>
                    <a:pt x="528928" y="528930"/>
                  </a:lnTo>
                  <a:lnTo>
                    <a:pt x="509868" y="547990"/>
                  </a:lnTo>
                  <a:lnTo>
                    <a:pt x="495572" y="576582"/>
                  </a:lnTo>
                  <a:lnTo>
                    <a:pt x="476512" y="600406"/>
                  </a:lnTo>
                  <a:lnTo>
                    <a:pt x="462216" y="614702"/>
                  </a:lnTo>
                  <a:lnTo>
                    <a:pt x="447920" y="624232"/>
                  </a:lnTo>
                  <a:lnTo>
                    <a:pt x="447920" y="628998"/>
                  </a:lnTo>
                  <a:lnTo>
                    <a:pt x="443156" y="638528"/>
                  </a:lnTo>
                  <a:lnTo>
                    <a:pt x="452688" y="662354"/>
                  </a:lnTo>
                  <a:lnTo>
                    <a:pt x="452688" y="681414"/>
                  </a:lnTo>
                  <a:lnTo>
                    <a:pt x="443156" y="695710"/>
                  </a:lnTo>
                  <a:lnTo>
                    <a:pt x="428860" y="705240"/>
                  </a:lnTo>
                  <a:lnTo>
                    <a:pt x="419332" y="705240"/>
                  </a:lnTo>
                  <a:lnTo>
                    <a:pt x="409800" y="700474"/>
                  </a:lnTo>
                  <a:lnTo>
                    <a:pt x="405036" y="690944"/>
                  </a:lnTo>
                  <a:lnTo>
                    <a:pt x="385976" y="690944"/>
                  </a:lnTo>
                  <a:lnTo>
                    <a:pt x="352620" y="695710"/>
                  </a:lnTo>
                  <a:lnTo>
                    <a:pt x="333560" y="700474"/>
                  </a:lnTo>
                  <a:lnTo>
                    <a:pt x="324028" y="714770"/>
                  </a:lnTo>
                  <a:lnTo>
                    <a:pt x="319264" y="733830"/>
                  </a:lnTo>
                  <a:lnTo>
                    <a:pt x="324028" y="752890"/>
                  </a:lnTo>
                  <a:lnTo>
                    <a:pt x="319264" y="771952"/>
                  </a:lnTo>
                  <a:lnTo>
                    <a:pt x="309732" y="781482"/>
                  </a:lnTo>
                  <a:lnTo>
                    <a:pt x="304968" y="786246"/>
                  </a:lnTo>
                  <a:lnTo>
                    <a:pt x="295436" y="791012"/>
                  </a:lnTo>
                  <a:lnTo>
                    <a:pt x="285908" y="781482"/>
                  </a:lnTo>
                  <a:lnTo>
                    <a:pt x="262080" y="757656"/>
                  </a:lnTo>
                  <a:lnTo>
                    <a:pt x="247788" y="748126"/>
                  </a:lnTo>
                  <a:lnTo>
                    <a:pt x="243020" y="743360"/>
                  </a:lnTo>
                  <a:lnTo>
                    <a:pt x="238256" y="748126"/>
                  </a:lnTo>
                  <a:lnTo>
                    <a:pt x="233492" y="748126"/>
                  </a:lnTo>
                  <a:lnTo>
                    <a:pt x="233492" y="752890"/>
                  </a:lnTo>
                  <a:lnTo>
                    <a:pt x="228728" y="757656"/>
                  </a:lnTo>
                  <a:lnTo>
                    <a:pt x="223960" y="762422"/>
                  </a:lnTo>
                  <a:lnTo>
                    <a:pt x="214432" y="757656"/>
                  </a:lnTo>
                  <a:lnTo>
                    <a:pt x="204900" y="762422"/>
                  </a:lnTo>
                  <a:lnTo>
                    <a:pt x="200136" y="767186"/>
                  </a:lnTo>
                  <a:lnTo>
                    <a:pt x="185840" y="776716"/>
                  </a:lnTo>
                  <a:lnTo>
                    <a:pt x="162016" y="786246"/>
                  </a:lnTo>
                  <a:lnTo>
                    <a:pt x="147720" y="791012"/>
                  </a:lnTo>
                  <a:lnTo>
                    <a:pt x="142952" y="805308"/>
                  </a:lnTo>
                  <a:lnTo>
                    <a:pt x="142952" y="810072"/>
                  </a:lnTo>
                  <a:lnTo>
                    <a:pt x="133424" y="805308"/>
                  </a:lnTo>
                  <a:lnTo>
                    <a:pt x="109596" y="819602"/>
                  </a:lnTo>
                  <a:lnTo>
                    <a:pt x="95304" y="814838"/>
                  </a:lnTo>
                  <a:lnTo>
                    <a:pt x="76244" y="800542"/>
                  </a:lnTo>
                  <a:lnTo>
                    <a:pt x="61948" y="781482"/>
                  </a:lnTo>
                  <a:lnTo>
                    <a:pt x="61948" y="776716"/>
                  </a:lnTo>
                  <a:lnTo>
                    <a:pt x="66712" y="762422"/>
                  </a:lnTo>
                  <a:lnTo>
                    <a:pt x="71476" y="714770"/>
                  </a:lnTo>
                  <a:lnTo>
                    <a:pt x="81008" y="700474"/>
                  </a:lnTo>
                  <a:lnTo>
                    <a:pt x="100068" y="667118"/>
                  </a:lnTo>
                  <a:lnTo>
                    <a:pt x="114364" y="648058"/>
                  </a:lnTo>
                  <a:lnTo>
                    <a:pt x="128660" y="628998"/>
                  </a:lnTo>
                  <a:lnTo>
                    <a:pt x="138188" y="624232"/>
                  </a:lnTo>
                  <a:lnTo>
                    <a:pt x="147720" y="605172"/>
                  </a:lnTo>
                  <a:lnTo>
                    <a:pt x="152484" y="590876"/>
                  </a:lnTo>
                  <a:lnTo>
                    <a:pt x="157248" y="581346"/>
                  </a:lnTo>
                  <a:lnTo>
                    <a:pt x="157248" y="571816"/>
                  </a:lnTo>
                  <a:lnTo>
                    <a:pt x="152484" y="567050"/>
                  </a:lnTo>
                  <a:lnTo>
                    <a:pt x="138188" y="557520"/>
                  </a:lnTo>
                  <a:lnTo>
                    <a:pt x="123892" y="538460"/>
                  </a:lnTo>
                  <a:lnTo>
                    <a:pt x="114364" y="519400"/>
                  </a:lnTo>
                  <a:lnTo>
                    <a:pt x="109596" y="495574"/>
                  </a:lnTo>
                  <a:lnTo>
                    <a:pt x="109596" y="481278"/>
                  </a:lnTo>
                  <a:lnTo>
                    <a:pt x="123892" y="438392"/>
                  </a:lnTo>
                  <a:lnTo>
                    <a:pt x="119128" y="428862"/>
                  </a:lnTo>
                  <a:lnTo>
                    <a:pt x="114364" y="419332"/>
                  </a:lnTo>
                  <a:lnTo>
                    <a:pt x="104832" y="419332"/>
                  </a:lnTo>
                  <a:lnTo>
                    <a:pt x="95304" y="414566"/>
                  </a:lnTo>
                  <a:lnTo>
                    <a:pt x="81008" y="419332"/>
                  </a:lnTo>
                  <a:lnTo>
                    <a:pt x="61948" y="419332"/>
                  </a:lnTo>
                  <a:lnTo>
                    <a:pt x="52416" y="414566"/>
                  </a:lnTo>
                  <a:lnTo>
                    <a:pt x="47652" y="414566"/>
                  </a:lnTo>
                  <a:lnTo>
                    <a:pt x="47652" y="390742"/>
                  </a:lnTo>
                  <a:lnTo>
                    <a:pt x="42888" y="385976"/>
                  </a:lnTo>
                  <a:lnTo>
                    <a:pt x="38120" y="385976"/>
                  </a:lnTo>
                  <a:lnTo>
                    <a:pt x="4764" y="376446"/>
                  </a:lnTo>
                  <a:lnTo>
                    <a:pt x="0" y="371680"/>
                  </a:lnTo>
                  <a:lnTo>
                    <a:pt x="0" y="366916"/>
                  </a:lnTo>
                  <a:lnTo>
                    <a:pt x="9532" y="319264"/>
                  </a:lnTo>
                  <a:lnTo>
                    <a:pt x="14296" y="319264"/>
                  </a:lnTo>
                  <a:lnTo>
                    <a:pt x="19060" y="309734"/>
                  </a:lnTo>
                  <a:lnTo>
                    <a:pt x="28592" y="300204"/>
                  </a:lnTo>
                  <a:lnTo>
                    <a:pt x="57180" y="290674"/>
                  </a:lnTo>
                  <a:lnTo>
                    <a:pt x="85772" y="295438"/>
                  </a:lnTo>
                  <a:lnTo>
                    <a:pt x="114364" y="300204"/>
                  </a:lnTo>
                  <a:lnTo>
                    <a:pt x="138188" y="304970"/>
                  </a:lnTo>
                  <a:lnTo>
                    <a:pt x="147720" y="304970"/>
                  </a:lnTo>
                  <a:lnTo>
                    <a:pt x="162016" y="309734"/>
                  </a:lnTo>
                  <a:lnTo>
                    <a:pt x="171544" y="304970"/>
                  </a:lnTo>
                  <a:lnTo>
                    <a:pt x="181076" y="300204"/>
                  </a:lnTo>
                  <a:lnTo>
                    <a:pt x="190604" y="285908"/>
                  </a:lnTo>
                  <a:lnTo>
                    <a:pt x="195372" y="262082"/>
                  </a:lnTo>
                  <a:lnTo>
                    <a:pt x="200136" y="243022"/>
                  </a:lnTo>
                  <a:lnTo>
                    <a:pt x="204900" y="243022"/>
                  </a:lnTo>
                  <a:lnTo>
                    <a:pt x="214432" y="243022"/>
                  </a:lnTo>
                  <a:lnTo>
                    <a:pt x="219196" y="243022"/>
                  </a:lnTo>
                  <a:lnTo>
                    <a:pt x="219196" y="233492"/>
                  </a:lnTo>
                  <a:lnTo>
                    <a:pt x="223960" y="228728"/>
                  </a:lnTo>
                  <a:lnTo>
                    <a:pt x="228728" y="233492"/>
                  </a:lnTo>
                  <a:lnTo>
                    <a:pt x="233492" y="233492"/>
                  </a:lnTo>
                  <a:lnTo>
                    <a:pt x="233492" y="228728"/>
                  </a:lnTo>
                  <a:lnTo>
                    <a:pt x="228728" y="219196"/>
                  </a:lnTo>
                  <a:lnTo>
                    <a:pt x="223960" y="209666"/>
                  </a:lnTo>
                  <a:lnTo>
                    <a:pt x="223960" y="204902"/>
                  </a:lnTo>
                  <a:lnTo>
                    <a:pt x="223960" y="200136"/>
                  </a:lnTo>
                  <a:lnTo>
                    <a:pt x="243020" y="200136"/>
                  </a:lnTo>
                  <a:lnTo>
                    <a:pt x="247788" y="195372"/>
                  </a:lnTo>
                  <a:lnTo>
                    <a:pt x="252552" y="195372"/>
                  </a:lnTo>
                  <a:lnTo>
                    <a:pt x="252552" y="185840"/>
                  </a:lnTo>
                  <a:lnTo>
                    <a:pt x="243020" y="185840"/>
                  </a:lnTo>
                  <a:lnTo>
                    <a:pt x="223960" y="185840"/>
                  </a:lnTo>
                  <a:lnTo>
                    <a:pt x="200136" y="185840"/>
                  </a:lnTo>
                  <a:lnTo>
                    <a:pt x="195372" y="181076"/>
                  </a:lnTo>
                  <a:lnTo>
                    <a:pt x="200136" y="176310"/>
                  </a:lnTo>
                  <a:lnTo>
                    <a:pt x="247788" y="166780"/>
                  </a:lnTo>
                  <a:lnTo>
                    <a:pt x="271612" y="166780"/>
                  </a:lnTo>
                  <a:lnTo>
                    <a:pt x="290672" y="171546"/>
                  </a:lnTo>
                  <a:lnTo>
                    <a:pt x="300204" y="171546"/>
                  </a:lnTo>
                  <a:lnTo>
                    <a:pt x="290672" y="152486"/>
                  </a:lnTo>
                  <a:lnTo>
                    <a:pt x="300204" y="152486"/>
                  </a:lnTo>
                  <a:lnTo>
                    <a:pt x="304968" y="142954"/>
                  </a:lnTo>
                  <a:lnTo>
                    <a:pt x="285908" y="95304"/>
                  </a:lnTo>
                  <a:lnTo>
                    <a:pt x="295436" y="90538"/>
                  </a:lnTo>
                  <a:lnTo>
                    <a:pt x="304968" y="81008"/>
                  </a:lnTo>
                  <a:lnTo>
                    <a:pt x="304968" y="61948"/>
                  </a:lnTo>
                  <a:lnTo>
                    <a:pt x="314500" y="52418"/>
                  </a:lnTo>
                  <a:lnTo>
                    <a:pt x="319264" y="47652"/>
                  </a:lnTo>
                  <a:lnTo>
                    <a:pt x="333560" y="57182"/>
                  </a:lnTo>
                  <a:lnTo>
                    <a:pt x="352620" y="71478"/>
                  </a:lnTo>
                  <a:lnTo>
                    <a:pt x="362148" y="76244"/>
                  </a:lnTo>
                  <a:lnTo>
                    <a:pt x="366916" y="76244"/>
                  </a:lnTo>
                  <a:lnTo>
                    <a:pt x="376444" y="71478"/>
                  </a:lnTo>
                  <a:lnTo>
                    <a:pt x="414564" y="52418"/>
                  </a:lnTo>
                  <a:lnTo>
                    <a:pt x="433628" y="42888"/>
                  </a:lnTo>
                  <a:lnTo>
                    <a:pt x="457452" y="28592"/>
                  </a:lnTo>
                  <a:lnTo>
                    <a:pt x="462216" y="2382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18" name="Google Shape;4885;p64">
              <a:extLst>
                <a:ext uri="{FF2B5EF4-FFF2-40B4-BE49-F238E27FC236}">
                  <a16:creationId xmlns:a16="http://schemas.microsoft.com/office/drawing/2014/main" id="{9E048190-8D80-24BC-EF3A-B2DFEE31A343}"/>
                </a:ext>
              </a:extLst>
            </p:cNvPr>
            <p:cNvSpPr/>
            <p:nvPr/>
          </p:nvSpPr>
          <p:spPr>
            <a:xfrm>
              <a:off x="6043022" y="4020073"/>
              <a:ext cx="1969" cy="2625"/>
            </a:xfrm>
            <a:custGeom>
              <a:avLst/>
              <a:gdLst/>
              <a:ahLst/>
              <a:cxnLst/>
              <a:rect l="l" t="t" r="r" b="b"/>
              <a:pathLst>
                <a:path w="6" h="8" extrusionOk="0">
                  <a:moveTo>
                    <a:pt x="6" y="8"/>
                  </a:moveTo>
                  <a:lnTo>
                    <a:pt x="6" y="6"/>
                  </a:lnTo>
                  <a:lnTo>
                    <a:pt x="4" y="2"/>
                  </a:lnTo>
                  <a:lnTo>
                    <a:pt x="0" y="0"/>
                  </a:lnTo>
                  <a:lnTo>
                    <a:pt x="0" y="2"/>
                  </a:lnTo>
                  <a:lnTo>
                    <a:pt x="0" y="4"/>
                  </a:lnTo>
                  <a:lnTo>
                    <a:pt x="4"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19" name="Google Shape;4886;p64">
              <a:extLst>
                <a:ext uri="{FF2B5EF4-FFF2-40B4-BE49-F238E27FC236}">
                  <a16:creationId xmlns:a16="http://schemas.microsoft.com/office/drawing/2014/main" id="{867258BD-F3BD-2CF0-2D34-3D82781D18FD}"/>
                </a:ext>
              </a:extLst>
            </p:cNvPr>
            <p:cNvCxnSpPr/>
            <p:nvPr/>
          </p:nvCxnSpPr>
          <p:spPr>
            <a:xfrm>
              <a:off x="6045648" y="4030574"/>
              <a:ext cx="0" cy="0"/>
            </a:xfrm>
            <a:prstGeom prst="straightConnector1">
              <a:avLst/>
            </a:prstGeom>
            <a:grpFill/>
            <a:ln w="9525" cap="flat" cmpd="sng">
              <a:solidFill>
                <a:schemeClr val="bg2"/>
              </a:solidFill>
              <a:prstDash val="solid"/>
              <a:round/>
              <a:headEnd type="none" w="med" len="med"/>
              <a:tailEnd type="none" w="med" len="med"/>
            </a:ln>
          </p:spPr>
        </p:cxnSp>
        <p:sp>
          <p:nvSpPr>
            <p:cNvPr id="420" name="Google Shape;4887;p64">
              <a:extLst>
                <a:ext uri="{FF2B5EF4-FFF2-40B4-BE49-F238E27FC236}">
                  <a16:creationId xmlns:a16="http://schemas.microsoft.com/office/drawing/2014/main" id="{CFBC79CB-2951-3F0B-797B-8F7B771C45CD}"/>
                </a:ext>
              </a:extLst>
            </p:cNvPr>
            <p:cNvSpPr/>
            <p:nvPr/>
          </p:nvSpPr>
          <p:spPr>
            <a:xfrm>
              <a:off x="5654484" y="3969537"/>
              <a:ext cx="303874" cy="210677"/>
            </a:xfrm>
            <a:custGeom>
              <a:avLst/>
              <a:gdLst/>
              <a:ahLst/>
              <a:cxnLst/>
              <a:rect l="l" t="t" r="r" b="b"/>
              <a:pathLst>
                <a:path w="2206252" h="1529606" extrusionOk="0">
                  <a:moveTo>
                    <a:pt x="85772" y="762420"/>
                  </a:moveTo>
                  <a:lnTo>
                    <a:pt x="90536" y="762420"/>
                  </a:lnTo>
                  <a:lnTo>
                    <a:pt x="85772" y="771950"/>
                  </a:lnTo>
                  <a:lnTo>
                    <a:pt x="95300" y="819602"/>
                  </a:lnTo>
                  <a:lnTo>
                    <a:pt x="95300" y="829132"/>
                  </a:lnTo>
                  <a:lnTo>
                    <a:pt x="85772" y="800542"/>
                  </a:lnTo>
                  <a:lnTo>
                    <a:pt x="81008" y="771950"/>
                  </a:lnTo>
                  <a:close/>
                  <a:moveTo>
                    <a:pt x="953024" y="0"/>
                  </a:moveTo>
                  <a:lnTo>
                    <a:pt x="972084" y="23826"/>
                  </a:lnTo>
                  <a:lnTo>
                    <a:pt x="995912" y="47652"/>
                  </a:lnTo>
                  <a:lnTo>
                    <a:pt x="1005440" y="52416"/>
                  </a:lnTo>
                  <a:lnTo>
                    <a:pt x="1019736" y="52416"/>
                  </a:lnTo>
                  <a:lnTo>
                    <a:pt x="1034032" y="52416"/>
                  </a:lnTo>
                  <a:lnTo>
                    <a:pt x="1038796" y="57182"/>
                  </a:lnTo>
                  <a:lnTo>
                    <a:pt x="1048328" y="61946"/>
                  </a:lnTo>
                  <a:lnTo>
                    <a:pt x="1057856" y="90538"/>
                  </a:lnTo>
                  <a:lnTo>
                    <a:pt x="1072152" y="95302"/>
                  </a:lnTo>
                  <a:lnTo>
                    <a:pt x="1086448" y="100068"/>
                  </a:lnTo>
                  <a:lnTo>
                    <a:pt x="1134100" y="100068"/>
                  </a:lnTo>
                  <a:lnTo>
                    <a:pt x="1148396" y="100068"/>
                  </a:lnTo>
                  <a:lnTo>
                    <a:pt x="1162692" y="114364"/>
                  </a:lnTo>
                  <a:lnTo>
                    <a:pt x="1167456" y="119128"/>
                  </a:lnTo>
                  <a:lnTo>
                    <a:pt x="1172220" y="123894"/>
                  </a:lnTo>
                  <a:lnTo>
                    <a:pt x="1172220" y="128658"/>
                  </a:lnTo>
                  <a:lnTo>
                    <a:pt x="1167456" y="138188"/>
                  </a:lnTo>
                  <a:lnTo>
                    <a:pt x="1167456" y="152484"/>
                  </a:lnTo>
                  <a:lnTo>
                    <a:pt x="1167456" y="162014"/>
                  </a:lnTo>
                  <a:lnTo>
                    <a:pt x="1162692" y="166780"/>
                  </a:lnTo>
                  <a:lnTo>
                    <a:pt x="1162692" y="171544"/>
                  </a:lnTo>
                  <a:lnTo>
                    <a:pt x="1167456" y="176310"/>
                  </a:lnTo>
                  <a:lnTo>
                    <a:pt x="1186516" y="185840"/>
                  </a:lnTo>
                  <a:lnTo>
                    <a:pt x="1196048" y="195370"/>
                  </a:lnTo>
                  <a:lnTo>
                    <a:pt x="1200812" y="200136"/>
                  </a:lnTo>
                  <a:lnTo>
                    <a:pt x="1200812" y="204900"/>
                  </a:lnTo>
                  <a:lnTo>
                    <a:pt x="1196048" y="209666"/>
                  </a:lnTo>
                  <a:lnTo>
                    <a:pt x="1186516" y="209666"/>
                  </a:lnTo>
                  <a:lnTo>
                    <a:pt x="1181752" y="214430"/>
                  </a:lnTo>
                  <a:lnTo>
                    <a:pt x="1181752" y="228726"/>
                  </a:lnTo>
                  <a:lnTo>
                    <a:pt x="1191280" y="238256"/>
                  </a:lnTo>
                  <a:lnTo>
                    <a:pt x="1191280" y="247786"/>
                  </a:lnTo>
                  <a:lnTo>
                    <a:pt x="1186516" y="262082"/>
                  </a:lnTo>
                  <a:lnTo>
                    <a:pt x="1181752" y="276378"/>
                  </a:lnTo>
                  <a:lnTo>
                    <a:pt x="1181752" y="285908"/>
                  </a:lnTo>
                  <a:lnTo>
                    <a:pt x="1186516" y="290672"/>
                  </a:lnTo>
                  <a:lnTo>
                    <a:pt x="1200812" y="300204"/>
                  </a:lnTo>
                  <a:lnTo>
                    <a:pt x="1243696" y="328794"/>
                  </a:lnTo>
                  <a:lnTo>
                    <a:pt x="1253228" y="328794"/>
                  </a:lnTo>
                  <a:lnTo>
                    <a:pt x="1286584" y="324028"/>
                  </a:lnTo>
                  <a:lnTo>
                    <a:pt x="1305644" y="324028"/>
                  </a:lnTo>
                  <a:lnTo>
                    <a:pt x="1315176" y="324028"/>
                  </a:lnTo>
                  <a:lnTo>
                    <a:pt x="1343764" y="328794"/>
                  </a:lnTo>
                  <a:lnTo>
                    <a:pt x="1353296" y="333558"/>
                  </a:lnTo>
                  <a:lnTo>
                    <a:pt x="1362824" y="333558"/>
                  </a:lnTo>
                  <a:lnTo>
                    <a:pt x="1377120" y="333558"/>
                  </a:lnTo>
                  <a:lnTo>
                    <a:pt x="1386652" y="319264"/>
                  </a:lnTo>
                  <a:lnTo>
                    <a:pt x="1391416" y="319264"/>
                  </a:lnTo>
                  <a:lnTo>
                    <a:pt x="1396180" y="314498"/>
                  </a:lnTo>
                  <a:lnTo>
                    <a:pt x="1405712" y="314498"/>
                  </a:lnTo>
                  <a:lnTo>
                    <a:pt x="1429536" y="324028"/>
                  </a:lnTo>
                  <a:lnTo>
                    <a:pt x="1453364" y="338324"/>
                  </a:lnTo>
                  <a:lnTo>
                    <a:pt x="1467660" y="352620"/>
                  </a:lnTo>
                  <a:lnTo>
                    <a:pt x="1477188" y="366914"/>
                  </a:lnTo>
                  <a:lnTo>
                    <a:pt x="1486720" y="395506"/>
                  </a:lnTo>
                  <a:lnTo>
                    <a:pt x="1496248" y="438392"/>
                  </a:lnTo>
                  <a:lnTo>
                    <a:pt x="1515308" y="466982"/>
                  </a:lnTo>
                  <a:lnTo>
                    <a:pt x="1529604" y="481278"/>
                  </a:lnTo>
                  <a:lnTo>
                    <a:pt x="1543900" y="509868"/>
                  </a:lnTo>
                  <a:lnTo>
                    <a:pt x="1553432" y="571816"/>
                  </a:lnTo>
                  <a:lnTo>
                    <a:pt x="1558196" y="586110"/>
                  </a:lnTo>
                  <a:lnTo>
                    <a:pt x="1567724" y="590876"/>
                  </a:lnTo>
                  <a:lnTo>
                    <a:pt x="1586788" y="605172"/>
                  </a:lnTo>
                  <a:lnTo>
                    <a:pt x="1624908" y="638528"/>
                  </a:lnTo>
                  <a:lnTo>
                    <a:pt x="1648732" y="652822"/>
                  </a:lnTo>
                  <a:lnTo>
                    <a:pt x="1686856" y="681414"/>
                  </a:lnTo>
                  <a:lnTo>
                    <a:pt x="1720208" y="705238"/>
                  </a:lnTo>
                  <a:lnTo>
                    <a:pt x="1753564" y="743360"/>
                  </a:lnTo>
                  <a:lnTo>
                    <a:pt x="1758332" y="748126"/>
                  </a:lnTo>
                  <a:lnTo>
                    <a:pt x="1786920" y="767186"/>
                  </a:lnTo>
                  <a:lnTo>
                    <a:pt x="1820276" y="791012"/>
                  </a:lnTo>
                  <a:lnTo>
                    <a:pt x="1844104" y="786246"/>
                  </a:lnTo>
                  <a:lnTo>
                    <a:pt x="1877460" y="819602"/>
                  </a:lnTo>
                  <a:lnTo>
                    <a:pt x="1891756" y="829132"/>
                  </a:lnTo>
                  <a:lnTo>
                    <a:pt x="1896520" y="833898"/>
                  </a:lnTo>
                  <a:lnTo>
                    <a:pt x="1925112" y="848192"/>
                  </a:lnTo>
                  <a:lnTo>
                    <a:pt x="1963232" y="872018"/>
                  </a:lnTo>
                  <a:lnTo>
                    <a:pt x="2015648" y="910140"/>
                  </a:lnTo>
                  <a:lnTo>
                    <a:pt x="2049004" y="933966"/>
                  </a:lnTo>
                  <a:lnTo>
                    <a:pt x="2058536" y="933966"/>
                  </a:lnTo>
                  <a:lnTo>
                    <a:pt x="2068064" y="933966"/>
                  </a:lnTo>
                  <a:lnTo>
                    <a:pt x="2077596" y="929200"/>
                  </a:lnTo>
                  <a:lnTo>
                    <a:pt x="2087124" y="929200"/>
                  </a:lnTo>
                  <a:lnTo>
                    <a:pt x="2106184" y="933966"/>
                  </a:lnTo>
                  <a:lnTo>
                    <a:pt x="2125244" y="938730"/>
                  </a:lnTo>
                  <a:lnTo>
                    <a:pt x="2134776" y="948260"/>
                  </a:lnTo>
                  <a:lnTo>
                    <a:pt x="2149072" y="957790"/>
                  </a:lnTo>
                  <a:lnTo>
                    <a:pt x="2158600" y="967320"/>
                  </a:lnTo>
                  <a:lnTo>
                    <a:pt x="2168132" y="972086"/>
                  </a:lnTo>
                  <a:lnTo>
                    <a:pt x="2196724" y="976852"/>
                  </a:lnTo>
                  <a:lnTo>
                    <a:pt x="2201488" y="981616"/>
                  </a:lnTo>
                  <a:lnTo>
                    <a:pt x="2206252" y="991146"/>
                  </a:lnTo>
                  <a:lnTo>
                    <a:pt x="2206252" y="995912"/>
                  </a:lnTo>
                  <a:lnTo>
                    <a:pt x="2191956" y="1024502"/>
                  </a:lnTo>
                  <a:lnTo>
                    <a:pt x="2187192" y="1057858"/>
                  </a:lnTo>
                  <a:lnTo>
                    <a:pt x="2187192" y="1086450"/>
                  </a:lnTo>
                  <a:lnTo>
                    <a:pt x="2191956" y="1110274"/>
                  </a:lnTo>
                  <a:lnTo>
                    <a:pt x="2182428" y="1110274"/>
                  </a:lnTo>
                  <a:lnTo>
                    <a:pt x="2163368" y="1105510"/>
                  </a:lnTo>
                  <a:lnTo>
                    <a:pt x="2125244" y="1095980"/>
                  </a:lnTo>
                  <a:lnTo>
                    <a:pt x="2091888" y="1076918"/>
                  </a:lnTo>
                  <a:lnTo>
                    <a:pt x="2072828" y="1067388"/>
                  </a:lnTo>
                  <a:lnTo>
                    <a:pt x="2068064" y="1067388"/>
                  </a:lnTo>
                  <a:lnTo>
                    <a:pt x="2058536" y="1076918"/>
                  </a:lnTo>
                  <a:lnTo>
                    <a:pt x="2053768" y="1086450"/>
                  </a:lnTo>
                  <a:lnTo>
                    <a:pt x="2049004" y="1105510"/>
                  </a:lnTo>
                  <a:lnTo>
                    <a:pt x="2039472" y="1129336"/>
                  </a:lnTo>
                  <a:lnTo>
                    <a:pt x="2001352" y="1129336"/>
                  </a:lnTo>
                  <a:lnTo>
                    <a:pt x="1967996" y="1129336"/>
                  </a:lnTo>
                  <a:lnTo>
                    <a:pt x="1944172" y="1138866"/>
                  </a:lnTo>
                  <a:lnTo>
                    <a:pt x="1925112" y="1153160"/>
                  </a:lnTo>
                  <a:lnTo>
                    <a:pt x="1915580" y="1167456"/>
                  </a:lnTo>
                  <a:lnTo>
                    <a:pt x="1915580" y="1186516"/>
                  </a:lnTo>
                  <a:lnTo>
                    <a:pt x="1901284" y="1224638"/>
                  </a:lnTo>
                  <a:lnTo>
                    <a:pt x="1891756" y="1262758"/>
                  </a:lnTo>
                  <a:lnTo>
                    <a:pt x="1882224" y="1291350"/>
                  </a:lnTo>
                  <a:lnTo>
                    <a:pt x="1877460" y="1305646"/>
                  </a:lnTo>
                  <a:lnTo>
                    <a:pt x="1853632" y="1329470"/>
                  </a:lnTo>
                  <a:lnTo>
                    <a:pt x="1825044" y="1343766"/>
                  </a:lnTo>
                  <a:lnTo>
                    <a:pt x="1810748" y="1348532"/>
                  </a:lnTo>
                  <a:lnTo>
                    <a:pt x="1805984" y="1358062"/>
                  </a:lnTo>
                  <a:lnTo>
                    <a:pt x="1801216" y="1367592"/>
                  </a:lnTo>
                  <a:lnTo>
                    <a:pt x="1796452" y="1367592"/>
                  </a:lnTo>
                  <a:lnTo>
                    <a:pt x="1786920" y="1367592"/>
                  </a:lnTo>
                  <a:lnTo>
                    <a:pt x="1772628" y="1367592"/>
                  </a:lnTo>
                  <a:lnTo>
                    <a:pt x="1748800" y="1377122"/>
                  </a:lnTo>
                  <a:lnTo>
                    <a:pt x="1720208" y="1386652"/>
                  </a:lnTo>
                  <a:lnTo>
                    <a:pt x="1686856" y="1400948"/>
                  </a:lnTo>
                  <a:lnTo>
                    <a:pt x="1667792" y="1400948"/>
                  </a:lnTo>
                  <a:lnTo>
                    <a:pt x="1658264" y="1400948"/>
                  </a:lnTo>
                  <a:lnTo>
                    <a:pt x="1658264" y="1405712"/>
                  </a:lnTo>
                  <a:lnTo>
                    <a:pt x="1658264" y="1415242"/>
                  </a:lnTo>
                  <a:lnTo>
                    <a:pt x="1663028" y="1424774"/>
                  </a:lnTo>
                  <a:lnTo>
                    <a:pt x="1667792" y="1434304"/>
                  </a:lnTo>
                  <a:lnTo>
                    <a:pt x="1658264" y="1443834"/>
                  </a:lnTo>
                  <a:lnTo>
                    <a:pt x="1653500" y="1453364"/>
                  </a:lnTo>
                  <a:lnTo>
                    <a:pt x="1648732" y="1477190"/>
                  </a:lnTo>
                  <a:lnTo>
                    <a:pt x="1634436" y="1486720"/>
                  </a:lnTo>
                  <a:lnTo>
                    <a:pt x="1615376" y="1496250"/>
                  </a:lnTo>
                  <a:lnTo>
                    <a:pt x="1596316" y="1510546"/>
                  </a:lnTo>
                  <a:lnTo>
                    <a:pt x="1591552" y="1515310"/>
                  </a:lnTo>
                  <a:lnTo>
                    <a:pt x="1577256" y="1520076"/>
                  </a:lnTo>
                  <a:lnTo>
                    <a:pt x="1567724" y="1520076"/>
                  </a:lnTo>
                  <a:lnTo>
                    <a:pt x="1558196" y="1515310"/>
                  </a:lnTo>
                  <a:lnTo>
                    <a:pt x="1543900" y="1520076"/>
                  </a:lnTo>
                  <a:lnTo>
                    <a:pt x="1529604" y="1529606"/>
                  </a:lnTo>
                  <a:lnTo>
                    <a:pt x="1524840" y="1529606"/>
                  </a:lnTo>
                  <a:lnTo>
                    <a:pt x="1524840" y="1515310"/>
                  </a:lnTo>
                  <a:lnTo>
                    <a:pt x="1515308" y="1510546"/>
                  </a:lnTo>
                  <a:lnTo>
                    <a:pt x="1496248" y="1491486"/>
                  </a:lnTo>
                  <a:lnTo>
                    <a:pt x="1481952" y="1477190"/>
                  </a:lnTo>
                  <a:lnTo>
                    <a:pt x="1472424" y="1477190"/>
                  </a:lnTo>
                  <a:lnTo>
                    <a:pt x="1458128" y="1481954"/>
                  </a:lnTo>
                  <a:lnTo>
                    <a:pt x="1439068" y="1481954"/>
                  </a:lnTo>
                  <a:lnTo>
                    <a:pt x="1424772" y="1481954"/>
                  </a:lnTo>
                  <a:lnTo>
                    <a:pt x="1410476" y="1477190"/>
                  </a:lnTo>
                  <a:lnTo>
                    <a:pt x="1391416" y="1458130"/>
                  </a:lnTo>
                  <a:lnTo>
                    <a:pt x="1386652" y="1448598"/>
                  </a:lnTo>
                  <a:lnTo>
                    <a:pt x="1381888" y="1443834"/>
                  </a:lnTo>
                  <a:lnTo>
                    <a:pt x="1367592" y="1443834"/>
                  </a:lnTo>
                  <a:lnTo>
                    <a:pt x="1362824" y="1439068"/>
                  </a:lnTo>
                  <a:lnTo>
                    <a:pt x="1362824" y="1429538"/>
                  </a:lnTo>
                  <a:lnTo>
                    <a:pt x="1367592" y="1415242"/>
                  </a:lnTo>
                  <a:lnTo>
                    <a:pt x="1367592" y="1396182"/>
                  </a:lnTo>
                  <a:lnTo>
                    <a:pt x="1358060" y="1381886"/>
                  </a:lnTo>
                  <a:lnTo>
                    <a:pt x="1353296" y="1377122"/>
                  </a:lnTo>
                  <a:lnTo>
                    <a:pt x="1353296" y="1372356"/>
                  </a:lnTo>
                  <a:lnTo>
                    <a:pt x="1353296" y="1362826"/>
                  </a:lnTo>
                  <a:lnTo>
                    <a:pt x="1362824" y="1353296"/>
                  </a:lnTo>
                  <a:lnTo>
                    <a:pt x="1362824" y="1334236"/>
                  </a:lnTo>
                  <a:lnTo>
                    <a:pt x="1353296" y="1315176"/>
                  </a:lnTo>
                  <a:lnTo>
                    <a:pt x="1353296" y="1286584"/>
                  </a:lnTo>
                  <a:lnTo>
                    <a:pt x="1353296" y="1262758"/>
                  </a:lnTo>
                  <a:lnTo>
                    <a:pt x="1343764" y="1248464"/>
                  </a:lnTo>
                  <a:lnTo>
                    <a:pt x="1281820" y="1248464"/>
                  </a:lnTo>
                  <a:lnTo>
                    <a:pt x="1224636" y="1248464"/>
                  </a:lnTo>
                  <a:lnTo>
                    <a:pt x="1219872" y="1243698"/>
                  </a:lnTo>
                  <a:lnTo>
                    <a:pt x="1200812" y="1210342"/>
                  </a:lnTo>
                  <a:lnTo>
                    <a:pt x="1181752" y="1186516"/>
                  </a:lnTo>
                  <a:lnTo>
                    <a:pt x="1162692" y="1167456"/>
                  </a:lnTo>
                  <a:lnTo>
                    <a:pt x="1124568" y="1148396"/>
                  </a:lnTo>
                  <a:lnTo>
                    <a:pt x="1100744" y="1143630"/>
                  </a:lnTo>
                  <a:lnTo>
                    <a:pt x="1086448" y="1129336"/>
                  </a:lnTo>
                  <a:lnTo>
                    <a:pt x="1072152" y="1110274"/>
                  </a:lnTo>
                  <a:lnTo>
                    <a:pt x="1067388" y="1091214"/>
                  </a:lnTo>
                  <a:lnTo>
                    <a:pt x="1067388" y="1081684"/>
                  </a:lnTo>
                  <a:lnTo>
                    <a:pt x="1062624" y="1076918"/>
                  </a:lnTo>
                  <a:lnTo>
                    <a:pt x="1057856" y="1076918"/>
                  </a:lnTo>
                  <a:lnTo>
                    <a:pt x="1053092" y="1076918"/>
                  </a:lnTo>
                  <a:lnTo>
                    <a:pt x="1005440" y="1048328"/>
                  </a:lnTo>
                  <a:lnTo>
                    <a:pt x="986380" y="1043562"/>
                  </a:lnTo>
                  <a:lnTo>
                    <a:pt x="967320" y="1048328"/>
                  </a:lnTo>
                  <a:lnTo>
                    <a:pt x="957788" y="1048328"/>
                  </a:lnTo>
                  <a:lnTo>
                    <a:pt x="943496" y="1043562"/>
                  </a:lnTo>
                  <a:lnTo>
                    <a:pt x="929200" y="1053094"/>
                  </a:lnTo>
                  <a:lnTo>
                    <a:pt x="919668" y="1053094"/>
                  </a:lnTo>
                  <a:lnTo>
                    <a:pt x="910140" y="1053094"/>
                  </a:lnTo>
                  <a:lnTo>
                    <a:pt x="900608" y="1048328"/>
                  </a:lnTo>
                  <a:lnTo>
                    <a:pt x="876784" y="1024502"/>
                  </a:lnTo>
                  <a:lnTo>
                    <a:pt x="857720" y="1014972"/>
                  </a:lnTo>
                  <a:lnTo>
                    <a:pt x="843428" y="1010208"/>
                  </a:lnTo>
                  <a:lnTo>
                    <a:pt x="814836" y="1000676"/>
                  </a:lnTo>
                  <a:lnTo>
                    <a:pt x="781480" y="995912"/>
                  </a:lnTo>
                  <a:lnTo>
                    <a:pt x="767184" y="991146"/>
                  </a:lnTo>
                  <a:lnTo>
                    <a:pt x="757656" y="986382"/>
                  </a:lnTo>
                  <a:lnTo>
                    <a:pt x="752888" y="981616"/>
                  </a:lnTo>
                  <a:lnTo>
                    <a:pt x="752888" y="972086"/>
                  </a:lnTo>
                  <a:lnTo>
                    <a:pt x="752888" y="962556"/>
                  </a:lnTo>
                  <a:lnTo>
                    <a:pt x="748124" y="953026"/>
                  </a:lnTo>
                  <a:lnTo>
                    <a:pt x="743360" y="943496"/>
                  </a:lnTo>
                  <a:lnTo>
                    <a:pt x="733828" y="938730"/>
                  </a:lnTo>
                  <a:lnTo>
                    <a:pt x="714768" y="938730"/>
                  </a:lnTo>
                  <a:lnTo>
                    <a:pt x="686176" y="938730"/>
                  </a:lnTo>
                  <a:lnTo>
                    <a:pt x="667116" y="929200"/>
                  </a:lnTo>
                  <a:lnTo>
                    <a:pt x="652820" y="929200"/>
                  </a:lnTo>
                  <a:lnTo>
                    <a:pt x="628996" y="929200"/>
                  </a:lnTo>
                  <a:lnTo>
                    <a:pt x="614700" y="929200"/>
                  </a:lnTo>
                  <a:lnTo>
                    <a:pt x="605172" y="938730"/>
                  </a:lnTo>
                  <a:lnTo>
                    <a:pt x="595640" y="943496"/>
                  </a:lnTo>
                  <a:lnTo>
                    <a:pt x="590876" y="962556"/>
                  </a:lnTo>
                  <a:lnTo>
                    <a:pt x="581344" y="967320"/>
                  </a:lnTo>
                  <a:lnTo>
                    <a:pt x="571816" y="967320"/>
                  </a:lnTo>
                  <a:lnTo>
                    <a:pt x="552752" y="967320"/>
                  </a:lnTo>
                  <a:lnTo>
                    <a:pt x="519396" y="962556"/>
                  </a:lnTo>
                  <a:lnTo>
                    <a:pt x="481276" y="962556"/>
                  </a:lnTo>
                  <a:lnTo>
                    <a:pt x="447920" y="972086"/>
                  </a:lnTo>
                  <a:lnTo>
                    <a:pt x="424096" y="986382"/>
                  </a:lnTo>
                  <a:lnTo>
                    <a:pt x="400268" y="1000676"/>
                  </a:lnTo>
                  <a:lnTo>
                    <a:pt x="376444" y="1024502"/>
                  </a:lnTo>
                  <a:lnTo>
                    <a:pt x="366912" y="1034032"/>
                  </a:lnTo>
                  <a:lnTo>
                    <a:pt x="352620" y="1076918"/>
                  </a:lnTo>
                  <a:lnTo>
                    <a:pt x="343088" y="1086450"/>
                  </a:lnTo>
                  <a:lnTo>
                    <a:pt x="333556" y="1091214"/>
                  </a:lnTo>
                  <a:lnTo>
                    <a:pt x="324028" y="1091214"/>
                  </a:lnTo>
                  <a:lnTo>
                    <a:pt x="304968" y="1095980"/>
                  </a:lnTo>
                  <a:lnTo>
                    <a:pt x="281140" y="1110274"/>
                  </a:lnTo>
                  <a:lnTo>
                    <a:pt x="262080" y="1110274"/>
                  </a:lnTo>
                  <a:lnTo>
                    <a:pt x="219196" y="1110274"/>
                  </a:lnTo>
                  <a:lnTo>
                    <a:pt x="219196" y="1095980"/>
                  </a:lnTo>
                  <a:lnTo>
                    <a:pt x="209664" y="1048328"/>
                  </a:lnTo>
                  <a:lnTo>
                    <a:pt x="204900" y="995912"/>
                  </a:lnTo>
                  <a:lnTo>
                    <a:pt x="204900" y="972086"/>
                  </a:lnTo>
                  <a:lnTo>
                    <a:pt x="209664" y="924434"/>
                  </a:lnTo>
                  <a:lnTo>
                    <a:pt x="209664" y="900610"/>
                  </a:lnTo>
                  <a:lnTo>
                    <a:pt x="209664" y="876784"/>
                  </a:lnTo>
                  <a:lnTo>
                    <a:pt x="209664" y="857722"/>
                  </a:lnTo>
                  <a:lnTo>
                    <a:pt x="214428" y="833898"/>
                  </a:lnTo>
                  <a:lnTo>
                    <a:pt x="214428" y="810072"/>
                  </a:lnTo>
                  <a:lnTo>
                    <a:pt x="214428" y="791012"/>
                  </a:lnTo>
                  <a:lnTo>
                    <a:pt x="204900" y="776716"/>
                  </a:lnTo>
                  <a:lnTo>
                    <a:pt x="190604" y="762420"/>
                  </a:lnTo>
                  <a:lnTo>
                    <a:pt x="190604" y="748126"/>
                  </a:lnTo>
                  <a:lnTo>
                    <a:pt x="185840" y="738594"/>
                  </a:lnTo>
                  <a:lnTo>
                    <a:pt x="176308" y="738594"/>
                  </a:lnTo>
                  <a:lnTo>
                    <a:pt x="162012" y="724300"/>
                  </a:lnTo>
                  <a:lnTo>
                    <a:pt x="152484" y="719534"/>
                  </a:lnTo>
                  <a:lnTo>
                    <a:pt x="128656" y="710004"/>
                  </a:lnTo>
                  <a:lnTo>
                    <a:pt x="119128" y="710004"/>
                  </a:lnTo>
                  <a:lnTo>
                    <a:pt x="109596" y="719534"/>
                  </a:lnTo>
                  <a:lnTo>
                    <a:pt x="104832" y="729064"/>
                  </a:lnTo>
                  <a:lnTo>
                    <a:pt x="95300" y="710004"/>
                  </a:lnTo>
                  <a:lnTo>
                    <a:pt x="95300" y="695708"/>
                  </a:lnTo>
                  <a:lnTo>
                    <a:pt x="114364" y="657588"/>
                  </a:lnTo>
                  <a:lnTo>
                    <a:pt x="123892" y="667118"/>
                  </a:lnTo>
                  <a:lnTo>
                    <a:pt x="138188" y="671882"/>
                  </a:lnTo>
                  <a:lnTo>
                    <a:pt x="157248" y="671882"/>
                  </a:lnTo>
                  <a:lnTo>
                    <a:pt x="171544" y="671882"/>
                  </a:lnTo>
                  <a:lnTo>
                    <a:pt x="166780" y="657588"/>
                  </a:lnTo>
                  <a:lnTo>
                    <a:pt x="162012" y="652822"/>
                  </a:lnTo>
                  <a:lnTo>
                    <a:pt x="152484" y="648058"/>
                  </a:lnTo>
                  <a:lnTo>
                    <a:pt x="147716" y="628996"/>
                  </a:lnTo>
                  <a:lnTo>
                    <a:pt x="147716" y="614702"/>
                  </a:lnTo>
                  <a:lnTo>
                    <a:pt x="152484" y="595640"/>
                  </a:lnTo>
                  <a:lnTo>
                    <a:pt x="147716" y="590876"/>
                  </a:lnTo>
                  <a:lnTo>
                    <a:pt x="142952" y="586110"/>
                  </a:lnTo>
                  <a:lnTo>
                    <a:pt x="123892" y="586110"/>
                  </a:lnTo>
                  <a:lnTo>
                    <a:pt x="100068" y="581346"/>
                  </a:lnTo>
                  <a:lnTo>
                    <a:pt x="76240" y="581346"/>
                  </a:lnTo>
                  <a:lnTo>
                    <a:pt x="71476" y="600406"/>
                  </a:lnTo>
                  <a:lnTo>
                    <a:pt x="81008" y="624232"/>
                  </a:lnTo>
                  <a:lnTo>
                    <a:pt x="71476" y="614702"/>
                  </a:lnTo>
                  <a:lnTo>
                    <a:pt x="61944" y="595640"/>
                  </a:lnTo>
                  <a:lnTo>
                    <a:pt x="47652" y="567050"/>
                  </a:lnTo>
                  <a:lnTo>
                    <a:pt x="38120" y="533694"/>
                  </a:lnTo>
                  <a:lnTo>
                    <a:pt x="38120" y="495574"/>
                  </a:lnTo>
                  <a:lnTo>
                    <a:pt x="42884" y="466982"/>
                  </a:lnTo>
                  <a:lnTo>
                    <a:pt x="52416" y="438392"/>
                  </a:lnTo>
                  <a:lnTo>
                    <a:pt x="61944" y="400270"/>
                  </a:lnTo>
                  <a:lnTo>
                    <a:pt x="66712" y="366914"/>
                  </a:lnTo>
                  <a:lnTo>
                    <a:pt x="76240" y="381210"/>
                  </a:lnTo>
                  <a:lnTo>
                    <a:pt x="85772" y="395506"/>
                  </a:lnTo>
                  <a:lnTo>
                    <a:pt x="100068" y="409802"/>
                  </a:lnTo>
                  <a:lnTo>
                    <a:pt x="109596" y="414566"/>
                  </a:lnTo>
                  <a:lnTo>
                    <a:pt x="128656" y="419332"/>
                  </a:lnTo>
                  <a:lnTo>
                    <a:pt x="142952" y="414566"/>
                  </a:lnTo>
                  <a:lnTo>
                    <a:pt x="157248" y="409802"/>
                  </a:lnTo>
                  <a:lnTo>
                    <a:pt x="171544" y="409802"/>
                  </a:lnTo>
                  <a:lnTo>
                    <a:pt x="185840" y="424096"/>
                  </a:lnTo>
                  <a:lnTo>
                    <a:pt x="195368" y="443156"/>
                  </a:lnTo>
                  <a:lnTo>
                    <a:pt x="214428" y="447922"/>
                  </a:lnTo>
                  <a:lnTo>
                    <a:pt x="247784" y="433626"/>
                  </a:lnTo>
                  <a:lnTo>
                    <a:pt x="262080" y="428862"/>
                  </a:lnTo>
                  <a:lnTo>
                    <a:pt x="276376" y="438392"/>
                  </a:lnTo>
                  <a:lnTo>
                    <a:pt x="285908" y="438392"/>
                  </a:lnTo>
                  <a:lnTo>
                    <a:pt x="290672" y="438392"/>
                  </a:lnTo>
                  <a:lnTo>
                    <a:pt x="285908" y="424096"/>
                  </a:lnTo>
                  <a:lnTo>
                    <a:pt x="285908" y="409802"/>
                  </a:lnTo>
                  <a:lnTo>
                    <a:pt x="290672" y="400270"/>
                  </a:lnTo>
                  <a:lnTo>
                    <a:pt x="319264" y="409802"/>
                  </a:lnTo>
                  <a:lnTo>
                    <a:pt x="338324" y="405036"/>
                  </a:lnTo>
                  <a:lnTo>
                    <a:pt x="343088" y="400270"/>
                  </a:lnTo>
                  <a:lnTo>
                    <a:pt x="343088" y="395506"/>
                  </a:lnTo>
                  <a:lnTo>
                    <a:pt x="347852" y="385976"/>
                  </a:lnTo>
                  <a:lnTo>
                    <a:pt x="347852" y="371680"/>
                  </a:lnTo>
                  <a:lnTo>
                    <a:pt x="343088" y="357384"/>
                  </a:lnTo>
                  <a:lnTo>
                    <a:pt x="338324" y="347854"/>
                  </a:lnTo>
                  <a:lnTo>
                    <a:pt x="328792" y="333558"/>
                  </a:lnTo>
                  <a:lnTo>
                    <a:pt x="276376" y="295438"/>
                  </a:lnTo>
                  <a:lnTo>
                    <a:pt x="262080" y="285908"/>
                  </a:lnTo>
                  <a:lnTo>
                    <a:pt x="247784" y="266848"/>
                  </a:lnTo>
                  <a:lnTo>
                    <a:pt x="238256" y="238256"/>
                  </a:lnTo>
                  <a:lnTo>
                    <a:pt x="233492" y="214430"/>
                  </a:lnTo>
                  <a:lnTo>
                    <a:pt x="228724" y="190606"/>
                  </a:lnTo>
                  <a:lnTo>
                    <a:pt x="209664" y="142954"/>
                  </a:lnTo>
                  <a:lnTo>
                    <a:pt x="204900" y="138188"/>
                  </a:lnTo>
                  <a:lnTo>
                    <a:pt x="195368" y="138188"/>
                  </a:lnTo>
                  <a:lnTo>
                    <a:pt x="176308" y="138188"/>
                  </a:lnTo>
                  <a:lnTo>
                    <a:pt x="157248" y="138188"/>
                  </a:lnTo>
                  <a:lnTo>
                    <a:pt x="123892" y="147718"/>
                  </a:lnTo>
                  <a:lnTo>
                    <a:pt x="104832" y="142954"/>
                  </a:lnTo>
                  <a:lnTo>
                    <a:pt x="95300" y="152484"/>
                  </a:lnTo>
                  <a:lnTo>
                    <a:pt x="71476" y="171544"/>
                  </a:lnTo>
                  <a:lnTo>
                    <a:pt x="61944" y="185840"/>
                  </a:lnTo>
                  <a:lnTo>
                    <a:pt x="47652" y="223962"/>
                  </a:lnTo>
                  <a:lnTo>
                    <a:pt x="57180" y="238256"/>
                  </a:lnTo>
                  <a:lnTo>
                    <a:pt x="57180" y="247786"/>
                  </a:lnTo>
                  <a:lnTo>
                    <a:pt x="52416" y="300204"/>
                  </a:lnTo>
                  <a:lnTo>
                    <a:pt x="57180" y="328794"/>
                  </a:lnTo>
                  <a:lnTo>
                    <a:pt x="52416" y="333558"/>
                  </a:lnTo>
                  <a:lnTo>
                    <a:pt x="52416" y="324028"/>
                  </a:lnTo>
                  <a:lnTo>
                    <a:pt x="38120" y="295438"/>
                  </a:lnTo>
                  <a:lnTo>
                    <a:pt x="14296" y="262082"/>
                  </a:lnTo>
                  <a:lnTo>
                    <a:pt x="0" y="209666"/>
                  </a:lnTo>
                  <a:lnTo>
                    <a:pt x="28588" y="176310"/>
                  </a:lnTo>
                  <a:lnTo>
                    <a:pt x="57180" y="152484"/>
                  </a:lnTo>
                  <a:lnTo>
                    <a:pt x="81008" y="138188"/>
                  </a:lnTo>
                  <a:lnTo>
                    <a:pt x="85772" y="133424"/>
                  </a:lnTo>
                  <a:lnTo>
                    <a:pt x="114364" y="119128"/>
                  </a:lnTo>
                  <a:lnTo>
                    <a:pt x="157248" y="109598"/>
                  </a:lnTo>
                  <a:lnTo>
                    <a:pt x="185840" y="100068"/>
                  </a:lnTo>
                  <a:lnTo>
                    <a:pt x="223960" y="95302"/>
                  </a:lnTo>
                  <a:lnTo>
                    <a:pt x="233492" y="95302"/>
                  </a:lnTo>
                  <a:lnTo>
                    <a:pt x="252552" y="95302"/>
                  </a:lnTo>
                  <a:lnTo>
                    <a:pt x="266848" y="100068"/>
                  </a:lnTo>
                  <a:lnTo>
                    <a:pt x="276376" y="104832"/>
                  </a:lnTo>
                  <a:lnTo>
                    <a:pt x="309732" y="128658"/>
                  </a:lnTo>
                  <a:lnTo>
                    <a:pt x="338324" y="147718"/>
                  </a:lnTo>
                  <a:lnTo>
                    <a:pt x="366912" y="171544"/>
                  </a:lnTo>
                  <a:lnTo>
                    <a:pt x="376444" y="181074"/>
                  </a:lnTo>
                  <a:lnTo>
                    <a:pt x="381208" y="195370"/>
                  </a:lnTo>
                  <a:lnTo>
                    <a:pt x="381208" y="204900"/>
                  </a:lnTo>
                  <a:lnTo>
                    <a:pt x="405036" y="238256"/>
                  </a:lnTo>
                  <a:lnTo>
                    <a:pt x="414564" y="257316"/>
                  </a:lnTo>
                  <a:lnTo>
                    <a:pt x="428860" y="276378"/>
                  </a:lnTo>
                  <a:lnTo>
                    <a:pt x="438392" y="290672"/>
                  </a:lnTo>
                  <a:lnTo>
                    <a:pt x="452688" y="300204"/>
                  </a:lnTo>
                  <a:lnTo>
                    <a:pt x="457452" y="309734"/>
                  </a:lnTo>
                  <a:lnTo>
                    <a:pt x="466980" y="314498"/>
                  </a:lnTo>
                  <a:lnTo>
                    <a:pt x="476512" y="319264"/>
                  </a:lnTo>
                  <a:lnTo>
                    <a:pt x="495572" y="314498"/>
                  </a:lnTo>
                  <a:lnTo>
                    <a:pt x="519396" y="309734"/>
                  </a:lnTo>
                  <a:lnTo>
                    <a:pt x="538460" y="304968"/>
                  </a:lnTo>
                  <a:lnTo>
                    <a:pt x="543224" y="304968"/>
                  </a:lnTo>
                  <a:lnTo>
                    <a:pt x="586108" y="309734"/>
                  </a:lnTo>
                  <a:lnTo>
                    <a:pt x="619464" y="309734"/>
                  </a:lnTo>
                  <a:lnTo>
                    <a:pt x="667116" y="314498"/>
                  </a:lnTo>
                  <a:lnTo>
                    <a:pt x="681412" y="314498"/>
                  </a:lnTo>
                  <a:lnTo>
                    <a:pt x="695708" y="319264"/>
                  </a:lnTo>
                  <a:lnTo>
                    <a:pt x="705236" y="319264"/>
                  </a:lnTo>
                  <a:lnTo>
                    <a:pt x="710004" y="309734"/>
                  </a:lnTo>
                  <a:lnTo>
                    <a:pt x="719532" y="304968"/>
                  </a:lnTo>
                  <a:lnTo>
                    <a:pt x="719532" y="300204"/>
                  </a:lnTo>
                  <a:lnTo>
                    <a:pt x="719532" y="295438"/>
                  </a:lnTo>
                  <a:lnTo>
                    <a:pt x="714768" y="290672"/>
                  </a:lnTo>
                  <a:lnTo>
                    <a:pt x="705236" y="281142"/>
                  </a:lnTo>
                  <a:lnTo>
                    <a:pt x="700472" y="233492"/>
                  </a:lnTo>
                  <a:lnTo>
                    <a:pt x="695708" y="195370"/>
                  </a:lnTo>
                  <a:lnTo>
                    <a:pt x="705236" y="181074"/>
                  </a:lnTo>
                  <a:lnTo>
                    <a:pt x="714768" y="176310"/>
                  </a:lnTo>
                  <a:lnTo>
                    <a:pt x="710004" y="214430"/>
                  </a:lnTo>
                  <a:lnTo>
                    <a:pt x="710004" y="223962"/>
                  </a:lnTo>
                  <a:lnTo>
                    <a:pt x="729064" y="219196"/>
                  </a:lnTo>
                  <a:lnTo>
                    <a:pt x="743360" y="238256"/>
                  </a:lnTo>
                  <a:lnTo>
                    <a:pt x="757656" y="252552"/>
                  </a:lnTo>
                  <a:lnTo>
                    <a:pt x="771948" y="252552"/>
                  </a:lnTo>
                  <a:lnTo>
                    <a:pt x="786244" y="247786"/>
                  </a:lnTo>
                  <a:lnTo>
                    <a:pt x="810072" y="243022"/>
                  </a:lnTo>
                  <a:lnTo>
                    <a:pt x="829132" y="228726"/>
                  </a:lnTo>
                  <a:lnTo>
                    <a:pt x="838660" y="214430"/>
                  </a:lnTo>
                  <a:lnTo>
                    <a:pt x="833896" y="200136"/>
                  </a:lnTo>
                  <a:lnTo>
                    <a:pt x="810072" y="181074"/>
                  </a:lnTo>
                  <a:lnTo>
                    <a:pt x="810072" y="162014"/>
                  </a:lnTo>
                  <a:lnTo>
                    <a:pt x="800540" y="152484"/>
                  </a:lnTo>
                  <a:lnTo>
                    <a:pt x="800540" y="142954"/>
                  </a:lnTo>
                  <a:lnTo>
                    <a:pt x="800540" y="133424"/>
                  </a:lnTo>
                  <a:lnTo>
                    <a:pt x="800540" y="128658"/>
                  </a:lnTo>
                  <a:lnTo>
                    <a:pt x="810072" y="128658"/>
                  </a:lnTo>
                  <a:lnTo>
                    <a:pt x="829132" y="123894"/>
                  </a:lnTo>
                  <a:lnTo>
                    <a:pt x="833896" y="114364"/>
                  </a:lnTo>
                  <a:lnTo>
                    <a:pt x="848192" y="95302"/>
                  </a:lnTo>
                  <a:lnTo>
                    <a:pt x="848192" y="76242"/>
                  </a:lnTo>
                  <a:lnTo>
                    <a:pt x="857720" y="66712"/>
                  </a:lnTo>
                  <a:lnTo>
                    <a:pt x="862488" y="61946"/>
                  </a:lnTo>
                  <a:lnTo>
                    <a:pt x="872016" y="61946"/>
                  </a:lnTo>
                  <a:lnTo>
                    <a:pt x="886312" y="66712"/>
                  </a:lnTo>
                  <a:lnTo>
                    <a:pt x="895844" y="71476"/>
                  </a:lnTo>
                  <a:lnTo>
                    <a:pt x="900608" y="76242"/>
                  </a:lnTo>
                  <a:lnTo>
                    <a:pt x="910140" y="81008"/>
                  </a:lnTo>
                  <a:lnTo>
                    <a:pt x="914904" y="90538"/>
                  </a:lnTo>
                  <a:lnTo>
                    <a:pt x="919668" y="100068"/>
                  </a:lnTo>
                  <a:lnTo>
                    <a:pt x="919668" y="104832"/>
                  </a:lnTo>
                  <a:lnTo>
                    <a:pt x="929200" y="104832"/>
                  </a:lnTo>
                  <a:lnTo>
                    <a:pt x="933964" y="100068"/>
                  </a:lnTo>
                  <a:lnTo>
                    <a:pt x="933964" y="95302"/>
                  </a:lnTo>
                  <a:lnTo>
                    <a:pt x="924432" y="81008"/>
                  </a:lnTo>
                  <a:lnTo>
                    <a:pt x="905372" y="52416"/>
                  </a:lnTo>
                  <a:lnTo>
                    <a:pt x="891076" y="42886"/>
                  </a:lnTo>
                  <a:lnTo>
                    <a:pt x="881548" y="38122"/>
                  </a:lnTo>
                  <a:lnTo>
                    <a:pt x="881548" y="33356"/>
                  </a:lnTo>
                  <a:lnTo>
                    <a:pt x="891076" y="23826"/>
                  </a:lnTo>
                  <a:lnTo>
                    <a:pt x="900608" y="19060"/>
                  </a:lnTo>
                  <a:lnTo>
                    <a:pt x="914904" y="23826"/>
                  </a:lnTo>
                  <a:lnTo>
                    <a:pt x="933964" y="23826"/>
                  </a:lnTo>
                  <a:lnTo>
                    <a:pt x="943496" y="1906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1" name="Google Shape;4888;p64">
              <a:extLst>
                <a:ext uri="{FF2B5EF4-FFF2-40B4-BE49-F238E27FC236}">
                  <a16:creationId xmlns:a16="http://schemas.microsoft.com/office/drawing/2014/main" id="{388FCB5D-AED3-918E-77EC-99C5F2305979}"/>
                </a:ext>
              </a:extLst>
            </p:cNvPr>
            <p:cNvSpPr/>
            <p:nvPr/>
          </p:nvSpPr>
          <p:spPr>
            <a:xfrm>
              <a:off x="6573325" y="4862125"/>
              <a:ext cx="984144" cy="363599"/>
            </a:xfrm>
            <a:custGeom>
              <a:avLst/>
              <a:gdLst/>
              <a:ahLst/>
              <a:cxnLst/>
              <a:rect l="l" t="t" r="r" b="b"/>
              <a:pathLst>
                <a:path w="7145312" h="2639880" extrusionOk="0">
                  <a:moveTo>
                    <a:pt x="4391064" y="2573168"/>
                  </a:moveTo>
                  <a:lnTo>
                    <a:pt x="4395828" y="2573168"/>
                  </a:lnTo>
                  <a:lnTo>
                    <a:pt x="4395828" y="2587462"/>
                  </a:lnTo>
                  <a:lnTo>
                    <a:pt x="4400596" y="2592228"/>
                  </a:lnTo>
                  <a:lnTo>
                    <a:pt x="4400596" y="2596992"/>
                  </a:lnTo>
                  <a:lnTo>
                    <a:pt x="4386300" y="2606524"/>
                  </a:lnTo>
                  <a:lnTo>
                    <a:pt x="4372004" y="2625584"/>
                  </a:lnTo>
                  <a:lnTo>
                    <a:pt x="4338648" y="2635114"/>
                  </a:lnTo>
                  <a:lnTo>
                    <a:pt x="4329120" y="2639880"/>
                  </a:lnTo>
                  <a:lnTo>
                    <a:pt x="4314824" y="2639880"/>
                  </a:lnTo>
                  <a:lnTo>
                    <a:pt x="4310056" y="2639880"/>
                  </a:lnTo>
                  <a:lnTo>
                    <a:pt x="4310056" y="2625584"/>
                  </a:lnTo>
                  <a:lnTo>
                    <a:pt x="4314824" y="2616054"/>
                  </a:lnTo>
                  <a:lnTo>
                    <a:pt x="4348180" y="2606524"/>
                  </a:lnTo>
                  <a:lnTo>
                    <a:pt x="4362476" y="2596992"/>
                  </a:lnTo>
                  <a:lnTo>
                    <a:pt x="4376768" y="2577932"/>
                  </a:lnTo>
                  <a:close/>
                  <a:moveTo>
                    <a:pt x="4162340" y="2563636"/>
                  </a:moveTo>
                  <a:lnTo>
                    <a:pt x="4171868" y="2563636"/>
                  </a:lnTo>
                  <a:lnTo>
                    <a:pt x="4181400" y="2568402"/>
                  </a:lnTo>
                  <a:lnTo>
                    <a:pt x="4176632" y="2577932"/>
                  </a:lnTo>
                  <a:lnTo>
                    <a:pt x="4162340" y="2587462"/>
                  </a:lnTo>
                  <a:lnTo>
                    <a:pt x="4157572" y="2592228"/>
                  </a:lnTo>
                  <a:lnTo>
                    <a:pt x="4138512" y="2587462"/>
                  </a:lnTo>
                  <a:lnTo>
                    <a:pt x="4133748" y="2582698"/>
                  </a:lnTo>
                  <a:lnTo>
                    <a:pt x="4148044" y="2577932"/>
                  </a:lnTo>
                  <a:close/>
                  <a:moveTo>
                    <a:pt x="1636824" y="2563636"/>
                  </a:moveTo>
                  <a:lnTo>
                    <a:pt x="1641588" y="2573168"/>
                  </a:lnTo>
                  <a:lnTo>
                    <a:pt x="1636824" y="2587464"/>
                  </a:lnTo>
                  <a:lnTo>
                    <a:pt x="1627292" y="2577932"/>
                  </a:lnTo>
                  <a:lnTo>
                    <a:pt x="1617764" y="2577932"/>
                  </a:lnTo>
                  <a:lnTo>
                    <a:pt x="1617764" y="2568402"/>
                  </a:lnTo>
                  <a:lnTo>
                    <a:pt x="1627292" y="2568402"/>
                  </a:lnTo>
                  <a:lnTo>
                    <a:pt x="1632060" y="2568402"/>
                  </a:lnTo>
                  <a:close/>
                  <a:moveTo>
                    <a:pt x="4410124" y="2515986"/>
                  </a:moveTo>
                  <a:lnTo>
                    <a:pt x="4414892" y="2525516"/>
                  </a:lnTo>
                  <a:lnTo>
                    <a:pt x="4400596" y="2530282"/>
                  </a:lnTo>
                  <a:lnTo>
                    <a:pt x="4400596" y="2544576"/>
                  </a:lnTo>
                  <a:lnTo>
                    <a:pt x="4391064" y="2549342"/>
                  </a:lnTo>
                  <a:lnTo>
                    <a:pt x="4391064" y="2539812"/>
                  </a:lnTo>
                  <a:lnTo>
                    <a:pt x="4400596" y="2520752"/>
                  </a:lnTo>
                  <a:close/>
                  <a:moveTo>
                    <a:pt x="4643616" y="2382562"/>
                  </a:moveTo>
                  <a:lnTo>
                    <a:pt x="4648380" y="2387328"/>
                  </a:lnTo>
                  <a:lnTo>
                    <a:pt x="4653148" y="2396858"/>
                  </a:lnTo>
                  <a:lnTo>
                    <a:pt x="4648384" y="2387328"/>
                  </a:lnTo>
                  <a:close/>
                  <a:moveTo>
                    <a:pt x="3862136" y="2382562"/>
                  </a:moveTo>
                  <a:lnTo>
                    <a:pt x="3866900" y="2387328"/>
                  </a:lnTo>
                  <a:lnTo>
                    <a:pt x="3871668" y="2396858"/>
                  </a:lnTo>
                  <a:lnTo>
                    <a:pt x="3876432" y="2401622"/>
                  </a:lnTo>
                  <a:lnTo>
                    <a:pt x="3905024" y="2415918"/>
                  </a:lnTo>
                  <a:lnTo>
                    <a:pt x="3909788" y="2420682"/>
                  </a:lnTo>
                  <a:lnTo>
                    <a:pt x="3909788" y="2434978"/>
                  </a:lnTo>
                  <a:lnTo>
                    <a:pt x="3914552" y="2439744"/>
                  </a:lnTo>
                  <a:lnTo>
                    <a:pt x="3924084" y="2439744"/>
                  </a:lnTo>
                  <a:lnTo>
                    <a:pt x="3938380" y="2439744"/>
                  </a:lnTo>
                  <a:lnTo>
                    <a:pt x="3947908" y="2444508"/>
                  </a:lnTo>
                  <a:lnTo>
                    <a:pt x="3957440" y="2449274"/>
                  </a:lnTo>
                  <a:lnTo>
                    <a:pt x="3966968" y="2463570"/>
                  </a:lnTo>
                  <a:lnTo>
                    <a:pt x="3976500" y="2477864"/>
                  </a:lnTo>
                  <a:lnTo>
                    <a:pt x="3990796" y="2487394"/>
                  </a:lnTo>
                  <a:lnTo>
                    <a:pt x="4000324" y="2501690"/>
                  </a:lnTo>
                  <a:lnTo>
                    <a:pt x="3995560" y="2511220"/>
                  </a:lnTo>
                  <a:lnTo>
                    <a:pt x="3976500" y="2530280"/>
                  </a:lnTo>
                  <a:lnTo>
                    <a:pt x="3966968" y="2530280"/>
                  </a:lnTo>
                  <a:lnTo>
                    <a:pt x="3957440" y="2535046"/>
                  </a:lnTo>
                  <a:lnTo>
                    <a:pt x="3938380" y="2539812"/>
                  </a:lnTo>
                  <a:lnTo>
                    <a:pt x="3928848" y="2535046"/>
                  </a:lnTo>
                  <a:lnTo>
                    <a:pt x="3909788" y="2535046"/>
                  </a:lnTo>
                  <a:lnTo>
                    <a:pt x="3890728" y="2525516"/>
                  </a:lnTo>
                  <a:lnTo>
                    <a:pt x="3876432" y="2515986"/>
                  </a:lnTo>
                  <a:lnTo>
                    <a:pt x="3866900" y="2501690"/>
                  </a:lnTo>
                  <a:lnTo>
                    <a:pt x="3857372" y="2492160"/>
                  </a:lnTo>
                  <a:lnTo>
                    <a:pt x="3838312" y="2482630"/>
                  </a:lnTo>
                  <a:lnTo>
                    <a:pt x="3804956" y="2458804"/>
                  </a:lnTo>
                  <a:lnTo>
                    <a:pt x="3785896" y="2458804"/>
                  </a:lnTo>
                  <a:lnTo>
                    <a:pt x="3776364" y="2458804"/>
                  </a:lnTo>
                  <a:lnTo>
                    <a:pt x="3771600" y="2458804"/>
                  </a:lnTo>
                  <a:lnTo>
                    <a:pt x="3728712" y="2449274"/>
                  </a:lnTo>
                  <a:lnTo>
                    <a:pt x="3719184" y="2444508"/>
                  </a:lnTo>
                  <a:lnTo>
                    <a:pt x="3709652" y="2425448"/>
                  </a:lnTo>
                  <a:lnTo>
                    <a:pt x="3704888" y="2420682"/>
                  </a:lnTo>
                  <a:lnTo>
                    <a:pt x="3709652" y="2411152"/>
                  </a:lnTo>
                  <a:lnTo>
                    <a:pt x="3719184" y="2406388"/>
                  </a:lnTo>
                  <a:lnTo>
                    <a:pt x="3743008" y="2396858"/>
                  </a:lnTo>
                  <a:lnTo>
                    <a:pt x="3757304" y="2396858"/>
                  </a:lnTo>
                  <a:lnTo>
                    <a:pt x="3781128" y="2396858"/>
                  </a:lnTo>
                  <a:lnTo>
                    <a:pt x="3809720" y="2392092"/>
                  </a:lnTo>
                  <a:lnTo>
                    <a:pt x="3838312" y="2396858"/>
                  </a:lnTo>
                  <a:lnTo>
                    <a:pt x="3847840" y="2392092"/>
                  </a:lnTo>
                  <a:close/>
                  <a:moveTo>
                    <a:pt x="4672208" y="2358736"/>
                  </a:moveTo>
                  <a:lnTo>
                    <a:pt x="4667440" y="2368266"/>
                  </a:lnTo>
                  <a:lnTo>
                    <a:pt x="4667444" y="2368266"/>
                  </a:lnTo>
                  <a:close/>
                  <a:moveTo>
                    <a:pt x="4638852" y="2344440"/>
                  </a:moveTo>
                  <a:lnTo>
                    <a:pt x="4638852" y="2344442"/>
                  </a:lnTo>
                  <a:lnTo>
                    <a:pt x="4648380" y="2349206"/>
                  </a:lnTo>
                  <a:lnTo>
                    <a:pt x="4648380" y="2349204"/>
                  </a:lnTo>
                  <a:close/>
                  <a:moveTo>
                    <a:pt x="4667444" y="2339676"/>
                  </a:moveTo>
                  <a:lnTo>
                    <a:pt x="4667440" y="2339678"/>
                  </a:lnTo>
                  <a:lnTo>
                    <a:pt x="4672208" y="2344442"/>
                  </a:lnTo>
                  <a:lnTo>
                    <a:pt x="4672208" y="2344440"/>
                  </a:lnTo>
                  <a:close/>
                  <a:moveTo>
                    <a:pt x="3171192" y="2287260"/>
                  </a:moveTo>
                  <a:lnTo>
                    <a:pt x="3175960" y="2287260"/>
                  </a:lnTo>
                  <a:lnTo>
                    <a:pt x="3185488" y="2292026"/>
                  </a:lnTo>
                  <a:lnTo>
                    <a:pt x="3185488" y="2301556"/>
                  </a:lnTo>
                  <a:lnTo>
                    <a:pt x="3180724" y="2306320"/>
                  </a:lnTo>
                  <a:lnTo>
                    <a:pt x="3166428" y="2296790"/>
                  </a:lnTo>
                  <a:lnTo>
                    <a:pt x="3161664" y="2292026"/>
                  </a:lnTo>
                  <a:close/>
                  <a:moveTo>
                    <a:pt x="4338648" y="2249140"/>
                  </a:moveTo>
                  <a:lnTo>
                    <a:pt x="4352944" y="2249140"/>
                  </a:lnTo>
                  <a:lnTo>
                    <a:pt x="4357708" y="2249140"/>
                  </a:lnTo>
                  <a:lnTo>
                    <a:pt x="4362472" y="2253904"/>
                  </a:lnTo>
                  <a:lnTo>
                    <a:pt x="4343412" y="2258670"/>
                  </a:lnTo>
                  <a:lnTo>
                    <a:pt x="4333884" y="2263434"/>
                  </a:lnTo>
                  <a:lnTo>
                    <a:pt x="4329120" y="2272964"/>
                  </a:lnTo>
                  <a:lnTo>
                    <a:pt x="4319588" y="2272964"/>
                  </a:lnTo>
                  <a:lnTo>
                    <a:pt x="4324352" y="2263434"/>
                  </a:lnTo>
                  <a:lnTo>
                    <a:pt x="4329120" y="2258670"/>
                  </a:lnTo>
                  <a:close/>
                  <a:moveTo>
                    <a:pt x="3781128" y="2249140"/>
                  </a:moveTo>
                  <a:lnTo>
                    <a:pt x="3785896" y="2249140"/>
                  </a:lnTo>
                  <a:lnTo>
                    <a:pt x="3785896" y="2253904"/>
                  </a:lnTo>
                  <a:lnTo>
                    <a:pt x="3790660" y="2253904"/>
                  </a:lnTo>
                  <a:lnTo>
                    <a:pt x="3800192" y="2253904"/>
                  </a:lnTo>
                  <a:lnTo>
                    <a:pt x="3800192" y="2263434"/>
                  </a:lnTo>
                  <a:lnTo>
                    <a:pt x="3800192" y="2268200"/>
                  </a:lnTo>
                  <a:lnTo>
                    <a:pt x="3795424" y="2272964"/>
                  </a:lnTo>
                  <a:lnTo>
                    <a:pt x="3790660" y="2277730"/>
                  </a:lnTo>
                  <a:lnTo>
                    <a:pt x="3781128" y="2287260"/>
                  </a:lnTo>
                  <a:lnTo>
                    <a:pt x="3785896" y="2296790"/>
                  </a:lnTo>
                  <a:lnTo>
                    <a:pt x="3781128" y="2296790"/>
                  </a:lnTo>
                  <a:lnTo>
                    <a:pt x="3771600" y="2296790"/>
                  </a:lnTo>
                  <a:lnTo>
                    <a:pt x="3776364" y="2282494"/>
                  </a:lnTo>
                  <a:lnTo>
                    <a:pt x="3771600" y="2272964"/>
                  </a:lnTo>
                  <a:lnTo>
                    <a:pt x="3781128" y="2263434"/>
                  </a:lnTo>
                  <a:close/>
                  <a:moveTo>
                    <a:pt x="4958116" y="2230078"/>
                  </a:moveTo>
                  <a:lnTo>
                    <a:pt x="4972412" y="2234844"/>
                  </a:lnTo>
                  <a:lnTo>
                    <a:pt x="4996236" y="2239608"/>
                  </a:lnTo>
                  <a:lnTo>
                    <a:pt x="5001000" y="2239608"/>
                  </a:lnTo>
                  <a:lnTo>
                    <a:pt x="5010532" y="2244374"/>
                  </a:lnTo>
                  <a:lnTo>
                    <a:pt x="4981940" y="2272964"/>
                  </a:lnTo>
                  <a:lnTo>
                    <a:pt x="4948584" y="2292024"/>
                  </a:lnTo>
                  <a:lnTo>
                    <a:pt x="4929524" y="2296790"/>
                  </a:lnTo>
                  <a:lnTo>
                    <a:pt x="4910464" y="2301554"/>
                  </a:lnTo>
                  <a:lnTo>
                    <a:pt x="4896168" y="2311086"/>
                  </a:lnTo>
                  <a:lnTo>
                    <a:pt x="4881872" y="2325380"/>
                  </a:lnTo>
                  <a:lnTo>
                    <a:pt x="4867580" y="2330146"/>
                  </a:lnTo>
                  <a:lnTo>
                    <a:pt x="4848516" y="2334910"/>
                  </a:lnTo>
                  <a:lnTo>
                    <a:pt x="4829456" y="2334910"/>
                  </a:lnTo>
                  <a:lnTo>
                    <a:pt x="4819928" y="2344440"/>
                  </a:lnTo>
                  <a:lnTo>
                    <a:pt x="4796100" y="2358736"/>
                  </a:lnTo>
                  <a:lnTo>
                    <a:pt x="4791336" y="2358736"/>
                  </a:lnTo>
                  <a:lnTo>
                    <a:pt x="4781804" y="2358736"/>
                  </a:lnTo>
                  <a:lnTo>
                    <a:pt x="4762744" y="2363502"/>
                  </a:lnTo>
                  <a:lnTo>
                    <a:pt x="4715096" y="2382562"/>
                  </a:lnTo>
                  <a:lnTo>
                    <a:pt x="4681740" y="2401622"/>
                  </a:lnTo>
                  <a:lnTo>
                    <a:pt x="4662676" y="2420684"/>
                  </a:lnTo>
                  <a:lnTo>
                    <a:pt x="4648380" y="2425448"/>
                  </a:lnTo>
                  <a:lnTo>
                    <a:pt x="4643616" y="2444510"/>
                  </a:lnTo>
                  <a:lnTo>
                    <a:pt x="4624556" y="2458804"/>
                  </a:lnTo>
                  <a:lnTo>
                    <a:pt x="4605496" y="2482630"/>
                  </a:lnTo>
                  <a:lnTo>
                    <a:pt x="4586436" y="2496926"/>
                  </a:lnTo>
                  <a:lnTo>
                    <a:pt x="4572140" y="2511220"/>
                  </a:lnTo>
                  <a:lnTo>
                    <a:pt x="4562608" y="2520752"/>
                  </a:lnTo>
                  <a:lnTo>
                    <a:pt x="4543548" y="2520752"/>
                  </a:lnTo>
                  <a:lnTo>
                    <a:pt x="4519724" y="2525516"/>
                  </a:lnTo>
                  <a:lnTo>
                    <a:pt x="4491132" y="2544576"/>
                  </a:lnTo>
                  <a:lnTo>
                    <a:pt x="4472072" y="2549342"/>
                  </a:lnTo>
                  <a:lnTo>
                    <a:pt x="4453012" y="2549342"/>
                  </a:lnTo>
                  <a:lnTo>
                    <a:pt x="4438716" y="2544576"/>
                  </a:lnTo>
                  <a:lnTo>
                    <a:pt x="4433952" y="2539812"/>
                  </a:lnTo>
                  <a:lnTo>
                    <a:pt x="4433952" y="2530282"/>
                  </a:lnTo>
                  <a:lnTo>
                    <a:pt x="4438716" y="2520752"/>
                  </a:lnTo>
                  <a:lnTo>
                    <a:pt x="4443480" y="2515986"/>
                  </a:lnTo>
                  <a:lnTo>
                    <a:pt x="4448248" y="2506456"/>
                  </a:lnTo>
                  <a:lnTo>
                    <a:pt x="4429184" y="2496926"/>
                  </a:lnTo>
                  <a:lnTo>
                    <a:pt x="4429184" y="2492160"/>
                  </a:lnTo>
                  <a:lnTo>
                    <a:pt x="4438716" y="2468334"/>
                  </a:lnTo>
                  <a:lnTo>
                    <a:pt x="4443480" y="2449274"/>
                  </a:lnTo>
                  <a:lnTo>
                    <a:pt x="4448248" y="2434978"/>
                  </a:lnTo>
                  <a:lnTo>
                    <a:pt x="4476836" y="2406388"/>
                  </a:lnTo>
                  <a:lnTo>
                    <a:pt x="4491132" y="2396858"/>
                  </a:lnTo>
                  <a:lnTo>
                    <a:pt x="4500664" y="2392092"/>
                  </a:lnTo>
                  <a:lnTo>
                    <a:pt x="4524488" y="2377798"/>
                  </a:lnTo>
                  <a:lnTo>
                    <a:pt x="4562608" y="2368268"/>
                  </a:lnTo>
                  <a:lnTo>
                    <a:pt x="4586436" y="2363502"/>
                  </a:lnTo>
                  <a:lnTo>
                    <a:pt x="4595964" y="2353972"/>
                  </a:lnTo>
                  <a:lnTo>
                    <a:pt x="4605496" y="2349206"/>
                  </a:lnTo>
                  <a:lnTo>
                    <a:pt x="4634088" y="2330146"/>
                  </a:lnTo>
                  <a:lnTo>
                    <a:pt x="4638852" y="2330146"/>
                  </a:lnTo>
                  <a:lnTo>
                    <a:pt x="4653148" y="2315850"/>
                  </a:lnTo>
                  <a:lnTo>
                    <a:pt x="4667444" y="2292024"/>
                  </a:lnTo>
                  <a:lnTo>
                    <a:pt x="4676972" y="2282494"/>
                  </a:lnTo>
                  <a:lnTo>
                    <a:pt x="4700800" y="2272964"/>
                  </a:lnTo>
                  <a:lnTo>
                    <a:pt x="4710328" y="2268200"/>
                  </a:lnTo>
                  <a:lnTo>
                    <a:pt x="4777040" y="2258668"/>
                  </a:lnTo>
                  <a:lnTo>
                    <a:pt x="4791336" y="2258668"/>
                  </a:lnTo>
                  <a:lnTo>
                    <a:pt x="4834224" y="2258668"/>
                  </a:lnTo>
                  <a:lnTo>
                    <a:pt x="4891404" y="2253904"/>
                  </a:lnTo>
                  <a:lnTo>
                    <a:pt x="4900936" y="2253904"/>
                  </a:lnTo>
                  <a:lnTo>
                    <a:pt x="4919996" y="2244374"/>
                  </a:lnTo>
                  <a:lnTo>
                    <a:pt x="4939056" y="2239608"/>
                  </a:lnTo>
                  <a:lnTo>
                    <a:pt x="4948584" y="2234844"/>
                  </a:lnTo>
                  <a:close/>
                  <a:moveTo>
                    <a:pt x="4372004" y="2215784"/>
                  </a:moveTo>
                  <a:lnTo>
                    <a:pt x="4391064" y="2220548"/>
                  </a:lnTo>
                  <a:lnTo>
                    <a:pt x="4386300" y="2234844"/>
                  </a:lnTo>
                  <a:lnTo>
                    <a:pt x="4381536" y="2244374"/>
                  </a:lnTo>
                  <a:lnTo>
                    <a:pt x="4343416" y="2239608"/>
                  </a:lnTo>
                  <a:lnTo>
                    <a:pt x="4343416" y="2230078"/>
                  </a:lnTo>
                  <a:lnTo>
                    <a:pt x="4352944" y="2220548"/>
                  </a:lnTo>
                  <a:lnTo>
                    <a:pt x="4357708" y="2220548"/>
                  </a:lnTo>
                  <a:close/>
                  <a:moveTo>
                    <a:pt x="4529256" y="2211018"/>
                  </a:moveTo>
                  <a:lnTo>
                    <a:pt x="4534020" y="2211018"/>
                  </a:lnTo>
                  <a:lnTo>
                    <a:pt x="4538784" y="2211018"/>
                  </a:lnTo>
                  <a:lnTo>
                    <a:pt x="4543552" y="2215784"/>
                  </a:lnTo>
                  <a:lnTo>
                    <a:pt x="4538784" y="2230078"/>
                  </a:lnTo>
                  <a:lnTo>
                    <a:pt x="4529256" y="2239608"/>
                  </a:lnTo>
                  <a:lnTo>
                    <a:pt x="4524488" y="2258670"/>
                  </a:lnTo>
                  <a:lnTo>
                    <a:pt x="4514960" y="2263434"/>
                  </a:lnTo>
                  <a:lnTo>
                    <a:pt x="4505428" y="2268200"/>
                  </a:lnTo>
                  <a:lnTo>
                    <a:pt x="4495900" y="2249140"/>
                  </a:lnTo>
                  <a:lnTo>
                    <a:pt x="4481604" y="2249140"/>
                  </a:lnTo>
                  <a:lnTo>
                    <a:pt x="4491132" y="2234844"/>
                  </a:lnTo>
                  <a:lnTo>
                    <a:pt x="4495900" y="2230078"/>
                  </a:lnTo>
                  <a:lnTo>
                    <a:pt x="4505428" y="2230078"/>
                  </a:lnTo>
                  <a:lnTo>
                    <a:pt x="4510192" y="2234844"/>
                  </a:lnTo>
                  <a:close/>
                  <a:moveTo>
                    <a:pt x="4457776" y="2211018"/>
                  </a:moveTo>
                  <a:lnTo>
                    <a:pt x="4472072" y="2211018"/>
                  </a:lnTo>
                  <a:lnTo>
                    <a:pt x="4476836" y="2215784"/>
                  </a:lnTo>
                  <a:lnTo>
                    <a:pt x="4481604" y="2220548"/>
                  </a:lnTo>
                  <a:lnTo>
                    <a:pt x="4457776" y="2225314"/>
                  </a:lnTo>
                  <a:lnTo>
                    <a:pt x="4448248" y="2244374"/>
                  </a:lnTo>
                  <a:lnTo>
                    <a:pt x="4433952" y="2244374"/>
                  </a:lnTo>
                  <a:lnTo>
                    <a:pt x="4429188" y="2253904"/>
                  </a:lnTo>
                  <a:lnTo>
                    <a:pt x="4429188" y="2258670"/>
                  </a:lnTo>
                  <a:lnTo>
                    <a:pt x="4429188" y="2263434"/>
                  </a:lnTo>
                  <a:lnTo>
                    <a:pt x="4424420" y="2268200"/>
                  </a:lnTo>
                  <a:lnTo>
                    <a:pt x="4414892" y="2263434"/>
                  </a:lnTo>
                  <a:lnTo>
                    <a:pt x="4405360" y="2268200"/>
                  </a:lnTo>
                  <a:lnTo>
                    <a:pt x="4400596" y="2272964"/>
                  </a:lnTo>
                  <a:lnTo>
                    <a:pt x="4391064" y="2263434"/>
                  </a:lnTo>
                  <a:lnTo>
                    <a:pt x="4376772" y="2263434"/>
                  </a:lnTo>
                  <a:lnTo>
                    <a:pt x="4372004" y="2263434"/>
                  </a:lnTo>
                  <a:lnTo>
                    <a:pt x="4391064" y="2249140"/>
                  </a:lnTo>
                  <a:lnTo>
                    <a:pt x="4410128" y="2234844"/>
                  </a:lnTo>
                  <a:lnTo>
                    <a:pt x="4410128" y="2230078"/>
                  </a:lnTo>
                  <a:lnTo>
                    <a:pt x="4405360" y="2230078"/>
                  </a:lnTo>
                  <a:lnTo>
                    <a:pt x="4400596" y="2225314"/>
                  </a:lnTo>
                  <a:lnTo>
                    <a:pt x="4410128" y="2220548"/>
                  </a:lnTo>
                  <a:lnTo>
                    <a:pt x="4419656" y="2220548"/>
                  </a:lnTo>
                  <a:lnTo>
                    <a:pt x="4429188" y="2225314"/>
                  </a:lnTo>
                  <a:lnTo>
                    <a:pt x="4433952" y="2225314"/>
                  </a:lnTo>
                  <a:close/>
                  <a:moveTo>
                    <a:pt x="3304616" y="2211018"/>
                  </a:moveTo>
                  <a:lnTo>
                    <a:pt x="3347504" y="2225314"/>
                  </a:lnTo>
                  <a:lnTo>
                    <a:pt x="3352268" y="2225314"/>
                  </a:lnTo>
                  <a:lnTo>
                    <a:pt x="3357032" y="2230078"/>
                  </a:lnTo>
                  <a:lnTo>
                    <a:pt x="3357032" y="2239608"/>
                  </a:lnTo>
                  <a:lnTo>
                    <a:pt x="3342736" y="2277730"/>
                  </a:lnTo>
                  <a:lnTo>
                    <a:pt x="3323676" y="2311086"/>
                  </a:lnTo>
                  <a:lnTo>
                    <a:pt x="3333208" y="2315850"/>
                  </a:lnTo>
                  <a:lnTo>
                    <a:pt x="3337972" y="2320616"/>
                  </a:lnTo>
                  <a:lnTo>
                    <a:pt x="3304616" y="2325380"/>
                  </a:lnTo>
                  <a:lnTo>
                    <a:pt x="3290320" y="2320616"/>
                  </a:lnTo>
                  <a:lnTo>
                    <a:pt x="3280792" y="2325380"/>
                  </a:lnTo>
                  <a:lnTo>
                    <a:pt x="3247436" y="2315850"/>
                  </a:lnTo>
                  <a:lnTo>
                    <a:pt x="3223608" y="2311086"/>
                  </a:lnTo>
                  <a:lnTo>
                    <a:pt x="3223608" y="2301556"/>
                  </a:lnTo>
                  <a:lnTo>
                    <a:pt x="3223608" y="2296790"/>
                  </a:lnTo>
                  <a:lnTo>
                    <a:pt x="3233140" y="2296790"/>
                  </a:lnTo>
                  <a:lnTo>
                    <a:pt x="3247436" y="2301556"/>
                  </a:lnTo>
                  <a:lnTo>
                    <a:pt x="3256964" y="2296790"/>
                  </a:lnTo>
                  <a:lnTo>
                    <a:pt x="3256964" y="2277730"/>
                  </a:lnTo>
                  <a:lnTo>
                    <a:pt x="3252200" y="2249140"/>
                  </a:lnTo>
                  <a:lnTo>
                    <a:pt x="3280792" y="2225314"/>
                  </a:lnTo>
                  <a:lnTo>
                    <a:pt x="3290320" y="2215784"/>
                  </a:lnTo>
                  <a:close/>
                  <a:moveTo>
                    <a:pt x="6802220" y="2206252"/>
                  </a:moveTo>
                  <a:lnTo>
                    <a:pt x="6806984" y="2206252"/>
                  </a:lnTo>
                  <a:lnTo>
                    <a:pt x="6821280" y="2230078"/>
                  </a:lnTo>
                  <a:lnTo>
                    <a:pt x="6821280" y="2239608"/>
                  </a:lnTo>
                  <a:lnTo>
                    <a:pt x="6811748" y="2244372"/>
                  </a:lnTo>
                  <a:lnTo>
                    <a:pt x="6773628" y="2239608"/>
                  </a:lnTo>
                  <a:lnTo>
                    <a:pt x="6768864" y="2230078"/>
                  </a:lnTo>
                  <a:lnTo>
                    <a:pt x="6778396" y="2220548"/>
                  </a:lnTo>
                  <a:lnTo>
                    <a:pt x="6787924" y="2211018"/>
                  </a:lnTo>
                  <a:close/>
                  <a:moveTo>
                    <a:pt x="4748448" y="2201488"/>
                  </a:moveTo>
                  <a:lnTo>
                    <a:pt x="4753216" y="2201488"/>
                  </a:lnTo>
                  <a:lnTo>
                    <a:pt x="4738920" y="2230078"/>
                  </a:lnTo>
                  <a:lnTo>
                    <a:pt x="4729388" y="2220548"/>
                  </a:lnTo>
                  <a:lnTo>
                    <a:pt x="4743684" y="2206252"/>
                  </a:lnTo>
                  <a:close/>
                  <a:moveTo>
                    <a:pt x="4572140" y="2201488"/>
                  </a:moveTo>
                  <a:lnTo>
                    <a:pt x="4586436" y="2201488"/>
                  </a:lnTo>
                  <a:lnTo>
                    <a:pt x="4586436" y="2211018"/>
                  </a:lnTo>
                  <a:lnTo>
                    <a:pt x="4600732" y="2206252"/>
                  </a:lnTo>
                  <a:lnTo>
                    <a:pt x="4610260" y="2206252"/>
                  </a:lnTo>
                  <a:lnTo>
                    <a:pt x="4638852" y="2206252"/>
                  </a:lnTo>
                  <a:lnTo>
                    <a:pt x="4657912" y="2206252"/>
                  </a:lnTo>
                  <a:lnTo>
                    <a:pt x="4667444" y="2211018"/>
                  </a:lnTo>
                  <a:lnTo>
                    <a:pt x="4672208" y="2230078"/>
                  </a:lnTo>
                  <a:lnTo>
                    <a:pt x="4667444" y="2234842"/>
                  </a:lnTo>
                  <a:lnTo>
                    <a:pt x="4562612" y="2249138"/>
                  </a:lnTo>
                  <a:lnTo>
                    <a:pt x="4553080" y="2244372"/>
                  </a:lnTo>
                  <a:lnTo>
                    <a:pt x="4548316" y="2239608"/>
                  </a:lnTo>
                  <a:lnTo>
                    <a:pt x="4557844" y="2225312"/>
                  </a:lnTo>
                  <a:lnTo>
                    <a:pt x="4553080" y="2220548"/>
                  </a:lnTo>
                  <a:lnTo>
                    <a:pt x="4562612" y="2206252"/>
                  </a:lnTo>
                  <a:close/>
                  <a:moveTo>
                    <a:pt x="3723948" y="2201488"/>
                  </a:moveTo>
                  <a:lnTo>
                    <a:pt x="3728712" y="2201488"/>
                  </a:lnTo>
                  <a:lnTo>
                    <a:pt x="3733480" y="2206252"/>
                  </a:lnTo>
                  <a:lnTo>
                    <a:pt x="3733480" y="2211016"/>
                  </a:lnTo>
                  <a:lnTo>
                    <a:pt x="3728712" y="2215782"/>
                  </a:lnTo>
                  <a:lnTo>
                    <a:pt x="3723948" y="2215782"/>
                  </a:lnTo>
                  <a:lnTo>
                    <a:pt x="3719184" y="2215782"/>
                  </a:lnTo>
                  <a:lnTo>
                    <a:pt x="3714416" y="2211016"/>
                  </a:lnTo>
                  <a:lnTo>
                    <a:pt x="3719184" y="2206252"/>
                  </a:lnTo>
                  <a:close/>
                  <a:moveTo>
                    <a:pt x="3485692" y="2201488"/>
                  </a:moveTo>
                  <a:lnTo>
                    <a:pt x="3504752" y="2201488"/>
                  </a:lnTo>
                  <a:lnTo>
                    <a:pt x="3504752" y="2211018"/>
                  </a:lnTo>
                  <a:lnTo>
                    <a:pt x="3485692" y="2239608"/>
                  </a:lnTo>
                  <a:lnTo>
                    <a:pt x="3476160" y="2234842"/>
                  </a:lnTo>
                  <a:lnTo>
                    <a:pt x="3480928" y="2225312"/>
                  </a:lnTo>
                  <a:lnTo>
                    <a:pt x="3476160" y="2215782"/>
                  </a:lnTo>
                  <a:lnTo>
                    <a:pt x="3476160" y="2206252"/>
                  </a:lnTo>
                  <a:close/>
                  <a:moveTo>
                    <a:pt x="5086776" y="2196722"/>
                  </a:moveTo>
                  <a:lnTo>
                    <a:pt x="5091540" y="2196722"/>
                  </a:lnTo>
                  <a:lnTo>
                    <a:pt x="5120128" y="2201488"/>
                  </a:lnTo>
                  <a:lnTo>
                    <a:pt x="5134424" y="2201488"/>
                  </a:lnTo>
                  <a:lnTo>
                    <a:pt x="5139192" y="2206252"/>
                  </a:lnTo>
                  <a:lnTo>
                    <a:pt x="5120128" y="2220548"/>
                  </a:lnTo>
                  <a:lnTo>
                    <a:pt x="5091540" y="2211018"/>
                  </a:lnTo>
                  <a:close/>
                  <a:moveTo>
                    <a:pt x="4314824" y="2196722"/>
                  </a:moveTo>
                  <a:lnTo>
                    <a:pt x="4324352" y="2196722"/>
                  </a:lnTo>
                  <a:lnTo>
                    <a:pt x="4333884" y="2201488"/>
                  </a:lnTo>
                  <a:lnTo>
                    <a:pt x="4338648" y="2230078"/>
                  </a:lnTo>
                  <a:lnTo>
                    <a:pt x="4329120" y="2234842"/>
                  </a:lnTo>
                  <a:lnTo>
                    <a:pt x="4324352" y="2239608"/>
                  </a:lnTo>
                  <a:lnTo>
                    <a:pt x="4324352" y="2244374"/>
                  </a:lnTo>
                  <a:lnTo>
                    <a:pt x="4310060" y="2253904"/>
                  </a:lnTo>
                  <a:lnTo>
                    <a:pt x="4314824" y="2268198"/>
                  </a:lnTo>
                  <a:lnTo>
                    <a:pt x="4310060" y="2272964"/>
                  </a:lnTo>
                  <a:lnTo>
                    <a:pt x="4305292" y="2277728"/>
                  </a:lnTo>
                  <a:lnTo>
                    <a:pt x="4281468" y="2282494"/>
                  </a:lnTo>
                  <a:lnTo>
                    <a:pt x="4267172" y="2287260"/>
                  </a:lnTo>
                  <a:lnTo>
                    <a:pt x="4252876" y="2292024"/>
                  </a:lnTo>
                  <a:lnTo>
                    <a:pt x="4248112" y="2296790"/>
                  </a:lnTo>
                  <a:lnTo>
                    <a:pt x="4233816" y="2296790"/>
                  </a:lnTo>
                  <a:lnTo>
                    <a:pt x="4209992" y="2296790"/>
                  </a:lnTo>
                  <a:lnTo>
                    <a:pt x="4195696" y="2296790"/>
                  </a:lnTo>
                  <a:lnTo>
                    <a:pt x="4157576" y="2315850"/>
                  </a:lnTo>
                  <a:lnTo>
                    <a:pt x="4138512" y="2315850"/>
                  </a:lnTo>
                  <a:lnTo>
                    <a:pt x="4128984" y="2320614"/>
                  </a:lnTo>
                  <a:lnTo>
                    <a:pt x="4124220" y="2315850"/>
                  </a:lnTo>
                  <a:lnTo>
                    <a:pt x="4114688" y="2306320"/>
                  </a:lnTo>
                  <a:lnTo>
                    <a:pt x="4105156" y="2306320"/>
                  </a:lnTo>
                  <a:lnTo>
                    <a:pt x="4090864" y="2306320"/>
                  </a:lnTo>
                  <a:lnTo>
                    <a:pt x="4076568" y="2325380"/>
                  </a:lnTo>
                  <a:lnTo>
                    <a:pt x="4057508" y="2320614"/>
                  </a:lnTo>
                  <a:lnTo>
                    <a:pt x="4047976" y="2320614"/>
                  </a:lnTo>
                  <a:lnTo>
                    <a:pt x="4038448" y="2325380"/>
                  </a:lnTo>
                  <a:lnTo>
                    <a:pt x="4028916" y="2325380"/>
                  </a:lnTo>
                  <a:lnTo>
                    <a:pt x="4024152" y="2325380"/>
                  </a:lnTo>
                  <a:lnTo>
                    <a:pt x="3990796" y="2315850"/>
                  </a:lnTo>
                  <a:lnTo>
                    <a:pt x="3952672" y="2306320"/>
                  </a:lnTo>
                  <a:lnTo>
                    <a:pt x="3919320" y="2306320"/>
                  </a:lnTo>
                  <a:lnTo>
                    <a:pt x="3885964" y="2301554"/>
                  </a:lnTo>
                  <a:lnTo>
                    <a:pt x="3871668" y="2306320"/>
                  </a:lnTo>
                  <a:lnTo>
                    <a:pt x="3852608" y="2315850"/>
                  </a:lnTo>
                  <a:lnTo>
                    <a:pt x="3847840" y="2306320"/>
                  </a:lnTo>
                  <a:lnTo>
                    <a:pt x="3843076" y="2301554"/>
                  </a:lnTo>
                  <a:lnTo>
                    <a:pt x="3838312" y="2287260"/>
                  </a:lnTo>
                  <a:lnTo>
                    <a:pt x="3838312" y="2277728"/>
                  </a:lnTo>
                  <a:lnTo>
                    <a:pt x="3843076" y="2268198"/>
                  </a:lnTo>
                  <a:lnTo>
                    <a:pt x="3843076" y="2263434"/>
                  </a:lnTo>
                  <a:lnTo>
                    <a:pt x="3847840" y="2253904"/>
                  </a:lnTo>
                  <a:lnTo>
                    <a:pt x="3847840" y="2244374"/>
                  </a:lnTo>
                  <a:lnTo>
                    <a:pt x="3857372" y="2249138"/>
                  </a:lnTo>
                  <a:lnTo>
                    <a:pt x="3862136" y="2249138"/>
                  </a:lnTo>
                  <a:lnTo>
                    <a:pt x="3885964" y="2239608"/>
                  </a:lnTo>
                  <a:lnTo>
                    <a:pt x="3905024" y="2225312"/>
                  </a:lnTo>
                  <a:lnTo>
                    <a:pt x="3924084" y="2220548"/>
                  </a:lnTo>
                  <a:lnTo>
                    <a:pt x="3933612" y="2220548"/>
                  </a:lnTo>
                  <a:lnTo>
                    <a:pt x="3943144" y="2220548"/>
                  </a:lnTo>
                  <a:lnTo>
                    <a:pt x="3952672" y="2220548"/>
                  </a:lnTo>
                  <a:lnTo>
                    <a:pt x="3962204" y="2215782"/>
                  </a:lnTo>
                  <a:lnTo>
                    <a:pt x="3981264" y="2230078"/>
                  </a:lnTo>
                  <a:lnTo>
                    <a:pt x="3986028" y="2230078"/>
                  </a:lnTo>
                  <a:lnTo>
                    <a:pt x="4005092" y="2230078"/>
                  </a:lnTo>
                  <a:lnTo>
                    <a:pt x="4028916" y="2239608"/>
                  </a:lnTo>
                  <a:lnTo>
                    <a:pt x="4043212" y="2244374"/>
                  </a:lnTo>
                  <a:lnTo>
                    <a:pt x="4067036" y="2253904"/>
                  </a:lnTo>
                  <a:lnTo>
                    <a:pt x="4081332" y="2268198"/>
                  </a:lnTo>
                  <a:lnTo>
                    <a:pt x="4095628" y="2268198"/>
                  </a:lnTo>
                  <a:lnTo>
                    <a:pt x="4105156" y="2272964"/>
                  </a:lnTo>
                  <a:lnTo>
                    <a:pt x="4109924" y="2268198"/>
                  </a:lnTo>
                  <a:lnTo>
                    <a:pt x="4119452" y="2263434"/>
                  </a:lnTo>
                  <a:lnTo>
                    <a:pt x="4133748" y="2258668"/>
                  </a:lnTo>
                  <a:lnTo>
                    <a:pt x="4143280" y="2258668"/>
                  </a:lnTo>
                  <a:lnTo>
                    <a:pt x="4162340" y="2258668"/>
                  </a:lnTo>
                  <a:lnTo>
                    <a:pt x="4167104" y="2253904"/>
                  </a:lnTo>
                  <a:lnTo>
                    <a:pt x="4176636" y="2249138"/>
                  </a:lnTo>
                  <a:lnTo>
                    <a:pt x="4186164" y="2253904"/>
                  </a:lnTo>
                  <a:lnTo>
                    <a:pt x="4190932" y="2258668"/>
                  </a:lnTo>
                  <a:lnTo>
                    <a:pt x="4224288" y="2277728"/>
                  </a:lnTo>
                  <a:lnTo>
                    <a:pt x="4233816" y="2277728"/>
                  </a:lnTo>
                  <a:lnTo>
                    <a:pt x="4248112" y="2272964"/>
                  </a:lnTo>
                  <a:lnTo>
                    <a:pt x="4252876" y="2268198"/>
                  </a:lnTo>
                  <a:lnTo>
                    <a:pt x="4257640" y="2258668"/>
                  </a:lnTo>
                  <a:lnTo>
                    <a:pt x="4262408" y="2253904"/>
                  </a:lnTo>
                  <a:lnTo>
                    <a:pt x="4267172" y="2249138"/>
                  </a:lnTo>
                  <a:lnTo>
                    <a:pt x="4276704" y="2244374"/>
                  </a:lnTo>
                  <a:lnTo>
                    <a:pt x="4300528" y="2234842"/>
                  </a:lnTo>
                  <a:lnTo>
                    <a:pt x="4314824" y="2225312"/>
                  </a:lnTo>
                  <a:lnTo>
                    <a:pt x="4324352" y="2215782"/>
                  </a:lnTo>
                  <a:lnTo>
                    <a:pt x="4300528" y="2206252"/>
                  </a:lnTo>
                  <a:lnTo>
                    <a:pt x="4305292" y="2201488"/>
                  </a:lnTo>
                  <a:close/>
                  <a:moveTo>
                    <a:pt x="5591876" y="2191956"/>
                  </a:moveTo>
                  <a:lnTo>
                    <a:pt x="5601408" y="2201488"/>
                  </a:lnTo>
                  <a:lnTo>
                    <a:pt x="5615704" y="2201488"/>
                  </a:lnTo>
                  <a:lnTo>
                    <a:pt x="5591876" y="2211018"/>
                  </a:lnTo>
                  <a:lnTo>
                    <a:pt x="5572816" y="2220548"/>
                  </a:lnTo>
                  <a:lnTo>
                    <a:pt x="5568052" y="2230078"/>
                  </a:lnTo>
                  <a:lnTo>
                    <a:pt x="5553756" y="2234844"/>
                  </a:lnTo>
                  <a:lnTo>
                    <a:pt x="5563288" y="2220548"/>
                  </a:lnTo>
                  <a:close/>
                  <a:moveTo>
                    <a:pt x="3542872" y="2191956"/>
                  </a:moveTo>
                  <a:lnTo>
                    <a:pt x="3576228" y="2196722"/>
                  </a:lnTo>
                  <a:lnTo>
                    <a:pt x="3580992" y="2201488"/>
                  </a:lnTo>
                  <a:lnTo>
                    <a:pt x="3590524" y="2220548"/>
                  </a:lnTo>
                  <a:lnTo>
                    <a:pt x="3595288" y="2230078"/>
                  </a:lnTo>
                  <a:lnTo>
                    <a:pt x="3600056" y="2234844"/>
                  </a:lnTo>
                  <a:lnTo>
                    <a:pt x="3609584" y="2234844"/>
                  </a:lnTo>
                  <a:lnTo>
                    <a:pt x="3623880" y="2225312"/>
                  </a:lnTo>
                  <a:lnTo>
                    <a:pt x="3633412" y="2220548"/>
                  </a:lnTo>
                  <a:lnTo>
                    <a:pt x="3642940" y="2220548"/>
                  </a:lnTo>
                  <a:lnTo>
                    <a:pt x="3652472" y="2225312"/>
                  </a:lnTo>
                  <a:lnTo>
                    <a:pt x="3662000" y="2230078"/>
                  </a:lnTo>
                  <a:lnTo>
                    <a:pt x="3666768" y="2239608"/>
                  </a:lnTo>
                  <a:lnTo>
                    <a:pt x="3666768" y="2244374"/>
                  </a:lnTo>
                  <a:lnTo>
                    <a:pt x="3671532" y="2230078"/>
                  </a:lnTo>
                  <a:lnTo>
                    <a:pt x="3681060" y="2225312"/>
                  </a:lnTo>
                  <a:lnTo>
                    <a:pt x="3690592" y="2225312"/>
                  </a:lnTo>
                  <a:lnTo>
                    <a:pt x="3700124" y="2225312"/>
                  </a:lnTo>
                  <a:lnTo>
                    <a:pt x="3709652" y="2230078"/>
                  </a:lnTo>
                  <a:lnTo>
                    <a:pt x="3719184" y="2249138"/>
                  </a:lnTo>
                  <a:lnTo>
                    <a:pt x="3719184" y="2268198"/>
                  </a:lnTo>
                  <a:lnTo>
                    <a:pt x="3723948" y="2272964"/>
                  </a:lnTo>
                  <a:lnTo>
                    <a:pt x="3728712" y="2277730"/>
                  </a:lnTo>
                  <a:lnTo>
                    <a:pt x="3733480" y="2282494"/>
                  </a:lnTo>
                  <a:lnTo>
                    <a:pt x="3728712" y="2292024"/>
                  </a:lnTo>
                  <a:lnTo>
                    <a:pt x="3723948" y="2296790"/>
                  </a:lnTo>
                  <a:lnTo>
                    <a:pt x="3714416" y="2296790"/>
                  </a:lnTo>
                  <a:lnTo>
                    <a:pt x="3709652" y="2296790"/>
                  </a:lnTo>
                  <a:lnTo>
                    <a:pt x="3704888" y="2292024"/>
                  </a:lnTo>
                  <a:lnTo>
                    <a:pt x="3695356" y="2292024"/>
                  </a:lnTo>
                  <a:lnTo>
                    <a:pt x="3685828" y="2292024"/>
                  </a:lnTo>
                  <a:lnTo>
                    <a:pt x="3671532" y="2296790"/>
                  </a:lnTo>
                  <a:lnTo>
                    <a:pt x="3676296" y="2301554"/>
                  </a:lnTo>
                  <a:lnTo>
                    <a:pt x="3685828" y="2306320"/>
                  </a:lnTo>
                  <a:lnTo>
                    <a:pt x="3685828" y="2311084"/>
                  </a:lnTo>
                  <a:lnTo>
                    <a:pt x="3681060" y="2311084"/>
                  </a:lnTo>
                  <a:lnTo>
                    <a:pt x="3671532" y="2306320"/>
                  </a:lnTo>
                  <a:lnTo>
                    <a:pt x="3662000" y="2306320"/>
                  </a:lnTo>
                  <a:lnTo>
                    <a:pt x="3633412" y="2315850"/>
                  </a:lnTo>
                  <a:lnTo>
                    <a:pt x="3623880" y="2315850"/>
                  </a:lnTo>
                  <a:lnTo>
                    <a:pt x="3619116" y="2306320"/>
                  </a:lnTo>
                  <a:lnTo>
                    <a:pt x="3619116" y="2292024"/>
                  </a:lnTo>
                  <a:lnTo>
                    <a:pt x="3614348" y="2287260"/>
                  </a:lnTo>
                  <a:lnTo>
                    <a:pt x="3595288" y="2306320"/>
                  </a:lnTo>
                  <a:lnTo>
                    <a:pt x="3585760" y="2311084"/>
                  </a:lnTo>
                  <a:lnTo>
                    <a:pt x="3576228" y="2315850"/>
                  </a:lnTo>
                  <a:lnTo>
                    <a:pt x="3566700" y="2315850"/>
                  </a:lnTo>
                  <a:lnTo>
                    <a:pt x="3533344" y="2325380"/>
                  </a:lnTo>
                  <a:lnTo>
                    <a:pt x="3523812" y="2325380"/>
                  </a:lnTo>
                  <a:lnTo>
                    <a:pt x="3514284" y="2325380"/>
                  </a:lnTo>
                  <a:lnTo>
                    <a:pt x="3480928" y="2339676"/>
                  </a:lnTo>
                  <a:lnTo>
                    <a:pt x="3461864" y="2344440"/>
                  </a:lnTo>
                  <a:lnTo>
                    <a:pt x="3452336" y="2344440"/>
                  </a:lnTo>
                  <a:lnTo>
                    <a:pt x="3442804" y="2339676"/>
                  </a:lnTo>
                  <a:lnTo>
                    <a:pt x="3433276" y="2344440"/>
                  </a:lnTo>
                  <a:lnTo>
                    <a:pt x="3428508" y="2349206"/>
                  </a:lnTo>
                  <a:lnTo>
                    <a:pt x="3409448" y="2353972"/>
                  </a:lnTo>
                  <a:lnTo>
                    <a:pt x="3395152" y="2349206"/>
                  </a:lnTo>
                  <a:lnTo>
                    <a:pt x="3380860" y="2344440"/>
                  </a:lnTo>
                  <a:lnTo>
                    <a:pt x="3366564" y="2339676"/>
                  </a:lnTo>
                  <a:lnTo>
                    <a:pt x="3361800" y="2330146"/>
                  </a:lnTo>
                  <a:lnTo>
                    <a:pt x="3366564" y="2320616"/>
                  </a:lnTo>
                  <a:lnTo>
                    <a:pt x="3371328" y="2306320"/>
                  </a:lnTo>
                  <a:lnTo>
                    <a:pt x="3366564" y="2282494"/>
                  </a:lnTo>
                  <a:lnTo>
                    <a:pt x="3371328" y="2272964"/>
                  </a:lnTo>
                  <a:lnTo>
                    <a:pt x="3376092" y="2263434"/>
                  </a:lnTo>
                  <a:lnTo>
                    <a:pt x="3380860" y="2258668"/>
                  </a:lnTo>
                  <a:lnTo>
                    <a:pt x="3395152" y="2258668"/>
                  </a:lnTo>
                  <a:lnTo>
                    <a:pt x="3409448" y="2249138"/>
                  </a:lnTo>
                  <a:lnTo>
                    <a:pt x="3428508" y="2239608"/>
                  </a:lnTo>
                  <a:lnTo>
                    <a:pt x="3433276" y="2239608"/>
                  </a:lnTo>
                  <a:lnTo>
                    <a:pt x="3457100" y="2249138"/>
                  </a:lnTo>
                  <a:lnTo>
                    <a:pt x="3466632" y="2249138"/>
                  </a:lnTo>
                  <a:lnTo>
                    <a:pt x="3490456" y="2244374"/>
                  </a:lnTo>
                  <a:lnTo>
                    <a:pt x="3499988" y="2253904"/>
                  </a:lnTo>
                  <a:lnTo>
                    <a:pt x="3499988" y="2263434"/>
                  </a:lnTo>
                  <a:lnTo>
                    <a:pt x="3504752" y="2268198"/>
                  </a:lnTo>
                  <a:lnTo>
                    <a:pt x="3514284" y="2272964"/>
                  </a:lnTo>
                  <a:lnTo>
                    <a:pt x="3523812" y="2292024"/>
                  </a:lnTo>
                  <a:lnTo>
                    <a:pt x="3538108" y="2292024"/>
                  </a:lnTo>
                  <a:lnTo>
                    <a:pt x="3552404" y="2296790"/>
                  </a:lnTo>
                  <a:lnTo>
                    <a:pt x="3571464" y="2282494"/>
                  </a:lnTo>
                  <a:lnTo>
                    <a:pt x="3590524" y="2282494"/>
                  </a:lnTo>
                  <a:lnTo>
                    <a:pt x="3595288" y="2272964"/>
                  </a:lnTo>
                  <a:lnTo>
                    <a:pt x="3585760" y="2263434"/>
                  </a:lnTo>
                  <a:lnTo>
                    <a:pt x="3571464" y="2253904"/>
                  </a:lnTo>
                  <a:lnTo>
                    <a:pt x="3566700" y="2253904"/>
                  </a:lnTo>
                  <a:lnTo>
                    <a:pt x="3557168" y="2253904"/>
                  </a:lnTo>
                  <a:lnTo>
                    <a:pt x="3552404" y="2249138"/>
                  </a:lnTo>
                  <a:lnTo>
                    <a:pt x="3528576" y="2234844"/>
                  </a:lnTo>
                  <a:lnTo>
                    <a:pt x="3519048" y="2225312"/>
                  </a:lnTo>
                  <a:lnTo>
                    <a:pt x="3514284" y="2211018"/>
                  </a:lnTo>
                  <a:lnTo>
                    <a:pt x="3519048" y="2201488"/>
                  </a:lnTo>
                  <a:lnTo>
                    <a:pt x="3538108" y="2196722"/>
                  </a:lnTo>
                  <a:close/>
                  <a:moveTo>
                    <a:pt x="3114012" y="2187192"/>
                  </a:moveTo>
                  <a:lnTo>
                    <a:pt x="3118776" y="2191958"/>
                  </a:lnTo>
                  <a:lnTo>
                    <a:pt x="3156896" y="2201488"/>
                  </a:lnTo>
                  <a:lnTo>
                    <a:pt x="3175956" y="2211018"/>
                  </a:lnTo>
                  <a:lnTo>
                    <a:pt x="3195016" y="2234844"/>
                  </a:lnTo>
                  <a:lnTo>
                    <a:pt x="3199784" y="2244374"/>
                  </a:lnTo>
                  <a:lnTo>
                    <a:pt x="3190252" y="2249138"/>
                  </a:lnTo>
                  <a:lnTo>
                    <a:pt x="3175956" y="2258668"/>
                  </a:lnTo>
                  <a:lnTo>
                    <a:pt x="3142600" y="2277730"/>
                  </a:lnTo>
                  <a:lnTo>
                    <a:pt x="3133072" y="2282494"/>
                  </a:lnTo>
                  <a:lnTo>
                    <a:pt x="3128308" y="2296790"/>
                  </a:lnTo>
                  <a:lnTo>
                    <a:pt x="3123540" y="2306320"/>
                  </a:lnTo>
                  <a:lnTo>
                    <a:pt x="3118776" y="2311084"/>
                  </a:lnTo>
                  <a:lnTo>
                    <a:pt x="3109244" y="2315850"/>
                  </a:lnTo>
                  <a:lnTo>
                    <a:pt x="3104480" y="2311084"/>
                  </a:lnTo>
                  <a:lnTo>
                    <a:pt x="3109244" y="2301554"/>
                  </a:lnTo>
                  <a:lnTo>
                    <a:pt x="3109244" y="2287260"/>
                  </a:lnTo>
                  <a:lnTo>
                    <a:pt x="3104480" y="2277730"/>
                  </a:lnTo>
                  <a:lnTo>
                    <a:pt x="3094952" y="2268198"/>
                  </a:lnTo>
                  <a:lnTo>
                    <a:pt x="3080656" y="2258668"/>
                  </a:lnTo>
                  <a:lnTo>
                    <a:pt x="3061596" y="2249138"/>
                  </a:lnTo>
                  <a:lnTo>
                    <a:pt x="3047300" y="2239608"/>
                  </a:lnTo>
                  <a:lnTo>
                    <a:pt x="3028240" y="2239608"/>
                  </a:lnTo>
                  <a:lnTo>
                    <a:pt x="3023472" y="2234844"/>
                  </a:lnTo>
                  <a:lnTo>
                    <a:pt x="3009180" y="2220548"/>
                  </a:lnTo>
                  <a:lnTo>
                    <a:pt x="3004412" y="2211018"/>
                  </a:lnTo>
                  <a:lnTo>
                    <a:pt x="3004412" y="2206252"/>
                  </a:lnTo>
                  <a:lnTo>
                    <a:pt x="3004412" y="2196722"/>
                  </a:lnTo>
                  <a:lnTo>
                    <a:pt x="3009180" y="2196722"/>
                  </a:lnTo>
                  <a:lnTo>
                    <a:pt x="3028240" y="2201488"/>
                  </a:lnTo>
                  <a:lnTo>
                    <a:pt x="3061596" y="2206252"/>
                  </a:lnTo>
                  <a:lnTo>
                    <a:pt x="3080656" y="2211018"/>
                  </a:lnTo>
                  <a:lnTo>
                    <a:pt x="3085420" y="2206252"/>
                  </a:lnTo>
                  <a:close/>
                  <a:moveTo>
                    <a:pt x="5367916" y="2149072"/>
                  </a:moveTo>
                  <a:lnTo>
                    <a:pt x="5377448" y="2149072"/>
                  </a:lnTo>
                  <a:lnTo>
                    <a:pt x="5401272" y="2149072"/>
                  </a:lnTo>
                  <a:lnTo>
                    <a:pt x="5406036" y="2163366"/>
                  </a:lnTo>
                  <a:lnTo>
                    <a:pt x="5406036" y="2172896"/>
                  </a:lnTo>
                  <a:lnTo>
                    <a:pt x="5396508" y="2187192"/>
                  </a:lnTo>
                  <a:lnTo>
                    <a:pt x="5386976" y="2187192"/>
                  </a:lnTo>
                  <a:lnTo>
                    <a:pt x="5367916" y="2168132"/>
                  </a:lnTo>
                  <a:lnTo>
                    <a:pt x="5367916" y="2153836"/>
                  </a:lnTo>
                  <a:close/>
                  <a:moveTo>
                    <a:pt x="4900936" y="2110950"/>
                  </a:moveTo>
                  <a:lnTo>
                    <a:pt x="4919996" y="2125246"/>
                  </a:lnTo>
                  <a:lnTo>
                    <a:pt x="4929524" y="2125246"/>
                  </a:lnTo>
                  <a:lnTo>
                    <a:pt x="4934288" y="2134776"/>
                  </a:lnTo>
                  <a:lnTo>
                    <a:pt x="4934288" y="2139540"/>
                  </a:lnTo>
                  <a:lnTo>
                    <a:pt x="4915228" y="2139540"/>
                  </a:lnTo>
                  <a:lnTo>
                    <a:pt x="4896168" y="2149072"/>
                  </a:lnTo>
                  <a:lnTo>
                    <a:pt x="4886640" y="2158602"/>
                  </a:lnTo>
                  <a:lnTo>
                    <a:pt x="4881872" y="2172896"/>
                  </a:lnTo>
                  <a:lnTo>
                    <a:pt x="4853284" y="2168132"/>
                  </a:lnTo>
                  <a:lnTo>
                    <a:pt x="4834224" y="2163366"/>
                  </a:lnTo>
                  <a:lnTo>
                    <a:pt x="4824692" y="2163366"/>
                  </a:lnTo>
                  <a:lnTo>
                    <a:pt x="4810396" y="2163366"/>
                  </a:lnTo>
                  <a:lnTo>
                    <a:pt x="4800868" y="2163366"/>
                  </a:lnTo>
                  <a:lnTo>
                    <a:pt x="4781808" y="2177662"/>
                  </a:lnTo>
                  <a:lnTo>
                    <a:pt x="4772276" y="2177662"/>
                  </a:lnTo>
                  <a:lnTo>
                    <a:pt x="4777040" y="2158602"/>
                  </a:lnTo>
                  <a:lnTo>
                    <a:pt x="4781808" y="2149072"/>
                  </a:lnTo>
                  <a:lnTo>
                    <a:pt x="4800868" y="2125246"/>
                  </a:lnTo>
                  <a:lnTo>
                    <a:pt x="4819928" y="2130010"/>
                  </a:lnTo>
                  <a:lnTo>
                    <a:pt x="4838988" y="2134776"/>
                  </a:lnTo>
                  <a:lnTo>
                    <a:pt x="4862812" y="2130010"/>
                  </a:lnTo>
                  <a:lnTo>
                    <a:pt x="4877108" y="2115716"/>
                  </a:lnTo>
                  <a:close/>
                  <a:moveTo>
                    <a:pt x="5020064" y="2101420"/>
                  </a:moveTo>
                  <a:lnTo>
                    <a:pt x="5039124" y="2106186"/>
                  </a:lnTo>
                  <a:lnTo>
                    <a:pt x="5034356" y="2110950"/>
                  </a:lnTo>
                  <a:lnTo>
                    <a:pt x="5034356" y="2115716"/>
                  </a:lnTo>
                  <a:lnTo>
                    <a:pt x="5029592" y="2120480"/>
                  </a:lnTo>
                  <a:lnTo>
                    <a:pt x="5020064" y="2125246"/>
                  </a:lnTo>
                  <a:lnTo>
                    <a:pt x="5020064" y="2110950"/>
                  </a:lnTo>
                  <a:close/>
                  <a:moveTo>
                    <a:pt x="6764100" y="2082360"/>
                  </a:moveTo>
                  <a:lnTo>
                    <a:pt x="6802220" y="2082360"/>
                  </a:lnTo>
                  <a:lnTo>
                    <a:pt x="6806984" y="2087124"/>
                  </a:lnTo>
                  <a:lnTo>
                    <a:pt x="6821280" y="2101420"/>
                  </a:lnTo>
                  <a:lnTo>
                    <a:pt x="6830812" y="2115714"/>
                  </a:lnTo>
                  <a:lnTo>
                    <a:pt x="6835576" y="2130010"/>
                  </a:lnTo>
                  <a:lnTo>
                    <a:pt x="6821280" y="2158600"/>
                  </a:lnTo>
                  <a:lnTo>
                    <a:pt x="6802220" y="2187192"/>
                  </a:lnTo>
                  <a:lnTo>
                    <a:pt x="6778396" y="2211018"/>
                  </a:lnTo>
                  <a:lnTo>
                    <a:pt x="6764100" y="2220548"/>
                  </a:lnTo>
                  <a:lnTo>
                    <a:pt x="6725976" y="2244372"/>
                  </a:lnTo>
                  <a:lnTo>
                    <a:pt x="6678328" y="2239608"/>
                  </a:lnTo>
                  <a:lnTo>
                    <a:pt x="6659264" y="2239608"/>
                  </a:lnTo>
                  <a:lnTo>
                    <a:pt x="6630676" y="2244372"/>
                  </a:lnTo>
                  <a:lnTo>
                    <a:pt x="6625912" y="2239608"/>
                  </a:lnTo>
                  <a:lnTo>
                    <a:pt x="6630676" y="2220548"/>
                  </a:lnTo>
                  <a:lnTo>
                    <a:pt x="6654500" y="2168132"/>
                  </a:lnTo>
                  <a:lnTo>
                    <a:pt x="6683092" y="2125246"/>
                  </a:lnTo>
                  <a:lnTo>
                    <a:pt x="6692620" y="2110950"/>
                  </a:lnTo>
                  <a:lnTo>
                    <a:pt x="6711684" y="2101420"/>
                  </a:lnTo>
                  <a:lnTo>
                    <a:pt x="6725976" y="2091890"/>
                  </a:lnTo>
                  <a:close/>
                  <a:moveTo>
                    <a:pt x="5706240" y="2039472"/>
                  </a:moveTo>
                  <a:lnTo>
                    <a:pt x="5730064" y="2039472"/>
                  </a:lnTo>
                  <a:lnTo>
                    <a:pt x="5739596" y="2053768"/>
                  </a:lnTo>
                  <a:lnTo>
                    <a:pt x="5739596" y="2063300"/>
                  </a:lnTo>
                  <a:lnTo>
                    <a:pt x="5730064" y="2058534"/>
                  </a:lnTo>
                  <a:lnTo>
                    <a:pt x="5725300" y="2049004"/>
                  </a:lnTo>
                  <a:lnTo>
                    <a:pt x="5715772" y="2049004"/>
                  </a:lnTo>
                  <a:lnTo>
                    <a:pt x="5711004" y="2044238"/>
                  </a:lnTo>
                  <a:close/>
                  <a:moveTo>
                    <a:pt x="5687180" y="2039472"/>
                  </a:moveTo>
                  <a:lnTo>
                    <a:pt x="5696712" y="2044238"/>
                  </a:lnTo>
                  <a:lnTo>
                    <a:pt x="5701476" y="2053768"/>
                  </a:lnTo>
                  <a:lnTo>
                    <a:pt x="5687180" y="2063298"/>
                  </a:lnTo>
                  <a:lnTo>
                    <a:pt x="5696712" y="2091890"/>
                  </a:lnTo>
                  <a:lnTo>
                    <a:pt x="5687180" y="2120480"/>
                  </a:lnTo>
                  <a:lnTo>
                    <a:pt x="5677652" y="2130010"/>
                  </a:lnTo>
                  <a:lnTo>
                    <a:pt x="5663356" y="2139540"/>
                  </a:lnTo>
                  <a:lnTo>
                    <a:pt x="5663356" y="2144306"/>
                  </a:lnTo>
                  <a:lnTo>
                    <a:pt x="5644296" y="2158602"/>
                  </a:lnTo>
                  <a:lnTo>
                    <a:pt x="5639528" y="2172896"/>
                  </a:lnTo>
                  <a:lnTo>
                    <a:pt x="5639528" y="2177662"/>
                  </a:lnTo>
                  <a:lnTo>
                    <a:pt x="5634764" y="2182428"/>
                  </a:lnTo>
                  <a:lnTo>
                    <a:pt x="5615704" y="2177662"/>
                  </a:lnTo>
                  <a:lnTo>
                    <a:pt x="5606172" y="2177662"/>
                  </a:lnTo>
                  <a:lnTo>
                    <a:pt x="5606172" y="2168132"/>
                  </a:lnTo>
                  <a:lnTo>
                    <a:pt x="5601408" y="2158602"/>
                  </a:lnTo>
                  <a:lnTo>
                    <a:pt x="5610940" y="2144306"/>
                  </a:lnTo>
                  <a:lnTo>
                    <a:pt x="5610940" y="2130010"/>
                  </a:lnTo>
                  <a:lnTo>
                    <a:pt x="5615704" y="2125246"/>
                  </a:lnTo>
                  <a:lnTo>
                    <a:pt x="5615704" y="2120480"/>
                  </a:lnTo>
                  <a:lnTo>
                    <a:pt x="5630000" y="2096654"/>
                  </a:lnTo>
                  <a:lnTo>
                    <a:pt x="5634764" y="2091890"/>
                  </a:lnTo>
                  <a:lnTo>
                    <a:pt x="5644296" y="2087124"/>
                  </a:lnTo>
                  <a:lnTo>
                    <a:pt x="5649060" y="2072828"/>
                  </a:lnTo>
                  <a:lnTo>
                    <a:pt x="5658588" y="2072828"/>
                  </a:lnTo>
                  <a:lnTo>
                    <a:pt x="5663356" y="2063298"/>
                  </a:lnTo>
                  <a:lnTo>
                    <a:pt x="5672884" y="2058534"/>
                  </a:lnTo>
                  <a:lnTo>
                    <a:pt x="5668120" y="2049004"/>
                  </a:lnTo>
                  <a:lnTo>
                    <a:pt x="5672884" y="2044238"/>
                  </a:lnTo>
                  <a:close/>
                  <a:moveTo>
                    <a:pt x="5210668" y="2034708"/>
                  </a:moveTo>
                  <a:lnTo>
                    <a:pt x="5215432" y="2034708"/>
                  </a:lnTo>
                  <a:lnTo>
                    <a:pt x="5220196" y="2034708"/>
                  </a:lnTo>
                  <a:lnTo>
                    <a:pt x="5224964" y="2039474"/>
                  </a:lnTo>
                  <a:lnTo>
                    <a:pt x="5224964" y="2044238"/>
                  </a:lnTo>
                  <a:lnTo>
                    <a:pt x="5224964" y="2049004"/>
                  </a:lnTo>
                  <a:lnTo>
                    <a:pt x="5215432" y="2053768"/>
                  </a:lnTo>
                  <a:lnTo>
                    <a:pt x="5205904" y="2044238"/>
                  </a:lnTo>
                  <a:lnTo>
                    <a:pt x="5201136" y="2044238"/>
                  </a:lnTo>
                  <a:close/>
                  <a:moveTo>
                    <a:pt x="2980588" y="2034708"/>
                  </a:moveTo>
                  <a:lnTo>
                    <a:pt x="2985352" y="2034708"/>
                  </a:lnTo>
                  <a:lnTo>
                    <a:pt x="2990120" y="2034708"/>
                  </a:lnTo>
                  <a:lnTo>
                    <a:pt x="2994884" y="2044238"/>
                  </a:lnTo>
                  <a:lnTo>
                    <a:pt x="2994884" y="2049004"/>
                  </a:lnTo>
                  <a:lnTo>
                    <a:pt x="2985352" y="2049004"/>
                  </a:lnTo>
                  <a:close/>
                  <a:moveTo>
                    <a:pt x="3966968" y="2025178"/>
                  </a:moveTo>
                  <a:lnTo>
                    <a:pt x="3986028" y="2029944"/>
                  </a:lnTo>
                  <a:lnTo>
                    <a:pt x="3990796" y="2029944"/>
                  </a:lnTo>
                  <a:lnTo>
                    <a:pt x="3990796" y="2039472"/>
                  </a:lnTo>
                  <a:lnTo>
                    <a:pt x="3971736" y="2039472"/>
                  </a:lnTo>
                  <a:lnTo>
                    <a:pt x="3966968" y="2039472"/>
                  </a:lnTo>
                  <a:close/>
                  <a:moveTo>
                    <a:pt x="2785216" y="2001352"/>
                  </a:moveTo>
                  <a:lnTo>
                    <a:pt x="2928172" y="2001352"/>
                  </a:lnTo>
                  <a:lnTo>
                    <a:pt x="2942468" y="2015648"/>
                  </a:lnTo>
                  <a:lnTo>
                    <a:pt x="2947232" y="2020412"/>
                  </a:lnTo>
                  <a:lnTo>
                    <a:pt x="2913876" y="2029944"/>
                  </a:lnTo>
                  <a:lnTo>
                    <a:pt x="2909112" y="2039474"/>
                  </a:lnTo>
                  <a:lnTo>
                    <a:pt x="2904344" y="2039474"/>
                  </a:lnTo>
                  <a:lnTo>
                    <a:pt x="2880520" y="2039474"/>
                  </a:lnTo>
                  <a:lnTo>
                    <a:pt x="2861460" y="2053768"/>
                  </a:lnTo>
                  <a:lnTo>
                    <a:pt x="2847164" y="2053768"/>
                  </a:lnTo>
                  <a:lnTo>
                    <a:pt x="2809044" y="2053768"/>
                  </a:lnTo>
                  <a:lnTo>
                    <a:pt x="2804280" y="2053768"/>
                  </a:lnTo>
                  <a:lnTo>
                    <a:pt x="2799512" y="2053768"/>
                  </a:lnTo>
                  <a:lnTo>
                    <a:pt x="2794748" y="2058534"/>
                  </a:lnTo>
                  <a:lnTo>
                    <a:pt x="2780452" y="2053768"/>
                  </a:lnTo>
                  <a:lnTo>
                    <a:pt x="2737568" y="2044238"/>
                  </a:lnTo>
                  <a:lnTo>
                    <a:pt x="2732800" y="2034708"/>
                  </a:lnTo>
                  <a:lnTo>
                    <a:pt x="2737568" y="2020412"/>
                  </a:lnTo>
                  <a:lnTo>
                    <a:pt x="2756628" y="2006118"/>
                  </a:lnTo>
                  <a:close/>
                  <a:moveTo>
                    <a:pt x="3142604" y="1996588"/>
                  </a:moveTo>
                  <a:lnTo>
                    <a:pt x="3152132" y="1996588"/>
                  </a:lnTo>
                  <a:lnTo>
                    <a:pt x="3161664" y="2001352"/>
                  </a:lnTo>
                  <a:lnTo>
                    <a:pt x="3171192" y="2006118"/>
                  </a:lnTo>
                  <a:lnTo>
                    <a:pt x="3171192" y="2010882"/>
                  </a:lnTo>
                  <a:lnTo>
                    <a:pt x="3156896" y="2010882"/>
                  </a:lnTo>
                  <a:lnTo>
                    <a:pt x="3147368" y="2015648"/>
                  </a:lnTo>
                  <a:lnTo>
                    <a:pt x="3133072" y="2020412"/>
                  </a:lnTo>
                  <a:lnTo>
                    <a:pt x="3123544" y="2015648"/>
                  </a:lnTo>
                  <a:lnTo>
                    <a:pt x="3123544" y="2006118"/>
                  </a:lnTo>
                  <a:lnTo>
                    <a:pt x="3123544" y="2001352"/>
                  </a:lnTo>
                  <a:close/>
                  <a:moveTo>
                    <a:pt x="6163692" y="1963232"/>
                  </a:moveTo>
                  <a:lnTo>
                    <a:pt x="6173224" y="1963232"/>
                  </a:lnTo>
                  <a:lnTo>
                    <a:pt x="6168456" y="1967996"/>
                  </a:lnTo>
                  <a:lnTo>
                    <a:pt x="6158928" y="1982292"/>
                  </a:lnTo>
                  <a:lnTo>
                    <a:pt x="6158928" y="1987056"/>
                  </a:lnTo>
                  <a:lnTo>
                    <a:pt x="6154160" y="1982292"/>
                  </a:lnTo>
                  <a:lnTo>
                    <a:pt x="6154160" y="1977526"/>
                  </a:lnTo>
                  <a:lnTo>
                    <a:pt x="6158928" y="1967996"/>
                  </a:lnTo>
                  <a:close/>
                  <a:moveTo>
                    <a:pt x="1555816" y="1948936"/>
                  </a:moveTo>
                  <a:lnTo>
                    <a:pt x="1560580" y="1948936"/>
                  </a:lnTo>
                  <a:lnTo>
                    <a:pt x="1565344" y="1948936"/>
                  </a:lnTo>
                  <a:lnTo>
                    <a:pt x="1565348" y="1948936"/>
                  </a:lnTo>
                  <a:lnTo>
                    <a:pt x="1570112" y="1953702"/>
                  </a:lnTo>
                  <a:lnTo>
                    <a:pt x="1565348" y="1963232"/>
                  </a:lnTo>
                  <a:lnTo>
                    <a:pt x="1555816" y="1967996"/>
                  </a:lnTo>
                  <a:lnTo>
                    <a:pt x="1546288" y="1967996"/>
                  </a:lnTo>
                  <a:lnTo>
                    <a:pt x="1546284" y="1967996"/>
                  </a:lnTo>
                  <a:lnTo>
                    <a:pt x="1546284" y="1963232"/>
                  </a:lnTo>
                  <a:close/>
                  <a:moveTo>
                    <a:pt x="6163692" y="1934640"/>
                  </a:moveTo>
                  <a:lnTo>
                    <a:pt x="6168456" y="1944170"/>
                  </a:lnTo>
                  <a:lnTo>
                    <a:pt x="6168456" y="1948936"/>
                  </a:lnTo>
                  <a:lnTo>
                    <a:pt x="6158928" y="1953700"/>
                  </a:lnTo>
                  <a:lnTo>
                    <a:pt x="6154160" y="1939406"/>
                  </a:lnTo>
                  <a:close/>
                  <a:moveTo>
                    <a:pt x="6187520" y="1915580"/>
                  </a:moveTo>
                  <a:lnTo>
                    <a:pt x="6192284" y="1915580"/>
                  </a:lnTo>
                  <a:lnTo>
                    <a:pt x="6182752" y="1934640"/>
                  </a:lnTo>
                  <a:lnTo>
                    <a:pt x="6177988" y="1934640"/>
                  </a:lnTo>
                  <a:lnTo>
                    <a:pt x="6177988" y="1925110"/>
                  </a:lnTo>
                  <a:lnTo>
                    <a:pt x="6182752" y="1920346"/>
                  </a:lnTo>
                  <a:close/>
                  <a:moveTo>
                    <a:pt x="6082684" y="1891754"/>
                  </a:moveTo>
                  <a:lnTo>
                    <a:pt x="6092216" y="1901284"/>
                  </a:lnTo>
                  <a:lnTo>
                    <a:pt x="6106512" y="1915580"/>
                  </a:lnTo>
                  <a:lnTo>
                    <a:pt x="6120808" y="1925110"/>
                  </a:lnTo>
                  <a:lnTo>
                    <a:pt x="6139868" y="1934640"/>
                  </a:lnTo>
                  <a:lnTo>
                    <a:pt x="6135100" y="1944170"/>
                  </a:lnTo>
                  <a:lnTo>
                    <a:pt x="6135100" y="1958466"/>
                  </a:lnTo>
                  <a:lnTo>
                    <a:pt x="6120808" y="1972762"/>
                  </a:lnTo>
                  <a:lnTo>
                    <a:pt x="6111276" y="1991822"/>
                  </a:lnTo>
                  <a:lnTo>
                    <a:pt x="6106512" y="1996586"/>
                  </a:lnTo>
                  <a:lnTo>
                    <a:pt x="6087452" y="2006116"/>
                  </a:lnTo>
                  <a:lnTo>
                    <a:pt x="6068392" y="1996586"/>
                  </a:lnTo>
                  <a:lnTo>
                    <a:pt x="6063624" y="1987056"/>
                  </a:lnTo>
                  <a:lnTo>
                    <a:pt x="6073156" y="1939406"/>
                  </a:lnTo>
                  <a:lnTo>
                    <a:pt x="6077920" y="1939406"/>
                  </a:lnTo>
                  <a:lnTo>
                    <a:pt x="6082684" y="1939406"/>
                  </a:lnTo>
                  <a:lnTo>
                    <a:pt x="6087452" y="1934640"/>
                  </a:lnTo>
                  <a:lnTo>
                    <a:pt x="6073156" y="1929876"/>
                  </a:lnTo>
                  <a:lnTo>
                    <a:pt x="6073156" y="1906050"/>
                  </a:lnTo>
                  <a:lnTo>
                    <a:pt x="6073156" y="1896520"/>
                  </a:lnTo>
                  <a:close/>
                  <a:moveTo>
                    <a:pt x="1694004" y="1848868"/>
                  </a:moveTo>
                  <a:lnTo>
                    <a:pt x="1708300" y="1858398"/>
                  </a:lnTo>
                  <a:lnTo>
                    <a:pt x="1736888" y="1863164"/>
                  </a:lnTo>
                  <a:lnTo>
                    <a:pt x="1755952" y="1867928"/>
                  </a:lnTo>
                  <a:lnTo>
                    <a:pt x="1770244" y="1867928"/>
                  </a:lnTo>
                  <a:lnTo>
                    <a:pt x="1789304" y="1872694"/>
                  </a:lnTo>
                  <a:lnTo>
                    <a:pt x="1813132" y="1877458"/>
                  </a:lnTo>
                  <a:lnTo>
                    <a:pt x="1817896" y="1877458"/>
                  </a:lnTo>
                  <a:lnTo>
                    <a:pt x="1827428" y="1877458"/>
                  </a:lnTo>
                  <a:lnTo>
                    <a:pt x="1841724" y="1867928"/>
                  </a:lnTo>
                  <a:lnTo>
                    <a:pt x="1846488" y="1848868"/>
                  </a:lnTo>
                  <a:lnTo>
                    <a:pt x="1865548" y="1858398"/>
                  </a:lnTo>
                  <a:lnTo>
                    <a:pt x="1889372" y="1863164"/>
                  </a:lnTo>
                  <a:lnTo>
                    <a:pt x="1898904" y="1867928"/>
                  </a:lnTo>
                  <a:lnTo>
                    <a:pt x="1913200" y="1882224"/>
                  </a:lnTo>
                  <a:lnTo>
                    <a:pt x="1927496" y="1891754"/>
                  </a:lnTo>
                  <a:lnTo>
                    <a:pt x="1941792" y="1896520"/>
                  </a:lnTo>
                  <a:lnTo>
                    <a:pt x="1960852" y="1896520"/>
                  </a:lnTo>
                  <a:lnTo>
                    <a:pt x="1975144" y="1901284"/>
                  </a:lnTo>
                  <a:lnTo>
                    <a:pt x="1994208" y="1906050"/>
                  </a:lnTo>
                  <a:lnTo>
                    <a:pt x="2018032" y="1910814"/>
                  </a:lnTo>
                  <a:lnTo>
                    <a:pt x="2027564" y="1910814"/>
                  </a:lnTo>
                  <a:lnTo>
                    <a:pt x="2032328" y="1906050"/>
                  </a:lnTo>
                  <a:lnTo>
                    <a:pt x="2041856" y="1906050"/>
                  </a:lnTo>
                  <a:lnTo>
                    <a:pt x="2046624" y="1910814"/>
                  </a:lnTo>
                  <a:lnTo>
                    <a:pt x="2060920" y="1925110"/>
                  </a:lnTo>
                  <a:lnTo>
                    <a:pt x="2075212" y="1939406"/>
                  </a:lnTo>
                  <a:lnTo>
                    <a:pt x="2079980" y="1944170"/>
                  </a:lnTo>
                  <a:lnTo>
                    <a:pt x="2089508" y="1977526"/>
                  </a:lnTo>
                  <a:lnTo>
                    <a:pt x="2099040" y="1987056"/>
                  </a:lnTo>
                  <a:lnTo>
                    <a:pt x="2118100" y="1991822"/>
                  </a:lnTo>
                  <a:lnTo>
                    <a:pt x="2137160" y="1991822"/>
                  </a:lnTo>
                  <a:lnTo>
                    <a:pt x="2151456" y="1991822"/>
                  </a:lnTo>
                  <a:lnTo>
                    <a:pt x="2199108" y="2001352"/>
                  </a:lnTo>
                  <a:lnTo>
                    <a:pt x="2213404" y="2001352"/>
                  </a:lnTo>
                  <a:lnTo>
                    <a:pt x="2227696" y="1991822"/>
                  </a:lnTo>
                  <a:lnTo>
                    <a:pt x="2241992" y="1996586"/>
                  </a:lnTo>
                  <a:lnTo>
                    <a:pt x="2280116" y="2006118"/>
                  </a:lnTo>
                  <a:lnTo>
                    <a:pt x="2299176" y="2010882"/>
                  </a:lnTo>
                  <a:lnTo>
                    <a:pt x="2318236" y="2006118"/>
                  </a:lnTo>
                  <a:lnTo>
                    <a:pt x="2337296" y="2006118"/>
                  </a:lnTo>
                  <a:lnTo>
                    <a:pt x="2346824" y="2006118"/>
                  </a:lnTo>
                  <a:lnTo>
                    <a:pt x="2356356" y="2010882"/>
                  </a:lnTo>
                  <a:lnTo>
                    <a:pt x="2365888" y="2015648"/>
                  </a:lnTo>
                  <a:lnTo>
                    <a:pt x="2375416" y="2015648"/>
                  </a:lnTo>
                  <a:lnTo>
                    <a:pt x="2389712" y="2006118"/>
                  </a:lnTo>
                  <a:lnTo>
                    <a:pt x="2399244" y="1991822"/>
                  </a:lnTo>
                  <a:lnTo>
                    <a:pt x="2404008" y="1972762"/>
                  </a:lnTo>
                  <a:lnTo>
                    <a:pt x="2413536" y="1953700"/>
                  </a:lnTo>
                  <a:lnTo>
                    <a:pt x="2418304" y="1944170"/>
                  </a:lnTo>
                  <a:lnTo>
                    <a:pt x="2423068" y="1939406"/>
                  </a:lnTo>
                  <a:lnTo>
                    <a:pt x="2427832" y="1934640"/>
                  </a:lnTo>
                  <a:lnTo>
                    <a:pt x="2437364" y="1929876"/>
                  </a:lnTo>
                  <a:lnTo>
                    <a:pt x="2461188" y="1934640"/>
                  </a:lnTo>
                  <a:lnTo>
                    <a:pt x="2461188" y="1939406"/>
                  </a:lnTo>
                  <a:lnTo>
                    <a:pt x="2485016" y="1967996"/>
                  </a:lnTo>
                  <a:lnTo>
                    <a:pt x="2489780" y="1972762"/>
                  </a:lnTo>
                  <a:lnTo>
                    <a:pt x="2518372" y="1972762"/>
                  </a:lnTo>
                  <a:lnTo>
                    <a:pt x="2523136" y="1972762"/>
                  </a:lnTo>
                  <a:lnTo>
                    <a:pt x="2537432" y="1967996"/>
                  </a:lnTo>
                  <a:lnTo>
                    <a:pt x="2546960" y="1967996"/>
                  </a:lnTo>
                  <a:lnTo>
                    <a:pt x="2566020" y="1972762"/>
                  </a:lnTo>
                  <a:lnTo>
                    <a:pt x="2570788" y="1982292"/>
                  </a:lnTo>
                  <a:lnTo>
                    <a:pt x="2580316" y="1987056"/>
                  </a:lnTo>
                  <a:lnTo>
                    <a:pt x="2618440" y="1991822"/>
                  </a:lnTo>
                  <a:lnTo>
                    <a:pt x="2632732" y="2006118"/>
                  </a:lnTo>
                  <a:lnTo>
                    <a:pt x="2642264" y="2006118"/>
                  </a:lnTo>
                  <a:lnTo>
                    <a:pt x="2670856" y="2006118"/>
                  </a:lnTo>
                  <a:lnTo>
                    <a:pt x="2689916" y="2006118"/>
                  </a:lnTo>
                  <a:lnTo>
                    <a:pt x="2704212" y="2010882"/>
                  </a:lnTo>
                  <a:lnTo>
                    <a:pt x="2708976" y="2029942"/>
                  </a:lnTo>
                  <a:lnTo>
                    <a:pt x="2718504" y="2049004"/>
                  </a:lnTo>
                  <a:lnTo>
                    <a:pt x="2718504" y="2058534"/>
                  </a:lnTo>
                  <a:lnTo>
                    <a:pt x="2737568" y="2063298"/>
                  </a:lnTo>
                  <a:lnTo>
                    <a:pt x="2742332" y="2068064"/>
                  </a:lnTo>
                  <a:lnTo>
                    <a:pt x="2742332" y="2091890"/>
                  </a:lnTo>
                  <a:lnTo>
                    <a:pt x="2742332" y="2110950"/>
                  </a:lnTo>
                  <a:lnTo>
                    <a:pt x="2775688" y="2125246"/>
                  </a:lnTo>
                  <a:lnTo>
                    <a:pt x="2813808" y="2134776"/>
                  </a:lnTo>
                  <a:lnTo>
                    <a:pt x="2851928" y="2134776"/>
                  </a:lnTo>
                  <a:lnTo>
                    <a:pt x="2894816" y="2130010"/>
                  </a:lnTo>
                  <a:lnTo>
                    <a:pt x="2913876" y="2130010"/>
                  </a:lnTo>
                  <a:lnTo>
                    <a:pt x="2937700" y="2120480"/>
                  </a:lnTo>
                  <a:lnTo>
                    <a:pt x="2942468" y="2120480"/>
                  </a:lnTo>
                  <a:lnTo>
                    <a:pt x="2990120" y="2144306"/>
                  </a:lnTo>
                  <a:lnTo>
                    <a:pt x="2994884" y="2144306"/>
                  </a:lnTo>
                  <a:lnTo>
                    <a:pt x="2999648" y="2163366"/>
                  </a:lnTo>
                  <a:lnTo>
                    <a:pt x="2999648" y="2182426"/>
                  </a:lnTo>
                  <a:lnTo>
                    <a:pt x="2990120" y="2220548"/>
                  </a:lnTo>
                  <a:lnTo>
                    <a:pt x="2990120" y="2230078"/>
                  </a:lnTo>
                  <a:lnTo>
                    <a:pt x="2990120" y="2244374"/>
                  </a:lnTo>
                  <a:lnTo>
                    <a:pt x="3004412" y="2268200"/>
                  </a:lnTo>
                  <a:lnTo>
                    <a:pt x="3009180" y="2272964"/>
                  </a:lnTo>
                  <a:lnTo>
                    <a:pt x="3023472" y="2287260"/>
                  </a:lnTo>
                  <a:lnTo>
                    <a:pt x="3023472" y="2296790"/>
                  </a:lnTo>
                  <a:lnTo>
                    <a:pt x="3023472" y="2301556"/>
                  </a:lnTo>
                  <a:lnTo>
                    <a:pt x="3004412" y="2296790"/>
                  </a:lnTo>
                  <a:lnTo>
                    <a:pt x="2990120" y="2292024"/>
                  </a:lnTo>
                  <a:lnTo>
                    <a:pt x="2985352" y="2282494"/>
                  </a:lnTo>
                  <a:lnTo>
                    <a:pt x="2975824" y="2277730"/>
                  </a:lnTo>
                  <a:lnTo>
                    <a:pt x="2956764" y="2277730"/>
                  </a:lnTo>
                  <a:lnTo>
                    <a:pt x="2923408" y="2268200"/>
                  </a:lnTo>
                  <a:lnTo>
                    <a:pt x="2885284" y="2253904"/>
                  </a:lnTo>
                  <a:lnTo>
                    <a:pt x="2813808" y="2225312"/>
                  </a:lnTo>
                  <a:lnTo>
                    <a:pt x="2794748" y="2225312"/>
                  </a:lnTo>
                  <a:lnTo>
                    <a:pt x="2780452" y="2230078"/>
                  </a:lnTo>
                  <a:lnTo>
                    <a:pt x="2761392" y="2234844"/>
                  </a:lnTo>
                  <a:lnTo>
                    <a:pt x="2737568" y="2239608"/>
                  </a:lnTo>
                  <a:lnTo>
                    <a:pt x="2728036" y="2244374"/>
                  </a:lnTo>
                  <a:lnTo>
                    <a:pt x="2708976" y="2244374"/>
                  </a:lnTo>
                  <a:lnTo>
                    <a:pt x="2675620" y="2234844"/>
                  </a:lnTo>
                  <a:lnTo>
                    <a:pt x="2637500" y="2230078"/>
                  </a:lnTo>
                  <a:lnTo>
                    <a:pt x="2542196" y="2225312"/>
                  </a:lnTo>
                  <a:lnTo>
                    <a:pt x="2518372" y="2220548"/>
                  </a:lnTo>
                  <a:lnTo>
                    <a:pt x="2470720" y="2215782"/>
                  </a:lnTo>
                  <a:lnTo>
                    <a:pt x="2437364" y="2211018"/>
                  </a:lnTo>
                  <a:lnTo>
                    <a:pt x="2404008" y="2201488"/>
                  </a:lnTo>
                  <a:lnTo>
                    <a:pt x="2313472" y="2163366"/>
                  </a:lnTo>
                  <a:lnTo>
                    <a:pt x="2284880" y="2153836"/>
                  </a:lnTo>
                  <a:lnTo>
                    <a:pt x="2194340" y="2134776"/>
                  </a:lnTo>
                  <a:lnTo>
                    <a:pt x="2180048" y="2130010"/>
                  </a:lnTo>
                  <a:lnTo>
                    <a:pt x="2146692" y="2134776"/>
                  </a:lnTo>
                  <a:lnTo>
                    <a:pt x="2127632" y="2125246"/>
                  </a:lnTo>
                  <a:lnTo>
                    <a:pt x="2108568" y="2125246"/>
                  </a:lnTo>
                  <a:lnTo>
                    <a:pt x="2084744" y="2134776"/>
                  </a:lnTo>
                  <a:lnTo>
                    <a:pt x="2075212" y="2139540"/>
                  </a:lnTo>
                  <a:lnTo>
                    <a:pt x="2065684" y="2149070"/>
                  </a:lnTo>
                  <a:lnTo>
                    <a:pt x="2046624" y="2149070"/>
                  </a:lnTo>
                  <a:lnTo>
                    <a:pt x="2027564" y="2144306"/>
                  </a:lnTo>
                  <a:lnTo>
                    <a:pt x="1979912" y="2134776"/>
                  </a:lnTo>
                  <a:lnTo>
                    <a:pt x="1965616" y="2130010"/>
                  </a:lnTo>
                  <a:lnTo>
                    <a:pt x="1946556" y="2120480"/>
                  </a:lnTo>
                  <a:lnTo>
                    <a:pt x="1932260" y="2110950"/>
                  </a:lnTo>
                  <a:lnTo>
                    <a:pt x="1922728" y="2106184"/>
                  </a:lnTo>
                  <a:lnTo>
                    <a:pt x="1884608" y="2096654"/>
                  </a:lnTo>
                  <a:lnTo>
                    <a:pt x="1851252" y="2091890"/>
                  </a:lnTo>
                  <a:lnTo>
                    <a:pt x="1779776" y="2087124"/>
                  </a:lnTo>
                  <a:lnTo>
                    <a:pt x="1765480" y="2082360"/>
                  </a:lnTo>
                  <a:lnTo>
                    <a:pt x="1755952" y="2082360"/>
                  </a:lnTo>
                  <a:lnTo>
                    <a:pt x="1746420" y="2072828"/>
                  </a:lnTo>
                  <a:lnTo>
                    <a:pt x="1746420" y="2058534"/>
                  </a:lnTo>
                  <a:lnTo>
                    <a:pt x="1751184" y="2049004"/>
                  </a:lnTo>
                  <a:lnTo>
                    <a:pt x="1760716" y="2039474"/>
                  </a:lnTo>
                  <a:lnTo>
                    <a:pt x="1765480" y="2029942"/>
                  </a:lnTo>
                  <a:lnTo>
                    <a:pt x="1713064" y="2010882"/>
                  </a:lnTo>
                  <a:lnTo>
                    <a:pt x="1674944" y="2001352"/>
                  </a:lnTo>
                  <a:lnTo>
                    <a:pt x="1655884" y="1996586"/>
                  </a:lnTo>
                  <a:lnTo>
                    <a:pt x="1641588" y="1996586"/>
                  </a:lnTo>
                  <a:lnTo>
                    <a:pt x="1617760" y="2001352"/>
                  </a:lnTo>
                  <a:lnTo>
                    <a:pt x="1598700" y="1996586"/>
                  </a:lnTo>
                  <a:lnTo>
                    <a:pt x="1593936" y="1996586"/>
                  </a:lnTo>
                  <a:lnTo>
                    <a:pt x="1584404" y="1996586"/>
                  </a:lnTo>
                  <a:lnTo>
                    <a:pt x="1574876" y="1996586"/>
                  </a:lnTo>
                  <a:lnTo>
                    <a:pt x="1565344" y="1996586"/>
                  </a:lnTo>
                  <a:lnTo>
                    <a:pt x="1565344" y="1987056"/>
                  </a:lnTo>
                  <a:lnTo>
                    <a:pt x="1570112" y="1977526"/>
                  </a:lnTo>
                  <a:lnTo>
                    <a:pt x="1579640" y="1972762"/>
                  </a:lnTo>
                  <a:lnTo>
                    <a:pt x="1584404" y="1967996"/>
                  </a:lnTo>
                  <a:lnTo>
                    <a:pt x="1584404" y="1982292"/>
                  </a:lnTo>
                  <a:lnTo>
                    <a:pt x="1589172" y="1987056"/>
                  </a:lnTo>
                  <a:lnTo>
                    <a:pt x="1598700" y="1987056"/>
                  </a:lnTo>
                  <a:lnTo>
                    <a:pt x="1603468" y="1987056"/>
                  </a:lnTo>
                  <a:lnTo>
                    <a:pt x="1617760" y="1967996"/>
                  </a:lnTo>
                  <a:lnTo>
                    <a:pt x="1622528" y="1963232"/>
                  </a:lnTo>
                  <a:lnTo>
                    <a:pt x="1627292" y="1939406"/>
                  </a:lnTo>
                  <a:lnTo>
                    <a:pt x="1636820" y="1944170"/>
                  </a:lnTo>
                  <a:lnTo>
                    <a:pt x="1646352" y="1939406"/>
                  </a:lnTo>
                  <a:lnTo>
                    <a:pt x="1651116" y="1934640"/>
                  </a:lnTo>
                  <a:lnTo>
                    <a:pt x="1660648" y="1882224"/>
                  </a:lnTo>
                  <a:lnTo>
                    <a:pt x="1674944" y="1867928"/>
                  </a:lnTo>
                  <a:lnTo>
                    <a:pt x="1689240" y="1853634"/>
                  </a:lnTo>
                  <a:close/>
                  <a:moveTo>
                    <a:pt x="4491132" y="1844104"/>
                  </a:moveTo>
                  <a:lnTo>
                    <a:pt x="4495896" y="1848868"/>
                  </a:lnTo>
                  <a:lnTo>
                    <a:pt x="4500664" y="1858398"/>
                  </a:lnTo>
                  <a:lnTo>
                    <a:pt x="4500664" y="1867928"/>
                  </a:lnTo>
                  <a:lnTo>
                    <a:pt x="4495896" y="1858398"/>
                  </a:lnTo>
                  <a:lnTo>
                    <a:pt x="4491132" y="1853634"/>
                  </a:lnTo>
                  <a:close/>
                  <a:moveTo>
                    <a:pt x="3943144" y="1829808"/>
                  </a:moveTo>
                  <a:lnTo>
                    <a:pt x="3952672" y="1848868"/>
                  </a:lnTo>
                  <a:lnTo>
                    <a:pt x="3952672" y="1858398"/>
                  </a:lnTo>
                  <a:lnTo>
                    <a:pt x="3952672" y="1910814"/>
                  </a:lnTo>
                  <a:lnTo>
                    <a:pt x="3943144" y="1939404"/>
                  </a:lnTo>
                  <a:lnTo>
                    <a:pt x="3943144" y="1929874"/>
                  </a:lnTo>
                  <a:lnTo>
                    <a:pt x="3943144" y="1906050"/>
                  </a:lnTo>
                  <a:lnTo>
                    <a:pt x="3938376" y="1891754"/>
                  </a:lnTo>
                  <a:lnTo>
                    <a:pt x="3938376" y="1877458"/>
                  </a:lnTo>
                  <a:lnTo>
                    <a:pt x="3938376" y="1844102"/>
                  </a:lnTo>
                  <a:close/>
                  <a:moveTo>
                    <a:pt x="2728036" y="1820276"/>
                  </a:moveTo>
                  <a:lnTo>
                    <a:pt x="2732800" y="1825042"/>
                  </a:lnTo>
                  <a:lnTo>
                    <a:pt x="2732800" y="1834572"/>
                  </a:lnTo>
                  <a:lnTo>
                    <a:pt x="2728036" y="1839338"/>
                  </a:lnTo>
                  <a:lnTo>
                    <a:pt x="2713740" y="1839338"/>
                  </a:lnTo>
                  <a:lnTo>
                    <a:pt x="2708976" y="1834572"/>
                  </a:lnTo>
                  <a:lnTo>
                    <a:pt x="2718504" y="1825042"/>
                  </a:lnTo>
                  <a:close/>
                  <a:moveTo>
                    <a:pt x="5839664" y="1801216"/>
                  </a:moveTo>
                  <a:lnTo>
                    <a:pt x="5853960" y="1801216"/>
                  </a:lnTo>
                  <a:lnTo>
                    <a:pt x="5853960" y="1810748"/>
                  </a:lnTo>
                  <a:lnTo>
                    <a:pt x="5858724" y="1810748"/>
                  </a:lnTo>
                  <a:lnTo>
                    <a:pt x="5868256" y="1829808"/>
                  </a:lnTo>
                  <a:lnTo>
                    <a:pt x="5868256" y="1839338"/>
                  </a:lnTo>
                  <a:lnTo>
                    <a:pt x="5858724" y="1858400"/>
                  </a:lnTo>
                  <a:lnTo>
                    <a:pt x="5853960" y="1848868"/>
                  </a:lnTo>
                  <a:lnTo>
                    <a:pt x="5849196" y="1848868"/>
                  </a:lnTo>
                  <a:lnTo>
                    <a:pt x="5849196" y="1839338"/>
                  </a:lnTo>
                  <a:lnTo>
                    <a:pt x="5849196" y="1825042"/>
                  </a:lnTo>
                  <a:close/>
                  <a:moveTo>
                    <a:pt x="6144632" y="1772626"/>
                  </a:moveTo>
                  <a:lnTo>
                    <a:pt x="6154164" y="1777392"/>
                  </a:lnTo>
                  <a:lnTo>
                    <a:pt x="6158928" y="1786922"/>
                  </a:lnTo>
                  <a:lnTo>
                    <a:pt x="6158928" y="1791686"/>
                  </a:lnTo>
                  <a:lnTo>
                    <a:pt x="6158928" y="1796452"/>
                  </a:lnTo>
                  <a:lnTo>
                    <a:pt x="6163692" y="1801216"/>
                  </a:lnTo>
                  <a:lnTo>
                    <a:pt x="6173224" y="1820278"/>
                  </a:lnTo>
                  <a:lnTo>
                    <a:pt x="6173224" y="1825042"/>
                  </a:lnTo>
                  <a:lnTo>
                    <a:pt x="6173224" y="1834572"/>
                  </a:lnTo>
                  <a:lnTo>
                    <a:pt x="6173224" y="1844102"/>
                  </a:lnTo>
                  <a:lnTo>
                    <a:pt x="6168456" y="1858398"/>
                  </a:lnTo>
                  <a:lnTo>
                    <a:pt x="6173224" y="1872694"/>
                  </a:lnTo>
                  <a:lnTo>
                    <a:pt x="6173224" y="1882224"/>
                  </a:lnTo>
                  <a:lnTo>
                    <a:pt x="6173224" y="1891754"/>
                  </a:lnTo>
                  <a:lnTo>
                    <a:pt x="6173224" y="1896520"/>
                  </a:lnTo>
                  <a:lnTo>
                    <a:pt x="6168456" y="1910814"/>
                  </a:lnTo>
                  <a:lnTo>
                    <a:pt x="6163692" y="1915580"/>
                  </a:lnTo>
                  <a:lnTo>
                    <a:pt x="6158928" y="1915580"/>
                  </a:lnTo>
                  <a:lnTo>
                    <a:pt x="6154164" y="1920344"/>
                  </a:lnTo>
                  <a:lnTo>
                    <a:pt x="6125572" y="1915580"/>
                  </a:lnTo>
                  <a:lnTo>
                    <a:pt x="6111276" y="1906050"/>
                  </a:lnTo>
                  <a:lnTo>
                    <a:pt x="6101744" y="1896520"/>
                  </a:lnTo>
                  <a:lnTo>
                    <a:pt x="6096980" y="1891754"/>
                  </a:lnTo>
                  <a:lnTo>
                    <a:pt x="6082684" y="1877458"/>
                  </a:lnTo>
                  <a:lnTo>
                    <a:pt x="6077920" y="1872694"/>
                  </a:lnTo>
                  <a:lnTo>
                    <a:pt x="6077920" y="1867928"/>
                  </a:lnTo>
                  <a:lnTo>
                    <a:pt x="6092216" y="1867928"/>
                  </a:lnTo>
                  <a:lnTo>
                    <a:pt x="6101744" y="1867928"/>
                  </a:lnTo>
                  <a:lnTo>
                    <a:pt x="6101744" y="1858398"/>
                  </a:lnTo>
                  <a:lnTo>
                    <a:pt x="6111276" y="1839338"/>
                  </a:lnTo>
                  <a:lnTo>
                    <a:pt x="6092216" y="1825042"/>
                  </a:lnTo>
                  <a:lnTo>
                    <a:pt x="6087452" y="1820278"/>
                  </a:lnTo>
                  <a:lnTo>
                    <a:pt x="6096980" y="1815512"/>
                  </a:lnTo>
                  <a:lnTo>
                    <a:pt x="6111276" y="1820278"/>
                  </a:lnTo>
                  <a:lnTo>
                    <a:pt x="6125572" y="1796452"/>
                  </a:lnTo>
                  <a:lnTo>
                    <a:pt x="6130336" y="1791686"/>
                  </a:lnTo>
                  <a:lnTo>
                    <a:pt x="6135100" y="1777392"/>
                  </a:lnTo>
                  <a:close/>
                  <a:moveTo>
                    <a:pt x="5915904" y="1758330"/>
                  </a:moveTo>
                  <a:lnTo>
                    <a:pt x="5920672" y="1758330"/>
                  </a:lnTo>
                  <a:lnTo>
                    <a:pt x="5925436" y="1763096"/>
                  </a:lnTo>
                  <a:lnTo>
                    <a:pt x="5920672" y="1796452"/>
                  </a:lnTo>
                  <a:lnTo>
                    <a:pt x="5896844" y="1825042"/>
                  </a:lnTo>
                  <a:lnTo>
                    <a:pt x="5887316" y="1848868"/>
                  </a:lnTo>
                  <a:lnTo>
                    <a:pt x="5877784" y="1863164"/>
                  </a:lnTo>
                  <a:lnTo>
                    <a:pt x="5887316" y="1829808"/>
                  </a:lnTo>
                  <a:lnTo>
                    <a:pt x="5887316" y="1815512"/>
                  </a:lnTo>
                  <a:lnTo>
                    <a:pt x="5901612" y="1805982"/>
                  </a:lnTo>
                  <a:close/>
                  <a:moveTo>
                    <a:pt x="1084068" y="1753564"/>
                  </a:moveTo>
                  <a:lnTo>
                    <a:pt x="1088832" y="1753564"/>
                  </a:lnTo>
                  <a:lnTo>
                    <a:pt x="1117424" y="1763096"/>
                  </a:lnTo>
                  <a:lnTo>
                    <a:pt x="1122188" y="1772626"/>
                  </a:lnTo>
                  <a:lnTo>
                    <a:pt x="1112656" y="1782156"/>
                  </a:lnTo>
                  <a:lnTo>
                    <a:pt x="1103128" y="1782156"/>
                  </a:lnTo>
                  <a:lnTo>
                    <a:pt x="1079304" y="1763096"/>
                  </a:lnTo>
                  <a:lnTo>
                    <a:pt x="1074536" y="1758330"/>
                  </a:lnTo>
                  <a:close/>
                  <a:moveTo>
                    <a:pt x="4424420" y="1748800"/>
                  </a:moveTo>
                  <a:lnTo>
                    <a:pt x="4433952" y="1748800"/>
                  </a:lnTo>
                  <a:lnTo>
                    <a:pt x="4433952" y="1767860"/>
                  </a:lnTo>
                  <a:lnTo>
                    <a:pt x="4429184" y="1767860"/>
                  </a:lnTo>
                  <a:lnTo>
                    <a:pt x="4424420" y="1758330"/>
                  </a:lnTo>
                  <a:lnTo>
                    <a:pt x="4419656" y="1753566"/>
                  </a:lnTo>
                  <a:close/>
                  <a:moveTo>
                    <a:pt x="4162340" y="1720208"/>
                  </a:moveTo>
                  <a:lnTo>
                    <a:pt x="4167104" y="1720208"/>
                  </a:lnTo>
                  <a:lnTo>
                    <a:pt x="4176636" y="1720208"/>
                  </a:lnTo>
                  <a:lnTo>
                    <a:pt x="4181400" y="1729740"/>
                  </a:lnTo>
                  <a:lnTo>
                    <a:pt x="4186164" y="1734504"/>
                  </a:lnTo>
                  <a:lnTo>
                    <a:pt x="4190928" y="1744034"/>
                  </a:lnTo>
                  <a:lnTo>
                    <a:pt x="4186164" y="1777390"/>
                  </a:lnTo>
                  <a:lnTo>
                    <a:pt x="4176636" y="1782156"/>
                  </a:lnTo>
                  <a:lnTo>
                    <a:pt x="4157576" y="1763096"/>
                  </a:lnTo>
                  <a:lnTo>
                    <a:pt x="4152808" y="1748800"/>
                  </a:lnTo>
                  <a:lnTo>
                    <a:pt x="4152808" y="1739270"/>
                  </a:lnTo>
                  <a:lnTo>
                    <a:pt x="4157576" y="1734504"/>
                  </a:lnTo>
                  <a:lnTo>
                    <a:pt x="4162340" y="1729740"/>
                  </a:lnTo>
                  <a:close/>
                  <a:moveTo>
                    <a:pt x="4286232" y="1648732"/>
                  </a:moveTo>
                  <a:lnTo>
                    <a:pt x="4290996" y="1648732"/>
                  </a:lnTo>
                  <a:lnTo>
                    <a:pt x="4295764" y="1658264"/>
                  </a:lnTo>
                  <a:lnTo>
                    <a:pt x="4300528" y="1696384"/>
                  </a:lnTo>
                  <a:lnTo>
                    <a:pt x="4276704" y="1729740"/>
                  </a:lnTo>
                  <a:lnTo>
                    <a:pt x="4281468" y="1748800"/>
                  </a:lnTo>
                  <a:lnTo>
                    <a:pt x="4276704" y="1758330"/>
                  </a:lnTo>
                  <a:lnTo>
                    <a:pt x="4271936" y="1767860"/>
                  </a:lnTo>
                  <a:lnTo>
                    <a:pt x="4262408" y="1767860"/>
                  </a:lnTo>
                  <a:lnTo>
                    <a:pt x="4257640" y="1767860"/>
                  </a:lnTo>
                  <a:lnTo>
                    <a:pt x="4243348" y="1758330"/>
                  </a:lnTo>
                  <a:lnTo>
                    <a:pt x="4238580" y="1767860"/>
                  </a:lnTo>
                  <a:lnTo>
                    <a:pt x="4229052" y="1767860"/>
                  </a:lnTo>
                  <a:lnTo>
                    <a:pt x="4224288" y="1758330"/>
                  </a:lnTo>
                  <a:lnTo>
                    <a:pt x="4233816" y="1729740"/>
                  </a:lnTo>
                  <a:lnTo>
                    <a:pt x="4243348" y="1720210"/>
                  </a:lnTo>
                  <a:lnTo>
                    <a:pt x="4243348" y="1705914"/>
                  </a:lnTo>
                  <a:lnTo>
                    <a:pt x="4233816" y="1682088"/>
                  </a:lnTo>
                  <a:lnTo>
                    <a:pt x="4238580" y="1672558"/>
                  </a:lnTo>
                  <a:lnTo>
                    <a:pt x="4262408" y="1663028"/>
                  </a:lnTo>
                  <a:close/>
                  <a:moveTo>
                    <a:pt x="4343416" y="1610612"/>
                  </a:moveTo>
                  <a:lnTo>
                    <a:pt x="4348180" y="1610612"/>
                  </a:lnTo>
                  <a:lnTo>
                    <a:pt x="4348180" y="1620142"/>
                  </a:lnTo>
                  <a:lnTo>
                    <a:pt x="4367240" y="1639202"/>
                  </a:lnTo>
                  <a:lnTo>
                    <a:pt x="4372004" y="1672558"/>
                  </a:lnTo>
                  <a:lnTo>
                    <a:pt x="4367240" y="1682088"/>
                  </a:lnTo>
                  <a:lnTo>
                    <a:pt x="4357708" y="1667794"/>
                  </a:lnTo>
                  <a:lnTo>
                    <a:pt x="4357708" y="1663028"/>
                  </a:lnTo>
                  <a:lnTo>
                    <a:pt x="4352944" y="1667794"/>
                  </a:lnTo>
                  <a:lnTo>
                    <a:pt x="4348180" y="1667794"/>
                  </a:lnTo>
                  <a:lnTo>
                    <a:pt x="4338648" y="1682088"/>
                  </a:lnTo>
                  <a:lnTo>
                    <a:pt x="4338648" y="1691620"/>
                  </a:lnTo>
                  <a:lnTo>
                    <a:pt x="4333884" y="1701150"/>
                  </a:lnTo>
                  <a:lnTo>
                    <a:pt x="4333884" y="1729740"/>
                  </a:lnTo>
                  <a:lnTo>
                    <a:pt x="4333884" y="1734506"/>
                  </a:lnTo>
                  <a:lnTo>
                    <a:pt x="4343416" y="1734506"/>
                  </a:lnTo>
                  <a:lnTo>
                    <a:pt x="4362476" y="1744036"/>
                  </a:lnTo>
                  <a:lnTo>
                    <a:pt x="4367240" y="1748800"/>
                  </a:lnTo>
                  <a:lnTo>
                    <a:pt x="4367240" y="1758330"/>
                  </a:lnTo>
                  <a:lnTo>
                    <a:pt x="4357708" y="1767860"/>
                  </a:lnTo>
                  <a:lnTo>
                    <a:pt x="4343416" y="1772626"/>
                  </a:lnTo>
                  <a:lnTo>
                    <a:pt x="4333884" y="1767860"/>
                  </a:lnTo>
                  <a:lnTo>
                    <a:pt x="4333884" y="1772626"/>
                  </a:lnTo>
                  <a:lnTo>
                    <a:pt x="4329120" y="1777392"/>
                  </a:lnTo>
                  <a:lnTo>
                    <a:pt x="4324352" y="1782156"/>
                  </a:lnTo>
                  <a:lnTo>
                    <a:pt x="4324352" y="1786922"/>
                  </a:lnTo>
                  <a:lnTo>
                    <a:pt x="4314824" y="1805982"/>
                  </a:lnTo>
                  <a:lnTo>
                    <a:pt x="4310060" y="1810748"/>
                  </a:lnTo>
                  <a:lnTo>
                    <a:pt x="4295764" y="1805982"/>
                  </a:lnTo>
                  <a:lnTo>
                    <a:pt x="4290996" y="1810748"/>
                  </a:lnTo>
                  <a:lnTo>
                    <a:pt x="4281468" y="1810748"/>
                  </a:lnTo>
                  <a:lnTo>
                    <a:pt x="4271936" y="1791686"/>
                  </a:lnTo>
                  <a:lnTo>
                    <a:pt x="4271936" y="1786922"/>
                  </a:lnTo>
                  <a:lnTo>
                    <a:pt x="4281468" y="1772626"/>
                  </a:lnTo>
                  <a:lnTo>
                    <a:pt x="4281468" y="1767860"/>
                  </a:lnTo>
                  <a:lnTo>
                    <a:pt x="4286232" y="1758330"/>
                  </a:lnTo>
                  <a:lnTo>
                    <a:pt x="4295764" y="1748800"/>
                  </a:lnTo>
                  <a:lnTo>
                    <a:pt x="4300528" y="1739270"/>
                  </a:lnTo>
                  <a:lnTo>
                    <a:pt x="4300528" y="1734506"/>
                  </a:lnTo>
                  <a:lnTo>
                    <a:pt x="4305292" y="1715444"/>
                  </a:lnTo>
                  <a:lnTo>
                    <a:pt x="4305292" y="1705914"/>
                  </a:lnTo>
                  <a:lnTo>
                    <a:pt x="4310060" y="1701150"/>
                  </a:lnTo>
                  <a:lnTo>
                    <a:pt x="4314824" y="1682088"/>
                  </a:lnTo>
                  <a:lnTo>
                    <a:pt x="4314824" y="1648732"/>
                  </a:lnTo>
                  <a:lnTo>
                    <a:pt x="4329120" y="1620142"/>
                  </a:lnTo>
                  <a:close/>
                  <a:moveTo>
                    <a:pt x="5949264" y="1567724"/>
                  </a:moveTo>
                  <a:lnTo>
                    <a:pt x="5973088" y="1582020"/>
                  </a:lnTo>
                  <a:lnTo>
                    <a:pt x="5987384" y="1591550"/>
                  </a:lnTo>
                  <a:lnTo>
                    <a:pt x="5996912" y="1596316"/>
                  </a:lnTo>
                  <a:lnTo>
                    <a:pt x="5977852" y="1591550"/>
                  </a:lnTo>
                  <a:lnTo>
                    <a:pt x="5954028" y="1577256"/>
                  </a:lnTo>
                  <a:close/>
                  <a:moveTo>
                    <a:pt x="4343416" y="1548664"/>
                  </a:moveTo>
                  <a:lnTo>
                    <a:pt x="4372004" y="1548664"/>
                  </a:lnTo>
                  <a:lnTo>
                    <a:pt x="4376768" y="1558196"/>
                  </a:lnTo>
                  <a:lnTo>
                    <a:pt x="4376768" y="1567726"/>
                  </a:lnTo>
                  <a:lnTo>
                    <a:pt x="4362476" y="1586786"/>
                  </a:lnTo>
                  <a:lnTo>
                    <a:pt x="4348180" y="1586786"/>
                  </a:lnTo>
                  <a:lnTo>
                    <a:pt x="4338648" y="1572490"/>
                  </a:lnTo>
                  <a:lnTo>
                    <a:pt x="4333884" y="1558196"/>
                  </a:lnTo>
                  <a:lnTo>
                    <a:pt x="4333884" y="1553430"/>
                  </a:lnTo>
                  <a:close/>
                  <a:moveTo>
                    <a:pt x="5186840" y="1477188"/>
                  </a:moveTo>
                  <a:lnTo>
                    <a:pt x="5201136" y="1477188"/>
                  </a:lnTo>
                  <a:lnTo>
                    <a:pt x="5205904" y="1486718"/>
                  </a:lnTo>
                  <a:lnTo>
                    <a:pt x="5182076" y="1496248"/>
                  </a:lnTo>
                  <a:close/>
                  <a:moveTo>
                    <a:pt x="5158252" y="1477188"/>
                  </a:moveTo>
                  <a:lnTo>
                    <a:pt x="5172544" y="1477188"/>
                  </a:lnTo>
                  <a:lnTo>
                    <a:pt x="5167780" y="1481954"/>
                  </a:lnTo>
                  <a:lnTo>
                    <a:pt x="5163016" y="1486718"/>
                  </a:lnTo>
                  <a:lnTo>
                    <a:pt x="5163016" y="1491484"/>
                  </a:lnTo>
                  <a:lnTo>
                    <a:pt x="5163016" y="1501014"/>
                  </a:lnTo>
                  <a:lnTo>
                    <a:pt x="5158252" y="1505778"/>
                  </a:lnTo>
                  <a:lnTo>
                    <a:pt x="5148720" y="1510544"/>
                  </a:lnTo>
                  <a:lnTo>
                    <a:pt x="5139192" y="1510544"/>
                  </a:lnTo>
                  <a:lnTo>
                    <a:pt x="5143956" y="1505778"/>
                  </a:lnTo>
                  <a:lnTo>
                    <a:pt x="5139192" y="1501014"/>
                  </a:lnTo>
                  <a:lnTo>
                    <a:pt x="5134424" y="1501014"/>
                  </a:lnTo>
                  <a:lnTo>
                    <a:pt x="5129660" y="1505778"/>
                  </a:lnTo>
                  <a:lnTo>
                    <a:pt x="5115364" y="1515308"/>
                  </a:lnTo>
                  <a:lnTo>
                    <a:pt x="5105832" y="1510544"/>
                  </a:lnTo>
                  <a:lnTo>
                    <a:pt x="5105832" y="1505778"/>
                  </a:lnTo>
                  <a:lnTo>
                    <a:pt x="5105832" y="1501014"/>
                  </a:lnTo>
                  <a:lnTo>
                    <a:pt x="5120128" y="1486718"/>
                  </a:lnTo>
                  <a:lnTo>
                    <a:pt x="5139192" y="1486718"/>
                  </a:lnTo>
                  <a:close/>
                  <a:moveTo>
                    <a:pt x="5210668" y="1472424"/>
                  </a:moveTo>
                  <a:lnTo>
                    <a:pt x="5224964" y="1477188"/>
                  </a:lnTo>
                  <a:lnTo>
                    <a:pt x="5229728" y="1481952"/>
                  </a:lnTo>
                  <a:lnTo>
                    <a:pt x="5229728" y="1486718"/>
                  </a:lnTo>
                  <a:lnTo>
                    <a:pt x="5220196" y="1486718"/>
                  </a:lnTo>
                  <a:lnTo>
                    <a:pt x="5215432" y="1486718"/>
                  </a:lnTo>
                  <a:lnTo>
                    <a:pt x="5210668" y="1477188"/>
                  </a:lnTo>
                  <a:close/>
                  <a:moveTo>
                    <a:pt x="3309380" y="1458128"/>
                  </a:moveTo>
                  <a:lnTo>
                    <a:pt x="3309380" y="1467658"/>
                  </a:lnTo>
                  <a:lnTo>
                    <a:pt x="3304616" y="1496248"/>
                  </a:lnTo>
                  <a:lnTo>
                    <a:pt x="3295088" y="1477188"/>
                  </a:lnTo>
                  <a:lnTo>
                    <a:pt x="3304616" y="1462892"/>
                  </a:lnTo>
                  <a:close/>
                  <a:moveTo>
                    <a:pt x="5043888" y="1434302"/>
                  </a:moveTo>
                  <a:lnTo>
                    <a:pt x="5048652" y="1434302"/>
                  </a:lnTo>
                  <a:lnTo>
                    <a:pt x="5058184" y="1443832"/>
                  </a:lnTo>
                  <a:lnTo>
                    <a:pt x="5062948" y="1448596"/>
                  </a:lnTo>
                  <a:lnTo>
                    <a:pt x="5043888" y="1443832"/>
                  </a:lnTo>
                  <a:lnTo>
                    <a:pt x="5039124" y="1439068"/>
                  </a:lnTo>
                  <a:close/>
                  <a:moveTo>
                    <a:pt x="3280792" y="1434302"/>
                  </a:moveTo>
                  <a:lnTo>
                    <a:pt x="3285556" y="1434302"/>
                  </a:lnTo>
                  <a:lnTo>
                    <a:pt x="3285556" y="1458128"/>
                  </a:lnTo>
                  <a:lnTo>
                    <a:pt x="3290320" y="1462892"/>
                  </a:lnTo>
                  <a:lnTo>
                    <a:pt x="3290320" y="1472422"/>
                  </a:lnTo>
                  <a:lnTo>
                    <a:pt x="3290320" y="1477188"/>
                  </a:lnTo>
                  <a:lnTo>
                    <a:pt x="3290320" y="1505778"/>
                  </a:lnTo>
                  <a:lnTo>
                    <a:pt x="3295088" y="1515308"/>
                  </a:lnTo>
                  <a:lnTo>
                    <a:pt x="3290320" y="1524840"/>
                  </a:lnTo>
                  <a:lnTo>
                    <a:pt x="3290320" y="1529604"/>
                  </a:lnTo>
                  <a:lnTo>
                    <a:pt x="3256964" y="1558196"/>
                  </a:lnTo>
                  <a:lnTo>
                    <a:pt x="3252200" y="1553430"/>
                  </a:lnTo>
                  <a:lnTo>
                    <a:pt x="3256964" y="1520074"/>
                  </a:lnTo>
                  <a:lnTo>
                    <a:pt x="3247436" y="1505778"/>
                  </a:lnTo>
                  <a:lnTo>
                    <a:pt x="3247436" y="1491484"/>
                  </a:lnTo>
                  <a:lnTo>
                    <a:pt x="3252200" y="1467658"/>
                  </a:lnTo>
                  <a:lnTo>
                    <a:pt x="3261732" y="1448598"/>
                  </a:lnTo>
                  <a:close/>
                  <a:moveTo>
                    <a:pt x="4891404" y="1405712"/>
                  </a:moveTo>
                  <a:lnTo>
                    <a:pt x="4934292" y="1405712"/>
                  </a:lnTo>
                  <a:lnTo>
                    <a:pt x="4939056" y="1405712"/>
                  </a:lnTo>
                  <a:lnTo>
                    <a:pt x="4967648" y="1420006"/>
                  </a:lnTo>
                  <a:lnTo>
                    <a:pt x="4972412" y="1429536"/>
                  </a:lnTo>
                  <a:lnTo>
                    <a:pt x="4977176" y="1439066"/>
                  </a:lnTo>
                  <a:lnTo>
                    <a:pt x="4981940" y="1443832"/>
                  </a:lnTo>
                  <a:lnTo>
                    <a:pt x="4986708" y="1448598"/>
                  </a:lnTo>
                  <a:lnTo>
                    <a:pt x="4996236" y="1458128"/>
                  </a:lnTo>
                  <a:lnTo>
                    <a:pt x="5001000" y="1467658"/>
                  </a:lnTo>
                  <a:lnTo>
                    <a:pt x="4996236" y="1491484"/>
                  </a:lnTo>
                  <a:lnTo>
                    <a:pt x="4986708" y="1496248"/>
                  </a:lnTo>
                  <a:lnTo>
                    <a:pt x="4977176" y="1501014"/>
                  </a:lnTo>
                  <a:lnTo>
                    <a:pt x="4953352" y="1515308"/>
                  </a:lnTo>
                  <a:lnTo>
                    <a:pt x="4943820" y="1515308"/>
                  </a:lnTo>
                  <a:lnTo>
                    <a:pt x="4929524" y="1520074"/>
                  </a:lnTo>
                  <a:lnTo>
                    <a:pt x="4919996" y="1520074"/>
                  </a:lnTo>
                  <a:lnTo>
                    <a:pt x="4915228" y="1524840"/>
                  </a:lnTo>
                  <a:lnTo>
                    <a:pt x="4891404" y="1515308"/>
                  </a:lnTo>
                  <a:lnTo>
                    <a:pt x="4872344" y="1505778"/>
                  </a:lnTo>
                  <a:lnTo>
                    <a:pt x="4838988" y="1486718"/>
                  </a:lnTo>
                  <a:lnTo>
                    <a:pt x="4834224" y="1486718"/>
                  </a:lnTo>
                  <a:lnTo>
                    <a:pt x="4829456" y="1477188"/>
                  </a:lnTo>
                  <a:lnTo>
                    <a:pt x="4815164" y="1458128"/>
                  </a:lnTo>
                  <a:lnTo>
                    <a:pt x="4810396" y="1448598"/>
                  </a:lnTo>
                  <a:lnTo>
                    <a:pt x="4810396" y="1420006"/>
                  </a:lnTo>
                  <a:lnTo>
                    <a:pt x="4815164" y="1415242"/>
                  </a:lnTo>
                  <a:lnTo>
                    <a:pt x="4819928" y="1410476"/>
                  </a:lnTo>
                  <a:lnTo>
                    <a:pt x="4838988" y="1420006"/>
                  </a:lnTo>
                  <a:lnTo>
                    <a:pt x="4853284" y="1410476"/>
                  </a:lnTo>
                  <a:close/>
                  <a:moveTo>
                    <a:pt x="5110600" y="1386652"/>
                  </a:moveTo>
                  <a:lnTo>
                    <a:pt x="5115364" y="1386652"/>
                  </a:lnTo>
                  <a:lnTo>
                    <a:pt x="5110600" y="1396180"/>
                  </a:lnTo>
                  <a:lnTo>
                    <a:pt x="5096304" y="1396180"/>
                  </a:lnTo>
                  <a:lnTo>
                    <a:pt x="5091540" y="1396180"/>
                  </a:lnTo>
                  <a:close/>
                  <a:moveTo>
                    <a:pt x="1808368" y="1377120"/>
                  </a:moveTo>
                  <a:lnTo>
                    <a:pt x="1822664" y="1381886"/>
                  </a:lnTo>
                  <a:lnTo>
                    <a:pt x="1822664" y="1396180"/>
                  </a:lnTo>
                  <a:lnTo>
                    <a:pt x="1817896" y="1400946"/>
                  </a:lnTo>
                  <a:lnTo>
                    <a:pt x="1808368" y="1396180"/>
                  </a:lnTo>
                  <a:lnTo>
                    <a:pt x="1803600" y="1391416"/>
                  </a:lnTo>
                  <a:lnTo>
                    <a:pt x="1798836" y="1386650"/>
                  </a:lnTo>
                  <a:lnTo>
                    <a:pt x="1798836" y="1381886"/>
                  </a:lnTo>
                  <a:close/>
                  <a:moveTo>
                    <a:pt x="1903668" y="1367590"/>
                  </a:moveTo>
                  <a:lnTo>
                    <a:pt x="1913200" y="1367590"/>
                  </a:lnTo>
                  <a:lnTo>
                    <a:pt x="1917964" y="1372356"/>
                  </a:lnTo>
                  <a:lnTo>
                    <a:pt x="1913200" y="1377120"/>
                  </a:lnTo>
                  <a:lnTo>
                    <a:pt x="1908436" y="1381884"/>
                  </a:lnTo>
                  <a:lnTo>
                    <a:pt x="1903668" y="1377120"/>
                  </a:lnTo>
                  <a:lnTo>
                    <a:pt x="1898904" y="1372356"/>
                  </a:lnTo>
                  <a:close/>
                  <a:moveTo>
                    <a:pt x="5339324" y="1362824"/>
                  </a:moveTo>
                  <a:lnTo>
                    <a:pt x="5348856" y="1362824"/>
                  </a:lnTo>
                  <a:lnTo>
                    <a:pt x="5358384" y="1362824"/>
                  </a:lnTo>
                  <a:lnTo>
                    <a:pt x="5367916" y="1362824"/>
                  </a:lnTo>
                  <a:lnTo>
                    <a:pt x="5391740" y="1372356"/>
                  </a:lnTo>
                  <a:lnTo>
                    <a:pt x="5429864" y="1391416"/>
                  </a:lnTo>
                  <a:lnTo>
                    <a:pt x="5448924" y="1391416"/>
                  </a:lnTo>
                  <a:lnTo>
                    <a:pt x="5477512" y="1391416"/>
                  </a:lnTo>
                  <a:lnTo>
                    <a:pt x="5491808" y="1391416"/>
                  </a:lnTo>
                  <a:lnTo>
                    <a:pt x="5520400" y="1415242"/>
                  </a:lnTo>
                  <a:lnTo>
                    <a:pt x="5529932" y="1429536"/>
                  </a:lnTo>
                  <a:lnTo>
                    <a:pt x="5529932" y="1443832"/>
                  </a:lnTo>
                  <a:lnTo>
                    <a:pt x="5534696" y="1458128"/>
                  </a:lnTo>
                  <a:lnTo>
                    <a:pt x="5544224" y="1458128"/>
                  </a:lnTo>
                  <a:lnTo>
                    <a:pt x="5553756" y="1458128"/>
                  </a:lnTo>
                  <a:lnTo>
                    <a:pt x="5563288" y="1477188"/>
                  </a:lnTo>
                  <a:lnTo>
                    <a:pt x="5563288" y="1481952"/>
                  </a:lnTo>
                  <a:lnTo>
                    <a:pt x="5558520" y="1529604"/>
                  </a:lnTo>
                  <a:lnTo>
                    <a:pt x="5520400" y="1510544"/>
                  </a:lnTo>
                  <a:lnTo>
                    <a:pt x="5487044" y="1491484"/>
                  </a:lnTo>
                  <a:lnTo>
                    <a:pt x="5472748" y="1486718"/>
                  </a:lnTo>
                  <a:lnTo>
                    <a:pt x="5434628" y="1467658"/>
                  </a:lnTo>
                  <a:lnTo>
                    <a:pt x="5429864" y="1462892"/>
                  </a:lnTo>
                  <a:lnTo>
                    <a:pt x="5425096" y="1458128"/>
                  </a:lnTo>
                  <a:lnTo>
                    <a:pt x="5406036" y="1443832"/>
                  </a:lnTo>
                  <a:lnTo>
                    <a:pt x="5372680" y="1443832"/>
                  </a:lnTo>
                  <a:lnTo>
                    <a:pt x="5358384" y="1443832"/>
                  </a:lnTo>
                  <a:lnTo>
                    <a:pt x="5353620" y="1443832"/>
                  </a:lnTo>
                  <a:lnTo>
                    <a:pt x="5358384" y="1448598"/>
                  </a:lnTo>
                  <a:lnTo>
                    <a:pt x="5358384" y="1462892"/>
                  </a:lnTo>
                  <a:lnTo>
                    <a:pt x="5348856" y="1462892"/>
                  </a:lnTo>
                  <a:lnTo>
                    <a:pt x="5325028" y="1458128"/>
                  </a:lnTo>
                  <a:lnTo>
                    <a:pt x="5305968" y="1458128"/>
                  </a:lnTo>
                  <a:lnTo>
                    <a:pt x="5291672" y="1448598"/>
                  </a:lnTo>
                  <a:lnTo>
                    <a:pt x="5267848" y="1443832"/>
                  </a:lnTo>
                  <a:lnTo>
                    <a:pt x="5267848" y="1439066"/>
                  </a:lnTo>
                  <a:lnTo>
                    <a:pt x="5267848" y="1434302"/>
                  </a:lnTo>
                  <a:lnTo>
                    <a:pt x="5263084" y="1429536"/>
                  </a:lnTo>
                  <a:lnTo>
                    <a:pt x="5253552" y="1429536"/>
                  </a:lnTo>
                  <a:lnTo>
                    <a:pt x="5244024" y="1434302"/>
                  </a:lnTo>
                  <a:lnTo>
                    <a:pt x="5234492" y="1443832"/>
                  </a:lnTo>
                  <a:lnTo>
                    <a:pt x="5224964" y="1458128"/>
                  </a:lnTo>
                  <a:lnTo>
                    <a:pt x="5220196" y="1462892"/>
                  </a:lnTo>
                  <a:lnTo>
                    <a:pt x="5201136" y="1462892"/>
                  </a:lnTo>
                  <a:lnTo>
                    <a:pt x="5191608" y="1462892"/>
                  </a:lnTo>
                  <a:lnTo>
                    <a:pt x="5182076" y="1458128"/>
                  </a:lnTo>
                  <a:lnTo>
                    <a:pt x="5163016" y="1434302"/>
                  </a:lnTo>
                  <a:lnTo>
                    <a:pt x="5153484" y="1424772"/>
                  </a:lnTo>
                  <a:lnTo>
                    <a:pt x="5148720" y="1420006"/>
                  </a:lnTo>
                  <a:lnTo>
                    <a:pt x="5139188" y="1420006"/>
                  </a:lnTo>
                  <a:lnTo>
                    <a:pt x="5129660" y="1424772"/>
                  </a:lnTo>
                  <a:lnTo>
                    <a:pt x="5129660" y="1434302"/>
                  </a:lnTo>
                  <a:lnTo>
                    <a:pt x="5124896" y="1443832"/>
                  </a:lnTo>
                  <a:lnTo>
                    <a:pt x="5124896" y="1448598"/>
                  </a:lnTo>
                  <a:lnTo>
                    <a:pt x="5115364" y="1462892"/>
                  </a:lnTo>
                  <a:lnTo>
                    <a:pt x="5105836" y="1472422"/>
                  </a:lnTo>
                  <a:lnTo>
                    <a:pt x="5101068" y="1472422"/>
                  </a:lnTo>
                  <a:lnTo>
                    <a:pt x="5105836" y="1458128"/>
                  </a:lnTo>
                  <a:lnTo>
                    <a:pt x="5105836" y="1448598"/>
                  </a:lnTo>
                  <a:lnTo>
                    <a:pt x="5101068" y="1439066"/>
                  </a:lnTo>
                  <a:lnTo>
                    <a:pt x="5101068" y="1429536"/>
                  </a:lnTo>
                  <a:lnTo>
                    <a:pt x="5134424" y="1381886"/>
                  </a:lnTo>
                  <a:lnTo>
                    <a:pt x="5148720" y="1372356"/>
                  </a:lnTo>
                  <a:lnTo>
                    <a:pt x="5205900" y="1367590"/>
                  </a:lnTo>
                  <a:lnTo>
                    <a:pt x="5244024" y="1372356"/>
                  </a:lnTo>
                  <a:lnTo>
                    <a:pt x="5263084" y="1372356"/>
                  </a:lnTo>
                  <a:lnTo>
                    <a:pt x="5272612" y="1367590"/>
                  </a:lnTo>
                  <a:lnTo>
                    <a:pt x="5282144" y="1367590"/>
                  </a:lnTo>
                  <a:lnTo>
                    <a:pt x="5286908" y="1377120"/>
                  </a:lnTo>
                  <a:lnTo>
                    <a:pt x="5291672" y="1386650"/>
                  </a:lnTo>
                  <a:lnTo>
                    <a:pt x="5301204" y="1381886"/>
                  </a:lnTo>
                  <a:lnTo>
                    <a:pt x="5320264" y="1377120"/>
                  </a:lnTo>
                  <a:lnTo>
                    <a:pt x="5334560" y="1367590"/>
                  </a:lnTo>
                  <a:close/>
                  <a:moveTo>
                    <a:pt x="774336" y="1362824"/>
                  </a:moveTo>
                  <a:lnTo>
                    <a:pt x="783864" y="1362824"/>
                  </a:lnTo>
                  <a:lnTo>
                    <a:pt x="817220" y="1396180"/>
                  </a:lnTo>
                  <a:lnTo>
                    <a:pt x="817220" y="1400946"/>
                  </a:lnTo>
                  <a:lnTo>
                    <a:pt x="817220" y="1410476"/>
                  </a:lnTo>
                  <a:lnTo>
                    <a:pt x="812456" y="1415242"/>
                  </a:lnTo>
                  <a:lnTo>
                    <a:pt x="812456" y="1424772"/>
                  </a:lnTo>
                  <a:lnTo>
                    <a:pt x="817220" y="1443832"/>
                  </a:lnTo>
                  <a:lnTo>
                    <a:pt x="798160" y="1429536"/>
                  </a:lnTo>
                  <a:lnTo>
                    <a:pt x="798160" y="1420006"/>
                  </a:lnTo>
                  <a:lnTo>
                    <a:pt x="798160" y="1410476"/>
                  </a:lnTo>
                  <a:lnTo>
                    <a:pt x="783864" y="1405712"/>
                  </a:lnTo>
                  <a:lnTo>
                    <a:pt x="779100" y="1391416"/>
                  </a:lnTo>
                  <a:lnTo>
                    <a:pt x="774336" y="1367590"/>
                  </a:lnTo>
                  <a:close/>
                  <a:moveTo>
                    <a:pt x="1970380" y="1319940"/>
                  </a:moveTo>
                  <a:lnTo>
                    <a:pt x="1975148" y="1324704"/>
                  </a:lnTo>
                  <a:lnTo>
                    <a:pt x="2008504" y="1329470"/>
                  </a:lnTo>
                  <a:lnTo>
                    <a:pt x="2027564" y="1348530"/>
                  </a:lnTo>
                  <a:lnTo>
                    <a:pt x="2041856" y="1367590"/>
                  </a:lnTo>
                  <a:lnTo>
                    <a:pt x="2027564" y="1396182"/>
                  </a:lnTo>
                  <a:lnTo>
                    <a:pt x="2022796" y="1410476"/>
                  </a:lnTo>
                  <a:lnTo>
                    <a:pt x="2022796" y="1415242"/>
                  </a:lnTo>
                  <a:lnTo>
                    <a:pt x="2008504" y="1424772"/>
                  </a:lnTo>
                  <a:lnTo>
                    <a:pt x="2003736" y="1429536"/>
                  </a:lnTo>
                  <a:lnTo>
                    <a:pt x="1989440" y="1429536"/>
                  </a:lnTo>
                  <a:lnTo>
                    <a:pt x="1989440" y="1420006"/>
                  </a:lnTo>
                  <a:lnTo>
                    <a:pt x="1984676" y="1415242"/>
                  </a:lnTo>
                  <a:lnTo>
                    <a:pt x="1970380" y="1405712"/>
                  </a:lnTo>
                  <a:lnTo>
                    <a:pt x="1970380" y="1410476"/>
                  </a:lnTo>
                  <a:lnTo>
                    <a:pt x="1965616" y="1420006"/>
                  </a:lnTo>
                  <a:lnTo>
                    <a:pt x="1941792" y="1424772"/>
                  </a:lnTo>
                  <a:lnTo>
                    <a:pt x="1932260" y="1424772"/>
                  </a:lnTo>
                  <a:lnTo>
                    <a:pt x="1937024" y="1415242"/>
                  </a:lnTo>
                  <a:lnTo>
                    <a:pt x="1932260" y="1405712"/>
                  </a:lnTo>
                  <a:lnTo>
                    <a:pt x="1932260" y="1391416"/>
                  </a:lnTo>
                  <a:lnTo>
                    <a:pt x="1927496" y="1386650"/>
                  </a:lnTo>
                  <a:lnTo>
                    <a:pt x="1927496" y="1381886"/>
                  </a:lnTo>
                  <a:lnTo>
                    <a:pt x="1932260" y="1372356"/>
                  </a:lnTo>
                  <a:lnTo>
                    <a:pt x="1932260" y="1362826"/>
                  </a:lnTo>
                  <a:lnTo>
                    <a:pt x="1937024" y="1353294"/>
                  </a:lnTo>
                  <a:lnTo>
                    <a:pt x="1941792" y="1324704"/>
                  </a:lnTo>
                  <a:close/>
                  <a:moveTo>
                    <a:pt x="740976" y="1319940"/>
                  </a:moveTo>
                  <a:lnTo>
                    <a:pt x="745744" y="1319940"/>
                  </a:lnTo>
                  <a:lnTo>
                    <a:pt x="779100" y="1343764"/>
                  </a:lnTo>
                  <a:lnTo>
                    <a:pt x="779100" y="1353294"/>
                  </a:lnTo>
                  <a:lnTo>
                    <a:pt x="764804" y="1367590"/>
                  </a:lnTo>
                  <a:lnTo>
                    <a:pt x="745744" y="1367590"/>
                  </a:lnTo>
                  <a:lnTo>
                    <a:pt x="745744" y="1358060"/>
                  </a:lnTo>
                  <a:lnTo>
                    <a:pt x="745744" y="1339000"/>
                  </a:lnTo>
                  <a:lnTo>
                    <a:pt x="740976" y="1334234"/>
                  </a:lnTo>
                  <a:lnTo>
                    <a:pt x="740976" y="1329470"/>
                  </a:lnTo>
                  <a:close/>
                  <a:moveTo>
                    <a:pt x="6111276" y="1243696"/>
                  </a:moveTo>
                  <a:lnTo>
                    <a:pt x="6116040" y="1243696"/>
                  </a:lnTo>
                  <a:lnTo>
                    <a:pt x="6120808" y="1248462"/>
                  </a:lnTo>
                  <a:lnTo>
                    <a:pt x="6116040" y="1257992"/>
                  </a:lnTo>
                  <a:lnTo>
                    <a:pt x="6111276" y="1257992"/>
                  </a:lnTo>
                  <a:lnTo>
                    <a:pt x="6106512" y="1253228"/>
                  </a:lnTo>
                  <a:close/>
                  <a:moveTo>
                    <a:pt x="683796" y="1238932"/>
                  </a:moveTo>
                  <a:lnTo>
                    <a:pt x="698092" y="1248462"/>
                  </a:lnTo>
                  <a:lnTo>
                    <a:pt x="702856" y="1267524"/>
                  </a:lnTo>
                  <a:lnTo>
                    <a:pt x="717152" y="1281818"/>
                  </a:lnTo>
                  <a:lnTo>
                    <a:pt x="721916" y="1291348"/>
                  </a:lnTo>
                  <a:lnTo>
                    <a:pt x="721916" y="1296114"/>
                  </a:lnTo>
                  <a:lnTo>
                    <a:pt x="698092" y="1281818"/>
                  </a:lnTo>
                  <a:lnTo>
                    <a:pt x="683796" y="1277054"/>
                  </a:lnTo>
                  <a:lnTo>
                    <a:pt x="674264" y="1262758"/>
                  </a:lnTo>
                  <a:lnTo>
                    <a:pt x="674264" y="1257992"/>
                  </a:lnTo>
                  <a:lnTo>
                    <a:pt x="679032" y="1248462"/>
                  </a:lnTo>
                  <a:lnTo>
                    <a:pt x="679032" y="1243698"/>
                  </a:lnTo>
                  <a:close/>
                  <a:moveTo>
                    <a:pt x="4796100" y="1234168"/>
                  </a:moveTo>
                  <a:lnTo>
                    <a:pt x="4800868" y="1234168"/>
                  </a:lnTo>
                  <a:lnTo>
                    <a:pt x="4805632" y="1238932"/>
                  </a:lnTo>
                  <a:lnTo>
                    <a:pt x="4800868" y="1262758"/>
                  </a:lnTo>
                  <a:lnTo>
                    <a:pt x="4815160" y="1296114"/>
                  </a:lnTo>
                  <a:lnTo>
                    <a:pt x="4815160" y="1310408"/>
                  </a:lnTo>
                  <a:lnTo>
                    <a:pt x="4810396" y="1310408"/>
                  </a:lnTo>
                  <a:lnTo>
                    <a:pt x="4800868" y="1300878"/>
                  </a:lnTo>
                  <a:lnTo>
                    <a:pt x="4796100" y="1277054"/>
                  </a:lnTo>
                  <a:lnTo>
                    <a:pt x="4791336" y="1272288"/>
                  </a:lnTo>
                  <a:lnTo>
                    <a:pt x="4786572" y="1248462"/>
                  </a:lnTo>
                  <a:lnTo>
                    <a:pt x="4786572" y="1243698"/>
                  </a:lnTo>
                  <a:close/>
                  <a:moveTo>
                    <a:pt x="4457776" y="1219872"/>
                  </a:moveTo>
                  <a:lnTo>
                    <a:pt x="4472072" y="1229402"/>
                  </a:lnTo>
                  <a:lnTo>
                    <a:pt x="4472072" y="1238932"/>
                  </a:lnTo>
                  <a:lnTo>
                    <a:pt x="4462544" y="1238932"/>
                  </a:lnTo>
                  <a:lnTo>
                    <a:pt x="4457776" y="1224636"/>
                  </a:lnTo>
                  <a:close/>
                  <a:moveTo>
                    <a:pt x="4729388" y="1205576"/>
                  </a:moveTo>
                  <a:lnTo>
                    <a:pt x="4762744" y="1210342"/>
                  </a:lnTo>
                  <a:lnTo>
                    <a:pt x="4810396" y="1205576"/>
                  </a:lnTo>
                  <a:lnTo>
                    <a:pt x="4858048" y="1210342"/>
                  </a:lnTo>
                  <a:lnTo>
                    <a:pt x="4853284" y="1215106"/>
                  </a:lnTo>
                  <a:lnTo>
                    <a:pt x="4800868" y="1224636"/>
                  </a:lnTo>
                  <a:lnTo>
                    <a:pt x="4781804" y="1224636"/>
                  </a:lnTo>
                  <a:lnTo>
                    <a:pt x="4724624" y="1229402"/>
                  </a:lnTo>
                  <a:lnTo>
                    <a:pt x="4715096" y="1229402"/>
                  </a:lnTo>
                  <a:lnTo>
                    <a:pt x="4715096" y="1219872"/>
                  </a:lnTo>
                  <a:lnTo>
                    <a:pt x="4710328" y="1215106"/>
                  </a:lnTo>
                  <a:lnTo>
                    <a:pt x="4719860" y="1210342"/>
                  </a:lnTo>
                  <a:close/>
                  <a:moveTo>
                    <a:pt x="4357708" y="1200812"/>
                  </a:moveTo>
                  <a:lnTo>
                    <a:pt x="4362472" y="1210342"/>
                  </a:lnTo>
                  <a:lnTo>
                    <a:pt x="4348180" y="1224636"/>
                  </a:lnTo>
                  <a:lnTo>
                    <a:pt x="4348180" y="1215106"/>
                  </a:lnTo>
                  <a:lnTo>
                    <a:pt x="4352944" y="1210342"/>
                  </a:lnTo>
                  <a:lnTo>
                    <a:pt x="4352944" y="1205576"/>
                  </a:lnTo>
                  <a:close/>
                  <a:moveTo>
                    <a:pt x="5482280" y="1191280"/>
                  </a:moveTo>
                  <a:lnTo>
                    <a:pt x="5487044" y="1191280"/>
                  </a:lnTo>
                  <a:lnTo>
                    <a:pt x="5487044" y="1200810"/>
                  </a:lnTo>
                  <a:lnTo>
                    <a:pt x="5496576" y="1205576"/>
                  </a:lnTo>
                  <a:lnTo>
                    <a:pt x="5491808" y="1219872"/>
                  </a:lnTo>
                  <a:lnTo>
                    <a:pt x="5491808" y="1224636"/>
                  </a:lnTo>
                  <a:lnTo>
                    <a:pt x="5491808" y="1229402"/>
                  </a:lnTo>
                  <a:lnTo>
                    <a:pt x="5496576" y="1234166"/>
                  </a:lnTo>
                  <a:lnTo>
                    <a:pt x="5487044" y="1238932"/>
                  </a:lnTo>
                  <a:lnTo>
                    <a:pt x="5482280" y="1234166"/>
                  </a:lnTo>
                  <a:lnTo>
                    <a:pt x="5477516" y="1238932"/>
                  </a:lnTo>
                  <a:lnTo>
                    <a:pt x="5467984" y="1243696"/>
                  </a:lnTo>
                  <a:lnTo>
                    <a:pt x="5453688" y="1248462"/>
                  </a:lnTo>
                  <a:lnTo>
                    <a:pt x="5444160" y="1243696"/>
                  </a:lnTo>
                  <a:lnTo>
                    <a:pt x="5415568" y="1234166"/>
                  </a:lnTo>
                  <a:lnTo>
                    <a:pt x="5391744" y="1219872"/>
                  </a:lnTo>
                  <a:lnTo>
                    <a:pt x="5391744" y="1215106"/>
                  </a:lnTo>
                  <a:lnTo>
                    <a:pt x="5429864" y="1200810"/>
                  </a:lnTo>
                  <a:lnTo>
                    <a:pt x="5448924" y="1196046"/>
                  </a:lnTo>
                  <a:lnTo>
                    <a:pt x="5463220" y="1196046"/>
                  </a:lnTo>
                  <a:close/>
                  <a:moveTo>
                    <a:pt x="4567376" y="1181750"/>
                  </a:moveTo>
                  <a:lnTo>
                    <a:pt x="4595964" y="1181750"/>
                  </a:lnTo>
                  <a:lnTo>
                    <a:pt x="4643616" y="1191280"/>
                  </a:lnTo>
                  <a:lnTo>
                    <a:pt x="4662676" y="1196046"/>
                  </a:lnTo>
                  <a:lnTo>
                    <a:pt x="4667444" y="1196046"/>
                  </a:lnTo>
                  <a:lnTo>
                    <a:pt x="4672208" y="1191280"/>
                  </a:lnTo>
                  <a:lnTo>
                    <a:pt x="4676972" y="1191280"/>
                  </a:lnTo>
                  <a:lnTo>
                    <a:pt x="4681736" y="1205576"/>
                  </a:lnTo>
                  <a:lnTo>
                    <a:pt x="4691268" y="1200810"/>
                  </a:lnTo>
                  <a:lnTo>
                    <a:pt x="4696032" y="1205576"/>
                  </a:lnTo>
                  <a:lnTo>
                    <a:pt x="4700800" y="1210340"/>
                  </a:lnTo>
                  <a:lnTo>
                    <a:pt x="4700800" y="1219872"/>
                  </a:lnTo>
                  <a:lnTo>
                    <a:pt x="4672208" y="1219872"/>
                  </a:lnTo>
                  <a:lnTo>
                    <a:pt x="4653148" y="1229402"/>
                  </a:lnTo>
                  <a:lnTo>
                    <a:pt x="4624556" y="1219872"/>
                  </a:lnTo>
                  <a:lnTo>
                    <a:pt x="4595964" y="1234166"/>
                  </a:lnTo>
                  <a:lnTo>
                    <a:pt x="4576904" y="1238932"/>
                  </a:lnTo>
                  <a:lnTo>
                    <a:pt x="4557844" y="1238932"/>
                  </a:lnTo>
                  <a:lnTo>
                    <a:pt x="4543548" y="1215106"/>
                  </a:lnTo>
                  <a:lnTo>
                    <a:pt x="4553080" y="1191280"/>
                  </a:lnTo>
                  <a:lnTo>
                    <a:pt x="4557844" y="1186516"/>
                  </a:lnTo>
                  <a:close/>
                  <a:moveTo>
                    <a:pt x="6287584" y="1172220"/>
                  </a:moveTo>
                  <a:lnTo>
                    <a:pt x="6349532" y="1181750"/>
                  </a:lnTo>
                  <a:lnTo>
                    <a:pt x="6363828" y="1181750"/>
                  </a:lnTo>
                  <a:lnTo>
                    <a:pt x="6397184" y="1186516"/>
                  </a:lnTo>
                  <a:lnTo>
                    <a:pt x="6430540" y="1196046"/>
                  </a:lnTo>
                  <a:lnTo>
                    <a:pt x="6482956" y="1196046"/>
                  </a:lnTo>
                  <a:lnTo>
                    <a:pt x="6497252" y="1200810"/>
                  </a:lnTo>
                  <a:lnTo>
                    <a:pt x="6506784" y="1205576"/>
                  </a:lnTo>
                  <a:lnTo>
                    <a:pt x="6478192" y="1210340"/>
                  </a:lnTo>
                  <a:lnTo>
                    <a:pt x="6463896" y="1219872"/>
                  </a:lnTo>
                  <a:lnTo>
                    <a:pt x="6440072" y="1219872"/>
                  </a:lnTo>
                  <a:lnTo>
                    <a:pt x="6421008" y="1219872"/>
                  </a:lnTo>
                  <a:lnTo>
                    <a:pt x="6401948" y="1219872"/>
                  </a:lnTo>
                  <a:lnTo>
                    <a:pt x="6397184" y="1215106"/>
                  </a:lnTo>
                  <a:lnTo>
                    <a:pt x="6378124" y="1210340"/>
                  </a:lnTo>
                  <a:lnTo>
                    <a:pt x="6349532" y="1200810"/>
                  </a:lnTo>
                  <a:lnTo>
                    <a:pt x="6287584" y="1186516"/>
                  </a:lnTo>
                  <a:lnTo>
                    <a:pt x="6287584" y="1176986"/>
                  </a:lnTo>
                  <a:close/>
                  <a:moveTo>
                    <a:pt x="2132396" y="1167456"/>
                  </a:moveTo>
                  <a:lnTo>
                    <a:pt x="2146692" y="1172220"/>
                  </a:lnTo>
                  <a:lnTo>
                    <a:pt x="2141924" y="1176986"/>
                  </a:lnTo>
                  <a:lnTo>
                    <a:pt x="2127632" y="1186516"/>
                  </a:lnTo>
                  <a:lnTo>
                    <a:pt x="2122864" y="1172220"/>
                  </a:lnTo>
                  <a:close/>
                  <a:moveTo>
                    <a:pt x="4419656" y="1162690"/>
                  </a:moveTo>
                  <a:lnTo>
                    <a:pt x="4424420" y="1162690"/>
                  </a:lnTo>
                  <a:lnTo>
                    <a:pt x="4424420" y="1167456"/>
                  </a:lnTo>
                  <a:lnTo>
                    <a:pt x="4429188" y="1172220"/>
                  </a:lnTo>
                  <a:lnTo>
                    <a:pt x="4433952" y="1181750"/>
                  </a:lnTo>
                  <a:lnTo>
                    <a:pt x="4429188" y="1191280"/>
                  </a:lnTo>
                  <a:lnTo>
                    <a:pt x="4419656" y="1191280"/>
                  </a:lnTo>
                  <a:lnTo>
                    <a:pt x="4414892" y="1186516"/>
                  </a:lnTo>
                  <a:lnTo>
                    <a:pt x="4414892" y="1167456"/>
                  </a:lnTo>
                  <a:close/>
                  <a:moveTo>
                    <a:pt x="1617760" y="1162690"/>
                  </a:moveTo>
                  <a:lnTo>
                    <a:pt x="1627292" y="1176986"/>
                  </a:lnTo>
                  <a:lnTo>
                    <a:pt x="1632056" y="1186516"/>
                  </a:lnTo>
                  <a:lnTo>
                    <a:pt x="1636820" y="1196046"/>
                  </a:lnTo>
                  <a:lnTo>
                    <a:pt x="1641588" y="1186516"/>
                  </a:lnTo>
                  <a:lnTo>
                    <a:pt x="1636820" y="1167456"/>
                  </a:lnTo>
                  <a:lnTo>
                    <a:pt x="1655880" y="1162690"/>
                  </a:lnTo>
                  <a:lnTo>
                    <a:pt x="1670176" y="1162690"/>
                  </a:lnTo>
                  <a:lnTo>
                    <a:pt x="1679708" y="1167456"/>
                  </a:lnTo>
                  <a:lnTo>
                    <a:pt x="1689236" y="1172220"/>
                  </a:lnTo>
                  <a:lnTo>
                    <a:pt x="1689236" y="1186516"/>
                  </a:lnTo>
                  <a:lnTo>
                    <a:pt x="1694004" y="1196046"/>
                  </a:lnTo>
                  <a:lnTo>
                    <a:pt x="1703532" y="1205576"/>
                  </a:lnTo>
                  <a:lnTo>
                    <a:pt x="1708300" y="1215106"/>
                  </a:lnTo>
                  <a:lnTo>
                    <a:pt x="1713064" y="1267522"/>
                  </a:lnTo>
                  <a:lnTo>
                    <a:pt x="1741656" y="1310408"/>
                  </a:lnTo>
                  <a:lnTo>
                    <a:pt x="1808368" y="1329470"/>
                  </a:lnTo>
                  <a:lnTo>
                    <a:pt x="1798836" y="1334234"/>
                  </a:lnTo>
                  <a:lnTo>
                    <a:pt x="1794072" y="1339000"/>
                  </a:lnTo>
                  <a:lnTo>
                    <a:pt x="1789304" y="1348530"/>
                  </a:lnTo>
                  <a:lnTo>
                    <a:pt x="1779776" y="1377120"/>
                  </a:lnTo>
                  <a:lnTo>
                    <a:pt x="1779776" y="1386650"/>
                  </a:lnTo>
                  <a:lnTo>
                    <a:pt x="1784540" y="1396180"/>
                  </a:lnTo>
                  <a:lnTo>
                    <a:pt x="1784540" y="1405712"/>
                  </a:lnTo>
                  <a:lnTo>
                    <a:pt x="1779776" y="1405712"/>
                  </a:lnTo>
                  <a:lnTo>
                    <a:pt x="1770244" y="1400946"/>
                  </a:lnTo>
                  <a:lnTo>
                    <a:pt x="1760716" y="1400946"/>
                  </a:lnTo>
                  <a:lnTo>
                    <a:pt x="1751184" y="1396180"/>
                  </a:lnTo>
                  <a:lnTo>
                    <a:pt x="1746420" y="1391416"/>
                  </a:lnTo>
                  <a:lnTo>
                    <a:pt x="1736888" y="1386650"/>
                  </a:lnTo>
                  <a:lnTo>
                    <a:pt x="1722592" y="1377120"/>
                  </a:lnTo>
                  <a:lnTo>
                    <a:pt x="1703532" y="1372356"/>
                  </a:lnTo>
                  <a:lnTo>
                    <a:pt x="1679708" y="1367590"/>
                  </a:lnTo>
                  <a:lnTo>
                    <a:pt x="1674944" y="1353294"/>
                  </a:lnTo>
                  <a:lnTo>
                    <a:pt x="1665412" y="1339000"/>
                  </a:lnTo>
                  <a:lnTo>
                    <a:pt x="1674944" y="1315174"/>
                  </a:lnTo>
                  <a:lnTo>
                    <a:pt x="1665412" y="1310408"/>
                  </a:lnTo>
                  <a:lnTo>
                    <a:pt x="1660648" y="1300878"/>
                  </a:lnTo>
                  <a:lnTo>
                    <a:pt x="1651116" y="1286584"/>
                  </a:lnTo>
                  <a:lnTo>
                    <a:pt x="1651116" y="1267522"/>
                  </a:lnTo>
                  <a:lnTo>
                    <a:pt x="1636820" y="1257992"/>
                  </a:lnTo>
                  <a:lnTo>
                    <a:pt x="1617760" y="1253228"/>
                  </a:lnTo>
                  <a:lnTo>
                    <a:pt x="1612996" y="1248462"/>
                  </a:lnTo>
                  <a:lnTo>
                    <a:pt x="1579640" y="1257992"/>
                  </a:lnTo>
                  <a:lnTo>
                    <a:pt x="1570108" y="1257992"/>
                  </a:lnTo>
                  <a:lnTo>
                    <a:pt x="1565344" y="1248462"/>
                  </a:lnTo>
                  <a:lnTo>
                    <a:pt x="1546284" y="1243696"/>
                  </a:lnTo>
                  <a:lnTo>
                    <a:pt x="1546284" y="1234166"/>
                  </a:lnTo>
                  <a:lnTo>
                    <a:pt x="1555816" y="1224636"/>
                  </a:lnTo>
                  <a:lnTo>
                    <a:pt x="1574876" y="1215106"/>
                  </a:lnTo>
                  <a:lnTo>
                    <a:pt x="1584404" y="1210342"/>
                  </a:lnTo>
                  <a:lnTo>
                    <a:pt x="1584404" y="1200810"/>
                  </a:lnTo>
                  <a:lnTo>
                    <a:pt x="1584404" y="1191280"/>
                  </a:lnTo>
                  <a:lnTo>
                    <a:pt x="1584404" y="1186516"/>
                  </a:lnTo>
                  <a:lnTo>
                    <a:pt x="1589172" y="1176986"/>
                  </a:lnTo>
                  <a:lnTo>
                    <a:pt x="1598700" y="1172220"/>
                  </a:lnTo>
                  <a:close/>
                  <a:moveTo>
                    <a:pt x="5053416" y="1134100"/>
                  </a:moveTo>
                  <a:lnTo>
                    <a:pt x="5062948" y="1134100"/>
                  </a:lnTo>
                  <a:lnTo>
                    <a:pt x="5077244" y="1138864"/>
                  </a:lnTo>
                  <a:lnTo>
                    <a:pt x="5105836" y="1148394"/>
                  </a:lnTo>
                  <a:lnTo>
                    <a:pt x="5124896" y="1162690"/>
                  </a:lnTo>
                  <a:lnTo>
                    <a:pt x="5143956" y="1176986"/>
                  </a:lnTo>
                  <a:lnTo>
                    <a:pt x="5143956" y="1186516"/>
                  </a:lnTo>
                  <a:lnTo>
                    <a:pt x="5134424" y="1191280"/>
                  </a:lnTo>
                  <a:lnTo>
                    <a:pt x="5129660" y="1191280"/>
                  </a:lnTo>
                  <a:lnTo>
                    <a:pt x="5105836" y="1186516"/>
                  </a:lnTo>
                  <a:lnTo>
                    <a:pt x="5077244" y="1191280"/>
                  </a:lnTo>
                  <a:lnTo>
                    <a:pt x="5048652" y="1196046"/>
                  </a:lnTo>
                  <a:lnTo>
                    <a:pt x="5034356" y="1191280"/>
                  </a:lnTo>
                  <a:lnTo>
                    <a:pt x="5024828" y="1181750"/>
                  </a:lnTo>
                  <a:lnTo>
                    <a:pt x="5024828" y="1172220"/>
                  </a:lnTo>
                  <a:lnTo>
                    <a:pt x="5034356" y="1153160"/>
                  </a:lnTo>
                  <a:close/>
                  <a:moveTo>
                    <a:pt x="4362476" y="1105508"/>
                  </a:moveTo>
                  <a:lnTo>
                    <a:pt x="4372004" y="1110274"/>
                  </a:lnTo>
                  <a:lnTo>
                    <a:pt x="4376768" y="1119804"/>
                  </a:lnTo>
                  <a:lnTo>
                    <a:pt x="4367240" y="1124568"/>
                  </a:lnTo>
                  <a:lnTo>
                    <a:pt x="4376768" y="1143630"/>
                  </a:lnTo>
                  <a:lnTo>
                    <a:pt x="4391064" y="1119804"/>
                  </a:lnTo>
                  <a:lnTo>
                    <a:pt x="4405360" y="1119804"/>
                  </a:lnTo>
                  <a:lnTo>
                    <a:pt x="4414892" y="1124568"/>
                  </a:lnTo>
                  <a:lnTo>
                    <a:pt x="4419656" y="1124568"/>
                  </a:lnTo>
                  <a:lnTo>
                    <a:pt x="4424420" y="1134098"/>
                  </a:lnTo>
                  <a:lnTo>
                    <a:pt x="4419656" y="1153160"/>
                  </a:lnTo>
                  <a:lnTo>
                    <a:pt x="4410124" y="1157924"/>
                  </a:lnTo>
                  <a:lnTo>
                    <a:pt x="4395832" y="1162690"/>
                  </a:lnTo>
                  <a:lnTo>
                    <a:pt x="4391064" y="1153160"/>
                  </a:lnTo>
                  <a:lnTo>
                    <a:pt x="4381536" y="1148394"/>
                  </a:lnTo>
                  <a:lnTo>
                    <a:pt x="4376768" y="1172220"/>
                  </a:lnTo>
                  <a:lnTo>
                    <a:pt x="4372004" y="1176984"/>
                  </a:lnTo>
                  <a:lnTo>
                    <a:pt x="4362476" y="1176984"/>
                  </a:lnTo>
                  <a:lnTo>
                    <a:pt x="4357708" y="1172220"/>
                  </a:lnTo>
                  <a:lnTo>
                    <a:pt x="4357708" y="1167454"/>
                  </a:lnTo>
                  <a:lnTo>
                    <a:pt x="4367240" y="1157924"/>
                  </a:lnTo>
                  <a:lnTo>
                    <a:pt x="4362476" y="1129334"/>
                  </a:lnTo>
                  <a:lnTo>
                    <a:pt x="4352944" y="1134098"/>
                  </a:lnTo>
                  <a:lnTo>
                    <a:pt x="4333884" y="1162690"/>
                  </a:lnTo>
                  <a:lnTo>
                    <a:pt x="4319588" y="1172220"/>
                  </a:lnTo>
                  <a:lnTo>
                    <a:pt x="4314824" y="1167454"/>
                  </a:lnTo>
                  <a:lnTo>
                    <a:pt x="4310056" y="1148394"/>
                  </a:lnTo>
                  <a:lnTo>
                    <a:pt x="4310056" y="1124568"/>
                  </a:lnTo>
                  <a:lnTo>
                    <a:pt x="4324352" y="1110274"/>
                  </a:lnTo>
                  <a:lnTo>
                    <a:pt x="4333884" y="1110274"/>
                  </a:lnTo>
                  <a:close/>
                  <a:moveTo>
                    <a:pt x="2246756" y="1076916"/>
                  </a:moveTo>
                  <a:lnTo>
                    <a:pt x="2261052" y="1081682"/>
                  </a:lnTo>
                  <a:lnTo>
                    <a:pt x="2265816" y="1086448"/>
                  </a:lnTo>
                  <a:lnTo>
                    <a:pt x="2270584" y="1095978"/>
                  </a:lnTo>
                  <a:lnTo>
                    <a:pt x="2265816" y="1105508"/>
                  </a:lnTo>
                  <a:lnTo>
                    <a:pt x="2261052" y="1110272"/>
                  </a:lnTo>
                  <a:lnTo>
                    <a:pt x="2232464" y="1124568"/>
                  </a:lnTo>
                  <a:lnTo>
                    <a:pt x="2222932" y="1124568"/>
                  </a:lnTo>
                  <a:lnTo>
                    <a:pt x="2218168" y="1119802"/>
                  </a:lnTo>
                  <a:lnTo>
                    <a:pt x="2222932" y="1086448"/>
                  </a:lnTo>
                  <a:lnTo>
                    <a:pt x="2227696" y="1081682"/>
                  </a:lnTo>
                  <a:close/>
                  <a:moveTo>
                    <a:pt x="6197048" y="1072152"/>
                  </a:moveTo>
                  <a:lnTo>
                    <a:pt x="6201812" y="1076918"/>
                  </a:lnTo>
                  <a:lnTo>
                    <a:pt x="6206580" y="1086448"/>
                  </a:lnTo>
                  <a:lnTo>
                    <a:pt x="6211344" y="1086448"/>
                  </a:lnTo>
                  <a:lnTo>
                    <a:pt x="6206580" y="1100744"/>
                  </a:lnTo>
                  <a:lnTo>
                    <a:pt x="6197048" y="1100744"/>
                  </a:lnTo>
                  <a:lnTo>
                    <a:pt x="6192284" y="1100744"/>
                  </a:lnTo>
                  <a:lnTo>
                    <a:pt x="6182752" y="1086448"/>
                  </a:lnTo>
                  <a:lnTo>
                    <a:pt x="6182752" y="1076918"/>
                  </a:lnTo>
                  <a:close/>
                  <a:moveTo>
                    <a:pt x="569432" y="1067388"/>
                  </a:moveTo>
                  <a:lnTo>
                    <a:pt x="578964" y="1072152"/>
                  </a:lnTo>
                  <a:lnTo>
                    <a:pt x="583728" y="1091212"/>
                  </a:lnTo>
                  <a:lnTo>
                    <a:pt x="598024" y="1119804"/>
                  </a:lnTo>
                  <a:lnTo>
                    <a:pt x="602788" y="1134098"/>
                  </a:lnTo>
                  <a:lnTo>
                    <a:pt x="607556" y="1143630"/>
                  </a:lnTo>
                  <a:lnTo>
                    <a:pt x="612320" y="1148394"/>
                  </a:lnTo>
                  <a:lnTo>
                    <a:pt x="607556" y="1153160"/>
                  </a:lnTo>
                  <a:lnTo>
                    <a:pt x="621848" y="1167454"/>
                  </a:lnTo>
                  <a:lnTo>
                    <a:pt x="631380" y="1181750"/>
                  </a:lnTo>
                  <a:lnTo>
                    <a:pt x="631380" y="1196046"/>
                  </a:lnTo>
                  <a:lnTo>
                    <a:pt x="617084" y="1205576"/>
                  </a:lnTo>
                  <a:lnTo>
                    <a:pt x="598024" y="1205576"/>
                  </a:lnTo>
                  <a:lnTo>
                    <a:pt x="569432" y="1186516"/>
                  </a:lnTo>
                  <a:lnTo>
                    <a:pt x="559904" y="1176986"/>
                  </a:lnTo>
                  <a:lnTo>
                    <a:pt x="559904" y="1167454"/>
                  </a:lnTo>
                  <a:lnTo>
                    <a:pt x="531312" y="1124568"/>
                  </a:lnTo>
                  <a:lnTo>
                    <a:pt x="526548" y="1115038"/>
                  </a:lnTo>
                  <a:lnTo>
                    <a:pt x="540844" y="1076918"/>
                  </a:lnTo>
                  <a:close/>
                  <a:moveTo>
                    <a:pt x="5572816" y="1062622"/>
                  </a:moveTo>
                  <a:lnTo>
                    <a:pt x="5577584" y="1067388"/>
                  </a:lnTo>
                  <a:lnTo>
                    <a:pt x="5591876" y="1067388"/>
                  </a:lnTo>
                  <a:lnTo>
                    <a:pt x="5601408" y="1076918"/>
                  </a:lnTo>
                  <a:lnTo>
                    <a:pt x="5596644" y="1110274"/>
                  </a:lnTo>
                  <a:lnTo>
                    <a:pt x="5587112" y="1129334"/>
                  </a:lnTo>
                  <a:lnTo>
                    <a:pt x="5582348" y="1134100"/>
                  </a:lnTo>
                  <a:lnTo>
                    <a:pt x="5563288" y="1129334"/>
                  </a:lnTo>
                  <a:lnTo>
                    <a:pt x="5553756" y="1119804"/>
                  </a:lnTo>
                  <a:lnTo>
                    <a:pt x="5548992" y="1110274"/>
                  </a:lnTo>
                  <a:lnTo>
                    <a:pt x="5544228" y="1095978"/>
                  </a:lnTo>
                  <a:lnTo>
                    <a:pt x="5539460" y="1091212"/>
                  </a:lnTo>
                  <a:lnTo>
                    <a:pt x="5534696" y="1081682"/>
                  </a:lnTo>
                  <a:lnTo>
                    <a:pt x="5534696" y="1076918"/>
                  </a:lnTo>
                  <a:close/>
                  <a:moveTo>
                    <a:pt x="5558520" y="1043560"/>
                  </a:moveTo>
                  <a:lnTo>
                    <a:pt x="5572816" y="1048326"/>
                  </a:lnTo>
                  <a:lnTo>
                    <a:pt x="5568052" y="1053092"/>
                  </a:lnTo>
                  <a:lnTo>
                    <a:pt x="5563288" y="1057856"/>
                  </a:lnTo>
                  <a:lnTo>
                    <a:pt x="5491808" y="1072152"/>
                  </a:lnTo>
                  <a:lnTo>
                    <a:pt x="5501340" y="1062622"/>
                  </a:lnTo>
                  <a:lnTo>
                    <a:pt x="5501340" y="1057856"/>
                  </a:lnTo>
                  <a:lnTo>
                    <a:pt x="5506104" y="1057856"/>
                  </a:lnTo>
                  <a:lnTo>
                    <a:pt x="5515636" y="1057856"/>
                  </a:lnTo>
                  <a:lnTo>
                    <a:pt x="5515636" y="1053092"/>
                  </a:lnTo>
                  <a:lnTo>
                    <a:pt x="5520400" y="1053092"/>
                  </a:lnTo>
                  <a:lnTo>
                    <a:pt x="5525164" y="1053092"/>
                  </a:lnTo>
                  <a:lnTo>
                    <a:pt x="5529932" y="1053092"/>
                  </a:lnTo>
                  <a:lnTo>
                    <a:pt x="5544228" y="1053092"/>
                  </a:lnTo>
                  <a:lnTo>
                    <a:pt x="5558520" y="1053092"/>
                  </a:lnTo>
                  <a:close/>
                  <a:moveTo>
                    <a:pt x="6273292" y="1029266"/>
                  </a:moveTo>
                  <a:lnTo>
                    <a:pt x="6306648" y="1034032"/>
                  </a:lnTo>
                  <a:lnTo>
                    <a:pt x="6316180" y="1034032"/>
                  </a:lnTo>
                  <a:lnTo>
                    <a:pt x="6330472" y="1038796"/>
                  </a:lnTo>
                  <a:lnTo>
                    <a:pt x="6344768" y="1038796"/>
                  </a:lnTo>
                  <a:lnTo>
                    <a:pt x="6349536" y="1038796"/>
                  </a:lnTo>
                  <a:lnTo>
                    <a:pt x="6378124" y="1062622"/>
                  </a:lnTo>
                  <a:lnTo>
                    <a:pt x="6392420" y="1076918"/>
                  </a:lnTo>
                  <a:lnTo>
                    <a:pt x="6411480" y="1091212"/>
                  </a:lnTo>
                  <a:lnTo>
                    <a:pt x="6425776" y="1095978"/>
                  </a:lnTo>
                  <a:lnTo>
                    <a:pt x="6416244" y="1110272"/>
                  </a:lnTo>
                  <a:lnTo>
                    <a:pt x="6392420" y="1115038"/>
                  </a:lnTo>
                  <a:lnTo>
                    <a:pt x="6387656" y="1115038"/>
                  </a:lnTo>
                  <a:lnTo>
                    <a:pt x="6368596" y="1110272"/>
                  </a:lnTo>
                  <a:lnTo>
                    <a:pt x="6354300" y="1110272"/>
                  </a:lnTo>
                  <a:lnTo>
                    <a:pt x="6344768" y="1100742"/>
                  </a:lnTo>
                  <a:lnTo>
                    <a:pt x="6340004" y="1086448"/>
                  </a:lnTo>
                  <a:lnTo>
                    <a:pt x="6330472" y="1053092"/>
                  </a:lnTo>
                  <a:lnTo>
                    <a:pt x="6311412" y="1062622"/>
                  </a:lnTo>
                  <a:lnTo>
                    <a:pt x="6292352" y="1048326"/>
                  </a:lnTo>
                  <a:lnTo>
                    <a:pt x="6287588" y="1048326"/>
                  </a:lnTo>
                  <a:lnTo>
                    <a:pt x="6287588" y="1053092"/>
                  </a:lnTo>
                  <a:lnTo>
                    <a:pt x="6278056" y="1043562"/>
                  </a:lnTo>
                  <a:lnTo>
                    <a:pt x="6273292" y="1034032"/>
                  </a:lnTo>
                  <a:close/>
                  <a:moveTo>
                    <a:pt x="4996240" y="1019736"/>
                  </a:moveTo>
                  <a:lnTo>
                    <a:pt x="5001004" y="1024502"/>
                  </a:lnTo>
                  <a:lnTo>
                    <a:pt x="5010536" y="1043562"/>
                  </a:lnTo>
                  <a:lnTo>
                    <a:pt x="5010536" y="1048326"/>
                  </a:lnTo>
                  <a:lnTo>
                    <a:pt x="5005768" y="1053092"/>
                  </a:lnTo>
                  <a:lnTo>
                    <a:pt x="4991472" y="1048326"/>
                  </a:lnTo>
                  <a:lnTo>
                    <a:pt x="4986708" y="1043562"/>
                  </a:lnTo>
                  <a:close/>
                  <a:moveTo>
                    <a:pt x="5525168" y="991144"/>
                  </a:moveTo>
                  <a:lnTo>
                    <a:pt x="5534696" y="995910"/>
                  </a:lnTo>
                  <a:lnTo>
                    <a:pt x="5539464" y="1000676"/>
                  </a:lnTo>
                  <a:lnTo>
                    <a:pt x="5529932" y="1010206"/>
                  </a:lnTo>
                  <a:lnTo>
                    <a:pt x="5520404" y="1010206"/>
                  </a:lnTo>
                  <a:lnTo>
                    <a:pt x="5506108" y="1000676"/>
                  </a:lnTo>
                  <a:lnTo>
                    <a:pt x="5510872" y="995910"/>
                  </a:lnTo>
                  <a:lnTo>
                    <a:pt x="5520404" y="995910"/>
                  </a:lnTo>
                  <a:close/>
                  <a:moveTo>
                    <a:pt x="4143280" y="991144"/>
                  </a:moveTo>
                  <a:lnTo>
                    <a:pt x="4148044" y="991144"/>
                  </a:lnTo>
                  <a:lnTo>
                    <a:pt x="4162340" y="991144"/>
                  </a:lnTo>
                  <a:lnTo>
                    <a:pt x="4167104" y="995910"/>
                  </a:lnTo>
                  <a:lnTo>
                    <a:pt x="4162340" y="1005440"/>
                  </a:lnTo>
                  <a:lnTo>
                    <a:pt x="4157576" y="1000676"/>
                  </a:lnTo>
                  <a:lnTo>
                    <a:pt x="4143280" y="1000676"/>
                  </a:lnTo>
                  <a:lnTo>
                    <a:pt x="4138516" y="1005440"/>
                  </a:lnTo>
                  <a:lnTo>
                    <a:pt x="4133752" y="1005440"/>
                  </a:lnTo>
                  <a:lnTo>
                    <a:pt x="4128984" y="1010206"/>
                  </a:lnTo>
                  <a:lnTo>
                    <a:pt x="4128984" y="1000676"/>
                  </a:lnTo>
                  <a:close/>
                  <a:moveTo>
                    <a:pt x="5806308" y="981616"/>
                  </a:moveTo>
                  <a:lnTo>
                    <a:pt x="5820604" y="981616"/>
                  </a:lnTo>
                  <a:lnTo>
                    <a:pt x="5839664" y="981616"/>
                  </a:lnTo>
                  <a:lnTo>
                    <a:pt x="5877788" y="991146"/>
                  </a:lnTo>
                  <a:lnTo>
                    <a:pt x="5911144" y="1005440"/>
                  </a:lnTo>
                  <a:lnTo>
                    <a:pt x="5939732" y="1024502"/>
                  </a:lnTo>
                  <a:lnTo>
                    <a:pt x="5973088" y="1038796"/>
                  </a:lnTo>
                  <a:lnTo>
                    <a:pt x="6011212" y="1043562"/>
                  </a:lnTo>
                  <a:lnTo>
                    <a:pt x="6035036" y="1038796"/>
                  </a:lnTo>
                  <a:lnTo>
                    <a:pt x="6054096" y="1043562"/>
                  </a:lnTo>
                  <a:lnTo>
                    <a:pt x="6058860" y="1048326"/>
                  </a:lnTo>
                  <a:lnTo>
                    <a:pt x="6073156" y="1057858"/>
                  </a:lnTo>
                  <a:lnTo>
                    <a:pt x="6068392" y="1067388"/>
                  </a:lnTo>
                  <a:lnTo>
                    <a:pt x="6068392" y="1081682"/>
                  </a:lnTo>
                  <a:lnTo>
                    <a:pt x="6073156" y="1095978"/>
                  </a:lnTo>
                  <a:lnTo>
                    <a:pt x="6082688" y="1115038"/>
                  </a:lnTo>
                  <a:lnTo>
                    <a:pt x="6092216" y="1129334"/>
                  </a:lnTo>
                  <a:lnTo>
                    <a:pt x="6096984" y="1138864"/>
                  </a:lnTo>
                  <a:lnTo>
                    <a:pt x="6092216" y="1157924"/>
                  </a:lnTo>
                  <a:lnTo>
                    <a:pt x="6092216" y="1162690"/>
                  </a:lnTo>
                  <a:lnTo>
                    <a:pt x="6077924" y="1176986"/>
                  </a:lnTo>
                  <a:lnTo>
                    <a:pt x="6073156" y="1196046"/>
                  </a:lnTo>
                  <a:lnTo>
                    <a:pt x="6077924" y="1215106"/>
                  </a:lnTo>
                  <a:lnTo>
                    <a:pt x="6077924" y="1234166"/>
                  </a:lnTo>
                  <a:lnTo>
                    <a:pt x="6077924" y="1253228"/>
                  </a:lnTo>
                  <a:lnTo>
                    <a:pt x="6077924" y="1267522"/>
                  </a:lnTo>
                  <a:lnTo>
                    <a:pt x="6087452" y="1286584"/>
                  </a:lnTo>
                  <a:lnTo>
                    <a:pt x="6111280" y="1334234"/>
                  </a:lnTo>
                  <a:lnTo>
                    <a:pt x="6130340" y="1367590"/>
                  </a:lnTo>
                  <a:lnTo>
                    <a:pt x="6135104" y="1348530"/>
                  </a:lnTo>
                  <a:lnTo>
                    <a:pt x="6130340" y="1329470"/>
                  </a:lnTo>
                  <a:lnTo>
                    <a:pt x="6135104" y="1319940"/>
                  </a:lnTo>
                  <a:lnTo>
                    <a:pt x="6144632" y="1319940"/>
                  </a:lnTo>
                  <a:lnTo>
                    <a:pt x="6154164" y="1319940"/>
                  </a:lnTo>
                  <a:lnTo>
                    <a:pt x="6158928" y="1329470"/>
                  </a:lnTo>
                  <a:lnTo>
                    <a:pt x="6158928" y="1348530"/>
                  </a:lnTo>
                  <a:lnTo>
                    <a:pt x="6163696" y="1381886"/>
                  </a:lnTo>
                  <a:lnTo>
                    <a:pt x="6177988" y="1386650"/>
                  </a:lnTo>
                  <a:lnTo>
                    <a:pt x="6187520" y="1381886"/>
                  </a:lnTo>
                  <a:lnTo>
                    <a:pt x="6187520" y="1391416"/>
                  </a:lnTo>
                  <a:lnTo>
                    <a:pt x="6187520" y="1410476"/>
                  </a:lnTo>
                  <a:lnTo>
                    <a:pt x="6192284" y="1424772"/>
                  </a:lnTo>
                  <a:lnTo>
                    <a:pt x="6197052" y="1434302"/>
                  </a:lnTo>
                  <a:lnTo>
                    <a:pt x="6216112" y="1448598"/>
                  </a:lnTo>
                  <a:lnTo>
                    <a:pt x="6225640" y="1448598"/>
                  </a:lnTo>
                  <a:lnTo>
                    <a:pt x="6249468" y="1453362"/>
                  </a:lnTo>
                  <a:lnTo>
                    <a:pt x="6268528" y="1453362"/>
                  </a:lnTo>
                  <a:lnTo>
                    <a:pt x="6287588" y="1448598"/>
                  </a:lnTo>
                  <a:lnTo>
                    <a:pt x="6297120" y="1439068"/>
                  </a:lnTo>
                  <a:lnTo>
                    <a:pt x="6311412" y="1424772"/>
                  </a:lnTo>
                  <a:lnTo>
                    <a:pt x="6344768" y="1396182"/>
                  </a:lnTo>
                  <a:lnTo>
                    <a:pt x="6354300" y="1381886"/>
                  </a:lnTo>
                  <a:lnTo>
                    <a:pt x="6368596" y="1358060"/>
                  </a:lnTo>
                  <a:lnTo>
                    <a:pt x="6368596" y="1353296"/>
                  </a:lnTo>
                  <a:lnTo>
                    <a:pt x="6406716" y="1329470"/>
                  </a:lnTo>
                  <a:lnTo>
                    <a:pt x="6411480" y="1319940"/>
                  </a:lnTo>
                  <a:lnTo>
                    <a:pt x="6416248" y="1305644"/>
                  </a:lnTo>
                  <a:lnTo>
                    <a:pt x="6425776" y="1286584"/>
                  </a:lnTo>
                  <a:lnTo>
                    <a:pt x="6430540" y="1281818"/>
                  </a:lnTo>
                  <a:lnTo>
                    <a:pt x="6463896" y="1272288"/>
                  </a:lnTo>
                  <a:lnTo>
                    <a:pt x="6497252" y="1267522"/>
                  </a:lnTo>
                  <a:lnTo>
                    <a:pt x="6535376" y="1253228"/>
                  </a:lnTo>
                  <a:lnTo>
                    <a:pt x="6549668" y="1243698"/>
                  </a:lnTo>
                  <a:lnTo>
                    <a:pt x="6549668" y="1234166"/>
                  </a:lnTo>
                  <a:lnTo>
                    <a:pt x="6544904" y="1219872"/>
                  </a:lnTo>
                  <a:lnTo>
                    <a:pt x="6544904" y="1215106"/>
                  </a:lnTo>
                  <a:lnTo>
                    <a:pt x="6549668" y="1205576"/>
                  </a:lnTo>
                  <a:lnTo>
                    <a:pt x="6583024" y="1191280"/>
                  </a:lnTo>
                  <a:lnTo>
                    <a:pt x="6621148" y="1172220"/>
                  </a:lnTo>
                  <a:lnTo>
                    <a:pt x="6649736" y="1157924"/>
                  </a:lnTo>
                  <a:lnTo>
                    <a:pt x="6668800" y="1157924"/>
                  </a:lnTo>
                  <a:lnTo>
                    <a:pt x="6683092" y="1167456"/>
                  </a:lnTo>
                  <a:lnTo>
                    <a:pt x="6697388" y="1176986"/>
                  </a:lnTo>
                  <a:lnTo>
                    <a:pt x="6783160" y="1205576"/>
                  </a:lnTo>
                  <a:lnTo>
                    <a:pt x="6797456" y="1215106"/>
                  </a:lnTo>
                  <a:lnTo>
                    <a:pt x="6806988" y="1224636"/>
                  </a:lnTo>
                  <a:lnTo>
                    <a:pt x="6826048" y="1234166"/>
                  </a:lnTo>
                  <a:lnTo>
                    <a:pt x="6845108" y="1238932"/>
                  </a:lnTo>
                  <a:lnTo>
                    <a:pt x="6859404" y="1243698"/>
                  </a:lnTo>
                  <a:lnTo>
                    <a:pt x="6878464" y="1253228"/>
                  </a:lnTo>
                  <a:lnTo>
                    <a:pt x="6911820" y="1272288"/>
                  </a:lnTo>
                  <a:lnTo>
                    <a:pt x="6959472" y="1291348"/>
                  </a:lnTo>
                  <a:lnTo>
                    <a:pt x="6973768" y="1291348"/>
                  </a:lnTo>
                  <a:lnTo>
                    <a:pt x="7016652" y="1291348"/>
                  </a:lnTo>
                  <a:lnTo>
                    <a:pt x="7026184" y="1296114"/>
                  </a:lnTo>
                  <a:lnTo>
                    <a:pt x="7030948" y="1300878"/>
                  </a:lnTo>
                  <a:lnTo>
                    <a:pt x="7040480" y="1305644"/>
                  </a:lnTo>
                  <a:lnTo>
                    <a:pt x="7088128" y="1305644"/>
                  </a:lnTo>
                  <a:lnTo>
                    <a:pt x="7097660" y="1310408"/>
                  </a:lnTo>
                  <a:lnTo>
                    <a:pt x="7107192" y="1319940"/>
                  </a:lnTo>
                  <a:lnTo>
                    <a:pt x="7111956" y="1334234"/>
                  </a:lnTo>
                  <a:lnTo>
                    <a:pt x="7145312" y="1334234"/>
                  </a:lnTo>
                  <a:lnTo>
                    <a:pt x="7145312" y="1920346"/>
                  </a:lnTo>
                  <a:lnTo>
                    <a:pt x="7140544" y="1934640"/>
                  </a:lnTo>
                  <a:lnTo>
                    <a:pt x="7131016" y="1963232"/>
                  </a:lnTo>
                  <a:lnTo>
                    <a:pt x="7126252" y="1982292"/>
                  </a:lnTo>
                  <a:lnTo>
                    <a:pt x="7135780" y="1996588"/>
                  </a:lnTo>
                  <a:lnTo>
                    <a:pt x="7145312" y="2006118"/>
                  </a:lnTo>
                  <a:lnTo>
                    <a:pt x="7145312" y="2353972"/>
                  </a:lnTo>
                  <a:lnTo>
                    <a:pt x="7135780" y="2349206"/>
                  </a:lnTo>
                  <a:lnTo>
                    <a:pt x="7116720" y="2334912"/>
                  </a:lnTo>
                  <a:lnTo>
                    <a:pt x="7097660" y="2311086"/>
                  </a:lnTo>
                  <a:lnTo>
                    <a:pt x="7083364" y="2296790"/>
                  </a:lnTo>
                  <a:lnTo>
                    <a:pt x="7069068" y="2277730"/>
                  </a:lnTo>
                  <a:lnTo>
                    <a:pt x="7007124" y="2225314"/>
                  </a:lnTo>
                  <a:lnTo>
                    <a:pt x="6992828" y="2211018"/>
                  </a:lnTo>
                  <a:lnTo>
                    <a:pt x="6992828" y="2206252"/>
                  </a:lnTo>
                  <a:lnTo>
                    <a:pt x="6992828" y="2201488"/>
                  </a:lnTo>
                  <a:lnTo>
                    <a:pt x="6997592" y="2191958"/>
                  </a:lnTo>
                  <a:lnTo>
                    <a:pt x="7011888" y="2168132"/>
                  </a:lnTo>
                  <a:lnTo>
                    <a:pt x="6997592" y="2182428"/>
                  </a:lnTo>
                  <a:lnTo>
                    <a:pt x="6983296" y="2196722"/>
                  </a:lnTo>
                  <a:lnTo>
                    <a:pt x="6959472" y="2196722"/>
                  </a:lnTo>
                  <a:lnTo>
                    <a:pt x="6940412" y="2201488"/>
                  </a:lnTo>
                  <a:lnTo>
                    <a:pt x="6916584" y="2206252"/>
                  </a:lnTo>
                  <a:lnTo>
                    <a:pt x="6897524" y="2211018"/>
                  </a:lnTo>
                  <a:lnTo>
                    <a:pt x="6887996" y="2206252"/>
                  </a:lnTo>
                  <a:lnTo>
                    <a:pt x="6878464" y="2196722"/>
                  </a:lnTo>
                  <a:lnTo>
                    <a:pt x="6878464" y="2187192"/>
                  </a:lnTo>
                  <a:lnTo>
                    <a:pt x="6873700" y="2177662"/>
                  </a:lnTo>
                  <a:lnTo>
                    <a:pt x="6868932" y="2191958"/>
                  </a:lnTo>
                  <a:lnTo>
                    <a:pt x="6849872" y="2201488"/>
                  </a:lnTo>
                  <a:lnTo>
                    <a:pt x="6826048" y="2220548"/>
                  </a:lnTo>
                  <a:lnTo>
                    <a:pt x="6821284" y="2215784"/>
                  </a:lnTo>
                  <a:lnTo>
                    <a:pt x="6816516" y="2211018"/>
                  </a:lnTo>
                  <a:lnTo>
                    <a:pt x="6816516" y="2201488"/>
                  </a:lnTo>
                  <a:lnTo>
                    <a:pt x="6821284" y="2196722"/>
                  </a:lnTo>
                  <a:lnTo>
                    <a:pt x="6821284" y="2187192"/>
                  </a:lnTo>
                  <a:lnTo>
                    <a:pt x="6826048" y="2163366"/>
                  </a:lnTo>
                  <a:lnTo>
                    <a:pt x="6835576" y="2153836"/>
                  </a:lnTo>
                  <a:lnTo>
                    <a:pt x="6845108" y="2130012"/>
                  </a:lnTo>
                  <a:lnTo>
                    <a:pt x="6849872" y="2120480"/>
                  </a:lnTo>
                  <a:lnTo>
                    <a:pt x="6849872" y="2115716"/>
                  </a:lnTo>
                  <a:lnTo>
                    <a:pt x="6845108" y="2106186"/>
                  </a:lnTo>
                  <a:lnTo>
                    <a:pt x="6835576" y="2101420"/>
                  </a:lnTo>
                  <a:lnTo>
                    <a:pt x="6826048" y="2096656"/>
                  </a:lnTo>
                  <a:lnTo>
                    <a:pt x="6821284" y="2082360"/>
                  </a:lnTo>
                  <a:lnTo>
                    <a:pt x="6816516" y="2072830"/>
                  </a:lnTo>
                  <a:lnTo>
                    <a:pt x="6802220" y="2068064"/>
                  </a:lnTo>
                  <a:lnTo>
                    <a:pt x="6797456" y="2063300"/>
                  </a:lnTo>
                  <a:lnTo>
                    <a:pt x="6806988" y="2053768"/>
                  </a:lnTo>
                  <a:lnTo>
                    <a:pt x="6816516" y="2053768"/>
                  </a:lnTo>
                  <a:lnTo>
                    <a:pt x="6826048" y="2053768"/>
                  </a:lnTo>
                  <a:lnTo>
                    <a:pt x="6840344" y="2058534"/>
                  </a:lnTo>
                  <a:lnTo>
                    <a:pt x="6845108" y="2058534"/>
                  </a:lnTo>
                  <a:lnTo>
                    <a:pt x="6864168" y="2053768"/>
                  </a:lnTo>
                  <a:lnTo>
                    <a:pt x="6854640" y="2053768"/>
                  </a:lnTo>
                  <a:lnTo>
                    <a:pt x="6845108" y="2053768"/>
                  </a:lnTo>
                  <a:lnTo>
                    <a:pt x="6811752" y="2044238"/>
                  </a:lnTo>
                  <a:lnTo>
                    <a:pt x="6792692" y="2034708"/>
                  </a:lnTo>
                  <a:lnTo>
                    <a:pt x="6773632" y="2010882"/>
                  </a:lnTo>
                  <a:lnTo>
                    <a:pt x="6773632" y="2006118"/>
                  </a:lnTo>
                  <a:lnTo>
                    <a:pt x="6787928" y="2006118"/>
                  </a:lnTo>
                  <a:lnTo>
                    <a:pt x="6816516" y="2001352"/>
                  </a:lnTo>
                  <a:lnTo>
                    <a:pt x="6806988" y="1987058"/>
                  </a:lnTo>
                  <a:lnTo>
                    <a:pt x="6792692" y="1977526"/>
                  </a:lnTo>
                  <a:lnTo>
                    <a:pt x="6787928" y="1963232"/>
                  </a:lnTo>
                  <a:lnTo>
                    <a:pt x="6783160" y="1953702"/>
                  </a:lnTo>
                  <a:lnTo>
                    <a:pt x="6764100" y="1934640"/>
                  </a:lnTo>
                  <a:lnTo>
                    <a:pt x="6749804" y="1920346"/>
                  </a:lnTo>
                  <a:lnTo>
                    <a:pt x="6740276" y="1882224"/>
                  </a:lnTo>
                  <a:lnTo>
                    <a:pt x="6725980" y="1858398"/>
                  </a:lnTo>
                  <a:lnTo>
                    <a:pt x="6730744" y="1848868"/>
                  </a:lnTo>
                  <a:lnTo>
                    <a:pt x="6740276" y="1839338"/>
                  </a:lnTo>
                  <a:lnTo>
                    <a:pt x="6725980" y="1839338"/>
                  </a:lnTo>
                  <a:lnTo>
                    <a:pt x="6711684" y="1834572"/>
                  </a:lnTo>
                  <a:lnTo>
                    <a:pt x="6721216" y="1820278"/>
                  </a:lnTo>
                  <a:lnTo>
                    <a:pt x="6735512" y="1815512"/>
                  </a:lnTo>
                  <a:lnTo>
                    <a:pt x="6721216" y="1815512"/>
                  </a:lnTo>
                  <a:lnTo>
                    <a:pt x="6706920" y="1820278"/>
                  </a:lnTo>
                  <a:lnTo>
                    <a:pt x="6702152" y="1820278"/>
                  </a:lnTo>
                  <a:lnTo>
                    <a:pt x="6692624" y="1820278"/>
                  </a:lnTo>
                  <a:lnTo>
                    <a:pt x="6692624" y="1815512"/>
                  </a:lnTo>
                  <a:lnTo>
                    <a:pt x="6692624" y="1805982"/>
                  </a:lnTo>
                  <a:lnTo>
                    <a:pt x="6692624" y="1791686"/>
                  </a:lnTo>
                  <a:lnTo>
                    <a:pt x="6687860" y="1782156"/>
                  </a:lnTo>
                  <a:lnTo>
                    <a:pt x="6678328" y="1772626"/>
                  </a:lnTo>
                  <a:lnTo>
                    <a:pt x="6668800" y="1767862"/>
                  </a:lnTo>
                  <a:lnTo>
                    <a:pt x="6664032" y="1763096"/>
                  </a:lnTo>
                  <a:lnTo>
                    <a:pt x="6654504" y="1763096"/>
                  </a:lnTo>
                  <a:lnTo>
                    <a:pt x="6649736" y="1758330"/>
                  </a:lnTo>
                  <a:lnTo>
                    <a:pt x="6644972" y="1748800"/>
                  </a:lnTo>
                  <a:lnTo>
                    <a:pt x="6573496" y="1710680"/>
                  </a:lnTo>
                  <a:lnTo>
                    <a:pt x="6568732" y="1701150"/>
                  </a:lnTo>
                  <a:lnTo>
                    <a:pt x="6563964" y="1705914"/>
                  </a:lnTo>
                  <a:lnTo>
                    <a:pt x="6554436" y="1705914"/>
                  </a:lnTo>
                  <a:lnTo>
                    <a:pt x="6544904" y="1701150"/>
                  </a:lnTo>
                  <a:lnTo>
                    <a:pt x="6540140" y="1696384"/>
                  </a:lnTo>
                  <a:lnTo>
                    <a:pt x="6530608" y="1696384"/>
                  </a:lnTo>
                  <a:lnTo>
                    <a:pt x="6521080" y="1691620"/>
                  </a:lnTo>
                  <a:lnTo>
                    <a:pt x="6511548" y="1691620"/>
                  </a:lnTo>
                  <a:lnTo>
                    <a:pt x="6502020" y="1691620"/>
                  </a:lnTo>
                  <a:lnTo>
                    <a:pt x="6463896" y="1677324"/>
                  </a:lnTo>
                  <a:lnTo>
                    <a:pt x="6430540" y="1663028"/>
                  </a:lnTo>
                  <a:lnTo>
                    <a:pt x="6401952" y="1653498"/>
                  </a:lnTo>
                  <a:lnTo>
                    <a:pt x="6382892" y="1643968"/>
                  </a:lnTo>
                  <a:lnTo>
                    <a:pt x="6363828" y="1634438"/>
                  </a:lnTo>
                  <a:lnTo>
                    <a:pt x="6325708" y="1624908"/>
                  </a:lnTo>
                  <a:lnTo>
                    <a:pt x="6282824" y="1620142"/>
                  </a:lnTo>
                  <a:lnTo>
                    <a:pt x="6268528" y="1620142"/>
                  </a:lnTo>
                  <a:lnTo>
                    <a:pt x="6254232" y="1620142"/>
                  </a:lnTo>
                  <a:lnTo>
                    <a:pt x="6244700" y="1620142"/>
                  </a:lnTo>
                  <a:lnTo>
                    <a:pt x="6173224" y="1582022"/>
                  </a:lnTo>
                  <a:lnTo>
                    <a:pt x="6163696" y="1562960"/>
                  </a:lnTo>
                  <a:lnTo>
                    <a:pt x="6163696" y="1553430"/>
                  </a:lnTo>
                  <a:lnTo>
                    <a:pt x="6163696" y="1543900"/>
                  </a:lnTo>
                  <a:lnTo>
                    <a:pt x="6192284" y="1539136"/>
                  </a:lnTo>
                  <a:lnTo>
                    <a:pt x="6173224" y="1539136"/>
                  </a:lnTo>
                  <a:lnTo>
                    <a:pt x="6163696" y="1539136"/>
                  </a:lnTo>
                  <a:lnTo>
                    <a:pt x="6149400" y="1548666"/>
                  </a:lnTo>
                  <a:lnTo>
                    <a:pt x="6139868" y="1548666"/>
                  </a:lnTo>
                  <a:lnTo>
                    <a:pt x="6130340" y="1543900"/>
                  </a:lnTo>
                  <a:lnTo>
                    <a:pt x="6116044" y="1539136"/>
                  </a:lnTo>
                  <a:lnTo>
                    <a:pt x="6096984" y="1543900"/>
                  </a:lnTo>
                  <a:lnTo>
                    <a:pt x="6087452" y="1534370"/>
                  </a:lnTo>
                  <a:lnTo>
                    <a:pt x="6082688" y="1524840"/>
                  </a:lnTo>
                  <a:lnTo>
                    <a:pt x="6077924" y="1520074"/>
                  </a:lnTo>
                  <a:lnTo>
                    <a:pt x="6073156" y="1520074"/>
                  </a:lnTo>
                  <a:lnTo>
                    <a:pt x="6063628" y="1524840"/>
                  </a:lnTo>
                  <a:lnTo>
                    <a:pt x="6054096" y="1520074"/>
                  </a:lnTo>
                  <a:lnTo>
                    <a:pt x="6044568" y="1515310"/>
                  </a:lnTo>
                  <a:lnTo>
                    <a:pt x="6039800" y="1505780"/>
                  </a:lnTo>
                  <a:lnTo>
                    <a:pt x="6035036" y="1501014"/>
                  </a:lnTo>
                  <a:lnTo>
                    <a:pt x="6025504" y="1496248"/>
                  </a:lnTo>
                  <a:lnTo>
                    <a:pt x="6011212" y="1486718"/>
                  </a:lnTo>
                  <a:lnTo>
                    <a:pt x="6006444" y="1467658"/>
                  </a:lnTo>
                  <a:lnTo>
                    <a:pt x="6006444" y="1443832"/>
                  </a:lnTo>
                  <a:lnTo>
                    <a:pt x="6006444" y="1434302"/>
                  </a:lnTo>
                  <a:lnTo>
                    <a:pt x="6020740" y="1420006"/>
                  </a:lnTo>
                  <a:lnTo>
                    <a:pt x="6030272" y="1400946"/>
                  </a:lnTo>
                  <a:lnTo>
                    <a:pt x="6020740" y="1400946"/>
                  </a:lnTo>
                  <a:lnTo>
                    <a:pt x="6006444" y="1405712"/>
                  </a:lnTo>
                  <a:lnTo>
                    <a:pt x="6006444" y="1415242"/>
                  </a:lnTo>
                  <a:lnTo>
                    <a:pt x="6001680" y="1424772"/>
                  </a:lnTo>
                  <a:lnTo>
                    <a:pt x="6001680" y="1453362"/>
                  </a:lnTo>
                  <a:lnTo>
                    <a:pt x="5992148" y="1458128"/>
                  </a:lnTo>
                  <a:lnTo>
                    <a:pt x="5982620" y="1458128"/>
                  </a:lnTo>
                  <a:lnTo>
                    <a:pt x="5982620" y="1477188"/>
                  </a:lnTo>
                  <a:lnTo>
                    <a:pt x="5977856" y="1491484"/>
                  </a:lnTo>
                  <a:lnTo>
                    <a:pt x="5963560" y="1510544"/>
                  </a:lnTo>
                  <a:lnTo>
                    <a:pt x="5963560" y="1515310"/>
                  </a:lnTo>
                  <a:lnTo>
                    <a:pt x="5963560" y="1524840"/>
                  </a:lnTo>
                  <a:lnTo>
                    <a:pt x="5963560" y="1534370"/>
                  </a:lnTo>
                  <a:lnTo>
                    <a:pt x="5939732" y="1562960"/>
                  </a:lnTo>
                  <a:lnTo>
                    <a:pt x="5930204" y="1562960"/>
                  </a:lnTo>
                  <a:lnTo>
                    <a:pt x="5911144" y="1562960"/>
                  </a:lnTo>
                  <a:lnTo>
                    <a:pt x="5896848" y="1567726"/>
                  </a:lnTo>
                  <a:lnTo>
                    <a:pt x="5887316" y="1558196"/>
                  </a:lnTo>
                  <a:lnTo>
                    <a:pt x="5877788" y="1553430"/>
                  </a:lnTo>
                  <a:lnTo>
                    <a:pt x="5873020" y="1543900"/>
                  </a:lnTo>
                  <a:lnTo>
                    <a:pt x="5868256" y="1524840"/>
                  </a:lnTo>
                  <a:lnTo>
                    <a:pt x="5863492" y="1505780"/>
                  </a:lnTo>
                  <a:lnTo>
                    <a:pt x="5877788" y="1481954"/>
                  </a:lnTo>
                  <a:lnTo>
                    <a:pt x="5873020" y="1458128"/>
                  </a:lnTo>
                  <a:lnTo>
                    <a:pt x="5858728" y="1439068"/>
                  </a:lnTo>
                  <a:lnTo>
                    <a:pt x="5830136" y="1415242"/>
                  </a:lnTo>
                  <a:lnTo>
                    <a:pt x="5796780" y="1391416"/>
                  </a:lnTo>
                  <a:lnTo>
                    <a:pt x="5782484" y="1386650"/>
                  </a:lnTo>
                  <a:lnTo>
                    <a:pt x="5758660" y="1381886"/>
                  </a:lnTo>
                  <a:lnTo>
                    <a:pt x="5753892" y="1381886"/>
                  </a:lnTo>
                  <a:lnTo>
                    <a:pt x="5744364" y="1372356"/>
                  </a:lnTo>
                  <a:lnTo>
                    <a:pt x="5739600" y="1362826"/>
                  </a:lnTo>
                  <a:lnTo>
                    <a:pt x="5753892" y="1358060"/>
                  </a:lnTo>
                  <a:lnTo>
                    <a:pt x="5777720" y="1343764"/>
                  </a:lnTo>
                  <a:lnTo>
                    <a:pt x="5792016" y="1343764"/>
                  </a:lnTo>
                  <a:lnTo>
                    <a:pt x="5834900" y="1353296"/>
                  </a:lnTo>
                  <a:lnTo>
                    <a:pt x="5844432" y="1358060"/>
                  </a:lnTo>
                  <a:lnTo>
                    <a:pt x="5858728" y="1362826"/>
                  </a:lnTo>
                  <a:lnTo>
                    <a:pt x="5882552" y="1339000"/>
                  </a:lnTo>
                  <a:lnTo>
                    <a:pt x="5906376" y="1315174"/>
                  </a:lnTo>
                  <a:lnTo>
                    <a:pt x="5920672" y="1310408"/>
                  </a:lnTo>
                  <a:lnTo>
                    <a:pt x="5930204" y="1305644"/>
                  </a:lnTo>
                  <a:lnTo>
                    <a:pt x="5939732" y="1310408"/>
                  </a:lnTo>
                  <a:lnTo>
                    <a:pt x="5963560" y="1319940"/>
                  </a:lnTo>
                  <a:lnTo>
                    <a:pt x="5982620" y="1324704"/>
                  </a:lnTo>
                  <a:lnTo>
                    <a:pt x="5996916" y="1324704"/>
                  </a:lnTo>
                  <a:lnTo>
                    <a:pt x="6001680" y="1329470"/>
                  </a:lnTo>
                  <a:lnTo>
                    <a:pt x="6006444" y="1334234"/>
                  </a:lnTo>
                  <a:lnTo>
                    <a:pt x="6011212" y="1324704"/>
                  </a:lnTo>
                  <a:lnTo>
                    <a:pt x="6015976" y="1310408"/>
                  </a:lnTo>
                  <a:lnTo>
                    <a:pt x="6030272" y="1305644"/>
                  </a:lnTo>
                  <a:lnTo>
                    <a:pt x="6035036" y="1300878"/>
                  </a:lnTo>
                  <a:lnTo>
                    <a:pt x="6039800" y="1300878"/>
                  </a:lnTo>
                  <a:lnTo>
                    <a:pt x="6039800" y="1286584"/>
                  </a:lnTo>
                  <a:lnTo>
                    <a:pt x="6020740" y="1281818"/>
                  </a:lnTo>
                  <a:lnTo>
                    <a:pt x="6030272" y="1272288"/>
                  </a:lnTo>
                  <a:lnTo>
                    <a:pt x="6039800" y="1267522"/>
                  </a:lnTo>
                  <a:lnTo>
                    <a:pt x="6044568" y="1262758"/>
                  </a:lnTo>
                  <a:lnTo>
                    <a:pt x="6044568" y="1253228"/>
                  </a:lnTo>
                  <a:lnTo>
                    <a:pt x="6011212" y="1267522"/>
                  </a:lnTo>
                  <a:lnTo>
                    <a:pt x="5977856" y="1272288"/>
                  </a:lnTo>
                  <a:lnTo>
                    <a:pt x="5954028" y="1272288"/>
                  </a:lnTo>
                  <a:lnTo>
                    <a:pt x="5934968" y="1272288"/>
                  </a:lnTo>
                  <a:lnTo>
                    <a:pt x="5892084" y="1281818"/>
                  </a:lnTo>
                  <a:lnTo>
                    <a:pt x="5877788" y="1281818"/>
                  </a:lnTo>
                  <a:lnTo>
                    <a:pt x="5844432" y="1277052"/>
                  </a:lnTo>
                  <a:lnTo>
                    <a:pt x="5820604" y="1272288"/>
                  </a:lnTo>
                  <a:lnTo>
                    <a:pt x="5806308" y="1277052"/>
                  </a:lnTo>
                  <a:lnTo>
                    <a:pt x="5792016" y="1277052"/>
                  </a:lnTo>
                  <a:lnTo>
                    <a:pt x="5777720" y="1267522"/>
                  </a:lnTo>
                  <a:lnTo>
                    <a:pt x="5763424" y="1253228"/>
                  </a:lnTo>
                  <a:lnTo>
                    <a:pt x="5758660" y="1243698"/>
                  </a:lnTo>
                  <a:lnTo>
                    <a:pt x="5749128" y="1238932"/>
                  </a:lnTo>
                  <a:lnTo>
                    <a:pt x="5744364" y="1229402"/>
                  </a:lnTo>
                  <a:lnTo>
                    <a:pt x="5734832" y="1191280"/>
                  </a:lnTo>
                  <a:lnTo>
                    <a:pt x="5730068" y="1167456"/>
                  </a:lnTo>
                  <a:lnTo>
                    <a:pt x="5715772" y="1167456"/>
                  </a:lnTo>
                  <a:lnTo>
                    <a:pt x="5701476" y="1167456"/>
                  </a:lnTo>
                  <a:lnTo>
                    <a:pt x="5634764" y="1143630"/>
                  </a:lnTo>
                  <a:lnTo>
                    <a:pt x="5625236" y="1148394"/>
                  </a:lnTo>
                  <a:lnTo>
                    <a:pt x="5615704" y="1153160"/>
                  </a:lnTo>
                  <a:lnTo>
                    <a:pt x="5606176" y="1153160"/>
                  </a:lnTo>
                  <a:lnTo>
                    <a:pt x="5596644" y="1153160"/>
                  </a:lnTo>
                  <a:lnTo>
                    <a:pt x="5587112" y="1148394"/>
                  </a:lnTo>
                  <a:lnTo>
                    <a:pt x="5587112" y="1143630"/>
                  </a:lnTo>
                  <a:lnTo>
                    <a:pt x="5596644" y="1124568"/>
                  </a:lnTo>
                  <a:lnTo>
                    <a:pt x="5601408" y="1119804"/>
                  </a:lnTo>
                  <a:lnTo>
                    <a:pt x="5610940" y="1115038"/>
                  </a:lnTo>
                  <a:lnTo>
                    <a:pt x="5615704" y="1105508"/>
                  </a:lnTo>
                  <a:lnTo>
                    <a:pt x="5625236" y="1081682"/>
                  </a:lnTo>
                  <a:lnTo>
                    <a:pt x="5630000" y="1072152"/>
                  </a:lnTo>
                  <a:lnTo>
                    <a:pt x="5625236" y="1067388"/>
                  </a:lnTo>
                  <a:lnTo>
                    <a:pt x="5625236" y="1057858"/>
                  </a:lnTo>
                  <a:lnTo>
                    <a:pt x="5634764" y="1057858"/>
                  </a:lnTo>
                  <a:lnTo>
                    <a:pt x="5658592" y="1048326"/>
                  </a:lnTo>
                  <a:lnTo>
                    <a:pt x="5711008" y="1034032"/>
                  </a:lnTo>
                  <a:lnTo>
                    <a:pt x="5725304" y="1029266"/>
                  </a:lnTo>
                  <a:lnTo>
                    <a:pt x="5734832" y="1014970"/>
                  </a:lnTo>
                  <a:lnTo>
                    <a:pt x="5749128" y="1010206"/>
                  </a:lnTo>
                  <a:lnTo>
                    <a:pt x="5758660" y="1000676"/>
                  </a:lnTo>
                  <a:lnTo>
                    <a:pt x="5763424" y="995910"/>
                  </a:lnTo>
                  <a:close/>
                  <a:moveTo>
                    <a:pt x="1446216" y="976850"/>
                  </a:moveTo>
                  <a:lnTo>
                    <a:pt x="1460512" y="991146"/>
                  </a:lnTo>
                  <a:lnTo>
                    <a:pt x="1460512" y="1000676"/>
                  </a:lnTo>
                  <a:lnTo>
                    <a:pt x="1455748" y="1005440"/>
                  </a:lnTo>
                  <a:lnTo>
                    <a:pt x="1450984" y="1019736"/>
                  </a:lnTo>
                  <a:lnTo>
                    <a:pt x="1446216" y="1019736"/>
                  </a:lnTo>
                  <a:lnTo>
                    <a:pt x="1436688" y="1014970"/>
                  </a:lnTo>
                  <a:lnTo>
                    <a:pt x="1427156" y="1029266"/>
                  </a:lnTo>
                  <a:lnTo>
                    <a:pt x="1422392" y="1010206"/>
                  </a:lnTo>
                  <a:lnTo>
                    <a:pt x="1412864" y="995910"/>
                  </a:lnTo>
                  <a:lnTo>
                    <a:pt x="1417628" y="986380"/>
                  </a:lnTo>
                  <a:lnTo>
                    <a:pt x="1422392" y="986380"/>
                  </a:lnTo>
                  <a:lnTo>
                    <a:pt x="1427156" y="986380"/>
                  </a:lnTo>
                  <a:close/>
                  <a:moveTo>
                    <a:pt x="5043888" y="972084"/>
                  </a:moveTo>
                  <a:lnTo>
                    <a:pt x="5053420" y="976850"/>
                  </a:lnTo>
                  <a:lnTo>
                    <a:pt x="5067716" y="1000676"/>
                  </a:lnTo>
                  <a:lnTo>
                    <a:pt x="5058184" y="1019736"/>
                  </a:lnTo>
                  <a:lnTo>
                    <a:pt x="5062948" y="1034032"/>
                  </a:lnTo>
                  <a:lnTo>
                    <a:pt x="5086776" y="1034032"/>
                  </a:lnTo>
                  <a:lnTo>
                    <a:pt x="5091540" y="1038796"/>
                  </a:lnTo>
                  <a:lnTo>
                    <a:pt x="5096304" y="1043562"/>
                  </a:lnTo>
                  <a:lnTo>
                    <a:pt x="5101072" y="1053092"/>
                  </a:lnTo>
                  <a:lnTo>
                    <a:pt x="5096304" y="1057856"/>
                  </a:lnTo>
                  <a:lnTo>
                    <a:pt x="5082008" y="1062622"/>
                  </a:lnTo>
                  <a:lnTo>
                    <a:pt x="5067716" y="1053092"/>
                  </a:lnTo>
                  <a:lnTo>
                    <a:pt x="5062948" y="1048326"/>
                  </a:lnTo>
                  <a:lnTo>
                    <a:pt x="5058184" y="1043562"/>
                  </a:lnTo>
                  <a:lnTo>
                    <a:pt x="5039124" y="1053092"/>
                  </a:lnTo>
                  <a:lnTo>
                    <a:pt x="5034360" y="1053092"/>
                  </a:lnTo>
                  <a:lnTo>
                    <a:pt x="5029592" y="1043562"/>
                  </a:lnTo>
                  <a:lnTo>
                    <a:pt x="5034360" y="1024502"/>
                  </a:lnTo>
                  <a:lnTo>
                    <a:pt x="5020064" y="1019736"/>
                  </a:lnTo>
                  <a:lnTo>
                    <a:pt x="5010532" y="1005440"/>
                  </a:lnTo>
                  <a:lnTo>
                    <a:pt x="5010532" y="995910"/>
                  </a:lnTo>
                  <a:lnTo>
                    <a:pt x="5015300" y="986380"/>
                  </a:lnTo>
                  <a:lnTo>
                    <a:pt x="5015300" y="976850"/>
                  </a:lnTo>
                  <a:lnTo>
                    <a:pt x="5020064" y="976850"/>
                  </a:lnTo>
                  <a:lnTo>
                    <a:pt x="5034360" y="991146"/>
                  </a:lnTo>
                  <a:lnTo>
                    <a:pt x="5039124" y="976850"/>
                  </a:lnTo>
                  <a:close/>
                  <a:moveTo>
                    <a:pt x="4981944" y="967320"/>
                  </a:moveTo>
                  <a:lnTo>
                    <a:pt x="4991472" y="967320"/>
                  </a:lnTo>
                  <a:lnTo>
                    <a:pt x="5005768" y="972084"/>
                  </a:lnTo>
                  <a:lnTo>
                    <a:pt x="5001004" y="976850"/>
                  </a:lnTo>
                  <a:lnTo>
                    <a:pt x="5005768" y="986380"/>
                  </a:lnTo>
                  <a:lnTo>
                    <a:pt x="5001004" y="1005440"/>
                  </a:lnTo>
                  <a:lnTo>
                    <a:pt x="4991472" y="1005440"/>
                  </a:lnTo>
                  <a:lnTo>
                    <a:pt x="4981944" y="1005440"/>
                  </a:lnTo>
                  <a:lnTo>
                    <a:pt x="4977176" y="991144"/>
                  </a:lnTo>
                  <a:close/>
                  <a:moveTo>
                    <a:pt x="1298500" y="962554"/>
                  </a:moveTo>
                  <a:lnTo>
                    <a:pt x="1308028" y="962554"/>
                  </a:lnTo>
                  <a:lnTo>
                    <a:pt x="1327088" y="967320"/>
                  </a:lnTo>
                  <a:lnTo>
                    <a:pt x="1331856" y="976850"/>
                  </a:lnTo>
                  <a:lnTo>
                    <a:pt x="1327088" y="981614"/>
                  </a:lnTo>
                  <a:lnTo>
                    <a:pt x="1308028" y="986380"/>
                  </a:lnTo>
                  <a:lnTo>
                    <a:pt x="1284204" y="981614"/>
                  </a:lnTo>
                  <a:lnTo>
                    <a:pt x="1288968" y="972084"/>
                  </a:lnTo>
                  <a:close/>
                  <a:moveTo>
                    <a:pt x="5558524" y="924432"/>
                  </a:moveTo>
                  <a:lnTo>
                    <a:pt x="5587116" y="933964"/>
                  </a:lnTo>
                  <a:lnTo>
                    <a:pt x="5591880" y="933964"/>
                  </a:lnTo>
                  <a:lnTo>
                    <a:pt x="5630000" y="948258"/>
                  </a:lnTo>
                  <a:lnTo>
                    <a:pt x="5639532" y="957788"/>
                  </a:lnTo>
                  <a:lnTo>
                    <a:pt x="5634764" y="962554"/>
                  </a:lnTo>
                  <a:lnTo>
                    <a:pt x="5639532" y="972084"/>
                  </a:lnTo>
                  <a:lnTo>
                    <a:pt x="5625236" y="981614"/>
                  </a:lnTo>
                  <a:lnTo>
                    <a:pt x="5620472" y="986380"/>
                  </a:lnTo>
                  <a:lnTo>
                    <a:pt x="5615704" y="981614"/>
                  </a:lnTo>
                  <a:lnTo>
                    <a:pt x="5601408" y="976850"/>
                  </a:lnTo>
                  <a:lnTo>
                    <a:pt x="5587116" y="981614"/>
                  </a:lnTo>
                  <a:lnTo>
                    <a:pt x="5577584" y="976850"/>
                  </a:lnTo>
                  <a:lnTo>
                    <a:pt x="5572820" y="967320"/>
                  </a:lnTo>
                  <a:lnTo>
                    <a:pt x="5558524" y="962554"/>
                  </a:lnTo>
                  <a:lnTo>
                    <a:pt x="5539464" y="938728"/>
                  </a:lnTo>
                  <a:lnTo>
                    <a:pt x="5529932" y="938728"/>
                  </a:lnTo>
                  <a:lnTo>
                    <a:pt x="5529932" y="948258"/>
                  </a:lnTo>
                  <a:lnTo>
                    <a:pt x="5539464" y="953024"/>
                  </a:lnTo>
                  <a:lnTo>
                    <a:pt x="5548992" y="972084"/>
                  </a:lnTo>
                  <a:lnTo>
                    <a:pt x="5553760" y="972084"/>
                  </a:lnTo>
                  <a:lnTo>
                    <a:pt x="5563288" y="972084"/>
                  </a:lnTo>
                  <a:lnTo>
                    <a:pt x="5572820" y="976850"/>
                  </a:lnTo>
                  <a:lnTo>
                    <a:pt x="5572820" y="991144"/>
                  </a:lnTo>
                  <a:lnTo>
                    <a:pt x="5548992" y="995910"/>
                  </a:lnTo>
                  <a:lnTo>
                    <a:pt x="5539464" y="986380"/>
                  </a:lnTo>
                  <a:lnTo>
                    <a:pt x="5539464" y="972084"/>
                  </a:lnTo>
                  <a:lnTo>
                    <a:pt x="5525168" y="976850"/>
                  </a:lnTo>
                  <a:lnTo>
                    <a:pt x="5520404" y="981614"/>
                  </a:lnTo>
                  <a:lnTo>
                    <a:pt x="5515636" y="981614"/>
                  </a:lnTo>
                  <a:lnTo>
                    <a:pt x="5510872" y="967320"/>
                  </a:lnTo>
                  <a:lnTo>
                    <a:pt x="5482280" y="967320"/>
                  </a:lnTo>
                  <a:lnTo>
                    <a:pt x="5467984" y="957788"/>
                  </a:lnTo>
                  <a:lnTo>
                    <a:pt x="5477516" y="948258"/>
                  </a:lnTo>
                  <a:lnTo>
                    <a:pt x="5477516" y="943494"/>
                  </a:lnTo>
                  <a:lnTo>
                    <a:pt x="5487048" y="938728"/>
                  </a:lnTo>
                  <a:lnTo>
                    <a:pt x="5496576" y="938728"/>
                  </a:lnTo>
                  <a:lnTo>
                    <a:pt x="5510872" y="933964"/>
                  </a:lnTo>
                  <a:lnTo>
                    <a:pt x="5515636" y="938728"/>
                  </a:lnTo>
                  <a:lnTo>
                    <a:pt x="5520404" y="933964"/>
                  </a:lnTo>
                  <a:lnTo>
                    <a:pt x="5544228" y="929198"/>
                  </a:lnTo>
                  <a:close/>
                  <a:moveTo>
                    <a:pt x="1455748" y="924432"/>
                  </a:moveTo>
                  <a:lnTo>
                    <a:pt x="1470044" y="929198"/>
                  </a:lnTo>
                  <a:lnTo>
                    <a:pt x="1474808" y="933964"/>
                  </a:lnTo>
                  <a:lnTo>
                    <a:pt x="1470044" y="938728"/>
                  </a:lnTo>
                  <a:lnTo>
                    <a:pt x="1479572" y="943494"/>
                  </a:lnTo>
                  <a:lnTo>
                    <a:pt x="1493868" y="953024"/>
                  </a:lnTo>
                  <a:lnTo>
                    <a:pt x="1498636" y="957788"/>
                  </a:lnTo>
                  <a:lnTo>
                    <a:pt x="1503400" y="948258"/>
                  </a:lnTo>
                  <a:lnTo>
                    <a:pt x="1512928" y="957788"/>
                  </a:lnTo>
                  <a:lnTo>
                    <a:pt x="1517696" y="962554"/>
                  </a:lnTo>
                  <a:lnTo>
                    <a:pt x="1527224" y="972084"/>
                  </a:lnTo>
                  <a:lnTo>
                    <a:pt x="1517696" y="972084"/>
                  </a:lnTo>
                  <a:lnTo>
                    <a:pt x="1512928" y="976848"/>
                  </a:lnTo>
                  <a:lnTo>
                    <a:pt x="1479572" y="957788"/>
                  </a:lnTo>
                  <a:lnTo>
                    <a:pt x="1460512" y="962554"/>
                  </a:lnTo>
                  <a:lnTo>
                    <a:pt x="1446220" y="957788"/>
                  </a:lnTo>
                  <a:lnTo>
                    <a:pt x="1441452" y="953024"/>
                  </a:lnTo>
                  <a:lnTo>
                    <a:pt x="1446220" y="943494"/>
                  </a:lnTo>
                  <a:close/>
                  <a:moveTo>
                    <a:pt x="483664" y="924432"/>
                  </a:moveTo>
                  <a:lnTo>
                    <a:pt x="493192" y="924432"/>
                  </a:lnTo>
                  <a:lnTo>
                    <a:pt x="497960" y="929198"/>
                  </a:lnTo>
                  <a:lnTo>
                    <a:pt x="507488" y="953024"/>
                  </a:lnTo>
                  <a:lnTo>
                    <a:pt x="517020" y="967318"/>
                  </a:lnTo>
                  <a:lnTo>
                    <a:pt x="512252" y="986380"/>
                  </a:lnTo>
                  <a:lnTo>
                    <a:pt x="502724" y="1010204"/>
                  </a:lnTo>
                  <a:lnTo>
                    <a:pt x="493192" y="1014970"/>
                  </a:lnTo>
                  <a:lnTo>
                    <a:pt x="483664" y="1010204"/>
                  </a:lnTo>
                  <a:lnTo>
                    <a:pt x="483664" y="1000674"/>
                  </a:lnTo>
                  <a:lnTo>
                    <a:pt x="488428" y="986380"/>
                  </a:lnTo>
                  <a:lnTo>
                    <a:pt x="497960" y="972084"/>
                  </a:lnTo>
                  <a:lnTo>
                    <a:pt x="497960" y="962554"/>
                  </a:lnTo>
                  <a:close/>
                  <a:moveTo>
                    <a:pt x="5325032" y="919668"/>
                  </a:moveTo>
                  <a:lnTo>
                    <a:pt x="5358388" y="948258"/>
                  </a:lnTo>
                  <a:lnTo>
                    <a:pt x="5358388" y="953024"/>
                  </a:lnTo>
                  <a:lnTo>
                    <a:pt x="5353624" y="953024"/>
                  </a:lnTo>
                  <a:lnTo>
                    <a:pt x="5348856" y="948258"/>
                  </a:lnTo>
                  <a:lnTo>
                    <a:pt x="5334564" y="933964"/>
                  </a:lnTo>
                  <a:close/>
                  <a:moveTo>
                    <a:pt x="5029592" y="905372"/>
                  </a:moveTo>
                  <a:lnTo>
                    <a:pt x="5034360" y="914904"/>
                  </a:lnTo>
                  <a:lnTo>
                    <a:pt x="5034360" y="929200"/>
                  </a:lnTo>
                  <a:lnTo>
                    <a:pt x="5029592" y="924434"/>
                  </a:lnTo>
                  <a:lnTo>
                    <a:pt x="5024828" y="924434"/>
                  </a:lnTo>
                  <a:close/>
                  <a:moveTo>
                    <a:pt x="1446216" y="891076"/>
                  </a:moveTo>
                  <a:lnTo>
                    <a:pt x="1455748" y="891076"/>
                  </a:lnTo>
                  <a:lnTo>
                    <a:pt x="1474808" y="910138"/>
                  </a:lnTo>
                  <a:lnTo>
                    <a:pt x="1479576" y="914902"/>
                  </a:lnTo>
                  <a:lnTo>
                    <a:pt x="1479576" y="919668"/>
                  </a:lnTo>
                  <a:lnTo>
                    <a:pt x="1470044" y="914902"/>
                  </a:lnTo>
                  <a:lnTo>
                    <a:pt x="1465280" y="914902"/>
                  </a:lnTo>
                  <a:lnTo>
                    <a:pt x="1465280" y="910138"/>
                  </a:lnTo>
                  <a:close/>
                  <a:moveTo>
                    <a:pt x="1241320" y="814836"/>
                  </a:moveTo>
                  <a:lnTo>
                    <a:pt x="1250848" y="814836"/>
                  </a:lnTo>
                  <a:lnTo>
                    <a:pt x="1260380" y="829130"/>
                  </a:lnTo>
                  <a:lnTo>
                    <a:pt x="1260380" y="838660"/>
                  </a:lnTo>
                  <a:lnTo>
                    <a:pt x="1241320" y="843426"/>
                  </a:lnTo>
                  <a:lnTo>
                    <a:pt x="1236552" y="838660"/>
                  </a:lnTo>
                  <a:lnTo>
                    <a:pt x="1236552" y="824366"/>
                  </a:lnTo>
                  <a:close/>
                  <a:moveTo>
                    <a:pt x="5020064" y="810070"/>
                  </a:moveTo>
                  <a:lnTo>
                    <a:pt x="5029592" y="810070"/>
                  </a:lnTo>
                  <a:lnTo>
                    <a:pt x="5029592" y="819600"/>
                  </a:lnTo>
                  <a:lnTo>
                    <a:pt x="5029592" y="824364"/>
                  </a:lnTo>
                  <a:lnTo>
                    <a:pt x="5024828" y="824364"/>
                  </a:lnTo>
                  <a:lnTo>
                    <a:pt x="5020064" y="824364"/>
                  </a:lnTo>
                  <a:lnTo>
                    <a:pt x="5020064" y="819600"/>
                  </a:lnTo>
                  <a:close/>
                  <a:moveTo>
                    <a:pt x="5010532" y="791010"/>
                  </a:moveTo>
                  <a:lnTo>
                    <a:pt x="5020064" y="795776"/>
                  </a:lnTo>
                  <a:lnTo>
                    <a:pt x="5020064" y="800540"/>
                  </a:lnTo>
                  <a:lnTo>
                    <a:pt x="5015296" y="805304"/>
                  </a:lnTo>
                  <a:lnTo>
                    <a:pt x="5010532" y="805304"/>
                  </a:lnTo>
                  <a:lnTo>
                    <a:pt x="5005768" y="800540"/>
                  </a:lnTo>
                  <a:lnTo>
                    <a:pt x="5005768" y="795776"/>
                  </a:lnTo>
                  <a:close/>
                  <a:moveTo>
                    <a:pt x="1269908" y="791010"/>
                  </a:moveTo>
                  <a:lnTo>
                    <a:pt x="1274676" y="791010"/>
                  </a:lnTo>
                  <a:lnTo>
                    <a:pt x="1279440" y="795776"/>
                  </a:lnTo>
                  <a:lnTo>
                    <a:pt x="1288968" y="805306"/>
                  </a:lnTo>
                  <a:lnTo>
                    <a:pt x="1288968" y="814836"/>
                  </a:lnTo>
                  <a:lnTo>
                    <a:pt x="1284204" y="819600"/>
                  </a:lnTo>
                  <a:lnTo>
                    <a:pt x="1279440" y="824366"/>
                  </a:lnTo>
                  <a:lnTo>
                    <a:pt x="1269908" y="805306"/>
                  </a:lnTo>
                  <a:close/>
                  <a:moveTo>
                    <a:pt x="1331856" y="786244"/>
                  </a:moveTo>
                  <a:lnTo>
                    <a:pt x="1341384" y="795776"/>
                  </a:lnTo>
                  <a:lnTo>
                    <a:pt x="1341384" y="800540"/>
                  </a:lnTo>
                  <a:lnTo>
                    <a:pt x="1346152" y="805306"/>
                  </a:lnTo>
                  <a:lnTo>
                    <a:pt x="1331856" y="795776"/>
                  </a:lnTo>
                  <a:lnTo>
                    <a:pt x="1327088" y="791010"/>
                  </a:lnTo>
                  <a:close/>
                  <a:moveTo>
                    <a:pt x="1389036" y="776714"/>
                  </a:moveTo>
                  <a:lnTo>
                    <a:pt x="1398568" y="786244"/>
                  </a:lnTo>
                  <a:lnTo>
                    <a:pt x="1403332" y="786244"/>
                  </a:lnTo>
                  <a:lnTo>
                    <a:pt x="1408096" y="795774"/>
                  </a:lnTo>
                  <a:lnTo>
                    <a:pt x="1398568" y="800540"/>
                  </a:lnTo>
                  <a:lnTo>
                    <a:pt x="1384272" y="786244"/>
                  </a:lnTo>
                  <a:lnTo>
                    <a:pt x="1384272" y="781480"/>
                  </a:lnTo>
                  <a:lnTo>
                    <a:pt x="1389036" y="781480"/>
                  </a:lnTo>
                  <a:close/>
                  <a:moveTo>
                    <a:pt x="1274672" y="748124"/>
                  </a:moveTo>
                  <a:lnTo>
                    <a:pt x="1274672" y="757654"/>
                  </a:lnTo>
                  <a:lnTo>
                    <a:pt x="1279440" y="762420"/>
                  </a:lnTo>
                  <a:lnTo>
                    <a:pt x="1279440" y="771950"/>
                  </a:lnTo>
                  <a:lnTo>
                    <a:pt x="1269908" y="767184"/>
                  </a:lnTo>
                  <a:lnTo>
                    <a:pt x="1265144" y="757654"/>
                  </a:lnTo>
                  <a:lnTo>
                    <a:pt x="1269908" y="752890"/>
                  </a:lnTo>
                  <a:close/>
                  <a:moveTo>
                    <a:pt x="1141252" y="748124"/>
                  </a:moveTo>
                  <a:lnTo>
                    <a:pt x="1155544" y="762420"/>
                  </a:lnTo>
                  <a:lnTo>
                    <a:pt x="1169840" y="771950"/>
                  </a:lnTo>
                  <a:lnTo>
                    <a:pt x="1179372" y="776714"/>
                  </a:lnTo>
                  <a:lnTo>
                    <a:pt x="1203196" y="786246"/>
                  </a:lnTo>
                  <a:lnTo>
                    <a:pt x="1212728" y="791010"/>
                  </a:lnTo>
                  <a:lnTo>
                    <a:pt x="1217492" y="810070"/>
                  </a:lnTo>
                  <a:lnTo>
                    <a:pt x="1217492" y="814836"/>
                  </a:lnTo>
                  <a:lnTo>
                    <a:pt x="1207960" y="810070"/>
                  </a:lnTo>
                  <a:lnTo>
                    <a:pt x="1179372" y="805306"/>
                  </a:lnTo>
                  <a:lnTo>
                    <a:pt x="1169840" y="800540"/>
                  </a:lnTo>
                  <a:lnTo>
                    <a:pt x="1141252" y="795776"/>
                  </a:lnTo>
                  <a:lnTo>
                    <a:pt x="1131720" y="791010"/>
                  </a:lnTo>
                  <a:lnTo>
                    <a:pt x="1126956" y="786246"/>
                  </a:lnTo>
                  <a:lnTo>
                    <a:pt x="1131720" y="776714"/>
                  </a:lnTo>
                  <a:lnTo>
                    <a:pt x="1136484" y="771950"/>
                  </a:lnTo>
                  <a:lnTo>
                    <a:pt x="1136484" y="757654"/>
                  </a:lnTo>
                  <a:close/>
                  <a:moveTo>
                    <a:pt x="1374740" y="743358"/>
                  </a:moveTo>
                  <a:lnTo>
                    <a:pt x="1384272" y="748124"/>
                  </a:lnTo>
                  <a:lnTo>
                    <a:pt x="1393800" y="743358"/>
                  </a:lnTo>
                  <a:lnTo>
                    <a:pt x="1389036" y="748124"/>
                  </a:lnTo>
                  <a:lnTo>
                    <a:pt x="1389036" y="752888"/>
                  </a:lnTo>
                  <a:lnTo>
                    <a:pt x="1379508" y="771948"/>
                  </a:lnTo>
                  <a:lnTo>
                    <a:pt x="1365212" y="767184"/>
                  </a:lnTo>
                  <a:lnTo>
                    <a:pt x="1360448" y="762418"/>
                  </a:lnTo>
                  <a:lnTo>
                    <a:pt x="1360448" y="757654"/>
                  </a:lnTo>
                  <a:lnTo>
                    <a:pt x="1365212" y="748124"/>
                  </a:lnTo>
                  <a:lnTo>
                    <a:pt x="1369976" y="748124"/>
                  </a:lnTo>
                  <a:close/>
                  <a:moveTo>
                    <a:pt x="1169840" y="743358"/>
                  </a:moveTo>
                  <a:lnTo>
                    <a:pt x="1179372" y="743358"/>
                  </a:lnTo>
                  <a:lnTo>
                    <a:pt x="1212728" y="757654"/>
                  </a:lnTo>
                  <a:lnTo>
                    <a:pt x="1222256" y="767184"/>
                  </a:lnTo>
                  <a:lnTo>
                    <a:pt x="1241320" y="791008"/>
                  </a:lnTo>
                  <a:lnTo>
                    <a:pt x="1236552" y="795774"/>
                  </a:lnTo>
                  <a:lnTo>
                    <a:pt x="1227024" y="791008"/>
                  </a:lnTo>
                  <a:lnTo>
                    <a:pt x="1217492" y="786244"/>
                  </a:lnTo>
                  <a:lnTo>
                    <a:pt x="1207964" y="776714"/>
                  </a:lnTo>
                  <a:lnTo>
                    <a:pt x="1193668" y="771948"/>
                  </a:lnTo>
                  <a:lnTo>
                    <a:pt x="1179372" y="767184"/>
                  </a:lnTo>
                  <a:lnTo>
                    <a:pt x="1169840" y="762418"/>
                  </a:lnTo>
                  <a:lnTo>
                    <a:pt x="1165076" y="762418"/>
                  </a:lnTo>
                  <a:close/>
                  <a:moveTo>
                    <a:pt x="1460512" y="733828"/>
                  </a:moveTo>
                  <a:lnTo>
                    <a:pt x="1460512" y="748124"/>
                  </a:lnTo>
                  <a:lnTo>
                    <a:pt x="1470044" y="752888"/>
                  </a:lnTo>
                  <a:lnTo>
                    <a:pt x="1474808" y="762418"/>
                  </a:lnTo>
                  <a:lnTo>
                    <a:pt x="1470044" y="776714"/>
                  </a:lnTo>
                  <a:lnTo>
                    <a:pt x="1465280" y="791010"/>
                  </a:lnTo>
                  <a:lnTo>
                    <a:pt x="1460512" y="795776"/>
                  </a:lnTo>
                  <a:lnTo>
                    <a:pt x="1446220" y="791010"/>
                  </a:lnTo>
                  <a:lnTo>
                    <a:pt x="1446220" y="786244"/>
                  </a:lnTo>
                  <a:lnTo>
                    <a:pt x="1441452" y="781480"/>
                  </a:lnTo>
                  <a:lnTo>
                    <a:pt x="1446220" y="781480"/>
                  </a:lnTo>
                  <a:lnTo>
                    <a:pt x="1436688" y="776714"/>
                  </a:lnTo>
                  <a:lnTo>
                    <a:pt x="1441452" y="771950"/>
                  </a:lnTo>
                  <a:lnTo>
                    <a:pt x="1436688" y="762418"/>
                  </a:lnTo>
                  <a:lnTo>
                    <a:pt x="1417628" y="767184"/>
                  </a:lnTo>
                  <a:lnTo>
                    <a:pt x="1408096" y="767184"/>
                  </a:lnTo>
                  <a:lnTo>
                    <a:pt x="1408096" y="757654"/>
                  </a:lnTo>
                  <a:lnTo>
                    <a:pt x="1408096" y="752888"/>
                  </a:lnTo>
                  <a:lnTo>
                    <a:pt x="1427156" y="743358"/>
                  </a:lnTo>
                  <a:lnTo>
                    <a:pt x="1436688" y="738594"/>
                  </a:lnTo>
                  <a:lnTo>
                    <a:pt x="1446220" y="743358"/>
                  </a:lnTo>
                  <a:close/>
                  <a:moveTo>
                    <a:pt x="1098364" y="705236"/>
                  </a:moveTo>
                  <a:lnTo>
                    <a:pt x="1103128" y="705236"/>
                  </a:lnTo>
                  <a:lnTo>
                    <a:pt x="1112660" y="714768"/>
                  </a:lnTo>
                  <a:lnTo>
                    <a:pt x="1122188" y="729062"/>
                  </a:lnTo>
                  <a:lnTo>
                    <a:pt x="1126956" y="733828"/>
                  </a:lnTo>
                  <a:lnTo>
                    <a:pt x="1126956" y="743358"/>
                  </a:lnTo>
                  <a:lnTo>
                    <a:pt x="1126956" y="757654"/>
                  </a:lnTo>
                  <a:lnTo>
                    <a:pt x="1122188" y="771948"/>
                  </a:lnTo>
                  <a:lnTo>
                    <a:pt x="1117424" y="776714"/>
                  </a:lnTo>
                  <a:lnTo>
                    <a:pt x="1107896" y="767184"/>
                  </a:lnTo>
                  <a:lnTo>
                    <a:pt x="1103128" y="757654"/>
                  </a:lnTo>
                  <a:lnTo>
                    <a:pt x="1098364" y="748124"/>
                  </a:lnTo>
                  <a:lnTo>
                    <a:pt x="1093600" y="729062"/>
                  </a:lnTo>
                  <a:lnTo>
                    <a:pt x="1093600" y="714768"/>
                  </a:lnTo>
                  <a:close/>
                  <a:moveTo>
                    <a:pt x="333560" y="686176"/>
                  </a:moveTo>
                  <a:lnTo>
                    <a:pt x="352620" y="695708"/>
                  </a:lnTo>
                  <a:lnTo>
                    <a:pt x="385976" y="738594"/>
                  </a:lnTo>
                  <a:lnTo>
                    <a:pt x="400272" y="748124"/>
                  </a:lnTo>
                  <a:lnTo>
                    <a:pt x="419332" y="767184"/>
                  </a:lnTo>
                  <a:lnTo>
                    <a:pt x="424096" y="771950"/>
                  </a:lnTo>
                  <a:lnTo>
                    <a:pt x="419332" y="786244"/>
                  </a:lnTo>
                  <a:lnTo>
                    <a:pt x="414568" y="829130"/>
                  </a:lnTo>
                  <a:lnTo>
                    <a:pt x="405036" y="838660"/>
                  </a:lnTo>
                  <a:lnTo>
                    <a:pt x="385976" y="833896"/>
                  </a:lnTo>
                  <a:lnTo>
                    <a:pt x="385976" y="824366"/>
                  </a:lnTo>
                  <a:lnTo>
                    <a:pt x="371680" y="795774"/>
                  </a:lnTo>
                  <a:lnTo>
                    <a:pt x="352620" y="776714"/>
                  </a:lnTo>
                  <a:lnTo>
                    <a:pt x="343092" y="776714"/>
                  </a:lnTo>
                  <a:lnTo>
                    <a:pt x="338324" y="762420"/>
                  </a:lnTo>
                  <a:lnTo>
                    <a:pt x="324032" y="738594"/>
                  </a:lnTo>
                  <a:lnTo>
                    <a:pt x="290672" y="700472"/>
                  </a:lnTo>
                  <a:lnTo>
                    <a:pt x="319264" y="705238"/>
                  </a:lnTo>
                  <a:lnTo>
                    <a:pt x="328796" y="695708"/>
                  </a:lnTo>
                  <a:close/>
                  <a:moveTo>
                    <a:pt x="1065008" y="671882"/>
                  </a:moveTo>
                  <a:lnTo>
                    <a:pt x="1131720" y="690942"/>
                  </a:lnTo>
                  <a:lnTo>
                    <a:pt x="1136484" y="695708"/>
                  </a:lnTo>
                  <a:lnTo>
                    <a:pt x="1136484" y="719532"/>
                  </a:lnTo>
                  <a:lnTo>
                    <a:pt x="1122188" y="714768"/>
                  </a:lnTo>
                  <a:lnTo>
                    <a:pt x="1112660" y="705238"/>
                  </a:lnTo>
                  <a:lnTo>
                    <a:pt x="1103128" y="700472"/>
                  </a:lnTo>
                  <a:lnTo>
                    <a:pt x="1084068" y="695708"/>
                  </a:lnTo>
                  <a:lnTo>
                    <a:pt x="1069772" y="690942"/>
                  </a:lnTo>
                  <a:lnTo>
                    <a:pt x="1060244" y="681412"/>
                  </a:lnTo>
                  <a:lnTo>
                    <a:pt x="1060244" y="676648"/>
                  </a:lnTo>
                  <a:close/>
                  <a:moveTo>
                    <a:pt x="4648384" y="657586"/>
                  </a:moveTo>
                  <a:lnTo>
                    <a:pt x="4667444" y="662352"/>
                  </a:lnTo>
                  <a:lnTo>
                    <a:pt x="4676976" y="667116"/>
                  </a:lnTo>
                  <a:lnTo>
                    <a:pt x="4686504" y="690942"/>
                  </a:lnTo>
                  <a:lnTo>
                    <a:pt x="4686504" y="695708"/>
                  </a:lnTo>
                  <a:lnTo>
                    <a:pt x="4672208" y="705238"/>
                  </a:lnTo>
                  <a:lnTo>
                    <a:pt x="4667444" y="710002"/>
                  </a:lnTo>
                  <a:lnTo>
                    <a:pt x="4653148" y="743358"/>
                  </a:lnTo>
                  <a:lnTo>
                    <a:pt x="4643620" y="757654"/>
                  </a:lnTo>
                  <a:lnTo>
                    <a:pt x="4634088" y="771950"/>
                  </a:lnTo>
                  <a:lnTo>
                    <a:pt x="4605496" y="795774"/>
                  </a:lnTo>
                  <a:lnTo>
                    <a:pt x="4595968" y="810070"/>
                  </a:lnTo>
                  <a:lnTo>
                    <a:pt x="4586436" y="824366"/>
                  </a:lnTo>
                  <a:lnTo>
                    <a:pt x="4572140" y="838660"/>
                  </a:lnTo>
                  <a:lnTo>
                    <a:pt x="4562612" y="852956"/>
                  </a:lnTo>
                  <a:lnTo>
                    <a:pt x="4553080" y="857722"/>
                  </a:lnTo>
                  <a:lnTo>
                    <a:pt x="4538788" y="862486"/>
                  </a:lnTo>
                  <a:lnTo>
                    <a:pt x="4529256" y="867252"/>
                  </a:lnTo>
                  <a:lnTo>
                    <a:pt x="4510196" y="867252"/>
                  </a:lnTo>
                  <a:lnTo>
                    <a:pt x="4457780" y="876782"/>
                  </a:lnTo>
                  <a:lnTo>
                    <a:pt x="4438720" y="876782"/>
                  </a:lnTo>
                  <a:lnTo>
                    <a:pt x="4419656" y="876782"/>
                  </a:lnTo>
                  <a:lnTo>
                    <a:pt x="4386300" y="876782"/>
                  </a:lnTo>
                  <a:lnTo>
                    <a:pt x="4376772" y="876782"/>
                  </a:lnTo>
                  <a:lnTo>
                    <a:pt x="4367240" y="862486"/>
                  </a:lnTo>
                  <a:lnTo>
                    <a:pt x="4352948" y="848192"/>
                  </a:lnTo>
                  <a:lnTo>
                    <a:pt x="4338652" y="848192"/>
                  </a:lnTo>
                  <a:lnTo>
                    <a:pt x="4324356" y="848192"/>
                  </a:lnTo>
                  <a:lnTo>
                    <a:pt x="4224288" y="852956"/>
                  </a:lnTo>
                  <a:lnTo>
                    <a:pt x="4190932" y="852956"/>
                  </a:lnTo>
                  <a:lnTo>
                    <a:pt x="4157576" y="857722"/>
                  </a:lnTo>
                  <a:lnTo>
                    <a:pt x="4138516" y="852956"/>
                  </a:lnTo>
                  <a:lnTo>
                    <a:pt x="4119456" y="848192"/>
                  </a:lnTo>
                  <a:lnTo>
                    <a:pt x="4105160" y="848192"/>
                  </a:lnTo>
                  <a:lnTo>
                    <a:pt x="4090864" y="848192"/>
                  </a:lnTo>
                  <a:lnTo>
                    <a:pt x="4028916" y="857722"/>
                  </a:lnTo>
                  <a:lnTo>
                    <a:pt x="4009856" y="857722"/>
                  </a:lnTo>
                  <a:lnTo>
                    <a:pt x="3976500" y="843426"/>
                  </a:lnTo>
                  <a:lnTo>
                    <a:pt x="3957440" y="843426"/>
                  </a:lnTo>
                  <a:lnTo>
                    <a:pt x="3943144" y="848192"/>
                  </a:lnTo>
                  <a:lnTo>
                    <a:pt x="3924084" y="857722"/>
                  </a:lnTo>
                  <a:lnTo>
                    <a:pt x="3914556" y="862486"/>
                  </a:lnTo>
                  <a:lnTo>
                    <a:pt x="3900260" y="886312"/>
                  </a:lnTo>
                  <a:lnTo>
                    <a:pt x="3890728" y="900608"/>
                  </a:lnTo>
                  <a:lnTo>
                    <a:pt x="3881200" y="919668"/>
                  </a:lnTo>
                  <a:lnTo>
                    <a:pt x="3876432" y="938728"/>
                  </a:lnTo>
                  <a:lnTo>
                    <a:pt x="3871668" y="957790"/>
                  </a:lnTo>
                  <a:lnTo>
                    <a:pt x="3871668" y="972084"/>
                  </a:lnTo>
                  <a:lnTo>
                    <a:pt x="3871668" y="991144"/>
                  </a:lnTo>
                  <a:lnTo>
                    <a:pt x="3876432" y="1010206"/>
                  </a:lnTo>
                  <a:lnTo>
                    <a:pt x="3885964" y="1029266"/>
                  </a:lnTo>
                  <a:lnTo>
                    <a:pt x="3905024" y="1062622"/>
                  </a:lnTo>
                  <a:lnTo>
                    <a:pt x="3909788" y="1067386"/>
                  </a:lnTo>
                  <a:lnTo>
                    <a:pt x="3933616" y="1076918"/>
                  </a:lnTo>
                  <a:lnTo>
                    <a:pt x="3947912" y="1086448"/>
                  </a:lnTo>
                  <a:lnTo>
                    <a:pt x="3962204" y="1124568"/>
                  </a:lnTo>
                  <a:lnTo>
                    <a:pt x="3971736" y="1138864"/>
                  </a:lnTo>
                  <a:lnTo>
                    <a:pt x="3981268" y="1138864"/>
                  </a:lnTo>
                  <a:lnTo>
                    <a:pt x="3995560" y="1138864"/>
                  </a:lnTo>
                  <a:lnTo>
                    <a:pt x="4009856" y="1138864"/>
                  </a:lnTo>
                  <a:lnTo>
                    <a:pt x="4028916" y="1143628"/>
                  </a:lnTo>
                  <a:lnTo>
                    <a:pt x="4047976" y="1134098"/>
                  </a:lnTo>
                  <a:lnTo>
                    <a:pt x="4057508" y="1115038"/>
                  </a:lnTo>
                  <a:lnTo>
                    <a:pt x="4067040" y="1100742"/>
                  </a:lnTo>
                  <a:lnTo>
                    <a:pt x="4090864" y="1072152"/>
                  </a:lnTo>
                  <a:lnTo>
                    <a:pt x="4105160" y="1057856"/>
                  </a:lnTo>
                  <a:lnTo>
                    <a:pt x="4114688" y="1053092"/>
                  </a:lnTo>
                  <a:lnTo>
                    <a:pt x="4124220" y="1057856"/>
                  </a:lnTo>
                  <a:lnTo>
                    <a:pt x="4133752" y="1062622"/>
                  </a:lnTo>
                  <a:lnTo>
                    <a:pt x="4138516" y="1072152"/>
                  </a:lnTo>
                  <a:lnTo>
                    <a:pt x="4157576" y="1072152"/>
                  </a:lnTo>
                  <a:lnTo>
                    <a:pt x="4176636" y="1072152"/>
                  </a:lnTo>
                  <a:lnTo>
                    <a:pt x="4195696" y="1062622"/>
                  </a:lnTo>
                  <a:lnTo>
                    <a:pt x="4205228" y="1057856"/>
                  </a:lnTo>
                  <a:lnTo>
                    <a:pt x="4209992" y="1048326"/>
                  </a:lnTo>
                  <a:lnTo>
                    <a:pt x="4224288" y="1043562"/>
                  </a:lnTo>
                  <a:lnTo>
                    <a:pt x="4262408" y="1043562"/>
                  </a:lnTo>
                  <a:lnTo>
                    <a:pt x="4286236" y="1048326"/>
                  </a:lnTo>
                  <a:lnTo>
                    <a:pt x="4319592" y="1043562"/>
                  </a:lnTo>
                  <a:lnTo>
                    <a:pt x="4319592" y="1038796"/>
                  </a:lnTo>
                  <a:lnTo>
                    <a:pt x="4314824" y="1034032"/>
                  </a:lnTo>
                  <a:lnTo>
                    <a:pt x="4310060" y="1029266"/>
                  </a:lnTo>
                  <a:lnTo>
                    <a:pt x="4319592" y="1024500"/>
                  </a:lnTo>
                  <a:lnTo>
                    <a:pt x="4338652" y="1019736"/>
                  </a:lnTo>
                  <a:lnTo>
                    <a:pt x="4362476" y="1014970"/>
                  </a:lnTo>
                  <a:lnTo>
                    <a:pt x="4381536" y="1019736"/>
                  </a:lnTo>
                  <a:lnTo>
                    <a:pt x="4395832" y="1029266"/>
                  </a:lnTo>
                  <a:lnTo>
                    <a:pt x="4400596" y="1034032"/>
                  </a:lnTo>
                  <a:lnTo>
                    <a:pt x="4405364" y="1048326"/>
                  </a:lnTo>
                  <a:lnTo>
                    <a:pt x="4400596" y="1076918"/>
                  </a:lnTo>
                  <a:lnTo>
                    <a:pt x="4395832" y="1081682"/>
                  </a:lnTo>
                  <a:lnTo>
                    <a:pt x="4386300" y="1086448"/>
                  </a:lnTo>
                  <a:lnTo>
                    <a:pt x="4372008" y="1081682"/>
                  </a:lnTo>
                  <a:lnTo>
                    <a:pt x="4362476" y="1067386"/>
                  </a:lnTo>
                  <a:lnTo>
                    <a:pt x="4343416" y="1062622"/>
                  </a:lnTo>
                  <a:lnTo>
                    <a:pt x="4324356" y="1067386"/>
                  </a:lnTo>
                  <a:lnTo>
                    <a:pt x="4314824" y="1072152"/>
                  </a:lnTo>
                  <a:lnTo>
                    <a:pt x="4310060" y="1076918"/>
                  </a:lnTo>
                  <a:lnTo>
                    <a:pt x="4295764" y="1091212"/>
                  </a:lnTo>
                  <a:lnTo>
                    <a:pt x="4281468" y="1110274"/>
                  </a:lnTo>
                  <a:lnTo>
                    <a:pt x="4262408" y="1134098"/>
                  </a:lnTo>
                  <a:lnTo>
                    <a:pt x="4233816" y="1157924"/>
                  </a:lnTo>
                  <a:lnTo>
                    <a:pt x="4219524" y="1167454"/>
                  </a:lnTo>
                  <a:lnTo>
                    <a:pt x="4205228" y="1172220"/>
                  </a:lnTo>
                  <a:lnTo>
                    <a:pt x="4157576" y="1191280"/>
                  </a:lnTo>
                  <a:lnTo>
                    <a:pt x="4148044" y="1200810"/>
                  </a:lnTo>
                  <a:lnTo>
                    <a:pt x="4138516" y="1215106"/>
                  </a:lnTo>
                  <a:lnTo>
                    <a:pt x="4128984" y="1219872"/>
                  </a:lnTo>
                  <a:lnTo>
                    <a:pt x="4114688" y="1224636"/>
                  </a:lnTo>
                  <a:lnTo>
                    <a:pt x="4105160" y="1219872"/>
                  </a:lnTo>
                  <a:lnTo>
                    <a:pt x="4086100" y="1210340"/>
                  </a:lnTo>
                  <a:lnTo>
                    <a:pt x="4081332" y="1219872"/>
                  </a:lnTo>
                  <a:lnTo>
                    <a:pt x="4081332" y="1229402"/>
                  </a:lnTo>
                  <a:lnTo>
                    <a:pt x="4090864" y="1234166"/>
                  </a:lnTo>
                  <a:lnTo>
                    <a:pt x="4105160" y="1243696"/>
                  </a:lnTo>
                  <a:lnTo>
                    <a:pt x="4114688" y="1262758"/>
                  </a:lnTo>
                  <a:lnTo>
                    <a:pt x="4124220" y="1267522"/>
                  </a:lnTo>
                  <a:lnTo>
                    <a:pt x="4138516" y="1272288"/>
                  </a:lnTo>
                  <a:lnTo>
                    <a:pt x="4143280" y="1277052"/>
                  </a:lnTo>
                  <a:lnTo>
                    <a:pt x="4157576" y="1291348"/>
                  </a:lnTo>
                  <a:lnTo>
                    <a:pt x="4176636" y="1324704"/>
                  </a:lnTo>
                  <a:lnTo>
                    <a:pt x="4181400" y="1339000"/>
                  </a:lnTo>
                  <a:lnTo>
                    <a:pt x="4195696" y="1353294"/>
                  </a:lnTo>
                  <a:lnTo>
                    <a:pt x="4229052" y="1381886"/>
                  </a:lnTo>
                  <a:lnTo>
                    <a:pt x="4229052" y="1386650"/>
                  </a:lnTo>
                  <a:lnTo>
                    <a:pt x="4224288" y="1396180"/>
                  </a:lnTo>
                  <a:lnTo>
                    <a:pt x="4229052" y="1400946"/>
                  </a:lnTo>
                  <a:lnTo>
                    <a:pt x="4243348" y="1415242"/>
                  </a:lnTo>
                  <a:lnTo>
                    <a:pt x="4243348" y="1424772"/>
                  </a:lnTo>
                  <a:lnTo>
                    <a:pt x="4229052" y="1439066"/>
                  </a:lnTo>
                  <a:lnTo>
                    <a:pt x="4229052" y="1453362"/>
                  </a:lnTo>
                  <a:lnTo>
                    <a:pt x="4224288" y="1477188"/>
                  </a:lnTo>
                  <a:lnTo>
                    <a:pt x="4219524" y="1486718"/>
                  </a:lnTo>
                  <a:lnTo>
                    <a:pt x="4219524" y="1491484"/>
                  </a:lnTo>
                  <a:lnTo>
                    <a:pt x="4224288" y="1496248"/>
                  </a:lnTo>
                  <a:lnTo>
                    <a:pt x="4233816" y="1501014"/>
                  </a:lnTo>
                  <a:lnTo>
                    <a:pt x="4243348" y="1505778"/>
                  </a:lnTo>
                  <a:lnTo>
                    <a:pt x="4248112" y="1510544"/>
                  </a:lnTo>
                  <a:lnTo>
                    <a:pt x="4262408" y="1529604"/>
                  </a:lnTo>
                  <a:lnTo>
                    <a:pt x="4271940" y="1534370"/>
                  </a:lnTo>
                  <a:lnTo>
                    <a:pt x="4276704" y="1539134"/>
                  </a:lnTo>
                  <a:lnTo>
                    <a:pt x="4276704" y="1548664"/>
                  </a:lnTo>
                  <a:lnTo>
                    <a:pt x="4281468" y="1553430"/>
                  </a:lnTo>
                  <a:lnTo>
                    <a:pt x="4291000" y="1562960"/>
                  </a:lnTo>
                  <a:lnTo>
                    <a:pt x="4300528" y="1567726"/>
                  </a:lnTo>
                  <a:lnTo>
                    <a:pt x="4305296" y="1562960"/>
                  </a:lnTo>
                  <a:lnTo>
                    <a:pt x="4305296" y="1558196"/>
                  </a:lnTo>
                  <a:lnTo>
                    <a:pt x="4314824" y="1562960"/>
                  </a:lnTo>
                  <a:lnTo>
                    <a:pt x="4319592" y="1567726"/>
                  </a:lnTo>
                  <a:lnTo>
                    <a:pt x="4319592" y="1577256"/>
                  </a:lnTo>
                  <a:lnTo>
                    <a:pt x="4319592" y="1586786"/>
                  </a:lnTo>
                  <a:lnTo>
                    <a:pt x="4319592" y="1605846"/>
                  </a:lnTo>
                  <a:lnTo>
                    <a:pt x="4319592" y="1610612"/>
                  </a:lnTo>
                  <a:lnTo>
                    <a:pt x="4310060" y="1610612"/>
                  </a:lnTo>
                  <a:lnTo>
                    <a:pt x="4295764" y="1605846"/>
                  </a:lnTo>
                  <a:lnTo>
                    <a:pt x="4295764" y="1610612"/>
                  </a:lnTo>
                  <a:lnTo>
                    <a:pt x="4295764" y="1615376"/>
                  </a:lnTo>
                  <a:lnTo>
                    <a:pt x="4286236" y="1615376"/>
                  </a:lnTo>
                  <a:lnTo>
                    <a:pt x="4276704" y="1615376"/>
                  </a:lnTo>
                  <a:lnTo>
                    <a:pt x="4257644" y="1615376"/>
                  </a:lnTo>
                  <a:lnTo>
                    <a:pt x="4214756" y="1629672"/>
                  </a:lnTo>
                  <a:lnTo>
                    <a:pt x="4200460" y="1634438"/>
                  </a:lnTo>
                  <a:lnTo>
                    <a:pt x="4190932" y="1648732"/>
                  </a:lnTo>
                  <a:lnTo>
                    <a:pt x="4190932" y="1658262"/>
                  </a:lnTo>
                  <a:lnTo>
                    <a:pt x="4190932" y="1677324"/>
                  </a:lnTo>
                  <a:lnTo>
                    <a:pt x="4186168" y="1682088"/>
                  </a:lnTo>
                  <a:lnTo>
                    <a:pt x="4167108" y="1682088"/>
                  </a:lnTo>
                  <a:lnTo>
                    <a:pt x="4143280" y="1677324"/>
                  </a:lnTo>
                  <a:lnTo>
                    <a:pt x="4124220" y="1672558"/>
                  </a:lnTo>
                  <a:lnTo>
                    <a:pt x="4119456" y="1672558"/>
                  </a:lnTo>
                  <a:lnTo>
                    <a:pt x="4105160" y="1658262"/>
                  </a:lnTo>
                  <a:lnTo>
                    <a:pt x="4100396" y="1643968"/>
                  </a:lnTo>
                  <a:lnTo>
                    <a:pt x="4109924" y="1596316"/>
                  </a:lnTo>
                  <a:lnTo>
                    <a:pt x="4109924" y="1591552"/>
                  </a:lnTo>
                  <a:lnTo>
                    <a:pt x="4114688" y="1582020"/>
                  </a:lnTo>
                  <a:lnTo>
                    <a:pt x="4119456" y="1577256"/>
                  </a:lnTo>
                  <a:lnTo>
                    <a:pt x="4124220" y="1562960"/>
                  </a:lnTo>
                  <a:lnTo>
                    <a:pt x="4109924" y="1553430"/>
                  </a:lnTo>
                  <a:lnTo>
                    <a:pt x="4090864" y="1548664"/>
                  </a:lnTo>
                  <a:lnTo>
                    <a:pt x="4076568" y="1539134"/>
                  </a:lnTo>
                  <a:lnTo>
                    <a:pt x="4009856" y="1481954"/>
                  </a:lnTo>
                  <a:lnTo>
                    <a:pt x="4009856" y="1477188"/>
                  </a:lnTo>
                  <a:lnTo>
                    <a:pt x="4009856" y="1467658"/>
                  </a:lnTo>
                  <a:lnTo>
                    <a:pt x="4009856" y="1458128"/>
                  </a:lnTo>
                  <a:lnTo>
                    <a:pt x="4028916" y="1424772"/>
                  </a:lnTo>
                  <a:lnTo>
                    <a:pt x="4033684" y="1420006"/>
                  </a:lnTo>
                  <a:lnTo>
                    <a:pt x="4038448" y="1396180"/>
                  </a:lnTo>
                  <a:lnTo>
                    <a:pt x="4033684" y="1377120"/>
                  </a:lnTo>
                  <a:lnTo>
                    <a:pt x="4033684" y="1358060"/>
                  </a:lnTo>
                  <a:lnTo>
                    <a:pt x="4024152" y="1343764"/>
                  </a:lnTo>
                  <a:lnTo>
                    <a:pt x="4005092" y="1339000"/>
                  </a:lnTo>
                  <a:lnTo>
                    <a:pt x="3990796" y="1339000"/>
                  </a:lnTo>
                  <a:lnTo>
                    <a:pt x="3971736" y="1343764"/>
                  </a:lnTo>
                  <a:lnTo>
                    <a:pt x="3952676" y="1353294"/>
                  </a:lnTo>
                  <a:lnTo>
                    <a:pt x="3924084" y="1372356"/>
                  </a:lnTo>
                  <a:lnTo>
                    <a:pt x="3909788" y="1386650"/>
                  </a:lnTo>
                  <a:lnTo>
                    <a:pt x="3909788" y="1400946"/>
                  </a:lnTo>
                  <a:lnTo>
                    <a:pt x="3914556" y="1420006"/>
                  </a:lnTo>
                  <a:lnTo>
                    <a:pt x="3924084" y="1434302"/>
                  </a:lnTo>
                  <a:lnTo>
                    <a:pt x="3928848" y="1448598"/>
                  </a:lnTo>
                  <a:lnTo>
                    <a:pt x="3938380" y="1505778"/>
                  </a:lnTo>
                  <a:lnTo>
                    <a:pt x="3938380" y="1510544"/>
                  </a:lnTo>
                  <a:lnTo>
                    <a:pt x="3928848" y="1529604"/>
                  </a:lnTo>
                  <a:lnTo>
                    <a:pt x="3924084" y="1562960"/>
                  </a:lnTo>
                  <a:lnTo>
                    <a:pt x="3928848" y="1615376"/>
                  </a:lnTo>
                  <a:lnTo>
                    <a:pt x="3933616" y="1648732"/>
                  </a:lnTo>
                  <a:lnTo>
                    <a:pt x="3933616" y="1663028"/>
                  </a:lnTo>
                  <a:lnTo>
                    <a:pt x="3919320" y="1701148"/>
                  </a:lnTo>
                  <a:lnTo>
                    <a:pt x="3914556" y="1720210"/>
                  </a:lnTo>
                  <a:lnTo>
                    <a:pt x="3914556" y="1729740"/>
                  </a:lnTo>
                  <a:lnTo>
                    <a:pt x="3928848" y="1767860"/>
                  </a:lnTo>
                  <a:lnTo>
                    <a:pt x="3933616" y="1786922"/>
                  </a:lnTo>
                  <a:lnTo>
                    <a:pt x="3938380" y="1801216"/>
                  </a:lnTo>
                  <a:lnTo>
                    <a:pt x="3919320" y="1791686"/>
                  </a:lnTo>
                  <a:lnTo>
                    <a:pt x="3909788" y="1791686"/>
                  </a:lnTo>
                  <a:lnTo>
                    <a:pt x="3900260" y="1796452"/>
                  </a:lnTo>
                  <a:lnTo>
                    <a:pt x="3881200" y="1796452"/>
                  </a:lnTo>
                  <a:lnTo>
                    <a:pt x="3862136" y="1796452"/>
                  </a:lnTo>
                  <a:lnTo>
                    <a:pt x="3852608" y="1801216"/>
                  </a:lnTo>
                  <a:lnTo>
                    <a:pt x="3843076" y="1810746"/>
                  </a:lnTo>
                  <a:lnTo>
                    <a:pt x="3833548" y="1815512"/>
                  </a:lnTo>
                  <a:lnTo>
                    <a:pt x="3824016" y="1815512"/>
                  </a:lnTo>
                  <a:lnTo>
                    <a:pt x="3800192" y="1801216"/>
                  </a:lnTo>
                  <a:lnTo>
                    <a:pt x="3785896" y="1791686"/>
                  </a:lnTo>
                  <a:lnTo>
                    <a:pt x="3771600" y="1772626"/>
                  </a:lnTo>
                  <a:lnTo>
                    <a:pt x="3771600" y="1758330"/>
                  </a:lnTo>
                  <a:lnTo>
                    <a:pt x="3771600" y="1739270"/>
                  </a:lnTo>
                  <a:lnTo>
                    <a:pt x="3781132" y="1720210"/>
                  </a:lnTo>
                  <a:lnTo>
                    <a:pt x="3795428" y="1686854"/>
                  </a:lnTo>
                  <a:lnTo>
                    <a:pt x="3795428" y="1667794"/>
                  </a:lnTo>
                  <a:lnTo>
                    <a:pt x="3795428" y="1648732"/>
                  </a:lnTo>
                  <a:lnTo>
                    <a:pt x="3804956" y="1634438"/>
                  </a:lnTo>
                  <a:lnTo>
                    <a:pt x="3809720" y="1615376"/>
                  </a:lnTo>
                  <a:lnTo>
                    <a:pt x="3809720" y="1558196"/>
                  </a:lnTo>
                  <a:lnTo>
                    <a:pt x="3809720" y="1553430"/>
                  </a:lnTo>
                  <a:lnTo>
                    <a:pt x="3790660" y="1515308"/>
                  </a:lnTo>
                  <a:lnTo>
                    <a:pt x="3785896" y="1510544"/>
                  </a:lnTo>
                  <a:lnTo>
                    <a:pt x="3785896" y="1501014"/>
                  </a:lnTo>
                  <a:lnTo>
                    <a:pt x="3790660" y="1491484"/>
                  </a:lnTo>
                  <a:lnTo>
                    <a:pt x="3790660" y="1481954"/>
                  </a:lnTo>
                  <a:lnTo>
                    <a:pt x="3785896" y="1477188"/>
                  </a:lnTo>
                  <a:lnTo>
                    <a:pt x="3781132" y="1467658"/>
                  </a:lnTo>
                  <a:lnTo>
                    <a:pt x="3771600" y="1467658"/>
                  </a:lnTo>
                  <a:lnTo>
                    <a:pt x="3752540" y="1467658"/>
                  </a:lnTo>
                  <a:lnTo>
                    <a:pt x="3714420" y="1477188"/>
                  </a:lnTo>
                  <a:lnTo>
                    <a:pt x="3700124" y="1472422"/>
                  </a:lnTo>
                  <a:lnTo>
                    <a:pt x="3690592" y="1458128"/>
                  </a:lnTo>
                  <a:lnTo>
                    <a:pt x="3685828" y="1439066"/>
                  </a:lnTo>
                  <a:lnTo>
                    <a:pt x="3681064" y="1420006"/>
                  </a:lnTo>
                  <a:lnTo>
                    <a:pt x="3685828" y="1400946"/>
                  </a:lnTo>
                  <a:lnTo>
                    <a:pt x="3690592" y="1381886"/>
                  </a:lnTo>
                  <a:lnTo>
                    <a:pt x="3685828" y="1372356"/>
                  </a:lnTo>
                  <a:lnTo>
                    <a:pt x="3681064" y="1358060"/>
                  </a:lnTo>
                  <a:lnTo>
                    <a:pt x="3681064" y="1348530"/>
                  </a:lnTo>
                  <a:lnTo>
                    <a:pt x="3681064" y="1343764"/>
                  </a:lnTo>
                  <a:lnTo>
                    <a:pt x="3690592" y="1339000"/>
                  </a:lnTo>
                  <a:lnTo>
                    <a:pt x="3700124" y="1339000"/>
                  </a:lnTo>
                  <a:lnTo>
                    <a:pt x="3704888" y="1329468"/>
                  </a:lnTo>
                  <a:lnTo>
                    <a:pt x="3728716" y="1315174"/>
                  </a:lnTo>
                  <a:lnTo>
                    <a:pt x="3733480" y="1296114"/>
                  </a:lnTo>
                  <a:lnTo>
                    <a:pt x="3733480" y="1277052"/>
                  </a:lnTo>
                  <a:lnTo>
                    <a:pt x="3738244" y="1257992"/>
                  </a:lnTo>
                  <a:lnTo>
                    <a:pt x="3752540" y="1243696"/>
                  </a:lnTo>
                  <a:lnTo>
                    <a:pt x="3762072" y="1229402"/>
                  </a:lnTo>
                  <a:lnTo>
                    <a:pt x="3766836" y="1210340"/>
                  </a:lnTo>
                  <a:lnTo>
                    <a:pt x="3762072" y="1186516"/>
                  </a:lnTo>
                  <a:lnTo>
                    <a:pt x="3762072" y="1172220"/>
                  </a:lnTo>
                  <a:lnTo>
                    <a:pt x="3762072" y="1157924"/>
                  </a:lnTo>
                  <a:lnTo>
                    <a:pt x="3762072" y="1143628"/>
                  </a:lnTo>
                  <a:lnTo>
                    <a:pt x="3766836" y="1119804"/>
                  </a:lnTo>
                  <a:lnTo>
                    <a:pt x="3790660" y="1067386"/>
                  </a:lnTo>
                  <a:lnTo>
                    <a:pt x="3814488" y="1038796"/>
                  </a:lnTo>
                  <a:lnTo>
                    <a:pt x="3824016" y="1034032"/>
                  </a:lnTo>
                  <a:lnTo>
                    <a:pt x="3833548" y="1043562"/>
                  </a:lnTo>
                  <a:lnTo>
                    <a:pt x="3843076" y="1057856"/>
                  </a:lnTo>
                  <a:lnTo>
                    <a:pt x="3843076" y="1048326"/>
                  </a:lnTo>
                  <a:lnTo>
                    <a:pt x="3843076" y="1034032"/>
                  </a:lnTo>
                  <a:lnTo>
                    <a:pt x="3833548" y="1000676"/>
                  </a:lnTo>
                  <a:lnTo>
                    <a:pt x="3824016" y="938728"/>
                  </a:lnTo>
                  <a:lnTo>
                    <a:pt x="3828780" y="933964"/>
                  </a:lnTo>
                  <a:lnTo>
                    <a:pt x="3833548" y="933964"/>
                  </a:lnTo>
                  <a:lnTo>
                    <a:pt x="3843076" y="929198"/>
                  </a:lnTo>
                  <a:lnTo>
                    <a:pt x="3847844" y="919668"/>
                  </a:lnTo>
                  <a:lnTo>
                    <a:pt x="3838312" y="895842"/>
                  </a:lnTo>
                  <a:lnTo>
                    <a:pt x="3838312" y="886312"/>
                  </a:lnTo>
                  <a:lnTo>
                    <a:pt x="3857372" y="857722"/>
                  </a:lnTo>
                  <a:lnTo>
                    <a:pt x="3866904" y="843426"/>
                  </a:lnTo>
                  <a:lnTo>
                    <a:pt x="3876432" y="838660"/>
                  </a:lnTo>
                  <a:lnTo>
                    <a:pt x="3876432" y="819600"/>
                  </a:lnTo>
                  <a:lnTo>
                    <a:pt x="3885964" y="810070"/>
                  </a:lnTo>
                  <a:lnTo>
                    <a:pt x="3895492" y="805304"/>
                  </a:lnTo>
                  <a:lnTo>
                    <a:pt x="3905024" y="791010"/>
                  </a:lnTo>
                  <a:lnTo>
                    <a:pt x="3909788" y="771950"/>
                  </a:lnTo>
                  <a:lnTo>
                    <a:pt x="3914556" y="771950"/>
                  </a:lnTo>
                  <a:lnTo>
                    <a:pt x="3919320" y="771950"/>
                  </a:lnTo>
                  <a:lnTo>
                    <a:pt x="3924084" y="786244"/>
                  </a:lnTo>
                  <a:lnTo>
                    <a:pt x="3933616" y="791010"/>
                  </a:lnTo>
                  <a:lnTo>
                    <a:pt x="3947912" y="795774"/>
                  </a:lnTo>
                  <a:lnTo>
                    <a:pt x="3962204" y="791010"/>
                  </a:lnTo>
                  <a:lnTo>
                    <a:pt x="3966972" y="786244"/>
                  </a:lnTo>
                  <a:lnTo>
                    <a:pt x="3971736" y="776714"/>
                  </a:lnTo>
                  <a:lnTo>
                    <a:pt x="3981268" y="771950"/>
                  </a:lnTo>
                  <a:lnTo>
                    <a:pt x="3986032" y="762418"/>
                  </a:lnTo>
                  <a:lnTo>
                    <a:pt x="3995560" y="748124"/>
                  </a:lnTo>
                  <a:lnTo>
                    <a:pt x="4005092" y="729062"/>
                  </a:lnTo>
                  <a:lnTo>
                    <a:pt x="4009856" y="724298"/>
                  </a:lnTo>
                  <a:lnTo>
                    <a:pt x="4019388" y="719532"/>
                  </a:lnTo>
                  <a:lnTo>
                    <a:pt x="4028916" y="719532"/>
                  </a:lnTo>
                  <a:lnTo>
                    <a:pt x="4038448" y="719532"/>
                  </a:lnTo>
                  <a:lnTo>
                    <a:pt x="4057508" y="729062"/>
                  </a:lnTo>
                  <a:lnTo>
                    <a:pt x="4067040" y="729062"/>
                  </a:lnTo>
                  <a:lnTo>
                    <a:pt x="4081332" y="729062"/>
                  </a:lnTo>
                  <a:lnTo>
                    <a:pt x="4086100" y="733828"/>
                  </a:lnTo>
                  <a:lnTo>
                    <a:pt x="4095628" y="733828"/>
                  </a:lnTo>
                  <a:lnTo>
                    <a:pt x="4100396" y="743358"/>
                  </a:lnTo>
                  <a:lnTo>
                    <a:pt x="4105160" y="752888"/>
                  </a:lnTo>
                  <a:lnTo>
                    <a:pt x="4109924" y="757654"/>
                  </a:lnTo>
                  <a:lnTo>
                    <a:pt x="4119456" y="757654"/>
                  </a:lnTo>
                  <a:lnTo>
                    <a:pt x="4162340" y="757654"/>
                  </a:lnTo>
                  <a:lnTo>
                    <a:pt x="4200460" y="767184"/>
                  </a:lnTo>
                  <a:lnTo>
                    <a:pt x="4248112" y="767184"/>
                  </a:lnTo>
                  <a:lnTo>
                    <a:pt x="4267172" y="771950"/>
                  </a:lnTo>
                  <a:lnTo>
                    <a:pt x="4286236" y="776714"/>
                  </a:lnTo>
                  <a:lnTo>
                    <a:pt x="4305296" y="791010"/>
                  </a:lnTo>
                  <a:lnTo>
                    <a:pt x="4314824" y="795774"/>
                  </a:lnTo>
                  <a:lnTo>
                    <a:pt x="4319592" y="791010"/>
                  </a:lnTo>
                  <a:lnTo>
                    <a:pt x="4333884" y="781480"/>
                  </a:lnTo>
                  <a:lnTo>
                    <a:pt x="4338652" y="776714"/>
                  </a:lnTo>
                  <a:lnTo>
                    <a:pt x="4348180" y="776714"/>
                  </a:lnTo>
                  <a:lnTo>
                    <a:pt x="4381536" y="781480"/>
                  </a:lnTo>
                  <a:lnTo>
                    <a:pt x="4472076" y="795774"/>
                  </a:lnTo>
                  <a:lnTo>
                    <a:pt x="4481604" y="791010"/>
                  </a:lnTo>
                  <a:lnTo>
                    <a:pt x="4538788" y="767184"/>
                  </a:lnTo>
                  <a:lnTo>
                    <a:pt x="4557848" y="738594"/>
                  </a:lnTo>
                  <a:lnTo>
                    <a:pt x="4576908" y="733828"/>
                  </a:lnTo>
                  <a:lnTo>
                    <a:pt x="4586436" y="719532"/>
                  </a:lnTo>
                  <a:lnTo>
                    <a:pt x="4586436" y="710002"/>
                  </a:lnTo>
                  <a:lnTo>
                    <a:pt x="4595968" y="705238"/>
                  </a:lnTo>
                  <a:lnTo>
                    <a:pt x="4610264" y="700472"/>
                  </a:lnTo>
                  <a:lnTo>
                    <a:pt x="4615028" y="695708"/>
                  </a:lnTo>
                  <a:lnTo>
                    <a:pt x="4629324" y="681412"/>
                  </a:lnTo>
                  <a:lnTo>
                    <a:pt x="4643620" y="662352"/>
                  </a:lnTo>
                  <a:close/>
                  <a:moveTo>
                    <a:pt x="1003060" y="595640"/>
                  </a:moveTo>
                  <a:lnTo>
                    <a:pt x="1012592" y="600406"/>
                  </a:lnTo>
                  <a:lnTo>
                    <a:pt x="1022120" y="614700"/>
                  </a:lnTo>
                  <a:lnTo>
                    <a:pt x="1022120" y="624230"/>
                  </a:lnTo>
                  <a:lnTo>
                    <a:pt x="1017356" y="633762"/>
                  </a:lnTo>
                  <a:lnTo>
                    <a:pt x="1012592" y="648056"/>
                  </a:lnTo>
                  <a:lnTo>
                    <a:pt x="993532" y="657588"/>
                  </a:lnTo>
                  <a:lnTo>
                    <a:pt x="979236" y="652822"/>
                  </a:lnTo>
                  <a:lnTo>
                    <a:pt x="974472" y="652822"/>
                  </a:lnTo>
                  <a:lnTo>
                    <a:pt x="964940" y="628996"/>
                  </a:lnTo>
                  <a:lnTo>
                    <a:pt x="964940" y="609936"/>
                  </a:lnTo>
                  <a:lnTo>
                    <a:pt x="969704" y="600406"/>
                  </a:lnTo>
                  <a:lnTo>
                    <a:pt x="988764" y="605170"/>
                  </a:lnTo>
                  <a:close/>
                  <a:moveTo>
                    <a:pt x="5124896" y="581344"/>
                  </a:moveTo>
                  <a:lnTo>
                    <a:pt x="5124896" y="586110"/>
                  </a:lnTo>
                  <a:lnTo>
                    <a:pt x="5124896" y="595640"/>
                  </a:lnTo>
                  <a:lnTo>
                    <a:pt x="5105836" y="619466"/>
                  </a:lnTo>
                  <a:lnTo>
                    <a:pt x="5101072" y="628996"/>
                  </a:lnTo>
                  <a:lnTo>
                    <a:pt x="5101072" y="638526"/>
                  </a:lnTo>
                  <a:lnTo>
                    <a:pt x="5110600" y="648056"/>
                  </a:lnTo>
                  <a:lnTo>
                    <a:pt x="5120132" y="657586"/>
                  </a:lnTo>
                  <a:lnTo>
                    <a:pt x="5120132" y="676646"/>
                  </a:lnTo>
                  <a:lnTo>
                    <a:pt x="5124896" y="695708"/>
                  </a:lnTo>
                  <a:lnTo>
                    <a:pt x="5120132" y="719532"/>
                  </a:lnTo>
                  <a:lnTo>
                    <a:pt x="5115368" y="724298"/>
                  </a:lnTo>
                  <a:lnTo>
                    <a:pt x="5101072" y="743358"/>
                  </a:lnTo>
                  <a:lnTo>
                    <a:pt x="5062948" y="767184"/>
                  </a:lnTo>
                  <a:lnTo>
                    <a:pt x="5062948" y="771950"/>
                  </a:lnTo>
                  <a:lnTo>
                    <a:pt x="5062948" y="781480"/>
                  </a:lnTo>
                  <a:lnTo>
                    <a:pt x="5067716" y="786244"/>
                  </a:lnTo>
                  <a:lnTo>
                    <a:pt x="5077244" y="791010"/>
                  </a:lnTo>
                  <a:lnTo>
                    <a:pt x="5086776" y="795774"/>
                  </a:lnTo>
                  <a:lnTo>
                    <a:pt x="5101072" y="795774"/>
                  </a:lnTo>
                  <a:lnTo>
                    <a:pt x="5105836" y="791010"/>
                  </a:lnTo>
                  <a:lnTo>
                    <a:pt x="5105836" y="781480"/>
                  </a:lnTo>
                  <a:lnTo>
                    <a:pt x="5115368" y="762418"/>
                  </a:lnTo>
                  <a:lnTo>
                    <a:pt x="5129660" y="752888"/>
                  </a:lnTo>
                  <a:lnTo>
                    <a:pt x="5139192" y="748124"/>
                  </a:lnTo>
                  <a:lnTo>
                    <a:pt x="5143956" y="743358"/>
                  </a:lnTo>
                  <a:lnTo>
                    <a:pt x="5143956" y="733828"/>
                  </a:lnTo>
                  <a:lnTo>
                    <a:pt x="5143956" y="719532"/>
                  </a:lnTo>
                  <a:lnTo>
                    <a:pt x="5153488" y="705238"/>
                  </a:lnTo>
                  <a:lnTo>
                    <a:pt x="5186844" y="690942"/>
                  </a:lnTo>
                  <a:lnTo>
                    <a:pt x="5201140" y="681412"/>
                  </a:lnTo>
                  <a:lnTo>
                    <a:pt x="5224964" y="681412"/>
                  </a:lnTo>
                  <a:lnTo>
                    <a:pt x="5229728" y="686176"/>
                  </a:lnTo>
                  <a:lnTo>
                    <a:pt x="5224964" y="695708"/>
                  </a:lnTo>
                  <a:lnTo>
                    <a:pt x="5229728" y="710002"/>
                  </a:lnTo>
                  <a:lnTo>
                    <a:pt x="5229728" y="752888"/>
                  </a:lnTo>
                  <a:lnTo>
                    <a:pt x="5224964" y="757654"/>
                  </a:lnTo>
                  <a:lnTo>
                    <a:pt x="5201140" y="771950"/>
                  </a:lnTo>
                  <a:lnTo>
                    <a:pt x="5172548" y="781480"/>
                  </a:lnTo>
                  <a:lnTo>
                    <a:pt x="5163016" y="791010"/>
                  </a:lnTo>
                  <a:lnTo>
                    <a:pt x="5158252" y="800540"/>
                  </a:lnTo>
                  <a:lnTo>
                    <a:pt x="5158252" y="810070"/>
                  </a:lnTo>
                  <a:lnTo>
                    <a:pt x="5182080" y="824366"/>
                  </a:lnTo>
                  <a:lnTo>
                    <a:pt x="5215432" y="838660"/>
                  </a:lnTo>
                  <a:lnTo>
                    <a:pt x="5220200" y="848192"/>
                  </a:lnTo>
                  <a:lnTo>
                    <a:pt x="5224964" y="857722"/>
                  </a:lnTo>
                  <a:lnTo>
                    <a:pt x="5224964" y="867252"/>
                  </a:lnTo>
                  <a:lnTo>
                    <a:pt x="5234496" y="876782"/>
                  </a:lnTo>
                  <a:lnTo>
                    <a:pt x="5248788" y="876782"/>
                  </a:lnTo>
                  <a:lnTo>
                    <a:pt x="5253556" y="886312"/>
                  </a:lnTo>
                  <a:lnTo>
                    <a:pt x="5258320" y="891078"/>
                  </a:lnTo>
                  <a:lnTo>
                    <a:pt x="5201140" y="872016"/>
                  </a:lnTo>
                  <a:lnTo>
                    <a:pt x="5186844" y="862486"/>
                  </a:lnTo>
                  <a:lnTo>
                    <a:pt x="5172548" y="862486"/>
                  </a:lnTo>
                  <a:lnTo>
                    <a:pt x="5153488" y="862486"/>
                  </a:lnTo>
                  <a:lnTo>
                    <a:pt x="5134428" y="852956"/>
                  </a:lnTo>
                  <a:lnTo>
                    <a:pt x="5115368" y="852956"/>
                  </a:lnTo>
                  <a:lnTo>
                    <a:pt x="5105836" y="857722"/>
                  </a:lnTo>
                  <a:lnTo>
                    <a:pt x="5101072" y="867252"/>
                  </a:lnTo>
                  <a:lnTo>
                    <a:pt x="5101072" y="876782"/>
                  </a:lnTo>
                  <a:lnTo>
                    <a:pt x="5105836" y="895842"/>
                  </a:lnTo>
                  <a:lnTo>
                    <a:pt x="5105836" y="900608"/>
                  </a:lnTo>
                  <a:lnTo>
                    <a:pt x="5101072" y="919668"/>
                  </a:lnTo>
                  <a:lnTo>
                    <a:pt x="5115368" y="962554"/>
                  </a:lnTo>
                  <a:lnTo>
                    <a:pt x="5134428" y="1000676"/>
                  </a:lnTo>
                  <a:lnTo>
                    <a:pt x="5158252" y="1038796"/>
                  </a:lnTo>
                  <a:lnTo>
                    <a:pt x="5172548" y="1053092"/>
                  </a:lnTo>
                  <a:lnTo>
                    <a:pt x="5186844" y="1067388"/>
                  </a:lnTo>
                  <a:lnTo>
                    <a:pt x="5163016" y="1062622"/>
                  </a:lnTo>
                  <a:lnTo>
                    <a:pt x="5153488" y="1048326"/>
                  </a:lnTo>
                  <a:lnTo>
                    <a:pt x="5124896" y="1034032"/>
                  </a:lnTo>
                  <a:lnTo>
                    <a:pt x="5120132" y="1029266"/>
                  </a:lnTo>
                  <a:lnTo>
                    <a:pt x="5101072" y="991144"/>
                  </a:lnTo>
                  <a:lnTo>
                    <a:pt x="5096304" y="986380"/>
                  </a:lnTo>
                  <a:lnTo>
                    <a:pt x="5077244" y="972084"/>
                  </a:lnTo>
                  <a:lnTo>
                    <a:pt x="5072480" y="962554"/>
                  </a:lnTo>
                  <a:lnTo>
                    <a:pt x="5067716" y="953024"/>
                  </a:lnTo>
                  <a:lnTo>
                    <a:pt x="5067716" y="938728"/>
                  </a:lnTo>
                  <a:lnTo>
                    <a:pt x="5067716" y="919668"/>
                  </a:lnTo>
                  <a:lnTo>
                    <a:pt x="5067716" y="900608"/>
                  </a:lnTo>
                  <a:lnTo>
                    <a:pt x="5072480" y="881548"/>
                  </a:lnTo>
                  <a:lnTo>
                    <a:pt x="5067716" y="872016"/>
                  </a:lnTo>
                  <a:lnTo>
                    <a:pt x="5058184" y="867252"/>
                  </a:lnTo>
                  <a:lnTo>
                    <a:pt x="5048656" y="848192"/>
                  </a:lnTo>
                  <a:lnTo>
                    <a:pt x="5043888" y="829130"/>
                  </a:lnTo>
                  <a:lnTo>
                    <a:pt x="5048656" y="819600"/>
                  </a:lnTo>
                  <a:lnTo>
                    <a:pt x="5053420" y="810070"/>
                  </a:lnTo>
                  <a:lnTo>
                    <a:pt x="5058184" y="800540"/>
                  </a:lnTo>
                  <a:lnTo>
                    <a:pt x="5058184" y="791010"/>
                  </a:lnTo>
                  <a:lnTo>
                    <a:pt x="5043888" y="781480"/>
                  </a:lnTo>
                  <a:lnTo>
                    <a:pt x="5029592" y="748124"/>
                  </a:lnTo>
                  <a:lnTo>
                    <a:pt x="5029592" y="729062"/>
                  </a:lnTo>
                  <a:lnTo>
                    <a:pt x="5043888" y="695708"/>
                  </a:lnTo>
                  <a:lnTo>
                    <a:pt x="5043888" y="681412"/>
                  </a:lnTo>
                  <a:lnTo>
                    <a:pt x="5048656" y="671882"/>
                  </a:lnTo>
                  <a:lnTo>
                    <a:pt x="5053420" y="662352"/>
                  </a:lnTo>
                  <a:lnTo>
                    <a:pt x="5062948" y="638526"/>
                  </a:lnTo>
                  <a:lnTo>
                    <a:pt x="5077244" y="619466"/>
                  </a:lnTo>
                  <a:lnTo>
                    <a:pt x="5101072" y="590874"/>
                  </a:lnTo>
                  <a:lnTo>
                    <a:pt x="5115368" y="586110"/>
                  </a:lnTo>
                  <a:close/>
                  <a:moveTo>
                    <a:pt x="304968" y="576580"/>
                  </a:moveTo>
                  <a:lnTo>
                    <a:pt x="319264" y="581344"/>
                  </a:lnTo>
                  <a:lnTo>
                    <a:pt x="324028" y="581344"/>
                  </a:lnTo>
                  <a:lnTo>
                    <a:pt x="328796" y="590874"/>
                  </a:lnTo>
                  <a:lnTo>
                    <a:pt x="333560" y="600404"/>
                  </a:lnTo>
                  <a:lnTo>
                    <a:pt x="328796" y="605170"/>
                  </a:lnTo>
                  <a:lnTo>
                    <a:pt x="314500" y="586110"/>
                  </a:lnTo>
                  <a:lnTo>
                    <a:pt x="295440" y="581344"/>
                  </a:lnTo>
                  <a:close/>
                  <a:moveTo>
                    <a:pt x="5205904" y="519396"/>
                  </a:moveTo>
                  <a:lnTo>
                    <a:pt x="5210668" y="519396"/>
                  </a:lnTo>
                  <a:lnTo>
                    <a:pt x="5224964" y="538458"/>
                  </a:lnTo>
                  <a:lnTo>
                    <a:pt x="5215432" y="576578"/>
                  </a:lnTo>
                  <a:lnTo>
                    <a:pt x="5205904" y="600404"/>
                  </a:lnTo>
                  <a:lnTo>
                    <a:pt x="5186844" y="605168"/>
                  </a:lnTo>
                  <a:lnTo>
                    <a:pt x="5163016" y="605168"/>
                  </a:lnTo>
                  <a:lnTo>
                    <a:pt x="5158252" y="600404"/>
                  </a:lnTo>
                  <a:lnTo>
                    <a:pt x="5153488" y="567048"/>
                  </a:lnTo>
                  <a:lnTo>
                    <a:pt x="5172548" y="538458"/>
                  </a:lnTo>
                  <a:lnTo>
                    <a:pt x="5191608" y="524162"/>
                  </a:lnTo>
                  <a:close/>
                  <a:moveTo>
                    <a:pt x="4710328" y="486042"/>
                  </a:moveTo>
                  <a:lnTo>
                    <a:pt x="4719860" y="490808"/>
                  </a:lnTo>
                  <a:lnTo>
                    <a:pt x="4719860" y="495572"/>
                  </a:lnTo>
                  <a:lnTo>
                    <a:pt x="4715096" y="500338"/>
                  </a:lnTo>
                  <a:lnTo>
                    <a:pt x="4715096" y="509868"/>
                  </a:lnTo>
                  <a:lnTo>
                    <a:pt x="4710328" y="514632"/>
                  </a:lnTo>
                  <a:lnTo>
                    <a:pt x="4705564" y="495572"/>
                  </a:lnTo>
                  <a:close/>
                  <a:moveTo>
                    <a:pt x="90540" y="471746"/>
                  </a:moveTo>
                  <a:lnTo>
                    <a:pt x="104832" y="476512"/>
                  </a:lnTo>
                  <a:lnTo>
                    <a:pt x="123896" y="490806"/>
                  </a:lnTo>
                  <a:lnTo>
                    <a:pt x="138188" y="495572"/>
                  </a:lnTo>
                  <a:lnTo>
                    <a:pt x="142956" y="500336"/>
                  </a:lnTo>
                  <a:lnTo>
                    <a:pt x="152484" y="509866"/>
                  </a:lnTo>
                  <a:lnTo>
                    <a:pt x="185840" y="533692"/>
                  </a:lnTo>
                  <a:lnTo>
                    <a:pt x="190604" y="538458"/>
                  </a:lnTo>
                  <a:lnTo>
                    <a:pt x="195372" y="547988"/>
                  </a:lnTo>
                  <a:lnTo>
                    <a:pt x="195372" y="557518"/>
                  </a:lnTo>
                  <a:lnTo>
                    <a:pt x="185840" y="557518"/>
                  </a:lnTo>
                  <a:lnTo>
                    <a:pt x="176312" y="557518"/>
                  </a:lnTo>
                  <a:lnTo>
                    <a:pt x="166780" y="547988"/>
                  </a:lnTo>
                  <a:lnTo>
                    <a:pt x="128660" y="519398"/>
                  </a:lnTo>
                  <a:lnTo>
                    <a:pt x="114364" y="519398"/>
                  </a:lnTo>
                  <a:lnTo>
                    <a:pt x="104832" y="514632"/>
                  </a:lnTo>
                  <a:lnTo>
                    <a:pt x="95304" y="509866"/>
                  </a:lnTo>
                  <a:lnTo>
                    <a:pt x="81008" y="495572"/>
                  </a:lnTo>
                  <a:lnTo>
                    <a:pt x="76244" y="486042"/>
                  </a:lnTo>
                  <a:lnTo>
                    <a:pt x="85772" y="481276"/>
                  </a:lnTo>
                  <a:close/>
                  <a:moveTo>
                    <a:pt x="2132396" y="457452"/>
                  </a:moveTo>
                  <a:lnTo>
                    <a:pt x="2132396" y="471746"/>
                  </a:lnTo>
                  <a:lnTo>
                    <a:pt x="2127632" y="481276"/>
                  </a:lnTo>
                  <a:lnTo>
                    <a:pt x="2118100" y="476512"/>
                  </a:lnTo>
                  <a:close/>
                  <a:moveTo>
                    <a:pt x="5610936" y="447920"/>
                  </a:moveTo>
                  <a:lnTo>
                    <a:pt x="5615704" y="447920"/>
                  </a:lnTo>
                  <a:lnTo>
                    <a:pt x="5615704" y="452686"/>
                  </a:lnTo>
                  <a:lnTo>
                    <a:pt x="5610936" y="452686"/>
                  </a:lnTo>
                  <a:close/>
                  <a:moveTo>
                    <a:pt x="1636824" y="447920"/>
                  </a:moveTo>
                  <a:lnTo>
                    <a:pt x="1641588" y="452686"/>
                  </a:lnTo>
                  <a:lnTo>
                    <a:pt x="1646352" y="457452"/>
                  </a:lnTo>
                  <a:lnTo>
                    <a:pt x="1651120" y="457452"/>
                  </a:lnTo>
                  <a:lnTo>
                    <a:pt x="1655884" y="462216"/>
                  </a:lnTo>
                  <a:lnTo>
                    <a:pt x="1651120" y="471746"/>
                  </a:lnTo>
                  <a:lnTo>
                    <a:pt x="1646352" y="476512"/>
                  </a:lnTo>
                  <a:lnTo>
                    <a:pt x="1636824" y="481276"/>
                  </a:lnTo>
                  <a:lnTo>
                    <a:pt x="1636824" y="476512"/>
                  </a:lnTo>
                  <a:lnTo>
                    <a:pt x="1636824" y="466982"/>
                  </a:lnTo>
                  <a:lnTo>
                    <a:pt x="1636824" y="462216"/>
                  </a:lnTo>
                  <a:lnTo>
                    <a:pt x="1636824" y="457452"/>
                  </a:lnTo>
                  <a:close/>
                  <a:moveTo>
                    <a:pt x="1717832" y="419330"/>
                  </a:moveTo>
                  <a:lnTo>
                    <a:pt x="1727360" y="424096"/>
                  </a:lnTo>
                  <a:lnTo>
                    <a:pt x="1727360" y="433626"/>
                  </a:lnTo>
                  <a:lnTo>
                    <a:pt x="1727360" y="443156"/>
                  </a:lnTo>
                  <a:lnTo>
                    <a:pt x="1717832" y="438390"/>
                  </a:lnTo>
                  <a:lnTo>
                    <a:pt x="1713064" y="424096"/>
                  </a:lnTo>
                  <a:close/>
                  <a:moveTo>
                    <a:pt x="3485692" y="390740"/>
                  </a:moveTo>
                  <a:lnTo>
                    <a:pt x="3499988" y="390740"/>
                  </a:lnTo>
                  <a:lnTo>
                    <a:pt x="3509520" y="390740"/>
                  </a:lnTo>
                  <a:lnTo>
                    <a:pt x="3504752" y="414564"/>
                  </a:lnTo>
                  <a:lnTo>
                    <a:pt x="3499988" y="419330"/>
                  </a:lnTo>
                  <a:lnTo>
                    <a:pt x="3485692" y="405034"/>
                  </a:lnTo>
                  <a:lnTo>
                    <a:pt x="3485692" y="395504"/>
                  </a:lnTo>
                  <a:close/>
                  <a:moveTo>
                    <a:pt x="4724628" y="343088"/>
                  </a:moveTo>
                  <a:lnTo>
                    <a:pt x="4734156" y="352618"/>
                  </a:lnTo>
                  <a:lnTo>
                    <a:pt x="4743688" y="366914"/>
                  </a:lnTo>
                  <a:lnTo>
                    <a:pt x="4748452" y="381208"/>
                  </a:lnTo>
                  <a:lnTo>
                    <a:pt x="4753216" y="390738"/>
                  </a:lnTo>
                  <a:lnTo>
                    <a:pt x="4748452" y="395504"/>
                  </a:lnTo>
                  <a:lnTo>
                    <a:pt x="4729392" y="385974"/>
                  </a:lnTo>
                  <a:lnTo>
                    <a:pt x="4729392" y="371678"/>
                  </a:lnTo>
                  <a:lnTo>
                    <a:pt x="4729392" y="362148"/>
                  </a:lnTo>
                  <a:lnTo>
                    <a:pt x="4724628" y="357384"/>
                  </a:lnTo>
                  <a:lnTo>
                    <a:pt x="4719860" y="347854"/>
                  </a:lnTo>
                  <a:close/>
                  <a:moveTo>
                    <a:pt x="4929528" y="324028"/>
                  </a:moveTo>
                  <a:lnTo>
                    <a:pt x="4934292" y="324028"/>
                  </a:lnTo>
                  <a:lnTo>
                    <a:pt x="4939056" y="328792"/>
                  </a:lnTo>
                  <a:lnTo>
                    <a:pt x="4939056" y="333556"/>
                  </a:lnTo>
                  <a:lnTo>
                    <a:pt x="4939056" y="338322"/>
                  </a:lnTo>
                  <a:lnTo>
                    <a:pt x="4929528" y="333556"/>
                  </a:lnTo>
                  <a:lnTo>
                    <a:pt x="4929528" y="328792"/>
                  </a:lnTo>
                  <a:close/>
                  <a:moveTo>
                    <a:pt x="4905700" y="295436"/>
                  </a:moveTo>
                  <a:lnTo>
                    <a:pt x="4915232" y="300202"/>
                  </a:lnTo>
                  <a:lnTo>
                    <a:pt x="4919996" y="314498"/>
                  </a:lnTo>
                  <a:lnTo>
                    <a:pt x="4919996" y="319262"/>
                  </a:lnTo>
                  <a:lnTo>
                    <a:pt x="4919996" y="328792"/>
                  </a:lnTo>
                  <a:lnTo>
                    <a:pt x="4910464" y="309732"/>
                  </a:lnTo>
                  <a:close/>
                  <a:moveTo>
                    <a:pt x="3499988" y="271612"/>
                  </a:moveTo>
                  <a:lnTo>
                    <a:pt x="3519048" y="276376"/>
                  </a:lnTo>
                  <a:lnTo>
                    <a:pt x="3538108" y="271612"/>
                  </a:lnTo>
                  <a:lnTo>
                    <a:pt x="3542872" y="285906"/>
                  </a:lnTo>
                  <a:lnTo>
                    <a:pt x="3542872" y="290672"/>
                  </a:lnTo>
                  <a:lnTo>
                    <a:pt x="3514284" y="300202"/>
                  </a:lnTo>
                  <a:lnTo>
                    <a:pt x="3499988" y="281142"/>
                  </a:lnTo>
                  <a:close/>
                  <a:moveTo>
                    <a:pt x="2027564" y="266846"/>
                  </a:moveTo>
                  <a:lnTo>
                    <a:pt x="2032328" y="266846"/>
                  </a:lnTo>
                  <a:lnTo>
                    <a:pt x="2032328" y="276376"/>
                  </a:lnTo>
                  <a:lnTo>
                    <a:pt x="2056156" y="304966"/>
                  </a:lnTo>
                  <a:lnTo>
                    <a:pt x="2056156" y="319262"/>
                  </a:lnTo>
                  <a:lnTo>
                    <a:pt x="2056156" y="324028"/>
                  </a:lnTo>
                  <a:lnTo>
                    <a:pt x="2046624" y="347852"/>
                  </a:lnTo>
                  <a:lnTo>
                    <a:pt x="2022800" y="352618"/>
                  </a:lnTo>
                  <a:lnTo>
                    <a:pt x="2008504" y="347852"/>
                  </a:lnTo>
                  <a:lnTo>
                    <a:pt x="2022800" y="338322"/>
                  </a:lnTo>
                  <a:lnTo>
                    <a:pt x="2027564" y="338322"/>
                  </a:lnTo>
                  <a:lnTo>
                    <a:pt x="2032328" y="333558"/>
                  </a:lnTo>
                  <a:lnTo>
                    <a:pt x="2032328" y="328792"/>
                  </a:lnTo>
                  <a:lnTo>
                    <a:pt x="2008504" y="324028"/>
                  </a:lnTo>
                  <a:lnTo>
                    <a:pt x="2003740" y="319262"/>
                  </a:lnTo>
                  <a:lnTo>
                    <a:pt x="1994208" y="304966"/>
                  </a:lnTo>
                  <a:lnTo>
                    <a:pt x="1994208" y="295436"/>
                  </a:lnTo>
                  <a:close/>
                  <a:moveTo>
                    <a:pt x="3266496" y="243020"/>
                  </a:moveTo>
                  <a:lnTo>
                    <a:pt x="3280792" y="243020"/>
                  </a:lnTo>
                  <a:lnTo>
                    <a:pt x="3295088" y="243020"/>
                  </a:lnTo>
                  <a:lnTo>
                    <a:pt x="3299852" y="247786"/>
                  </a:lnTo>
                  <a:lnTo>
                    <a:pt x="3309384" y="252550"/>
                  </a:lnTo>
                  <a:lnTo>
                    <a:pt x="3323680" y="243020"/>
                  </a:lnTo>
                  <a:lnTo>
                    <a:pt x="3328444" y="243020"/>
                  </a:lnTo>
                  <a:lnTo>
                    <a:pt x="3337976" y="247786"/>
                  </a:lnTo>
                  <a:lnTo>
                    <a:pt x="3342740" y="247786"/>
                  </a:lnTo>
                  <a:lnTo>
                    <a:pt x="3352268" y="243020"/>
                  </a:lnTo>
                  <a:lnTo>
                    <a:pt x="3376096" y="247786"/>
                  </a:lnTo>
                  <a:lnTo>
                    <a:pt x="3414216" y="247786"/>
                  </a:lnTo>
                  <a:lnTo>
                    <a:pt x="3442808" y="252550"/>
                  </a:lnTo>
                  <a:lnTo>
                    <a:pt x="3471396" y="271610"/>
                  </a:lnTo>
                  <a:lnTo>
                    <a:pt x="3485692" y="271610"/>
                  </a:lnTo>
                  <a:lnTo>
                    <a:pt x="3490460" y="271610"/>
                  </a:lnTo>
                  <a:lnTo>
                    <a:pt x="3490460" y="276376"/>
                  </a:lnTo>
                  <a:lnTo>
                    <a:pt x="3476164" y="281142"/>
                  </a:lnTo>
                  <a:lnTo>
                    <a:pt x="3471396" y="290672"/>
                  </a:lnTo>
                  <a:lnTo>
                    <a:pt x="3485692" y="300202"/>
                  </a:lnTo>
                  <a:lnTo>
                    <a:pt x="3490460" y="309732"/>
                  </a:lnTo>
                  <a:lnTo>
                    <a:pt x="3499988" y="319262"/>
                  </a:lnTo>
                  <a:lnTo>
                    <a:pt x="3514284" y="333558"/>
                  </a:lnTo>
                  <a:lnTo>
                    <a:pt x="3514284" y="338322"/>
                  </a:lnTo>
                  <a:lnTo>
                    <a:pt x="3519048" y="343088"/>
                  </a:lnTo>
                  <a:lnTo>
                    <a:pt x="3523816" y="347852"/>
                  </a:lnTo>
                  <a:lnTo>
                    <a:pt x="3514284" y="357384"/>
                  </a:lnTo>
                  <a:lnTo>
                    <a:pt x="3499988" y="357384"/>
                  </a:lnTo>
                  <a:lnTo>
                    <a:pt x="3490460" y="352618"/>
                  </a:lnTo>
                  <a:lnTo>
                    <a:pt x="3480928" y="343088"/>
                  </a:lnTo>
                  <a:lnTo>
                    <a:pt x="3476164" y="352618"/>
                  </a:lnTo>
                  <a:lnTo>
                    <a:pt x="3471396" y="357384"/>
                  </a:lnTo>
                  <a:lnTo>
                    <a:pt x="3447572" y="357384"/>
                  </a:lnTo>
                  <a:lnTo>
                    <a:pt x="3428512" y="357384"/>
                  </a:lnTo>
                  <a:lnTo>
                    <a:pt x="3409452" y="357384"/>
                  </a:lnTo>
                  <a:lnTo>
                    <a:pt x="3418980" y="362148"/>
                  </a:lnTo>
                  <a:lnTo>
                    <a:pt x="3428512" y="362148"/>
                  </a:lnTo>
                  <a:lnTo>
                    <a:pt x="3457104" y="390738"/>
                  </a:lnTo>
                  <a:lnTo>
                    <a:pt x="3461868" y="400270"/>
                  </a:lnTo>
                  <a:lnTo>
                    <a:pt x="3452336" y="419330"/>
                  </a:lnTo>
                  <a:lnTo>
                    <a:pt x="3457104" y="428860"/>
                  </a:lnTo>
                  <a:lnTo>
                    <a:pt x="3466632" y="428860"/>
                  </a:lnTo>
                  <a:lnTo>
                    <a:pt x="3480928" y="438390"/>
                  </a:lnTo>
                  <a:lnTo>
                    <a:pt x="3490460" y="443156"/>
                  </a:lnTo>
                  <a:lnTo>
                    <a:pt x="3495224" y="447920"/>
                  </a:lnTo>
                  <a:lnTo>
                    <a:pt x="3495224" y="457450"/>
                  </a:lnTo>
                  <a:lnTo>
                    <a:pt x="3499988" y="462216"/>
                  </a:lnTo>
                  <a:lnTo>
                    <a:pt x="3490460" y="466982"/>
                  </a:lnTo>
                  <a:lnTo>
                    <a:pt x="3499988" y="471746"/>
                  </a:lnTo>
                  <a:lnTo>
                    <a:pt x="3509520" y="476512"/>
                  </a:lnTo>
                  <a:lnTo>
                    <a:pt x="3504752" y="481276"/>
                  </a:lnTo>
                  <a:lnTo>
                    <a:pt x="3499988" y="486042"/>
                  </a:lnTo>
                  <a:lnTo>
                    <a:pt x="3504752" y="486042"/>
                  </a:lnTo>
                  <a:lnTo>
                    <a:pt x="3519048" y="490806"/>
                  </a:lnTo>
                  <a:lnTo>
                    <a:pt x="3523816" y="495572"/>
                  </a:lnTo>
                  <a:lnTo>
                    <a:pt x="3523816" y="509868"/>
                  </a:lnTo>
                  <a:lnTo>
                    <a:pt x="3538108" y="528928"/>
                  </a:lnTo>
                  <a:lnTo>
                    <a:pt x="3561936" y="552754"/>
                  </a:lnTo>
                  <a:lnTo>
                    <a:pt x="3566700" y="562284"/>
                  </a:lnTo>
                  <a:lnTo>
                    <a:pt x="3566700" y="571814"/>
                  </a:lnTo>
                  <a:lnTo>
                    <a:pt x="3561936" y="581344"/>
                  </a:lnTo>
                  <a:lnTo>
                    <a:pt x="3552404" y="586110"/>
                  </a:lnTo>
                  <a:lnTo>
                    <a:pt x="3538108" y="600404"/>
                  </a:lnTo>
                  <a:lnTo>
                    <a:pt x="3538108" y="605170"/>
                  </a:lnTo>
                  <a:lnTo>
                    <a:pt x="3523816" y="609934"/>
                  </a:lnTo>
                  <a:lnTo>
                    <a:pt x="3528580" y="614700"/>
                  </a:lnTo>
                  <a:lnTo>
                    <a:pt x="3533344" y="619466"/>
                  </a:lnTo>
                  <a:lnTo>
                    <a:pt x="3547640" y="633760"/>
                  </a:lnTo>
                  <a:lnTo>
                    <a:pt x="3571464" y="657586"/>
                  </a:lnTo>
                  <a:lnTo>
                    <a:pt x="3580996" y="667116"/>
                  </a:lnTo>
                  <a:lnTo>
                    <a:pt x="3628648" y="705238"/>
                  </a:lnTo>
                  <a:lnTo>
                    <a:pt x="3657236" y="719532"/>
                  </a:lnTo>
                  <a:lnTo>
                    <a:pt x="3690592" y="752888"/>
                  </a:lnTo>
                  <a:lnTo>
                    <a:pt x="3709656" y="762420"/>
                  </a:lnTo>
                  <a:lnTo>
                    <a:pt x="3709656" y="771950"/>
                  </a:lnTo>
                  <a:lnTo>
                    <a:pt x="3695360" y="786244"/>
                  </a:lnTo>
                  <a:lnTo>
                    <a:pt x="3676300" y="795774"/>
                  </a:lnTo>
                  <a:lnTo>
                    <a:pt x="3638176" y="800540"/>
                  </a:lnTo>
                  <a:lnTo>
                    <a:pt x="3604820" y="795774"/>
                  </a:lnTo>
                  <a:lnTo>
                    <a:pt x="3585760" y="791010"/>
                  </a:lnTo>
                  <a:lnTo>
                    <a:pt x="3571464" y="781480"/>
                  </a:lnTo>
                  <a:lnTo>
                    <a:pt x="3557168" y="762420"/>
                  </a:lnTo>
                  <a:lnTo>
                    <a:pt x="3542876" y="752888"/>
                  </a:lnTo>
                  <a:lnTo>
                    <a:pt x="3547640" y="767184"/>
                  </a:lnTo>
                  <a:lnTo>
                    <a:pt x="3552404" y="776714"/>
                  </a:lnTo>
                  <a:lnTo>
                    <a:pt x="3552404" y="786244"/>
                  </a:lnTo>
                  <a:lnTo>
                    <a:pt x="3542876" y="795774"/>
                  </a:lnTo>
                  <a:lnTo>
                    <a:pt x="3533344" y="800540"/>
                  </a:lnTo>
                  <a:lnTo>
                    <a:pt x="3523816" y="810070"/>
                  </a:lnTo>
                  <a:lnTo>
                    <a:pt x="3519048" y="810070"/>
                  </a:lnTo>
                  <a:lnTo>
                    <a:pt x="3485692" y="872016"/>
                  </a:lnTo>
                  <a:lnTo>
                    <a:pt x="3480928" y="891078"/>
                  </a:lnTo>
                  <a:lnTo>
                    <a:pt x="3471396" y="957790"/>
                  </a:lnTo>
                  <a:lnTo>
                    <a:pt x="3471396" y="976850"/>
                  </a:lnTo>
                  <a:lnTo>
                    <a:pt x="3485692" y="1010206"/>
                  </a:lnTo>
                  <a:lnTo>
                    <a:pt x="3485692" y="1029266"/>
                  </a:lnTo>
                  <a:lnTo>
                    <a:pt x="3490460" y="1038796"/>
                  </a:lnTo>
                  <a:lnTo>
                    <a:pt x="3485692" y="1048326"/>
                  </a:lnTo>
                  <a:lnTo>
                    <a:pt x="3480928" y="1048326"/>
                  </a:lnTo>
                  <a:lnTo>
                    <a:pt x="3457104" y="1062622"/>
                  </a:lnTo>
                  <a:lnTo>
                    <a:pt x="3438040" y="1072152"/>
                  </a:lnTo>
                  <a:lnTo>
                    <a:pt x="3423748" y="1081682"/>
                  </a:lnTo>
                  <a:lnTo>
                    <a:pt x="3409452" y="1100744"/>
                  </a:lnTo>
                  <a:lnTo>
                    <a:pt x="3399920" y="1110274"/>
                  </a:lnTo>
                  <a:lnTo>
                    <a:pt x="3385624" y="1115038"/>
                  </a:lnTo>
                  <a:lnTo>
                    <a:pt x="3376096" y="1115038"/>
                  </a:lnTo>
                  <a:lnTo>
                    <a:pt x="3366564" y="1110274"/>
                  </a:lnTo>
                  <a:lnTo>
                    <a:pt x="3361800" y="1100744"/>
                  </a:lnTo>
                  <a:lnTo>
                    <a:pt x="3361800" y="1086448"/>
                  </a:lnTo>
                  <a:lnTo>
                    <a:pt x="3357036" y="1095978"/>
                  </a:lnTo>
                  <a:lnTo>
                    <a:pt x="3357036" y="1105508"/>
                  </a:lnTo>
                  <a:lnTo>
                    <a:pt x="3361800" y="1115038"/>
                  </a:lnTo>
                  <a:lnTo>
                    <a:pt x="3366564" y="1124568"/>
                  </a:lnTo>
                  <a:lnTo>
                    <a:pt x="3361800" y="1134100"/>
                  </a:lnTo>
                  <a:lnTo>
                    <a:pt x="3357036" y="1138864"/>
                  </a:lnTo>
                  <a:lnTo>
                    <a:pt x="3337976" y="1148394"/>
                  </a:lnTo>
                  <a:lnTo>
                    <a:pt x="3328444" y="1157924"/>
                  </a:lnTo>
                  <a:lnTo>
                    <a:pt x="3328444" y="1167454"/>
                  </a:lnTo>
                  <a:lnTo>
                    <a:pt x="3323680" y="1176986"/>
                  </a:lnTo>
                  <a:lnTo>
                    <a:pt x="3318912" y="1181750"/>
                  </a:lnTo>
                  <a:lnTo>
                    <a:pt x="3295088" y="1191280"/>
                  </a:lnTo>
                  <a:lnTo>
                    <a:pt x="3290324" y="1200810"/>
                  </a:lnTo>
                  <a:lnTo>
                    <a:pt x="3285556" y="1205576"/>
                  </a:lnTo>
                  <a:lnTo>
                    <a:pt x="3299852" y="1205576"/>
                  </a:lnTo>
                  <a:lnTo>
                    <a:pt x="3309384" y="1205576"/>
                  </a:lnTo>
                  <a:lnTo>
                    <a:pt x="3314148" y="1215106"/>
                  </a:lnTo>
                  <a:lnTo>
                    <a:pt x="3314148" y="1224636"/>
                  </a:lnTo>
                  <a:lnTo>
                    <a:pt x="3309384" y="1248462"/>
                  </a:lnTo>
                  <a:lnTo>
                    <a:pt x="3295088" y="1257992"/>
                  </a:lnTo>
                  <a:lnTo>
                    <a:pt x="3299852" y="1262758"/>
                  </a:lnTo>
                  <a:lnTo>
                    <a:pt x="3309384" y="1267522"/>
                  </a:lnTo>
                  <a:lnTo>
                    <a:pt x="3328444" y="1272288"/>
                  </a:lnTo>
                  <a:lnTo>
                    <a:pt x="3333208" y="1286584"/>
                  </a:lnTo>
                  <a:lnTo>
                    <a:pt x="3328444" y="1300878"/>
                  </a:lnTo>
                  <a:lnTo>
                    <a:pt x="3328444" y="1319940"/>
                  </a:lnTo>
                  <a:lnTo>
                    <a:pt x="3314148" y="1324704"/>
                  </a:lnTo>
                  <a:lnTo>
                    <a:pt x="3304620" y="1319940"/>
                  </a:lnTo>
                  <a:lnTo>
                    <a:pt x="3299852" y="1319940"/>
                  </a:lnTo>
                  <a:lnTo>
                    <a:pt x="3295088" y="1324704"/>
                  </a:lnTo>
                  <a:lnTo>
                    <a:pt x="3290324" y="1334234"/>
                  </a:lnTo>
                  <a:lnTo>
                    <a:pt x="3304620" y="1329470"/>
                  </a:lnTo>
                  <a:lnTo>
                    <a:pt x="3304620" y="1348530"/>
                  </a:lnTo>
                  <a:lnTo>
                    <a:pt x="3299852" y="1367590"/>
                  </a:lnTo>
                  <a:lnTo>
                    <a:pt x="3295088" y="1377120"/>
                  </a:lnTo>
                  <a:lnTo>
                    <a:pt x="3290324" y="1386650"/>
                  </a:lnTo>
                  <a:lnTo>
                    <a:pt x="3280792" y="1391416"/>
                  </a:lnTo>
                  <a:lnTo>
                    <a:pt x="3271264" y="1381886"/>
                  </a:lnTo>
                  <a:lnTo>
                    <a:pt x="3266496" y="1391416"/>
                  </a:lnTo>
                  <a:lnTo>
                    <a:pt x="3271264" y="1400946"/>
                  </a:lnTo>
                  <a:lnTo>
                    <a:pt x="3285556" y="1415242"/>
                  </a:lnTo>
                  <a:lnTo>
                    <a:pt x="3276028" y="1420006"/>
                  </a:lnTo>
                  <a:lnTo>
                    <a:pt x="3271264" y="1424772"/>
                  </a:lnTo>
                  <a:lnTo>
                    <a:pt x="3266496" y="1429536"/>
                  </a:lnTo>
                  <a:lnTo>
                    <a:pt x="3252200" y="1448598"/>
                  </a:lnTo>
                  <a:lnTo>
                    <a:pt x="3247436" y="1462892"/>
                  </a:lnTo>
                  <a:lnTo>
                    <a:pt x="3242672" y="1477188"/>
                  </a:lnTo>
                  <a:lnTo>
                    <a:pt x="3237908" y="1486718"/>
                  </a:lnTo>
                  <a:lnTo>
                    <a:pt x="3128308" y="1534370"/>
                  </a:lnTo>
                  <a:lnTo>
                    <a:pt x="3042536" y="1577256"/>
                  </a:lnTo>
                  <a:lnTo>
                    <a:pt x="3033004" y="1577256"/>
                  </a:lnTo>
                  <a:lnTo>
                    <a:pt x="3028240" y="1567726"/>
                  </a:lnTo>
                  <a:lnTo>
                    <a:pt x="3028240" y="1505780"/>
                  </a:lnTo>
                  <a:lnTo>
                    <a:pt x="3013944" y="1472424"/>
                  </a:lnTo>
                  <a:lnTo>
                    <a:pt x="3013944" y="1453362"/>
                  </a:lnTo>
                  <a:lnTo>
                    <a:pt x="2999652" y="1472424"/>
                  </a:lnTo>
                  <a:lnTo>
                    <a:pt x="2994884" y="1467658"/>
                  </a:lnTo>
                  <a:lnTo>
                    <a:pt x="2985356" y="1462892"/>
                  </a:lnTo>
                  <a:lnTo>
                    <a:pt x="2980588" y="1458128"/>
                  </a:lnTo>
                  <a:lnTo>
                    <a:pt x="2980588" y="1453362"/>
                  </a:lnTo>
                  <a:lnTo>
                    <a:pt x="2985356" y="1429536"/>
                  </a:lnTo>
                  <a:lnTo>
                    <a:pt x="2975824" y="1443832"/>
                  </a:lnTo>
                  <a:lnTo>
                    <a:pt x="2971060" y="1448598"/>
                  </a:lnTo>
                  <a:lnTo>
                    <a:pt x="2961528" y="1448598"/>
                  </a:lnTo>
                  <a:lnTo>
                    <a:pt x="2952000" y="1443832"/>
                  </a:lnTo>
                  <a:lnTo>
                    <a:pt x="2947232" y="1439068"/>
                  </a:lnTo>
                  <a:lnTo>
                    <a:pt x="2923408" y="1458128"/>
                  </a:lnTo>
                  <a:lnTo>
                    <a:pt x="2899584" y="1467658"/>
                  </a:lnTo>
                  <a:lnTo>
                    <a:pt x="2885288" y="1467658"/>
                  </a:lnTo>
                  <a:lnTo>
                    <a:pt x="2875756" y="1458128"/>
                  </a:lnTo>
                  <a:lnTo>
                    <a:pt x="2875756" y="1448598"/>
                  </a:lnTo>
                  <a:lnTo>
                    <a:pt x="2875756" y="1434302"/>
                  </a:lnTo>
                  <a:lnTo>
                    <a:pt x="2870992" y="1424772"/>
                  </a:lnTo>
                  <a:lnTo>
                    <a:pt x="2866228" y="1420006"/>
                  </a:lnTo>
                  <a:lnTo>
                    <a:pt x="2856696" y="1424772"/>
                  </a:lnTo>
                  <a:lnTo>
                    <a:pt x="2842400" y="1429536"/>
                  </a:lnTo>
                  <a:lnTo>
                    <a:pt x="2832872" y="1429536"/>
                  </a:lnTo>
                  <a:lnTo>
                    <a:pt x="2828104" y="1434302"/>
                  </a:lnTo>
                  <a:lnTo>
                    <a:pt x="2780456" y="1381886"/>
                  </a:lnTo>
                  <a:lnTo>
                    <a:pt x="2770924" y="1424772"/>
                  </a:lnTo>
                  <a:lnTo>
                    <a:pt x="2737568" y="1443832"/>
                  </a:lnTo>
                  <a:lnTo>
                    <a:pt x="2713744" y="1458128"/>
                  </a:lnTo>
                  <a:lnTo>
                    <a:pt x="2689916" y="1453362"/>
                  </a:lnTo>
                  <a:lnTo>
                    <a:pt x="2666092" y="1443832"/>
                  </a:lnTo>
                  <a:lnTo>
                    <a:pt x="2637500" y="1453362"/>
                  </a:lnTo>
                  <a:lnTo>
                    <a:pt x="2613676" y="1477188"/>
                  </a:lnTo>
                  <a:lnTo>
                    <a:pt x="2604144" y="1481954"/>
                  </a:lnTo>
                  <a:lnTo>
                    <a:pt x="2599380" y="1481954"/>
                  </a:lnTo>
                  <a:lnTo>
                    <a:pt x="2589848" y="1477188"/>
                  </a:lnTo>
                  <a:lnTo>
                    <a:pt x="2594616" y="1458128"/>
                  </a:lnTo>
                  <a:lnTo>
                    <a:pt x="2594616" y="1443832"/>
                  </a:lnTo>
                  <a:lnTo>
                    <a:pt x="2589848" y="1405712"/>
                  </a:lnTo>
                  <a:lnTo>
                    <a:pt x="2589848" y="1396182"/>
                  </a:lnTo>
                  <a:lnTo>
                    <a:pt x="2580320" y="1386650"/>
                  </a:lnTo>
                  <a:lnTo>
                    <a:pt x="2570788" y="1377120"/>
                  </a:lnTo>
                  <a:lnTo>
                    <a:pt x="2566024" y="1381886"/>
                  </a:lnTo>
                  <a:lnTo>
                    <a:pt x="2561260" y="1391416"/>
                  </a:lnTo>
                  <a:lnTo>
                    <a:pt x="2542196" y="1391416"/>
                  </a:lnTo>
                  <a:lnTo>
                    <a:pt x="2518372" y="1381886"/>
                  </a:lnTo>
                  <a:lnTo>
                    <a:pt x="2504076" y="1386650"/>
                  </a:lnTo>
                  <a:lnTo>
                    <a:pt x="2470720" y="1400946"/>
                  </a:lnTo>
                  <a:lnTo>
                    <a:pt x="2451660" y="1405712"/>
                  </a:lnTo>
                  <a:lnTo>
                    <a:pt x="2442132" y="1400946"/>
                  </a:lnTo>
                  <a:lnTo>
                    <a:pt x="2437364" y="1396182"/>
                  </a:lnTo>
                  <a:lnTo>
                    <a:pt x="2442132" y="1386650"/>
                  </a:lnTo>
                  <a:lnTo>
                    <a:pt x="2446896" y="1381886"/>
                  </a:lnTo>
                  <a:lnTo>
                    <a:pt x="2432600" y="1386650"/>
                  </a:lnTo>
                  <a:lnTo>
                    <a:pt x="2423068" y="1391416"/>
                  </a:lnTo>
                  <a:lnTo>
                    <a:pt x="2418304" y="1396182"/>
                  </a:lnTo>
                  <a:lnTo>
                    <a:pt x="2413540" y="1396182"/>
                  </a:lnTo>
                  <a:lnTo>
                    <a:pt x="2399244" y="1377120"/>
                  </a:lnTo>
                  <a:lnTo>
                    <a:pt x="2365888" y="1381886"/>
                  </a:lnTo>
                  <a:lnTo>
                    <a:pt x="2361124" y="1386650"/>
                  </a:lnTo>
                  <a:lnTo>
                    <a:pt x="2356356" y="1391416"/>
                  </a:lnTo>
                  <a:lnTo>
                    <a:pt x="2346828" y="1386650"/>
                  </a:lnTo>
                  <a:lnTo>
                    <a:pt x="2342064" y="1381886"/>
                  </a:lnTo>
                  <a:lnTo>
                    <a:pt x="2342064" y="1343764"/>
                  </a:lnTo>
                  <a:lnTo>
                    <a:pt x="2327768" y="1277052"/>
                  </a:lnTo>
                  <a:lnTo>
                    <a:pt x="2323000" y="1238932"/>
                  </a:lnTo>
                  <a:lnTo>
                    <a:pt x="2318236" y="1229402"/>
                  </a:lnTo>
                  <a:lnTo>
                    <a:pt x="2299176" y="1215106"/>
                  </a:lnTo>
                  <a:lnTo>
                    <a:pt x="2303940" y="1196046"/>
                  </a:lnTo>
                  <a:lnTo>
                    <a:pt x="2308708" y="1181750"/>
                  </a:lnTo>
                  <a:lnTo>
                    <a:pt x="2313472" y="1162690"/>
                  </a:lnTo>
                  <a:lnTo>
                    <a:pt x="2308708" y="1143630"/>
                  </a:lnTo>
                  <a:lnTo>
                    <a:pt x="2303940" y="1124568"/>
                  </a:lnTo>
                  <a:lnTo>
                    <a:pt x="2299176" y="1110274"/>
                  </a:lnTo>
                  <a:lnTo>
                    <a:pt x="2289648" y="1095978"/>
                  </a:lnTo>
                  <a:lnTo>
                    <a:pt x="2275352" y="1081682"/>
                  </a:lnTo>
                  <a:lnTo>
                    <a:pt x="2256292" y="1072152"/>
                  </a:lnTo>
                  <a:lnTo>
                    <a:pt x="2222936" y="1062622"/>
                  </a:lnTo>
                  <a:lnTo>
                    <a:pt x="2203872" y="1062622"/>
                  </a:lnTo>
                  <a:lnTo>
                    <a:pt x="2194344" y="1057856"/>
                  </a:lnTo>
                  <a:lnTo>
                    <a:pt x="2189580" y="1053092"/>
                  </a:lnTo>
                  <a:lnTo>
                    <a:pt x="2194344" y="1038796"/>
                  </a:lnTo>
                  <a:lnTo>
                    <a:pt x="2199108" y="1034032"/>
                  </a:lnTo>
                  <a:lnTo>
                    <a:pt x="2208640" y="1029266"/>
                  </a:lnTo>
                  <a:lnTo>
                    <a:pt x="2208640" y="1024502"/>
                  </a:lnTo>
                  <a:lnTo>
                    <a:pt x="2189580" y="1014970"/>
                  </a:lnTo>
                  <a:lnTo>
                    <a:pt x="2175284" y="1005440"/>
                  </a:lnTo>
                  <a:lnTo>
                    <a:pt x="2170516" y="995910"/>
                  </a:lnTo>
                  <a:lnTo>
                    <a:pt x="2170516" y="986380"/>
                  </a:lnTo>
                  <a:lnTo>
                    <a:pt x="2170516" y="967320"/>
                  </a:lnTo>
                  <a:lnTo>
                    <a:pt x="2175284" y="953024"/>
                  </a:lnTo>
                  <a:lnTo>
                    <a:pt x="2175284" y="948260"/>
                  </a:lnTo>
                  <a:lnTo>
                    <a:pt x="2180048" y="929198"/>
                  </a:lnTo>
                  <a:lnTo>
                    <a:pt x="2189580" y="919668"/>
                  </a:lnTo>
                  <a:lnTo>
                    <a:pt x="2189580" y="914904"/>
                  </a:lnTo>
                  <a:lnTo>
                    <a:pt x="2184812" y="914904"/>
                  </a:lnTo>
                  <a:lnTo>
                    <a:pt x="2180048" y="905372"/>
                  </a:lnTo>
                  <a:lnTo>
                    <a:pt x="2175284" y="900608"/>
                  </a:lnTo>
                  <a:lnTo>
                    <a:pt x="2160988" y="886312"/>
                  </a:lnTo>
                  <a:lnTo>
                    <a:pt x="2141928" y="872016"/>
                  </a:lnTo>
                  <a:lnTo>
                    <a:pt x="2137160" y="843426"/>
                  </a:lnTo>
                  <a:lnTo>
                    <a:pt x="2137160" y="800540"/>
                  </a:lnTo>
                  <a:lnTo>
                    <a:pt x="2137160" y="781480"/>
                  </a:lnTo>
                  <a:lnTo>
                    <a:pt x="2146692" y="748124"/>
                  </a:lnTo>
                  <a:lnTo>
                    <a:pt x="2156224" y="738594"/>
                  </a:lnTo>
                  <a:lnTo>
                    <a:pt x="2165752" y="733828"/>
                  </a:lnTo>
                  <a:lnTo>
                    <a:pt x="2170516" y="729064"/>
                  </a:lnTo>
                  <a:lnTo>
                    <a:pt x="2165752" y="729064"/>
                  </a:lnTo>
                  <a:lnTo>
                    <a:pt x="2160988" y="729064"/>
                  </a:lnTo>
                  <a:lnTo>
                    <a:pt x="2151456" y="733828"/>
                  </a:lnTo>
                  <a:lnTo>
                    <a:pt x="2160988" y="700472"/>
                  </a:lnTo>
                  <a:lnTo>
                    <a:pt x="2160988" y="690942"/>
                  </a:lnTo>
                  <a:lnTo>
                    <a:pt x="2175284" y="676646"/>
                  </a:lnTo>
                  <a:lnTo>
                    <a:pt x="2194344" y="657586"/>
                  </a:lnTo>
                  <a:lnTo>
                    <a:pt x="2199108" y="643290"/>
                  </a:lnTo>
                  <a:lnTo>
                    <a:pt x="2208640" y="624230"/>
                  </a:lnTo>
                  <a:lnTo>
                    <a:pt x="2246760" y="609934"/>
                  </a:lnTo>
                  <a:lnTo>
                    <a:pt x="2237228" y="628996"/>
                  </a:lnTo>
                  <a:lnTo>
                    <a:pt x="2237228" y="638526"/>
                  </a:lnTo>
                  <a:lnTo>
                    <a:pt x="2241996" y="643290"/>
                  </a:lnTo>
                  <a:lnTo>
                    <a:pt x="2251524" y="648056"/>
                  </a:lnTo>
                  <a:lnTo>
                    <a:pt x="2251524" y="671882"/>
                  </a:lnTo>
                  <a:lnTo>
                    <a:pt x="2265820" y="686176"/>
                  </a:lnTo>
                  <a:lnTo>
                    <a:pt x="2280116" y="700472"/>
                  </a:lnTo>
                  <a:lnTo>
                    <a:pt x="2289648" y="705238"/>
                  </a:lnTo>
                  <a:lnTo>
                    <a:pt x="2299176" y="714768"/>
                  </a:lnTo>
                  <a:lnTo>
                    <a:pt x="2303940" y="724298"/>
                  </a:lnTo>
                  <a:lnTo>
                    <a:pt x="2313472" y="733828"/>
                  </a:lnTo>
                  <a:lnTo>
                    <a:pt x="2323000" y="738594"/>
                  </a:lnTo>
                  <a:lnTo>
                    <a:pt x="2356356" y="771950"/>
                  </a:lnTo>
                  <a:lnTo>
                    <a:pt x="2370652" y="776714"/>
                  </a:lnTo>
                  <a:lnTo>
                    <a:pt x="2380184" y="786244"/>
                  </a:lnTo>
                  <a:lnTo>
                    <a:pt x="2384948" y="791010"/>
                  </a:lnTo>
                  <a:lnTo>
                    <a:pt x="2404008" y="791010"/>
                  </a:lnTo>
                  <a:lnTo>
                    <a:pt x="2451660" y="767184"/>
                  </a:lnTo>
                  <a:lnTo>
                    <a:pt x="2461192" y="767184"/>
                  </a:lnTo>
                  <a:lnTo>
                    <a:pt x="2480252" y="762420"/>
                  </a:lnTo>
                  <a:lnTo>
                    <a:pt x="2508840" y="762420"/>
                  </a:lnTo>
                  <a:lnTo>
                    <a:pt x="2537432" y="771950"/>
                  </a:lnTo>
                  <a:lnTo>
                    <a:pt x="2546964" y="771950"/>
                  </a:lnTo>
                  <a:lnTo>
                    <a:pt x="2556492" y="767184"/>
                  </a:lnTo>
                  <a:lnTo>
                    <a:pt x="2570788" y="767184"/>
                  </a:lnTo>
                  <a:lnTo>
                    <a:pt x="2585084" y="771950"/>
                  </a:lnTo>
                  <a:lnTo>
                    <a:pt x="2589848" y="767184"/>
                  </a:lnTo>
                  <a:lnTo>
                    <a:pt x="2608908" y="752888"/>
                  </a:lnTo>
                  <a:lnTo>
                    <a:pt x="2632736" y="748124"/>
                  </a:lnTo>
                  <a:lnTo>
                    <a:pt x="2637500" y="733828"/>
                  </a:lnTo>
                  <a:lnTo>
                    <a:pt x="2647032" y="714768"/>
                  </a:lnTo>
                  <a:lnTo>
                    <a:pt x="2647032" y="700472"/>
                  </a:lnTo>
                  <a:lnTo>
                    <a:pt x="2656560" y="695708"/>
                  </a:lnTo>
                  <a:lnTo>
                    <a:pt x="2670856" y="690942"/>
                  </a:lnTo>
                  <a:lnTo>
                    <a:pt x="2694680" y="681412"/>
                  </a:lnTo>
                  <a:lnTo>
                    <a:pt x="2766160" y="681412"/>
                  </a:lnTo>
                  <a:lnTo>
                    <a:pt x="2775688" y="681412"/>
                  </a:lnTo>
                  <a:lnTo>
                    <a:pt x="2775688" y="690942"/>
                  </a:lnTo>
                  <a:lnTo>
                    <a:pt x="2775688" y="695708"/>
                  </a:lnTo>
                  <a:lnTo>
                    <a:pt x="2775688" y="700472"/>
                  </a:lnTo>
                  <a:lnTo>
                    <a:pt x="2785220" y="700472"/>
                  </a:lnTo>
                  <a:lnTo>
                    <a:pt x="2794748" y="705238"/>
                  </a:lnTo>
                  <a:lnTo>
                    <a:pt x="2832872" y="719532"/>
                  </a:lnTo>
                  <a:lnTo>
                    <a:pt x="2847164" y="724298"/>
                  </a:lnTo>
                  <a:lnTo>
                    <a:pt x="2856696" y="719532"/>
                  </a:lnTo>
                  <a:lnTo>
                    <a:pt x="2870992" y="733828"/>
                  </a:lnTo>
                  <a:lnTo>
                    <a:pt x="2880520" y="729064"/>
                  </a:lnTo>
                  <a:lnTo>
                    <a:pt x="2894816" y="719532"/>
                  </a:lnTo>
                  <a:lnTo>
                    <a:pt x="2904348" y="710002"/>
                  </a:lnTo>
                  <a:lnTo>
                    <a:pt x="2918644" y="700472"/>
                  </a:lnTo>
                  <a:lnTo>
                    <a:pt x="2932940" y="700472"/>
                  </a:lnTo>
                  <a:lnTo>
                    <a:pt x="2952000" y="700472"/>
                  </a:lnTo>
                  <a:lnTo>
                    <a:pt x="2975824" y="695708"/>
                  </a:lnTo>
                  <a:lnTo>
                    <a:pt x="2990120" y="690942"/>
                  </a:lnTo>
                  <a:lnTo>
                    <a:pt x="3013944" y="700472"/>
                  </a:lnTo>
                  <a:lnTo>
                    <a:pt x="3018712" y="695708"/>
                  </a:lnTo>
                  <a:lnTo>
                    <a:pt x="3018712" y="690942"/>
                  </a:lnTo>
                  <a:lnTo>
                    <a:pt x="3028240" y="671882"/>
                  </a:lnTo>
                  <a:lnTo>
                    <a:pt x="3037772" y="662352"/>
                  </a:lnTo>
                  <a:lnTo>
                    <a:pt x="3037772" y="643290"/>
                  </a:lnTo>
                  <a:lnTo>
                    <a:pt x="3042536" y="638526"/>
                  </a:lnTo>
                  <a:lnTo>
                    <a:pt x="3047300" y="633760"/>
                  </a:lnTo>
                  <a:lnTo>
                    <a:pt x="3056832" y="628996"/>
                  </a:lnTo>
                  <a:lnTo>
                    <a:pt x="3056832" y="624230"/>
                  </a:lnTo>
                  <a:lnTo>
                    <a:pt x="3061596" y="614700"/>
                  </a:lnTo>
                  <a:lnTo>
                    <a:pt x="3061596" y="609934"/>
                  </a:lnTo>
                  <a:lnTo>
                    <a:pt x="3056832" y="605170"/>
                  </a:lnTo>
                  <a:lnTo>
                    <a:pt x="3052068" y="586110"/>
                  </a:lnTo>
                  <a:lnTo>
                    <a:pt x="3052068" y="581344"/>
                  </a:lnTo>
                  <a:lnTo>
                    <a:pt x="3056832" y="576580"/>
                  </a:lnTo>
                  <a:lnTo>
                    <a:pt x="3061596" y="571814"/>
                  </a:lnTo>
                  <a:lnTo>
                    <a:pt x="3085424" y="557518"/>
                  </a:lnTo>
                  <a:lnTo>
                    <a:pt x="3099716" y="543224"/>
                  </a:lnTo>
                  <a:lnTo>
                    <a:pt x="3109248" y="538458"/>
                  </a:lnTo>
                  <a:lnTo>
                    <a:pt x="3118780" y="533692"/>
                  </a:lnTo>
                  <a:lnTo>
                    <a:pt x="3118780" y="524162"/>
                  </a:lnTo>
                  <a:lnTo>
                    <a:pt x="3109248" y="519398"/>
                  </a:lnTo>
                  <a:lnTo>
                    <a:pt x="3099716" y="514632"/>
                  </a:lnTo>
                  <a:lnTo>
                    <a:pt x="3099716" y="505102"/>
                  </a:lnTo>
                  <a:lnTo>
                    <a:pt x="3099716" y="500336"/>
                  </a:lnTo>
                  <a:lnTo>
                    <a:pt x="3104484" y="495572"/>
                  </a:lnTo>
                  <a:lnTo>
                    <a:pt x="3099716" y="490806"/>
                  </a:lnTo>
                  <a:lnTo>
                    <a:pt x="3099716" y="481276"/>
                  </a:lnTo>
                  <a:lnTo>
                    <a:pt x="3104484" y="471746"/>
                  </a:lnTo>
                  <a:lnTo>
                    <a:pt x="3118780" y="462216"/>
                  </a:lnTo>
                  <a:lnTo>
                    <a:pt x="3128308" y="452686"/>
                  </a:lnTo>
                  <a:lnTo>
                    <a:pt x="3137840" y="457450"/>
                  </a:lnTo>
                  <a:lnTo>
                    <a:pt x="3147368" y="457450"/>
                  </a:lnTo>
                  <a:lnTo>
                    <a:pt x="3161664" y="452686"/>
                  </a:lnTo>
                  <a:lnTo>
                    <a:pt x="3166428" y="438390"/>
                  </a:lnTo>
                  <a:lnTo>
                    <a:pt x="3166428" y="428860"/>
                  </a:lnTo>
                  <a:lnTo>
                    <a:pt x="3166428" y="424094"/>
                  </a:lnTo>
                  <a:lnTo>
                    <a:pt x="3166428" y="405034"/>
                  </a:lnTo>
                  <a:lnTo>
                    <a:pt x="3171196" y="400270"/>
                  </a:lnTo>
                  <a:lnTo>
                    <a:pt x="3175960" y="385974"/>
                  </a:lnTo>
                  <a:lnTo>
                    <a:pt x="3175960" y="376444"/>
                  </a:lnTo>
                  <a:lnTo>
                    <a:pt x="3171196" y="357384"/>
                  </a:lnTo>
                  <a:lnTo>
                    <a:pt x="3175960" y="343088"/>
                  </a:lnTo>
                  <a:lnTo>
                    <a:pt x="3175960" y="309732"/>
                  </a:lnTo>
                  <a:lnTo>
                    <a:pt x="3180724" y="304966"/>
                  </a:lnTo>
                  <a:lnTo>
                    <a:pt x="3185488" y="285906"/>
                  </a:lnTo>
                  <a:lnTo>
                    <a:pt x="3195020" y="271610"/>
                  </a:lnTo>
                  <a:lnTo>
                    <a:pt x="3209316" y="262080"/>
                  </a:lnTo>
                  <a:lnTo>
                    <a:pt x="3218844" y="247786"/>
                  </a:lnTo>
                  <a:lnTo>
                    <a:pt x="3223612" y="247786"/>
                  </a:lnTo>
                  <a:lnTo>
                    <a:pt x="3228376" y="247786"/>
                  </a:lnTo>
                  <a:lnTo>
                    <a:pt x="3247436" y="252550"/>
                  </a:lnTo>
                  <a:close/>
                  <a:moveTo>
                    <a:pt x="4924760" y="214428"/>
                  </a:moveTo>
                  <a:lnTo>
                    <a:pt x="4934292" y="214428"/>
                  </a:lnTo>
                  <a:lnTo>
                    <a:pt x="4943820" y="223960"/>
                  </a:lnTo>
                  <a:lnTo>
                    <a:pt x="4943820" y="243020"/>
                  </a:lnTo>
                  <a:lnTo>
                    <a:pt x="4948588" y="252550"/>
                  </a:lnTo>
                  <a:lnTo>
                    <a:pt x="4939056" y="271610"/>
                  </a:lnTo>
                  <a:lnTo>
                    <a:pt x="4934292" y="295436"/>
                  </a:lnTo>
                  <a:lnTo>
                    <a:pt x="4929528" y="300200"/>
                  </a:lnTo>
                  <a:lnTo>
                    <a:pt x="4919996" y="295436"/>
                  </a:lnTo>
                  <a:lnTo>
                    <a:pt x="4915232" y="290670"/>
                  </a:lnTo>
                  <a:lnTo>
                    <a:pt x="4924760" y="276376"/>
                  </a:lnTo>
                  <a:lnTo>
                    <a:pt x="4934292" y="262080"/>
                  </a:lnTo>
                  <a:lnTo>
                    <a:pt x="4924760" y="257316"/>
                  </a:lnTo>
                  <a:lnTo>
                    <a:pt x="4919996" y="247784"/>
                  </a:lnTo>
                  <a:lnTo>
                    <a:pt x="4919996" y="233490"/>
                  </a:lnTo>
                  <a:close/>
                  <a:moveTo>
                    <a:pt x="28592" y="47650"/>
                  </a:moveTo>
                  <a:lnTo>
                    <a:pt x="47652" y="47650"/>
                  </a:lnTo>
                  <a:lnTo>
                    <a:pt x="66712" y="47650"/>
                  </a:lnTo>
                  <a:lnTo>
                    <a:pt x="81008" y="52416"/>
                  </a:lnTo>
                  <a:lnTo>
                    <a:pt x="100068" y="61946"/>
                  </a:lnTo>
                  <a:lnTo>
                    <a:pt x="128660" y="90536"/>
                  </a:lnTo>
                  <a:lnTo>
                    <a:pt x="142956" y="95302"/>
                  </a:lnTo>
                  <a:lnTo>
                    <a:pt x="162016" y="100066"/>
                  </a:lnTo>
                  <a:lnTo>
                    <a:pt x="200136" y="109596"/>
                  </a:lnTo>
                  <a:lnTo>
                    <a:pt x="219196" y="109596"/>
                  </a:lnTo>
                  <a:lnTo>
                    <a:pt x="252552" y="100066"/>
                  </a:lnTo>
                  <a:lnTo>
                    <a:pt x="271612" y="100066"/>
                  </a:lnTo>
                  <a:lnTo>
                    <a:pt x="290672" y="109596"/>
                  </a:lnTo>
                  <a:lnTo>
                    <a:pt x="309736" y="109596"/>
                  </a:lnTo>
                  <a:lnTo>
                    <a:pt x="347856" y="104832"/>
                  </a:lnTo>
                  <a:lnTo>
                    <a:pt x="357384" y="109596"/>
                  </a:lnTo>
                  <a:lnTo>
                    <a:pt x="366916" y="109596"/>
                  </a:lnTo>
                  <a:lnTo>
                    <a:pt x="371680" y="119126"/>
                  </a:lnTo>
                  <a:lnTo>
                    <a:pt x="390740" y="138188"/>
                  </a:lnTo>
                  <a:lnTo>
                    <a:pt x="419332" y="162014"/>
                  </a:lnTo>
                  <a:lnTo>
                    <a:pt x="428864" y="176308"/>
                  </a:lnTo>
                  <a:lnTo>
                    <a:pt x="433628" y="195368"/>
                  </a:lnTo>
                  <a:lnTo>
                    <a:pt x="438392" y="200134"/>
                  </a:lnTo>
                  <a:lnTo>
                    <a:pt x="469368" y="233490"/>
                  </a:lnTo>
                  <a:lnTo>
                    <a:pt x="474132" y="247786"/>
                  </a:lnTo>
                  <a:lnTo>
                    <a:pt x="469368" y="271610"/>
                  </a:lnTo>
                  <a:lnTo>
                    <a:pt x="478896" y="285906"/>
                  </a:lnTo>
                  <a:lnTo>
                    <a:pt x="517016" y="300202"/>
                  </a:lnTo>
                  <a:lnTo>
                    <a:pt x="536076" y="309732"/>
                  </a:lnTo>
                  <a:lnTo>
                    <a:pt x="540844" y="319262"/>
                  </a:lnTo>
                  <a:lnTo>
                    <a:pt x="540844" y="324028"/>
                  </a:lnTo>
                  <a:lnTo>
                    <a:pt x="555140" y="338322"/>
                  </a:lnTo>
                  <a:lnTo>
                    <a:pt x="569432" y="347852"/>
                  </a:lnTo>
                  <a:lnTo>
                    <a:pt x="612320" y="366914"/>
                  </a:lnTo>
                  <a:lnTo>
                    <a:pt x="669500" y="409800"/>
                  </a:lnTo>
                  <a:lnTo>
                    <a:pt x="702856" y="428860"/>
                  </a:lnTo>
                  <a:lnTo>
                    <a:pt x="731448" y="457450"/>
                  </a:lnTo>
                  <a:lnTo>
                    <a:pt x="740980" y="471746"/>
                  </a:lnTo>
                  <a:lnTo>
                    <a:pt x="750508" y="490806"/>
                  </a:lnTo>
                  <a:lnTo>
                    <a:pt x="764804" y="509868"/>
                  </a:lnTo>
                  <a:lnTo>
                    <a:pt x="793396" y="538458"/>
                  </a:lnTo>
                  <a:lnTo>
                    <a:pt x="798160" y="547988"/>
                  </a:lnTo>
                  <a:lnTo>
                    <a:pt x="807692" y="562284"/>
                  </a:lnTo>
                  <a:lnTo>
                    <a:pt x="817220" y="571814"/>
                  </a:lnTo>
                  <a:lnTo>
                    <a:pt x="826752" y="581344"/>
                  </a:lnTo>
                  <a:lnTo>
                    <a:pt x="841048" y="590874"/>
                  </a:lnTo>
                  <a:lnTo>
                    <a:pt x="850576" y="595640"/>
                  </a:lnTo>
                  <a:lnTo>
                    <a:pt x="874400" y="614700"/>
                  </a:lnTo>
                  <a:lnTo>
                    <a:pt x="883932" y="619466"/>
                  </a:lnTo>
                  <a:lnTo>
                    <a:pt x="883932" y="605170"/>
                  </a:lnTo>
                  <a:lnTo>
                    <a:pt x="874400" y="590874"/>
                  </a:lnTo>
                  <a:lnTo>
                    <a:pt x="874400" y="581344"/>
                  </a:lnTo>
                  <a:lnTo>
                    <a:pt x="874400" y="576580"/>
                  </a:lnTo>
                  <a:lnTo>
                    <a:pt x="883932" y="567048"/>
                  </a:lnTo>
                  <a:lnTo>
                    <a:pt x="893464" y="567048"/>
                  </a:lnTo>
                  <a:lnTo>
                    <a:pt x="907756" y="571814"/>
                  </a:lnTo>
                  <a:lnTo>
                    <a:pt x="936348" y="595640"/>
                  </a:lnTo>
                  <a:lnTo>
                    <a:pt x="950644" y="609936"/>
                  </a:lnTo>
                  <a:lnTo>
                    <a:pt x="955408" y="628996"/>
                  </a:lnTo>
                  <a:lnTo>
                    <a:pt x="964940" y="652822"/>
                  </a:lnTo>
                  <a:lnTo>
                    <a:pt x="974468" y="662352"/>
                  </a:lnTo>
                  <a:lnTo>
                    <a:pt x="993532" y="662352"/>
                  </a:lnTo>
                  <a:lnTo>
                    <a:pt x="1007824" y="667116"/>
                  </a:lnTo>
                  <a:lnTo>
                    <a:pt x="1022120" y="671882"/>
                  </a:lnTo>
                  <a:lnTo>
                    <a:pt x="1060240" y="700472"/>
                  </a:lnTo>
                  <a:lnTo>
                    <a:pt x="1074536" y="714768"/>
                  </a:lnTo>
                  <a:lnTo>
                    <a:pt x="1084068" y="729064"/>
                  </a:lnTo>
                  <a:lnTo>
                    <a:pt x="1088832" y="748124"/>
                  </a:lnTo>
                  <a:lnTo>
                    <a:pt x="1093596" y="767184"/>
                  </a:lnTo>
                  <a:lnTo>
                    <a:pt x="1093596" y="771950"/>
                  </a:lnTo>
                  <a:lnTo>
                    <a:pt x="1117424" y="795774"/>
                  </a:lnTo>
                  <a:lnTo>
                    <a:pt x="1131720" y="805306"/>
                  </a:lnTo>
                  <a:lnTo>
                    <a:pt x="1146016" y="810070"/>
                  </a:lnTo>
                  <a:lnTo>
                    <a:pt x="1188900" y="814836"/>
                  </a:lnTo>
                  <a:lnTo>
                    <a:pt x="1207960" y="819600"/>
                  </a:lnTo>
                  <a:lnTo>
                    <a:pt x="1217492" y="833896"/>
                  </a:lnTo>
                  <a:lnTo>
                    <a:pt x="1222256" y="848192"/>
                  </a:lnTo>
                  <a:lnTo>
                    <a:pt x="1217492" y="862486"/>
                  </a:lnTo>
                  <a:lnTo>
                    <a:pt x="1179372" y="876782"/>
                  </a:lnTo>
                  <a:lnTo>
                    <a:pt x="1146016" y="891078"/>
                  </a:lnTo>
                  <a:lnTo>
                    <a:pt x="1179372" y="886312"/>
                  </a:lnTo>
                  <a:lnTo>
                    <a:pt x="1198432" y="881548"/>
                  </a:lnTo>
                  <a:lnTo>
                    <a:pt x="1212728" y="872016"/>
                  </a:lnTo>
                  <a:lnTo>
                    <a:pt x="1231788" y="862486"/>
                  </a:lnTo>
                  <a:lnTo>
                    <a:pt x="1255612" y="848192"/>
                  </a:lnTo>
                  <a:lnTo>
                    <a:pt x="1265144" y="843426"/>
                  </a:lnTo>
                  <a:lnTo>
                    <a:pt x="1279436" y="848192"/>
                  </a:lnTo>
                  <a:lnTo>
                    <a:pt x="1288968" y="852956"/>
                  </a:lnTo>
                  <a:lnTo>
                    <a:pt x="1303264" y="862486"/>
                  </a:lnTo>
                  <a:lnTo>
                    <a:pt x="1317560" y="881548"/>
                  </a:lnTo>
                  <a:lnTo>
                    <a:pt x="1331856" y="900608"/>
                  </a:lnTo>
                  <a:lnTo>
                    <a:pt x="1336620" y="919668"/>
                  </a:lnTo>
                  <a:lnTo>
                    <a:pt x="1322324" y="929198"/>
                  </a:lnTo>
                  <a:lnTo>
                    <a:pt x="1308028" y="933964"/>
                  </a:lnTo>
                  <a:lnTo>
                    <a:pt x="1279436" y="957790"/>
                  </a:lnTo>
                  <a:lnTo>
                    <a:pt x="1279436" y="962554"/>
                  </a:lnTo>
                  <a:lnTo>
                    <a:pt x="1284204" y="967320"/>
                  </a:lnTo>
                  <a:lnTo>
                    <a:pt x="1274672" y="981614"/>
                  </a:lnTo>
                  <a:lnTo>
                    <a:pt x="1288968" y="991146"/>
                  </a:lnTo>
                  <a:lnTo>
                    <a:pt x="1293732" y="995910"/>
                  </a:lnTo>
                  <a:lnTo>
                    <a:pt x="1279436" y="1010206"/>
                  </a:lnTo>
                  <a:lnTo>
                    <a:pt x="1284204" y="1014970"/>
                  </a:lnTo>
                  <a:lnTo>
                    <a:pt x="1298500" y="1043562"/>
                  </a:lnTo>
                  <a:lnTo>
                    <a:pt x="1303264" y="1048326"/>
                  </a:lnTo>
                  <a:lnTo>
                    <a:pt x="1327088" y="1062622"/>
                  </a:lnTo>
                  <a:lnTo>
                    <a:pt x="1360444" y="1076918"/>
                  </a:lnTo>
                  <a:lnTo>
                    <a:pt x="1379504" y="1086448"/>
                  </a:lnTo>
                  <a:lnTo>
                    <a:pt x="1403332" y="1091212"/>
                  </a:lnTo>
                  <a:lnTo>
                    <a:pt x="1412860" y="1091212"/>
                  </a:lnTo>
                  <a:lnTo>
                    <a:pt x="1427156" y="1086448"/>
                  </a:lnTo>
                  <a:lnTo>
                    <a:pt x="1427156" y="1091212"/>
                  </a:lnTo>
                  <a:lnTo>
                    <a:pt x="1436688" y="1119804"/>
                  </a:lnTo>
                  <a:lnTo>
                    <a:pt x="1441452" y="1138864"/>
                  </a:lnTo>
                  <a:lnTo>
                    <a:pt x="1446216" y="1176986"/>
                  </a:lnTo>
                  <a:lnTo>
                    <a:pt x="1450984" y="1191280"/>
                  </a:lnTo>
                  <a:lnTo>
                    <a:pt x="1450984" y="1210340"/>
                  </a:lnTo>
                  <a:lnTo>
                    <a:pt x="1460512" y="1224636"/>
                  </a:lnTo>
                  <a:lnTo>
                    <a:pt x="1474808" y="1234166"/>
                  </a:lnTo>
                  <a:lnTo>
                    <a:pt x="1493868" y="1243696"/>
                  </a:lnTo>
                  <a:lnTo>
                    <a:pt x="1503400" y="1253228"/>
                  </a:lnTo>
                  <a:lnTo>
                    <a:pt x="1503400" y="1262758"/>
                  </a:lnTo>
                  <a:lnTo>
                    <a:pt x="1498632" y="1277052"/>
                  </a:lnTo>
                  <a:lnTo>
                    <a:pt x="1493868" y="1281818"/>
                  </a:lnTo>
                  <a:lnTo>
                    <a:pt x="1474808" y="1300878"/>
                  </a:lnTo>
                  <a:lnTo>
                    <a:pt x="1470044" y="1305644"/>
                  </a:lnTo>
                  <a:lnTo>
                    <a:pt x="1470044" y="1324704"/>
                  </a:lnTo>
                  <a:lnTo>
                    <a:pt x="1470044" y="1329470"/>
                  </a:lnTo>
                  <a:lnTo>
                    <a:pt x="1479572" y="1329470"/>
                  </a:lnTo>
                  <a:lnTo>
                    <a:pt x="1484340" y="1329470"/>
                  </a:lnTo>
                  <a:lnTo>
                    <a:pt x="1508164" y="1305644"/>
                  </a:lnTo>
                  <a:lnTo>
                    <a:pt x="1512928" y="1300878"/>
                  </a:lnTo>
                  <a:lnTo>
                    <a:pt x="1522460" y="1296114"/>
                  </a:lnTo>
                  <a:lnTo>
                    <a:pt x="1531988" y="1291348"/>
                  </a:lnTo>
                  <a:lnTo>
                    <a:pt x="1570112" y="1291348"/>
                  </a:lnTo>
                  <a:lnTo>
                    <a:pt x="1589172" y="1296114"/>
                  </a:lnTo>
                  <a:lnTo>
                    <a:pt x="1603468" y="1305644"/>
                  </a:lnTo>
                  <a:lnTo>
                    <a:pt x="1617760" y="1315174"/>
                  </a:lnTo>
                  <a:lnTo>
                    <a:pt x="1665412" y="1377120"/>
                  </a:lnTo>
                  <a:lnTo>
                    <a:pt x="1689240" y="1410476"/>
                  </a:lnTo>
                  <a:lnTo>
                    <a:pt x="1689240" y="1420006"/>
                  </a:lnTo>
                  <a:lnTo>
                    <a:pt x="1694004" y="1429536"/>
                  </a:lnTo>
                  <a:lnTo>
                    <a:pt x="1689240" y="1434302"/>
                  </a:lnTo>
                  <a:lnTo>
                    <a:pt x="1665412" y="1458128"/>
                  </a:lnTo>
                  <a:lnTo>
                    <a:pt x="1665412" y="1462892"/>
                  </a:lnTo>
                  <a:lnTo>
                    <a:pt x="1655884" y="1491484"/>
                  </a:lnTo>
                  <a:lnTo>
                    <a:pt x="1660648" y="1510544"/>
                  </a:lnTo>
                  <a:lnTo>
                    <a:pt x="1665412" y="1515310"/>
                  </a:lnTo>
                  <a:lnTo>
                    <a:pt x="1670180" y="1524840"/>
                  </a:lnTo>
                  <a:lnTo>
                    <a:pt x="1670180" y="1534370"/>
                  </a:lnTo>
                  <a:lnTo>
                    <a:pt x="1655884" y="1567726"/>
                  </a:lnTo>
                  <a:lnTo>
                    <a:pt x="1655884" y="1577256"/>
                  </a:lnTo>
                  <a:lnTo>
                    <a:pt x="1665412" y="1639202"/>
                  </a:lnTo>
                  <a:lnTo>
                    <a:pt x="1665412" y="1653498"/>
                  </a:lnTo>
                  <a:lnTo>
                    <a:pt x="1665412" y="1677324"/>
                  </a:lnTo>
                  <a:lnTo>
                    <a:pt x="1665412" y="1710680"/>
                  </a:lnTo>
                  <a:lnTo>
                    <a:pt x="1655884" y="1815512"/>
                  </a:lnTo>
                  <a:lnTo>
                    <a:pt x="1651116" y="1820278"/>
                  </a:lnTo>
                  <a:lnTo>
                    <a:pt x="1641588" y="1834572"/>
                  </a:lnTo>
                  <a:lnTo>
                    <a:pt x="1632056" y="1834572"/>
                  </a:lnTo>
                  <a:lnTo>
                    <a:pt x="1622528" y="1834572"/>
                  </a:lnTo>
                  <a:lnTo>
                    <a:pt x="1617760" y="1825042"/>
                  </a:lnTo>
                  <a:lnTo>
                    <a:pt x="1612996" y="1820278"/>
                  </a:lnTo>
                  <a:lnTo>
                    <a:pt x="1608232" y="1815512"/>
                  </a:lnTo>
                  <a:lnTo>
                    <a:pt x="1579640" y="1791686"/>
                  </a:lnTo>
                  <a:lnTo>
                    <a:pt x="1574876" y="1796452"/>
                  </a:lnTo>
                  <a:lnTo>
                    <a:pt x="1546284" y="1820278"/>
                  </a:lnTo>
                  <a:lnTo>
                    <a:pt x="1536756" y="1825042"/>
                  </a:lnTo>
                  <a:lnTo>
                    <a:pt x="1531988" y="1820278"/>
                  </a:lnTo>
                  <a:lnTo>
                    <a:pt x="1517696" y="1815512"/>
                  </a:lnTo>
                  <a:lnTo>
                    <a:pt x="1470044" y="1791686"/>
                  </a:lnTo>
                  <a:lnTo>
                    <a:pt x="1465276" y="1796452"/>
                  </a:lnTo>
                  <a:lnTo>
                    <a:pt x="1465276" y="1810748"/>
                  </a:lnTo>
                  <a:lnTo>
                    <a:pt x="1474808" y="1834572"/>
                  </a:lnTo>
                  <a:lnTo>
                    <a:pt x="1474808" y="1848868"/>
                  </a:lnTo>
                  <a:lnTo>
                    <a:pt x="1470044" y="1848868"/>
                  </a:lnTo>
                  <a:lnTo>
                    <a:pt x="1465276" y="1848868"/>
                  </a:lnTo>
                  <a:lnTo>
                    <a:pt x="1446216" y="1834572"/>
                  </a:lnTo>
                  <a:lnTo>
                    <a:pt x="1427156" y="1815512"/>
                  </a:lnTo>
                  <a:lnTo>
                    <a:pt x="1408096" y="1791686"/>
                  </a:lnTo>
                  <a:lnTo>
                    <a:pt x="1393800" y="1782156"/>
                  </a:lnTo>
                  <a:lnTo>
                    <a:pt x="1379504" y="1767860"/>
                  </a:lnTo>
                  <a:lnTo>
                    <a:pt x="1341384" y="1720210"/>
                  </a:lnTo>
                  <a:lnTo>
                    <a:pt x="1336620" y="1710680"/>
                  </a:lnTo>
                  <a:lnTo>
                    <a:pt x="1274672" y="1677324"/>
                  </a:lnTo>
                  <a:lnTo>
                    <a:pt x="1265144" y="1672558"/>
                  </a:lnTo>
                  <a:lnTo>
                    <a:pt x="1250848" y="1658262"/>
                  </a:lnTo>
                  <a:lnTo>
                    <a:pt x="1236552" y="1643968"/>
                  </a:lnTo>
                  <a:lnTo>
                    <a:pt x="1203196" y="1624908"/>
                  </a:lnTo>
                  <a:lnTo>
                    <a:pt x="1141248" y="1577256"/>
                  </a:lnTo>
                  <a:lnTo>
                    <a:pt x="1117424" y="1543900"/>
                  </a:lnTo>
                  <a:lnTo>
                    <a:pt x="1088832" y="1501014"/>
                  </a:lnTo>
                  <a:lnTo>
                    <a:pt x="1079304" y="1486718"/>
                  </a:lnTo>
                  <a:lnTo>
                    <a:pt x="1031652" y="1453362"/>
                  </a:lnTo>
                  <a:lnTo>
                    <a:pt x="1003060" y="1434302"/>
                  </a:lnTo>
                  <a:lnTo>
                    <a:pt x="993532" y="1420006"/>
                  </a:lnTo>
                  <a:lnTo>
                    <a:pt x="964940" y="1377120"/>
                  </a:lnTo>
                  <a:lnTo>
                    <a:pt x="960176" y="1362824"/>
                  </a:lnTo>
                  <a:lnTo>
                    <a:pt x="950644" y="1353294"/>
                  </a:lnTo>
                  <a:lnTo>
                    <a:pt x="931584" y="1343764"/>
                  </a:lnTo>
                  <a:lnTo>
                    <a:pt x="922052" y="1329470"/>
                  </a:lnTo>
                  <a:lnTo>
                    <a:pt x="893464" y="1291348"/>
                  </a:lnTo>
                  <a:lnTo>
                    <a:pt x="883932" y="1277052"/>
                  </a:lnTo>
                  <a:lnTo>
                    <a:pt x="879168" y="1262758"/>
                  </a:lnTo>
                  <a:lnTo>
                    <a:pt x="879168" y="1229402"/>
                  </a:lnTo>
                  <a:lnTo>
                    <a:pt x="821984" y="1129334"/>
                  </a:lnTo>
                  <a:lnTo>
                    <a:pt x="807692" y="1095978"/>
                  </a:lnTo>
                  <a:lnTo>
                    <a:pt x="793396" y="1053092"/>
                  </a:lnTo>
                  <a:lnTo>
                    <a:pt x="788628" y="1048326"/>
                  </a:lnTo>
                  <a:lnTo>
                    <a:pt x="750508" y="1000676"/>
                  </a:lnTo>
                  <a:lnTo>
                    <a:pt x="736212" y="986380"/>
                  </a:lnTo>
                  <a:lnTo>
                    <a:pt x="721916" y="976850"/>
                  </a:lnTo>
                  <a:lnTo>
                    <a:pt x="702856" y="929198"/>
                  </a:lnTo>
                  <a:lnTo>
                    <a:pt x="693328" y="919668"/>
                  </a:lnTo>
                  <a:lnTo>
                    <a:pt x="683796" y="910138"/>
                  </a:lnTo>
                  <a:lnTo>
                    <a:pt x="640912" y="891078"/>
                  </a:lnTo>
                  <a:lnTo>
                    <a:pt x="626616" y="886312"/>
                  </a:lnTo>
                  <a:lnTo>
                    <a:pt x="612320" y="872016"/>
                  </a:lnTo>
                  <a:lnTo>
                    <a:pt x="607556" y="852956"/>
                  </a:lnTo>
                  <a:lnTo>
                    <a:pt x="598024" y="819600"/>
                  </a:lnTo>
                  <a:lnTo>
                    <a:pt x="578964" y="767184"/>
                  </a:lnTo>
                  <a:lnTo>
                    <a:pt x="555140" y="690942"/>
                  </a:lnTo>
                  <a:lnTo>
                    <a:pt x="540844" y="657586"/>
                  </a:lnTo>
                  <a:lnTo>
                    <a:pt x="526548" y="633760"/>
                  </a:lnTo>
                  <a:lnTo>
                    <a:pt x="521784" y="628996"/>
                  </a:lnTo>
                  <a:lnTo>
                    <a:pt x="447924" y="581344"/>
                  </a:lnTo>
                  <a:lnTo>
                    <a:pt x="433628" y="576580"/>
                  </a:lnTo>
                  <a:lnTo>
                    <a:pt x="424096" y="571814"/>
                  </a:lnTo>
                  <a:lnTo>
                    <a:pt x="405036" y="567048"/>
                  </a:lnTo>
                  <a:lnTo>
                    <a:pt x="390740" y="557518"/>
                  </a:lnTo>
                  <a:lnTo>
                    <a:pt x="381212" y="538458"/>
                  </a:lnTo>
                  <a:lnTo>
                    <a:pt x="381212" y="505102"/>
                  </a:lnTo>
                  <a:lnTo>
                    <a:pt x="376448" y="490806"/>
                  </a:lnTo>
                  <a:lnTo>
                    <a:pt x="371680" y="481276"/>
                  </a:lnTo>
                  <a:lnTo>
                    <a:pt x="338324" y="462216"/>
                  </a:lnTo>
                  <a:lnTo>
                    <a:pt x="328796" y="443156"/>
                  </a:lnTo>
                  <a:lnTo>
                    <a:pt x="319264" y="428860"/>
                  </a:lnTo>
                  <a:lnTo>
                    <a:pt x="309736" y="414564"/>
                  </a:lnTo>
                  <a:lnTo>
                    <a:pt x="276380" y="366914"/>
                  </a:lnTo>
                  <a:lnTo>
                    <a:pt x="262084" y="352618"/>
                  </a:lnTo>
                  <a:lnTo>
                    <a:pt x="247788" y="347852"/>
                  </a:lnTo>
                  <a:lnTo>
                    <a:pt x="204900" y="338322"/>
                  </a:lnTo>
                  <a:lnTo>
                    <a:pt x="190608" y="328792"/>
                  </a:lnTo>
                  <a:lnTo>
                    <a:pt x="171544" y="304966"/>
                  </a:lnTo>
                  <a:lnTo>
                    <a:pt x="157252" y="290672"/>
                  </a:lnTo>
                  <a:lnTo>
                    <a:pt x="119128" y="257316"/>
                  </a:lnTo>
                  <a:lnTo>
                    <a:pt x="57184" y="195368"/>
                  </a:lnTo>
                  <a:lnTo>
                    <a:pt x="42888" y="181074"/>
                  </a:lnTo>
                  <a:lnTo>
                    <a:pt x="33356" y="166778"/>
                  </a:lnTo>
                  <a:lnTo>
                    <a:pt x="28592" y="147718"/>
                  </a:lnTo>
                  <a:lnTo>
                    <a:pt x="0" y="100066"/>
                  </a:lnTo>
                  <a:lnTo>
                    <a:pt x="0" y="90536"/>
                  </a:lnTo>
                  <a:lnTo>
                    <a:pt x="4768" y="81006"/>
                  </a:lnTo>
                  <a:lnTo>
                    <a:pt x="4768" y="71476"/>
                  </a:lnTo>
                  <a:lnTo>
                    <a:pt x="0" y="61946"/>
                  </a:lnTo>
                  <a:lnTo>
                    <a:pt x="0" y="57180"/>
                  </a:lnTo>
                  <a:lnTo>
                    <a:pt x="9532" y="52416"/>
                  </a:lnTo>
                  <a:close/>
                  <a:moveTo>
                    <a:pt x="4768" y="0"/>
                  </a:moveTo>
                  <a:lnTo>
                    <a:pt x="9532" y="4764"/>
                  </a:lnTo>
                  <a:lnTo>
                    <a:pt x="23828" y="4764"/>
                  </a:lnTo>
                  <a:lnTo>
                    <a:pt x="23828" y="9530"/>
                  </a:lnTo>
                  <a:lnTo>
                    <a:pt x="23828" y="14294"/>
                  </a:lnTo>
                  <a:lnTo>
                    <a:pt x="19060" y="19060"/>
                  </a:lnTo>
                  <a:lnTo>
                    <a:pt x="9532" y="19060"/>
                  </a:lnTo>
                  <a:lnTo>
                    <a:pt x="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2" name="Google Shape;4889;p64">
              <a:extLst>
                <a:ext uri="{FF2B5EF4-FFF2-40B4-BE49-F238E27FC236}">
                  <a16:creationId xmlns:a16="http://schemas.microsoft.com/office/drawing/2014/main" id="{15ACD81E-65B7-018E-8FEC-432A48212C60}"/>
                </a:ext>
              </a:extLst>
            </p:cNvPr>
            <p:cNvSpPr/>
            <p:nvPr/>
          </p:nvSpPr>
          <p:spPr>
            <a:xfrm>
              <a:off x="6754140" y="4958603"/>
              <a:ext cx="7876" cy="3938"/>
            </a:xfrm>
            <a:custGeom>
              <a:avLst/>
              <a:gdLst/>
              <a:ahLst/>
              <a:cxnLst/>
              <a:rect l="l" t="t" r="r" b="b"/>
              <a:pathLst>
                <a:path w="24" h="12" extrusionOk="0">
                  <a:moveTo>
                    <a:pt x="22" y="8"/>
                  </a:moveTo>
                  <a:lnTo>
                    <a:pt x="24" y="6"/>
                  </a:lnTo>
                  <a:lnTo>
                    <a:pt x="22" y="4"/>
                  </a:lnTo>
                  <a:lnTo>
                    <a:pt x="18" y="2"/>
                  </a:lnTo>
                  <a:lnTo>
                    <a:pt x="12" y="0"/>
                  </a:lnTo>
                  <a:lnTo>
                    <a:pt x="4" y="2"/>
                  </a:lnTo>
                  <a:lnTo>
                    <a:pt x="0" y="8"/>
                  </a:lnTo>
                  <a:lnTo>
                    <a:pt x="12" y="12"/>
                  </a:lnTo>
                  <a:lnTo>
                    <a:pt x="22"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3" name="Google Shape;4890;p64">
              <a:extLst>
                <a:ext uri="{FF2B5EF4-FFF2-40B4-BE49-F238E27FC236}">
                  <a16:creationId xmlns:a16="http://schemas.microsoft.com/office/drawing/2014/main" id="{E58AAF16-02A6-3377-E4F3-B8A65D6A9083}"/>
                </a:ext>
              </a:extLst>
            </p:cNvPr>
            <p:cNvSpPr/>
            <p:nvPr/>
          </p:nvSpPr>
          <p:spPr>
            <a:xfrm>
              <a:off x="3193304" y="4744644"/>
              <a:ext cx="29535" cy="27565"/>
            </a:xfrm>
            <a:custGeom>
              <a:avLst/>
              <a:gdLst/>
              <a:ahLst/>
              <a:cxnLst/>
              <a:rect l="l" t="t" r="r" b="b"/>
              <a:pathLst>
                <a:path w="214432" h="200136" extrusionOk="0">
                  <a:moveTo>
                    <a:pt x="128658" y="76244"/>
                  </a:moveTo>
                  <a:lnTo>
                    <a:pt x="152484" y="76244"/>
                  </a:lnTo>
                  <a:lnTo>
                    <a:pt x="142954" y="95304"/>
                  </a:lnTo>
                  <a:lnTo>
                    <a:pt x="133424" y="100068"/>
                  </a:lnTo>
                  <a:lnTo>
                    <a:pt x="138188" y="119130"/>
                  </a:lnTo>
                  <a:lnTo>
                    <a:pt x="133424" y="133424"/>
                  </a:lnTo>
                  <a:lnTo>
                    <a:pt x="138188" y="147720"/>
                  </a:lnTo>
                  <a:lnTo>
                    <a:pt x="147718" y="157250"/>
                  </a:lnTo>
                  <a:lnTo>
                    <a:pt x="142954" y="166780"/>
                  </a:lnTo>
                  <a:lnTo>
                    <a:pt x="138188" y="181076"/>
                  </a:lnTo>
                  <a:lnTo>
                    <a:pt x="138188" y="185840"/>
                  </a:lnTo>
                  <a:lnTo>
                    <a:pt x="114364" y="195370"/>
                  </a:lnTo>
                  <a:lnTo>
                    <a:pt x="47652" y="200136"/>
                  </a:lnTo>
                  <a:lnTo>
                    <a:pt x="19060" y="195370"/>
                  </a:lnTo>
                  <a:lnTo>
                    <a:pt x="0" y="200136"/>
                  </a:lnTo>
                  <a:lnTo>
                    <a:pt x="38120" y="176310"/>
                  </a:lnTo>
                  <a:lnTo>
                    <a:pt x="42886" y="171546"/>
                  </a:lnTo>
                  <a:lnTo>
                    <a:pt x="57182" y="166780"/>
                  </a:lnTo>
                  <a:lnTo>
                    <a:pt x="61946" y="166780"/>
                  </a:lnTo>
                  <a:lnTo>
                    <a:pt x="66712" y="123894"/>
                  </a:lnTo>
                  <a:lnTo>
                    <a:pt x="66712" y="114364"/>
                  </a:lnTo>
                  <a:lnTo>
                    <a:pt x="61946" y="104834"/>
                  </a:lnTo>
                  <a:lnTo>
                    <a:pt x="57182" y="104834"/>
                  </a:lnTo>
                  <a:lnTo>
                    <a:pt x="42886" y="100068"/>
                  </a:lnTo>
                  <a:lnTo>
                    <a:pt x="38120" y="95304"/>
                  </a:lnTo>
                  <a:lnTo>
                    <a:pt x="47652" y="90538"/>
                  </a:lnTo>
                  <a:lnTo>
                    <a:pt x="66712" y="85774"/>
                  </a:lnTo>
                  <a:lnTo>
                    <a:pt x="81008" y="81008"/>
                  </a:lnTo>
                  <a:lnTo>
                    <a:pt x="114364" y="81008"/>
                  </a:lnTo>
                  <a:close/>
                  <a:moveTo>
                    <a:pt x="209666" y="0"/>
                  </a:moveTo>
                  <a:lnTo>
                    <a:pt x="214432" y="0"/>
                  </a:lnTo>
                  <a:lnTo>
                    <a:pt x="209666" y="9532"/>
                  </a:lnTo>
                  <a:lnTo>
                    <a:pt x="181076" y="23828"/>
                  </a:lnTo>
                  <a:lnTo>
                    <a:pt x="171544" y="23828"/>
                  </a:lnTo>
                  <a:lnTo>
                    <a:pt x="171544" y="14296"/>
                  </a:lnTo>
                  <a:lnTo>
                    <a:pt x="185840"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4" name="Google Shape;4891;p64">
              <a:extLst>
                <a:ext uri="{FF2B5EF4-FFF2-40B4-BE49-F238E27FC236}">
                  <a16:creationId xmlns:a16="http://schemas.microsoft.com/office/drawing/2014/main" id="{53759099-3D0B-8DD8-C53D-BC2F081C146F}"/>
                </a:ext>
              </a:extLst>
            </p:cNvPr>
            <p:cNvSpPr/>
            <p:nvPr/>
          </p:nvSpPr>
          <p:spPr>
            <a:xfrm>
              <a:off x="4686420" y="4122458"/>
              <a:ext cx="86634" cy="184424"/>
            </a:xfrm>
            <a:custGeom>
              <a:avLst/>
              <a:gdLst/>
              <a:ahLst/>
              <a:cxnLst/>
              <a:rect l="l" t="t" r="r" b="b"/>
              <a:pathLst>
                <a:path w="628996" h="1339000" extrusionOk="0">
                  <a:moveTo>
                    <a:pt x="505104" y="662352"/>
                  </a:moveTo>
                  <a:lnTo>
                    <a:pt x="533692" y="662352"/>
                  </a:lnTo>
                  <a:lnTo>
                    <a:pt x="547988" y="676648"/>
                  </a:lnTo>
                  <a:lnTo>
                    <a:pt x="552756" y="681412"/>
                  </a:lnTo>
                  <a:lnTo>
                    <a:pt x="543224" y="690944"/>
                  </a:lnTo>
                  <a:lnTo>
                    <a:pt x="538460" y="695708"/>
                  </a:lnTo>
                  <a:lnTo>
                    <a:pt x="533692" y="695708"/>
                  </a:lnTo>
                  <a:lnTo>
                    <a:pt x="528928" y="700472"/>
                  </a:lnTo>
                  <a:lnTo>
                    <a:pt x="524164" y="700472"/>
                  </a:lnTo>
                  <a:lnTo>
                    <a:pt x="514632" y="695708"/>
                  </a:lnTo>
                  <a:lnTo>
                    <a:pt x="509868" y="695708"/>
                  </a:lnTo>
                  <a:lnTo>
                    <a:pt x="505104" y="690944"/>
                  </a:lnTo>
                  <a:lnTo>
                    <a:pt x="505104" y="671884"/>
                  </a:lnTo>
                  <a:close/>
                  <a:moveTo>
                    <a:pt x="586112" y="486044"/>
                  </a:moveTo>
                  <a:lnTo>
                    <a:pt x="590876" y="490810"/>
                  </a:lnTo>
                  <a:lnTo>
                    <a:pt x="590876" y="500340"/>
                  </a:lnTo>
                  <a:lnTo>
                    <a:pt x="567052" y="514636"/>
                  </a:lnTo>
                  <a:lnTo>
                    <a:pt x="571816" y="500340"/>
                  </a:lnTo>
                  <a:close/>
                  <a:moveTo>
                    <a:pt x="343088" y="0"/>
                  </a:moveTo>
                  <a:lnTo>
                    <a:pt x="352620" y="4764"/>
                  </a:lnTo>
                  <a:lnTo>
                    <a:pt x="366916" y="4764"/>
                  </a:lnTo>
                  <a:lnTo>
                    <a:pt x="362148" y="19060"/>
                  </a:lnTo>
                  <a:lnTo>
                    <a:pt x="357384" y="23824"/>
                  </a:lnTo>
                  <a:lnTo>
                    <a:pt x="362148" y="42888"/>
                  </a:lnTo>
                  <a:lnTo>
                    <a:pt x="371680" y="33356"/>
                  </a:lnTo>
                  <a:lnTo>
                    <a:pt x="371680" y="23824"/>
                  </a:lnTo>
                  <a:lnTo>
                    <a:pt x="371680" y="19060"/>
                  </a:lnTo>
                  <a:lnTo>
                    <a:pt x="385976" y="19060"/>
                  </a:lnTo>
                  <a:lnTo>
                    <a:pt x="405036" y="19060"/>
                  </a:lnTo>
                  <a:lnTo>
                    <a:pt x="419332" y="28592"/>
                  </a:lnTo>
                  <a:lnTo>
                    <a:pt x="419332" y="61948"/>
                  </a:lnTo>
                  <a:lnTo>
                    <a:pt x="443156" y="95304"/>
                  </a:lnTo>
                  <a:lnTo>
                    <a:pt x="433628" y="109596"/>
                  </a:lnTo>
                  <a:lnTo>
                    <a:pt x="452688" y="119128"/>
                  </a:lnTo>
                  <a:lnTo>
                    <a:pt x="471748" y="109596"/>
                  </a:lnTo>
                  <a:lnTo>
                    <a:pt x="476512" y="90536"/>
                  </a:lnTo>
                  <a:lnTo>
                    <a:pt x="509868" y="81008"/>
                  </a:lnTo>
                  <a:lnTo>
                    <a:pt x="538460" y="57180"/>
                  </a:lnTo>
                  <a:lnTo>
                    <a:pt x="552756" y="52416"/>
                  </a:lnTo>
                  <a:lnTo>
                    <a:pt x="557520" y="76244"/>
                  </a:lnTo>
                  <a:lnTo>
                    <a:pt x="567052" y="90536"/>
                  </a:lnTo>
                  <a:lnTo>
                    <a:pt x="552756" y="100068"/>
                  </a:lnTo>
                  <a:lnTo>
                    <a:pt x="543224" y="119128"/>
                  </a:lnTo>
                  <a:lnTo>
                    <a:pt x="514632" y="166780"/>
                  </a:lnTo>
                  <a:lnTo>
                    <a:pt x="490808" y="181076"/>
                  </a:lnTo>
                  <a:lnTo>
                    <a:pt x="471748" y="200136"/>
                  </a:lnTo>
                  <a:lnTo>
                    <a:pt x="466984" y="214432"/>
                  </a:lnTo>
                  <a:lnTo>
                    <a:pt x="462216" y="228728"/>
                  </a:lnTo>
                  <a:lnTo>
                    <a:pt x="466984" y="257316"/>
                  </a:lnTo>
                  <a:lnTo>
                    <a:pt x="481280" y="281144"/>
                  </a:lnTo>
                  <a:lnTo>
                    <a:pt x="495572" y="300204"/>
                  </a:lnTo>
                  <a:lnTo>
                    <a:pt x="514632" y="304968"/>
                  </a:lnTo>
                  <a:lnTo>
                    <a:pt x="547988" y="333560"/>
                  </a:lnTo>
                  <a:lnTo>
                    <a:pt x="547988" y="347856"/>
                  </a:lnTo>
                  <a:lnTo>
                    <a:pt x="552756" y="366916"/>
                  </a:lnTo>
                  <a:lnTo>
                    <a:pt x="552756" y="390740"/>
                  </a:lnTo>
                  <a:lnTo>
                    <a:pt x="567052" y="409800"/>
                  </a:lnTo>
                  <a:lnTo>
                    <a:pt x="538460" y="447924"/>
                  </a:lnTo>
                  <a:lnTo>
                    <a:pt x="524164" y="476512"/>
                  </a:lnTo>
                  <a:lnTo>
                    <a:pt x="495572" y="514632"/>
                  </a:lnTo>
                  <a:lnTo>
                    <a:pt x="471748" y="538460"/>
                  </a:lnTo>
                  <a:lnTo>
                    <a:pt x="419332" y="576580"/>
                  </a:lnTo>
                  <a:lnTo>
                    <a:pt x="409800" y="590876"/>
                  </a:lnTo>
                  <a:lnTo>
                    <a:pt x="400272" y="605172"/>
                  </a:lnTo>
                  <a:lnTo>
                    <a:pt x="395504" y="614700"/>
                  </a:lnTo>
                  <a:lnTo>
                    <a:pt x="395504" y="633764"/>
                  </a:lnTo>
                  <a:lnTo>
                    <a:pt x="414568" y="671884"/>
                  </a:lnTo>
                  <a:lnTo>
                    <a:pt x="438392" y="695708"/>
                  </a:lnTo>
                  <a:lnTo>
                    <a:pt x="462216" y="705240"/>
                  </a:lnTo>
                  <a:lnTo>
                    <a:pt x="500340" y="700472"/>
                  </a:lnTo>
                  <a:lnTo>
                    <a:pt x="500340" y="714768"/>
                  </a:lnTo>
                  <a:lnTo>
                    <a:pt x="505104" y="733828"/>
                  </a:lnTo>
                  <a:lnTo>
                    <a:pt x="519400" y="733828"/>
                  </a:lnTo>
                  <a:lnTo>
                    <a:pt x="528928" y="729064"/>
                  </a:lnTo>
                  <a:lnTo>
                    <a:pt x="538460" y="714768"/>
                  </a:lnTo>
                  <a:lnTo>
                    <a:pt x="557520" y="724300"/>
                  </a:lnTo>
                  <a:lnTo>
                    <a:pt x="571816" y="762420"/>
                  </a:lnTo>
                  <a:lnTo>
                    <a:pt x="586112" y="771952"/>
                  </a:lnTo>
                  <a:lnTo>
                    <a:pt x="586112" y="776716"/>
                  </a:lnTo>
                  <a:lnTo>
                    <a:pt x="581344" y="781480"/>
                  </a:lnTo>
                  <a:lnTo>
                    <a:pt x="576580" y="786248"/>
                  </a:lnTo>
                  <a:lnTo>
                    <a:pt x="581344" y="786248"/>
                  </a:lnTo>
                  <a:lnTo>
                    <a:pt x="600408" y="791012"/>
                  </a:lnTo>
                  <a:lnTo>
                    <a:pt x="609936" y="786248"/>
                  </a:lnTo>
                  <a:lnTo>
                    <a:pt x="624232" y="795776"/>
                  </a:lnTo>
                  <a:lnTo>
                    <a:pt x="624232" y="800540"/>
                  </a:lnTo>
                  <a:lnTo>
                    <a:pt x="619468" y="838664"/>
                  </a:lnTo>
                  <a:lnTo>
                    <a:pt x="619468" y="848192"/>
                  </a:lnTo>
                  <a:lnTo>
                    <a:pt x="614700" y="872020"/>
                  </a:lnTo>
                  <a:lnTo>
                    <a:pt x="614700" y="895844"/>
                  </a:lnTo>
                  <a:lnTo>
                    <a:pt x="628996" y="919668"/>
                  </a:lnTo>
                  <a:lnTo>
                    <a:pt x="628996" y="929200"/>
                  </a:lnTo>
                  <a:lnTo>
                    <a:pt x="624232" y="938732"/>
                  </a:lnTo>
                  <a:lnTo>
                    <a:pt x="600408" y="953024"/>
                  </a:lnTo>
                  <a:lnTo>
                    <a:pt x="571816" y="967320"/>
                  </a:lnTo>
                  <a:lnTo>
                    <a:pt x="547988" y="981616"/>
                  </a:lnTo>
                  <a:lnTo>
                    <a:pt x="519400" y="1000676"/>
                  </a:lnTo>
                  <a:lnTo>
                    <a:pt x="509868" y="1010208"/>
                  </a:lnTo>
                  <a:lnTo>
                    <a:pt x="495572" y="1019736"/>
                  </a:lnTo>
                  <a:lnTo>
                    <a:pt x="486044" y="1029268"/>
                  </a:lnTo>
                  <a:lnTo>
                    <a:pt x="481280" y="1038796"/>
                  </a:lnTo>
                  <a:lnTo>
                    <a:pt x="476512" y="1053092"/>
                  </a:lnTo>
                  <a:lnTo>
                    <a:pt x="462216" y="1062624"/>
                  </a:lnTo>
                  <a:lnTo>
                    <a:pt x="438392" y="1072152"/>
                  </a:lnTo>
                  <a:lnTo>
                    <a:pt x="433628" y="1072152"/>
                  </a:lnTo>
                  <a:lnTo>
                    <a:pt x="419332" y="1091216"/>
                  </a:lnTo>
                  <a:lnTo>
                    <a:pt x="414568" y="1100744"/>
                  </a:lnTo>
                  <a:lnTo>
                    <a:pt x="409800" y="1115040"/>
                  </a:lnTo>
                  <a:lnTo>
                    <a:pt x="414568" y="1153160"/>
                  </a:lnTo>
                  <a:lnTo>
                    <a:pt x="428860" y="1191284"/>
                  </a:lnTo>
                  <a:lnTo>
                    <a:pt x="428860" y="1210344"/>
                  </a:lnTo>
                  <a:lnTo>
                    <a:pt x="428860" y="1224636"/>
                  </a:lnTo>
                  <a:lnTo>
                    <a:pt x="424096" y="1238932"/>
                  </a:lnTo>
                  <a:lnTo>
                    <a:pt x="409800" y="1257992"/>
                  </a:lnTo>
                  <a:lnTo>
                    <a:pt x="400272" y="1277056"/>
                  </a:lnTo>
                  <a:lnTo>
                    <a:pt x="381212" y="1300880"/>
                  </a:lnTo>
                  <a:lnTo>
                    <a:pt x="371680" y="1310412"/>
                  </a:lnTo>
                  <a:lnTo>
                    <a:pt x="357384" y="1319940"/>
                  </a:lnTo>
                  <a:lnTo>
                    <a:pt x="333560" y="1329472"/>
                  </a:lnTo>
                  <a:lnTo>
                    <a:pt x="314500" y="1339000"/>
                  </a:lnTo>
                  <a:lnTo>
                    <a:pt x="304968" y="1296116"/>
                  </a:lnTo>
                  <a:lnTo>
                    <a:pt x="295440" y="1257992"/>
                  </a:lnTo>
                  <a:lnTo>
                    <a:pt x="290672" y="1229404"/>
                  </a:lnTo>
                  <a:lnTo>
                    <a:pt x="276376" y="1176988"/>
                  </a:lnTo>
                  <a:lnTo>
                    <a:pt x="266848" y="1129336"/>
                  </a:lnTo>
                  <a:lnTo>
                    <a:pt x="257316" y="1086448"/>
                  </a:lnTo>
                  <a:lnTo>
                    <a:pt x="238256" y="1000676"/>
                  </a:lnTo>
                  <a:lnTo>
                    <a:pt x="238256" y="995912"/>
                  </a:lnTo>
                  <a:lnTo>
                    <a:pt x="209664" y="976852"/>
                  </a:lnTo>
                  <a:lnTo>
                    <a:pt x="185840" y="957792"/>
                  </a:lnTo>
                  <a:lnTo>
                    <a:pt x="157248" y="938732"/>
                  </a:lnTo>
                  <a:lnTo>
                    <a:pt x="128660" y="914904"/>
                  </a:lnTo>
                  <a:lnTo>
                    <a:pt x="123892" y="886312"/>
                  </a:lnTo>
                  <a:lnTo>
                    <a:pt x="109596" y="843428"/>
                  </a:lnTo>
                  <a:lnTo>
                    <a:pt x="95304" y="819604"/>
                  </a:lnTo>
                  <a:lnTo>
                    <a:pt x="90536" y="814836"/>
                  </a:lnTo>
                  <a:lnTo>
                    <a:pt x="57180" y="800540"/>
                  </a:lnTo>
                  <a:lnTo>
                    <a:pt x="38120" y="786248"/>
                  </a:lnTo>
                  <a:lnTo>
                    <a:pt x="38120" y="781480"/>
                  </a:lnTo>
                  <a:lnTo>
                    <a:pt x="33356" y="762420"/>
                  </a:lnTo>
                  <a:lnTo>
                    <a:pt x="19060" y="729064"/>
                  </a:lnTo>
                  <a:lnTo>
                    <a:pt x="4764" y="695708"/>
                  </a:lnTo>
                  <a:lnTo>
                    <a:pt x="0" y="676648"/>
                  </a:lnTo>
                  <a:lnTo>
                    <a:pt x="0" y="648056"/>
                  </a:lnTo>
                  <a:lnTo>
                    <a:pt x="0" y="628996"/>
                  </a:lnTo>
                  <a:lnTo>
                    <a:pt x="9532" y="619468"/>
                  </a:lnTo>
                  <a:lnTo>
                    <a:pt x="38120" y="595640"/>
                  </a:lnTo>
                  <a:lnTo>
                    <a:pt x="52416" y="567052"/>
                  </a:lnTo>
                  <a:lnTo>
                    <a:pt x="71476" y="552756"/>
                  </a:lnTo>
                  <a:lnTo>
                    <a:pt x="85772" y="547988"/>
                  </a:lnTo>
                  <a:lnTo>
                    <a:pt x="95304" y="538460"/>
                  </a:lnTo>
                  <a:lnTo>
                    <a:pt x="109596" y="519400"/>
                  </a:lnTo>
                  <a:lnTo>
                    <a:pt x="114364" y="505104"/>
                  </a:lnTo>
                  <a:lnTo>
                    <a:pt x="119128" y="486044"/>
                  </a:lnTo>
                  <a:lnTo>
                    <a:pt x="119128" y="457452"/>
                  </a:lnTo>
                  <a:lnTo>
                    <a:pt x="123892" y="438392"/>
                  </a:lnTo>
                  <a:lnTo>
                    <a:pt x="138188" y="414568"/>
                  </a:lnTo>
                  <a:lnTo>
                    <a:pt x="133424" y="395504"/>
                  </a:lnTo>
                  <a:lnTo>
                    <a:pt x="128660" y="376444"/>
                  </a:lnTo>
                  <a:lnTo>
                    <a:pt x="128660" y="343088"/>
                  </a:lnTo>
                  <a:lnTo>
                    <a:pt x="128660" y="328792"/>
                  </a:lnTo>
                  <a:lnTo>
                    <a:pt x="123892" y="314500"/>
                  </a:lnTo>
                  <a:lnTo>
                    <a:pt x="114364" y="300204"/>
                  </a:lnTo>
                  <a:lnTo>
                    <a:pt x="114364" y="285908"/>
                  </a:lnTo>
                  <a:lnTo>
                    <a:pt x="119128" y="252552"/>
                  </a:lnTo>
                  <a:lnTo>
                    <a:pt x="123892" y="223960"/>
                  </a:lnTo>
                  <a:lnTo>
                    <a:pt x="133424" y="190604"/>
                  </a:lnTo>
                  <a:lnTo>
                    <a:pt x="128660" y="181076"/>
                  </a:lnTo>
                  <a:lnTo>
                    <a:pt x="123892" y="171544"/>
                  </a:lnTo>
                  <a:lnTo>
                    <a:pt x="109596" y="166780"/>
                  </a:lnTo>
                  <a:lnTo>
                    <a:pt x="109596" y="162016"/>
                  </a:lnTo>
                  <a:lnTo>
                    <a:pt x="114364" y="157248"/>
                  </a:lnTo>
                  <a:lnTo>
                    <a:pt x="133424" y="138188"/>
                  </a:lnTo>
                  <a:lnTo>
                    <a:pt x="147720" y="114364"/>
                  </a:lnTo>
                  <a:lnTo>
                    <a:pt x="157248" y="109596"/>
                  </a:lnTo>
                  <a:lnTo>
                    <a:pt x="171544" y="100068"/>
                  </a:lnTo>
                  <a:lnTo>
                    <a:pt x="171544" y="90536"/>
                  </a:lnTo>
                  <a:lnTo>
                    <a:pt x="166780" y="81008"/>
                  </a:lnTo>
                  <a:lnTo>
                    <a:pt x="204900" y="66712"/>
                  </a:lnTo>
                  <a:lnTo>
                    <a:pt x="243020" y="38120"/>
                  </a:lnTo>
                  <a:lnTo>
                    <a:pt x="257316" y="2859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5" name="Google Shape;4892;p64">
              <a:extLst>
                <a:ext uri="{FF2B5EF4-FFF2-40B4-BE49-F238E27FC236}">
                  <a16:creationId xmlns:a16="http://schemas.microsoft.com/office/drawing/2014/main" id="{38ED8C0B-BB49-5B39-EE30-8B9D41CB3589}"/>
                </a:ext>
              </a:extLst>
            </p:cNvPr>
            <p:cNvSpPr/>
            <p:nvPr/>
          </p:nvSpPr>
          <p:spPr>
            <a:xfrm>
              <a:off x="5076928" y="3989226"/>
              <a:ext cx="412166" cy="173923"/>
            </a:xfrm>
            <a:custGeom>
              <a:avLst/>
              <a:gdLst/>
              <a:ahLst/>
              <a:cxnLst/>
              <a:rect l="l" t="t" r="r" b="b"/>
              <a:pathLst>
                <a:path w="2992500" h="1262758" extrusionOk="0">
                  <a:moveTo>
                    <a:pt x="33354" y="385976"/>
                  </a:moveTo>
                  <a:lnTo>
                    <a:pt x="42884" y="385976"/>
                  </a:lnTo>
                  <a:lnTo>
                    <a:pt x="47650" y="400270"/>
                  </a:lnTo>
                  <a:lnTo>
                    <a:pt x="47650" y="409800"/>
                  </a:lnTo>
                  <a:lnTo>
                    <a:pt x="14294" y="414566"/>
                  </a:lnTo>
                  <a:lnTo>
                    <a:pt x="0" y="409800"/>
                  </a:lnTo>
                  <a:lnTo>
                    <a:pt x="14294" y="395506"/>
                  </a:lnTo>
                  <a:close/>
                  <a:moveTo>
                    <a:pt x="1458128" y="9530"/>
                  </a:moveTo>
                  <a:lnTo>
                    <a:pt x="1481952" y="14296"/>
                  </a:lnTo>
                  <a:lnTo>
                    <a:pt x="1481952" y="23826"/>
                  </a:lnTo>
                  <a:lnTo>
                    <a:pt x="1477188" y="28590"/>
                  </a:lnTo>
                  <a:lnTo>
                    <a:pt x="1477188" y="42886"/>
                  </a:lnTo>
                  <a:lnTo>
                    <a:pt x="1491484" y="66712"/>
                  </a:lnTo>
                  <a:lnTo>
                    <a:pt x="1505780" y="76242"/>
                  </a:lnTo>
                  <a:lnTo>
                    <a:pt x="1548664" y="100068"/>
                  </a:lnTo>
                  <a:lnTo>
                    <a:pt x="1601080" y="81006"/>
                  </a:lnTo>
                  <a:lnTo>
                    <a:pt x="1610612" y="85772"/>
                  </a:lnTo>
                  <a:lnTo>
                    <a:pt x="1624908" y="90538"/>
                  </a:lnTo>
                  <a:lnTo>
                    <a:pt x="1643968" y="142954"/>
                  </a:lnTo>
                  <a:lnTo>
                    <a:pt x="1658264" y="162014"/>
                  </a:lnTo>
                  <a:lnTo>
                    <a:pt x="1677324" y="171544"/>
                  </a:lnTo>
                  <a:lnTo>
                    <a:pt x="1696384" y="176310"/>
                  </a:lnTo>
                  <a:lnTo>
                    <a:pt x="1705916" y="162014"/>
                  </a:lnTo>
                  <a:lnTo>
                    <a:pt x="1715444" y="157248"/>
                  </a:lnTo>
                  <a:lnTo>
                    <a:pt x="1739272" y="152484"/>
                  </a:lnTo>
                  <a:lnTo>
                    <a:pt x="1772628" y="171544"/>
                  </a:lnTo>
                  <a:lnTo>
                    <a:pt x="1782156" y="190604"/>
                  </a:lnTo>
                  <a:lnTo>
                    <a:pt x="1839340" y="204900"/>
                  </a:lnTo>
                  <a:lnTo>
                    <a:pt x="1891756" y="214430"/>
                  </a:lnTo>
                  <a:lnTo>
                    <a:pt x="1915580" y="228726"/>
                  </a:lnTo>
                  <a:lnTo>
                    <a:pt x="1987056" y="247786"/>
                  </a:lnTo>
                  <a:lnTo>
                    <a:pt x="2015648" y="243022"/>
                  </a:lnTo>
                  <a:lnTo>
                    <a:pt x="2063300" y="228726"/>
                  </a:lnTo>
                  <a:lnTo>
                    <a:pt x="2149072" y="209666"/>
                  </a:lnTo>
                  <a:lnTo>
                    <a:pt x="2211020" y="233490"/>
                  </a:lnTo>
                  <a:lnTo>
                    <a:pt x="2225312" y="238256"/>
                  </a:lnTo>
                  <a:lnTo>
                    <a:pt x="2239608" y="233490"/>
                  </a:lnTo>
                  <a:lnTo>
                    <a:pt x="2258668" y="243022"/>
                  </a:lnTo>
                  <a:lnTo>
                    <a:pt x="2282496" y="238256"/>
                  </a:lnTo>
                  <a:lnTo>
                    <a:pt x="2349208" y="209666"/>
                  </a:lnTo>
                  <a:lnTo>
                    <a:pt x="2368268" y="190604"/>
                  </a:lnTo>
                  <a:lnTo>
                    <a:pt x="2392092" y="185840"/>
                  </a:lnTo>
                  <a:lnTo>
                    <a:pt x="2411152" y="176310"/>
                  </a:lnTo>
                  <a:lnTo>
                    <a:pt x="2463568" y="142954"/>
                  </a:lnTo>
                  <a:lnTo>
                    <a:pt x="2477864" y="123894"/>
                  </a:lnTo>
                  <a:lnTo>
                    <a:pt x="2487396" y="128658"/>
                  </a:lnTo>
                  <a:lnTo>
                    <a:pt x="2506456" y="133424"/>
                  </a:lnTo>
                  <a:lnTo>
                    <a:pt x="2520752" y="138188"/>
                  </a:lnTo>
                  <a:lnTo>
                    <a:pt x="2525516" y="142954"/>
                  </a:lnTo>
                  <a:lnTo>
                    <a:pt x="2539812" y="128658"/>
                  </a:lnTo>
                  <a:lnTo>
                    <a:pt x="2563636" y="128658"/>
                  </a:lnTo>
                  <a:lnTo>
                    <a:pt x="2587464" y="128658"/>
                  </a:lnTo>
                  <a:lnTo>
                    <a:pt x="2596992" y="133424"/>
                  </a:lnTo>
                  <a:lnTo>
                    <a:pt x="2611288" y="138188"/>
                  </a:lnTo>
                  <a:lnTo>
                    <a:pt x="2625584" y="138188"/>
                  </a:lnTo>
                  <a:lnTo>
                    <a:pt x="2630348" y="133424"/>
                  </a:lnTo>
                  <a:lnTo>
                    <a:pt x="2639880" y="114362"/>
                  </a:lnTo>
                  <a:lnTo>
                    <a:pt x="2644644" y="109598"/>
                  </a:lnTo>
                  <a:lnTo>
                    <a:pt x="2649408" y="109598"/>
                  </a:lnTo>
                  <a:lnTo>
                    <a:pt x="2658940" y="109598"/>
                  </a:lnTo>
                  <a:lnTo>
                    <a:pt x="2668472" y="109598"/>
                  </a:lnTo>
                  <a:lnTo>
                    <a:pt x="2678000" y="114362"/>
                  </a:lnTo>
                  <a:lnTo>
                    <a:pt x="2682764" y="128658"/>
                  </a:lnTo>
                  <a:lnTo>
                    <a:pt x="2692296" y="133424"/>
                  </a:lnTo>
                  <a:lnTo>
                    <a:pt x="2716120" y="157248"/>
                  </a:lnTo>
                  <a:lnTo>
                    <a:pt x="2730416" y="166780"/>
                  </a:lnTo>
                  <a:lnTo>
                    <a:pt x="2735184" y="171544"/>
                  </a:lnTo>
                  <a:lnTo>
                    <a:pt x="2730416" y="176310"/>
                  </a:lnTo>
                  <a:lnTo>
                    <a:pt x="2730416" y="181074"/>
                  </a:lnTo>
                  <a:lnTo>
                    <a:pt x="2739948" y="190604"/>
                  </a:lnTo>
                  <a:lnTo>
                    <a:pt x="2754244" y="190604"/>
                  </a:lnTo>
                  <a:lnTo>
                    <a:pt x="2763772" y="190604"/>
                  </a:lnTo>
                  <a:lnTo>
                    <a:pt x="2773304" y="195370"/>
                  </a:lnTo>
                  <a:lnTo>
                    <a:pt x="2778068" y="200136"/>
                  </a:lnTo>
                  <a:lnTo>
                    <a:pt x="2778068" y="204900"/>
                  </a:lnTo>
                  <a:lnTo>
                    <a:pt x="2778068" y="209666"/>
                  </a:lnTo>
                  <a:lnTo>
                    <a:pt x="2778068" y="214430"/>
                  </a:lnTo>
                  <a:lnTo>
                    <a:pt x="2792364" y="228726"/>
                  </a:lnTo>
                  <a:lnTo>
                    <a:pt x="2801896" y="238256"/>
                  </a:lnTo>
                  <a:lnTo>
                    <a:pt x="2806660" y="243022"/>
                  </a:lnTo>
                  <a:lnTo>
                    <a:pt x="2816188" y="271612"/>
                  </a:lnTo>
                  <a:lnTo>
                    <a:pt x="2820956" y="285908"/>
                  </a:lnTo>
                  <a:lnTo>
                    <a:pt x="2820956" y="304968"/>
                  </a:lnTo>
                  <a:lnTo>
                    <a:pt x="2811424" y="319264"/>
                  </a:lnTo>
                  <a:lnTo>
                    <a:pt x="2797128" y="338324"/>
                  </a:lnTo>
                  <a:lnTo>
                    <a:pt x="2801896" y="343088"/>
                  </a:lnTo>
                  <a:lnTo>
                    <a:pt x="2806660" y="357384"/>
                  </a:lnTo>
                  <a:lnTo>
                    <a:pt x="2801896" y="362150"/>
                  </a:lnTo>
                  <a:lnTo>
                    <a:pt x="2816188" y="385974"/>
                  </a:lnTo>
                  <a:lnTo>
                    <a:pt x="2820956" y="400270"/>
                  </a:lnTo>
                  <a:lnTo>
                    <a:pt x="2816188" y="405036"/>
                  </a:lnTo>
                  <a:lnTo>
                    <a:pt x="2811424" y="409800"/>
                  </a:lnTo>
                  <a:lnTo>
                    <a:pt x="2835248" y="419330"/>
                  </a:lnTo>
                  <a:lnTo>
                    <a:pt x="2854312" y="428862"/>
                  </a:lnTo>
                  <a:lnTo>
                    <a:pt x="2863840" y="433626"/>
                  </a:lnTo>
                  <a:lnTo>
                    <a:pt x="2892432" y="428862"/>
                  </a:lnTo>
                  <a:lnTo>
                    <a:pt x="2911492" y="428862"/>
                  </a:lnTo>
                  <a:lnTo>
                    <a:pt x="2925788" y="438392"/>
                  </a:lnTo>
                  <a:lnTo>
                    <a:pt x="2954376" y="457452"/>
                  </a:lnTo>
                  <a:lnTo>
                    <a:pt x="2978204" y="486042"/>
                  </a:lnTo>
                  <a:lnTo>
                    <a:pt x="2987732" y="495572"/>
                  </a:lnTo>
                  <a:lnTo>
                    <a:pt x="2987732" y="500338"/>
                  </a:lnTo>
                  <a:lnTo>
                    <a:pt x="2992500" y="505104"/>
                  </a:lnTo>
                  <a:lnTo>
                    <a:pt x="2987732" y="505104"/>
                  </a:lnTo>
                  <a:lnTo>
                    <a:pt x="2978204" y="500338"/>
                  </a:lnTo>
                  <a:lnTo>
                    <a:pt x="2959144" y="481278"/>
                  </a:lnTo>
                  <a:lnTo>
                    <a:pt x="2944848" y="490808"/>
                  </a:lnTo>
                  <a:lnTo>
                    <a:pt x="2935316" y="505104"/>
                  </a:lnTo>
                  <a:lnTo>
                    <a:pt x="2925788" y="552754"/>
                  </a:lnTo>
                  <a:lnTo>
                    <a:pt x="2916256" y="557520"/>
                  </a:lnTo>
                  <a:lnTo>
                    <a:pt x="2901960" y="557520"/>
                  </a:lnTo>
                  <a:lnTo>
                    <a:pt x="2882900" y="557520"/>
                  </a:lnTo>
                  <a:lnTo>
                    <a:pt x="2873372" y="557520"/>
                  </a:lnTo>
                  <a:lnTo>
                    <a:pt x="2868604" y="562284"/>
                  </a:lnTo>
                  <a:lnTo>
                    <a:pt x="2868604" y="567050"/>
                  </a:lnTo>
                  <a:lnTo>
                    <a:pt x="2873372" y="576580"/>
                  </a:lnTo>
                  <a:lnTo>
                    <a:pt x="2878136" y="586110"/>
                  </a:lnTo>
                  <a:lnTo>
                    <a:pt x="2878136" y="595640"/>
                  </a:lnTo>
                  <a:lnTo>
                    <a:pt x="2882900" y="600406"/>
                  </a:lnTo>
                  <a:lnTo>
                    <a:pt x="2892432" y="609936"/>
                  </a:lnTo>
                  <a:lnTo>
                    <a:pt x="2892432" y="614700"/>
                  </a:lnTo>
                  <a:lnTo>
                    <a:pt x="2892432" y="628996"/>
                  </a:lnTo>
                  <a:lnTo>
                    <a:pt x="2887668" y="633762"/>
                  </a:lnTo>
                  <a:lnTo>
                    <a:pt x="2887668" y="638526"/>
                  </a:lnTo>
                  <a:lnTo>
                    <a:pt x="2892432" y="652822"/>
                  </a:lnTo>
                  <a:lnTo>
                    <a:pt x="2901960" y="667118"/>
                  </a:lnTo>
                  <a:lnTo>
                    <a:pt x="2906728" y="671882"/>
                  </a:lnTo>
                  <a:lnTo>
                    <a:pt x="2906728" y="700474"/>
                  </a:lnTo>
                  <a:lnTo>
                    <a:pt x="2911492" y="710004"/>
                  </a:lnTo>
                  <a:lnTo>
                    <a:pt x="2911492" y="724298"/>
                  </a:lnTo>
                  <a:lnTo>
                    <a:pt x="2911492" y="752890"/>
                  </a:lnTo>
                  <a:lnTo>
                    <a:pt x="2911492" y="762420"/>
                  </a:lnTo>
                  <a:lnTo>
                    <a:pt x="2916256" y="762420"/>
                  </a:lnTo>
                  <a:lnTo>
                    <a:pt x="2925788" y="762420"/>
                  </a:lnTo>
                  <a:lnTo>
                    <a:pt x="2930552" y="767184"/>
                  </a:lnTo>
                  <a:lnTo>
                    <a:pt x="2935316" y="771950"/>
                  </a:lnTo>
                  <a:lnTo>
                    <a:pt x="2935316" y="776716"/>
                  </a:lnTo>
                  <a:lnTo>
                    <a:pt x="2925788" y="786246"/>
                  </a:lnTo>
                  <a:lnTo>
                    <a:pt x="2921024" y="795776"/>
                  </a:lnTo>
                  <a:lnTo>
                    <a:pt x="2921024" y="810072"/>
                  </a:lnTo>
                  <a:lnTo>
                    <a:pt x="2916256" y="814836"/>
                  </a:lnTo>
                  <a:lnTo>
                    <a:pt x="2906728" y="829132"/>
                  </a:lnTo>
                  <a:lnTo>
                    <a:pt x="2901960" y="843426"/>
                  </a:lnTo>
                  <a:lnTo>
                    <a:pt x="2897196" y="857722"/>
                  </a:lnTo>
                  <a:lnTo>
                    <a:pt x="2901960" y="862488"/>
                  </a:lnTo>
                  <a:lnTo>
                    <a:pt x="2916256" y="862488"/>
                  </a:lnTo>
                  <a:lnTo>
                    <a:pt x="2925788" y="872018"/>
                  </a:lnTo>
                  <a:lnTo>
                    <a:pt x="2954376" y="886314"/>
                  </a:lnTo>
                  <a:lnTo>
                    <a:pt x="2959144" y="895844"/>
                  </a:lnTo>
                  <a:lnTo>
                    <a:pt x="2949612" y="905374"/>
                  </a:lnTo>
                  <a:lnTo>
                    <a:pt x="2949612" y="910138"/>
                  </a:lnTo>
                  <a:lnTo>
                    <a:pt x="2954376" y="914904"/>
                  </a:lnTo>
                  <a:lnTo>
                    <a:pt x="2954376" y="924434"/>
                  </a:lnTo>
                  <a:lnTo>
                    <a:pt x="2954376" y="933964"/>
                  </a:lnTo>
                  <a:lnTo>
                    <a:pt x="2954376" y="948260"/>
                  </a:lnTo>
                  <a:lnTo>
                    <a:pt x="2959144" y="953024"/>
                  </a:lnTo>
                  <a:lnTo>
                    <a:pt x="2978204" y="962556"/>
                  </a:lnTo>
                  <a:lnTo>
                    <a:pt x="2987732" y="976850"/>
                  </a:lnTo>
                  <a:lnTo>
                    <a:pt x="2987732" y="981616"/>
                  </a:lnTo>
                  <a:lnTo>
                    <a:pt x="2982968" y="991146"/>
                  </a:lnTo>
                  <a:lnTo>
                    <a:pt x="2987732" y="1005442"/>
                  </a:lnTo>
                  <a:lnTo>
                    <a:pt x="2982968" y="1005442"/>
                  </a:lnTo>
                  <a:lnTo>
                    <a:pt x="2978204" y="1000676"/>
                  </a:lnTo>
                  <a:lnTo>
                    <a:pt x="2968672" y="1000676"/>
                  </a:lnTo>
                  <a:lnTo>
                    <a:pt x="2959144" y="1000676"/>
                  </a:lnTo>
                  <a:lnTo>
                    <a:pt x="2954376" y="1005442"/>
                  </a:lnTo>
                  <a:lnTo>
                    <a:pt x="2944848" y="1014972"/>
                  </a:lnTo>
                  <a:lnTo>
                    <a:pt x="2925788" y="1024502"/>
                  </a:lnTo>
                  <a:lnTo>
                    <a:pt x="2916256" y="1034032"/>
                  </a:lnTo>
                  <a:lnTo>
                    <a:pt x="2911492" y="1038798"/>
                  </a:lnTo>
                  <a:lnTo>
                    <a:pt x="2901960" y="1038798"/>
                  </a:lnTo>
                  <a:lnTo>
                    <a:pt x="2897196" y="1034032"/>
                  </a:lnTo>
                  <a:lnTo>
                    <a:pt x="2897196" y="1024502"/>
                  </a:lnTo>
                  <a:lnTo>
                    <a:pt x="2897196" y="995912"/>
                  </a:lnTo>
                  <a:lnTo>
                    <a:pt x="2897196" y="986380"/>
                  </a:lnTo>
                  <a:lnTo>
                    <a:pt x="2887668" y="976850"/>
                  </a:lnTo>
                  <a:lnTo>
                    <a:pt x="2882900" y="976850"/>
                  </a:lnTo>
                  <a:lnTo>
                    <a:pt x="2873372" y="972086"/>
                  </a:lnTo>
                  <a:lnTo>
                    <a:pt x="2868604" y="972086"/>
                  </a:lnTo>
                  <a:lnTo>
                    <a:pt x="2854312" y="981616"/>
                  </a:lnTo>
                  <a:lnTo>
                    <a:pt x="2840016" y="991146"/>
                  </a:lnTo>
                  <a:lnTo>
                    <a:pt x="2816188" y="991146"/>
                  </a:lnTo>
                  <a:lnTo>
                    <a:pt x="2797128" y="986380"/>
                  </a:lnTo>
                  <a:lnTo>
                    <a:pt x="2792364" y="986380"/>
                  </a:lnTo>
                  <a:lnTo>
                    <a:pt x="2759008" y="972086"/>
                  </a:lnTo>
                  <a:lnTo>
                    <a:pt x="2749476" y="972086"/>
                  </a:lnTo>
                  <a:lnTo>
                    <a:pt x="2739948" y="967320"/>
                  </a:lnTo>
                  <a:lnTo>
                    <a:pt x="2725652" y="962556"/>
                  </a:lnTo>
                  <a:lnTo>
                    <a:pt x="2697060" y="972086"/>
                  </a:lnTo>
                  <a:lnTo>
                    <a:pt x="2687532" y="967320"/>
                  </a:lnTo>
                  <a:lnTo>
                    <a:pt x="2673236" y="962556"/>
                  </a:lnTo>
                  <a:lnTo>
                    <a:pt x="2668472" y="962556"/>
                  </a:lnTo>
                  <a:lnTo>
                    <a:pt x="2654176" y="986380"/>
                  </a:lnTo>
                  <a:lnTo>
                    <a:pt x="2625584" y="1010206"/>
                  </a:lnTo>
                  <a:lnTo>
                    <a:pt x="2606524" y="1014972"/>
                  </a:lnTo>
                  <a:lnTo>
                    <a:pt x="2601760" y="991146"/>
                  </a:lnTo>
                  <a:lnTo>
                    <a:pt x="2596992" y="981616"/>
                  </a:lnTo>
                  <a:lnTo>
                    <a:pt x="2592228" y="976850"/>
                  </a:lnTo>
                  <a:lnTo>
                    <a:pt x="2582696" y="976850"/>
                  </a:lnTo>
                  <a:lnTo>
                    <a:pt x="2577932" y="976850"/>
                  </a:lnTo>
                  <a:lnTo>
                    <a:pt x="2563636" y="995912"/>
                  </a:lnTo>
                  <a:lnTo>
                    <a:pt x="2535048" y="1005442"/>
                  </a:lnTo>
                  <a:lnTo>
                    <a:pt x="2511220" y="1010206"/>
                  </a:lnTo>
                  <a:lnTo>
                    <a:pt x="2477864" y="1014972"/>
                  </a:lnTo>
                  <a:lnTo>
                    <a:pt x="2449276" y="1019736"/>
                  </a:lnTo>
                  <a:lnTo>
                    <a:pt x="2439744" y="1019736"/>
                  </a:lnTo>
                  <a:lnTo>
                    <a:pt x="2411152" y="1019736"/>
                  </a:lnTo>
                  <a:lnTo>
                    <a:pt x="2392092" y="1014972"/>
                  </a:lnTo>
                  <a:lnTo>
                    <a:pt x="2368268" y="1014972"/>
                  </a:lnTo>
                  <a:lnTo>
                    <a:pt x="2349208" y="1014972"/>
                  </a:lnTo>
                  <a:lnTo>
                    <a:pt x="2311084" y="1034032"/>
                  </a:lnTo>
                  <a:lnTo>
                    <a:pt x="2244376" y="1067388"/>
                  </a:lnTo>
                  <a:lnTo>
                    <a:pt x="2191956" y="1086448"/>
                  </a:lnTo>
                  <a:lnTo>
                    <a:pt x="2163368" y="1091214"/>
                  </a:lnTo>
                  <a:lnTo>
                    <a:pt x="2139540" y="1095978"/>
                  </a:lnTo>
                  <a:lnTo>
                    <a:pt x="2101420" y="1095978"/>
                  </a:lnTo>
                  <a:lnTo>
                    <a:pt x="2068064" y="1095978"/>
                  </a:lnTo>
                  <a:lnTo>
                    <a:pt x="2049004" y="1095978"/>
                  </a:lnTo>
                  <a:lnTo>
                    <a:pt x="2034708" y="1091214"/>
                  </a:lnTo>
                  <a:lnTo>
                    <a:pt x="2020412" y="1076918"/>
                  </a:lnTo>
                  <a:lnTo>
                    <a:pt x="1996588" y="1062622"/>
                  </a:lnTo>
                  <a:lnTo>
                    <a:pt x="1987056" y="1057858"/>
                  </a:lnTo>
                  <a:lnTo>
                    <a:pt x="1977528" y="1053092"/>
                  </a:lnTo>
                  <a:lnTo>
                    <a:pt x="1958468" y="1053092"/>
                  </a:lnTo>
                  <a:lnTo>
                    <a:pt x="1915580" y="1076918"/>
                  </a:lnTo>
                  <a:lnTo>
                    <a:pt x="1901284" y="1081684"/>
                  </a:lnTo>
                  <a:lnTo>
                    <a:pt x="1882224" y="1086448"/>
                  </a:lnTo>
                  <a:lnTo>
                    <a:pt x="1853632" y="1095978"/>
                  </a:lnTo>
                  <a:lnTo>
                    <a:pt x="1839340" y="1105508"/>
                  </a:lnTo>
                  <a:lnTo>
                    <a:pt x="1825044" y="1105508"/>
                  </a:lnTo>
                  <a:lnTo>
                    <a:pt x="1801216" y="1100744"/>
                  </a:lnTo>
                  <a:lnTo>
                    <a:pt x="1782156" y="1100744"/>
                  </a:lnTo>
                  <a:lnTo>
                    <a:pt x="1767860" y="1091214"/>
                  </a:lnTo>
                  <a:lnTo>
                    <a:pt x="1763096" y="1081684"/>
                  </a:lnTo>
                  <a:lnTo>
                    <a:pt x="1739272" y="1076918"/>
                  </a:lnTo>
                  <a:lnTo>
                    <a:pt x="1720212" y="1072152"/>
                  </a:lnTo>
                  <a:lnTo>
                    <a:pt x="1715444" y="1076918"/>
                  </a:lnTo>
                  <a:lnTo>
                    <a:pt x="1710680" y="1091214"/>
                  </a:lnTo>
                  <a:lnTo>
                    <a:pt x="1701148" y="1129334"/>
                  </a:lnTo>
                  <a:lnTo>
                    <a:pt x="1701148" y="1138864"/>
                  </a:lnTo>
                  <a:lnTo>
                    <a:pt x="1715444" y="1176986"/>
                  </a:lnTo>
                  <a:lnTo>
                    <a:pt x="1715444" y="1181750"/>
                  </a:lnTo>
                  <a:lnTo>
                    <a:pt x="1705916" y="1186516"/>
                  </a:lnTo>
                  <a:lnTo>
                    <a:pt x="1691620" y="1186516"/>
                  </a:lnTo>
                  <a:lnTo>
                    <a:pt x="1682088" y="1191282"/>
                  </a:lnTo>
                  <a:lnTo>
                    <a:pt x="1672560" y="1196046"/>
                  </a:lnTo>
                  <a:lnTo>
                    <a:pt x="1667792" y="1229402"/>
                  </a:lnTo>
                  <a:lnTo>
                    <a:pt x="1653500" y="1234168"/>
                  </a:lnTo>
                  <a:lnTo>
                    <a:pt x="1648732" y="1238932"/>
                  </a:lnTo>
                  <a:lnTo>
                    <a:pt x="1639204" y="1262758"/>
                  </a:lnTo>
                  <a:lnTo>
                    <a:pt x="1634436" y="1262758"/>
                  </a:lnTo>
                  <a:lnTo>
                    <a:pt x="1610612" y="1248462"/>
                  </a:lnTo>
                  <a:lnTo>
                    <a:pt x="1601080" y="1243698"/>
                  </a:lnTo>
                  <a:lnTo>
                    <a:pt x="1610612" y="1229402"/>
                  </a:lnTo>
                  <a:lnTo>
                    <a:pt x="1596316" y="1200812"/>
                  </a:lnTo>
                  <a:lnTo>
                    <a:pt x="1586788" y="1167456"/>
                  </a:lnTo>
                  <a:lnTo>
                    <a:pt x="1596316" y="1148396"/>
                  </a:lnTo>
                  <a:lnTo>
                    <a:pt x="1620144" y="1129334"/>
                  </a:lnTo>
                  <a:lnTo>
                    <a:pt x="1643968" y="1100744"/>
                  </a:lnTo>
                  <a:lnTo>
                    <a:pt x="1643968" y="1086448"/>
                  </a:lnTo>
                  <a:lnTo>
                    <a:pt x="1643968" y="1072152"/>
                  </a:lnTo>
                  <a:lnTo>
                    <a:pt x="1639204" y="1062622"/>
                  </a:lnTo>
                  <a:lnTo>
                    <a:pt x="1624908" y="1053092"/>
                  </a:lnTo>
                  <a:lnTo>
                    <a:pt x="1601080" y="1062622"/>
                  </a:lnTo>
                  <a:lnTo>
                    <a:pt x="1586788" y="1076918"/>
                  </a:lnTo>
                  <a:lnTo>
                    <a:pt x="1572492" y="1081684"/>
                  </a:lnTo>
                  <a:lnTo>
                    <a:pt x="1562960" y="1086448"/>
                  </a:lnTo>
                  <a:lnTo>
                    <a:pt x="1558196" y="1100744"/>
                  </a:lnTo>
                  <a:lnTo>
                    <a:pt x="1543900" y="1115040"/>
                  </a:lnTo>
                  <a:lnTo>
                    <a:pt x="1520076" y="1115040"/>
                  </a:lnTo>
                  <a:lnTo>
                    <a:pt x="1486720" y="1105508"/>
                  </a:lnTo>
                  <a:lnTo>
                    <a:pt x="1448596" y="1086448"/>
                  </a:lnTo>
                  <a:lnTo>
                    <a:pt x="1429536" y="1072152"/>
                  </a:lnTo>
                  <a:lnTo>
                    <a:pt x="1415240" y="1072152"/>
                  </a:lnTo>
                  <a:lnTo>
                    <a:pt x="1396180" y="1076918"/>
                  </a:lnTo>
                  <a:lnTo>
                    <a:pt x="1348532" y="1110274"/>
                  </a:lnTo>
                  <a:lnTo>
                    <a:pt x="1305644" y="1162690"/>
                  </a:lnTo>
                  <a:lnTo>
                    <a:pt x="1296112" y="1172220"/>
                  </a:lnTo>
                  <a:lnTo>
                    <a:pt x="1257992" y="1191282"/>
                  </a:lnTo>
                  <a:lnTo>
                    <a:pt x="1229400" y="1200812"/>
                  </a:lnTo>
                  <a:lnTo>
                    <a:pt x="1215108" y="1200812"/>
                  </a:lnTo>
                  <a:lnTo>
                    <a:pt x="1162692" y="1210342"/>
                  </a:lnTo>
                  <a:lnTo>
                    <a:pt x="1134100" y="1210342"/>
                  </a:lnTo>
                  <a:lnTo>
                    <a:pt x="1115040" y="1219872"/>
                  </a:lnTo>
                  <a:lnTo>
                    <a:pt x="1072152" y="1210342"/>
                  </a:lnTo>
                  <a:lnTo>
                    <a:pt x="1048328" y="1191282"/>
                  </a:lnTo>
                  <a:lnTo>
                    <a:pt x="1034032" y="1176986"/>
                  </a:lnTo>
                  <a:lnTo>
                    <a:pt x="1010208" y="1143630"/>
                  </a:lnTo>
                  <a:lnTo>
                    <a:pt x="995912" y="1124570"/>
                  </a:lnTo>
                  <a:lnTo>
                    <a:pt x="957788" y="1110274"/>
                  </a:lnTo>
                  <a:lnTo>
                    <a:pt x="891078" y="1072152"/>
                  </a:lnTo>
                  <a:lnTo>
                    <a:pt x="872018" y="1067388"/>
                  </a:lnTo>
                  <a:lnTo>
                    <a:pt x="829132" y="1062622"/>
                  </a:lnTo>
                  <a:lnTo>
                    <a:pt x="781480" y="1062622"/>
                  </a:lnTo>
                  <a:lnTo>
                    <a:pt x="767184" y="1072152"/>
                  </a:lnTo>
                  <a:lnTo>
                    <a:pt x="767184" y="1129334"/>
                  </a:lnTo>
                  <a:lnTo>
                    <a:pt x="757654" y="1143630"/>
                  </a:lnTo>
                  <a:lnTo>
                    <a:pt x="752890" y="1167456"/>
                  </a:lnTo>
                  <a:lnTo>
                    <a:pt x="748124" y="1176986"/>
                  </a:lnTo>
                  <a:lnTo>
                    <a:pt x="738594" y="1181750"/>
                  </a:lnTo>
                  <a:lnTo>
                    <a:pt x="724298" y="1172220"/>
                  </a:lnTo>
                  <a:lnTo>
                    <a:pt x="714768" y="1167456"/>
                  </a:lnTo>
                  <a:lnTo>
                    <a:pt x="690942" y="1181750"/>
                  </a:lnTo>
                  <a:lnTo>
                    <a:pt x="648056" y="1196046"/>
                  </a:lnTo>
                  <a:lnTo>
                    <a:pt x="628996" y="1200812"/>
                  </a:lnTo>
                  <a:lnTo>
                    <a:pt x="576580" y="1176986"/>
                  </a:lnTo>
                  <a:lnTo>
                    <a:pt x="557520" y="1167456"/>
                  </a:lnTo>
                  <a:lnTo>
                    <a:pt x="543224" y="1153160"/>
                  </a:lnTo>
                  <a:lnTo>
                    <a:pt x="543224" y="1129334"/>
                  </a:lnTo>
                  <a:lnTo>
                    <a:pt x="533694" y="1115040"/>
                  </a:lnTo>
                  <a:lnTo>
                    <a:pt x="533694" y="1105508"/>
                  </a:lnTo>
                  <a:lnTo>
                    <a:pt x="528928" y="1095978"/>
                  </a:lnTo>
                  <a:lnTo>
                    <a:pt x="519398" y="1091214"/>
                  </a:lnTo>
                  <a:lnTo>
                    <a:pt x="505102" y="1100744"/>
                  </a:lnTo>
                  <a:lnTo>
                    <a:pt x="495572" y="1100744"/>
                  </a:lnTo>
                  <a:lnTo>
                    <a:pt x="476512" y="1091214"/>
                  </a:lnTo>
                  <a:lnTo>
                    <a:pt x="443156" y="1072152"/>
                  </a:lnTo>
                  <a:lnTo>
                    <a:pt x="414566" y="1072152"/>
                  </a:lnTo>
                  <a:lnTo>
                    <a:pt x="395504" y="1095978"/>
                  </a:lnTo>
                  <a:lnTo>
                    <a:pt x="385974" y="1105508"/>
                  </a:lnTo>
                  <a:lnTo>
                    <a:pt x="371680" y="1105508"/>
                  </a:lnTo>
                  <a:lnTo>
                    <a:pt x="366914" y="1100744"/>
                  </a:lnTo>
                  <a:lnTo>
                    <a:pt x="381210" y="1081684"/>
                  </a:lnTo>
                  <a:lnTo>
                    <a:pt x="333558" y="1086448"/>
                  </a:lnTo>
                  <a:lnTo>
                    <a:pt x="314498" y="1100744"/>
                  </a:lnTo>
                  <a:lnTo>
                    <a:pt x="295438" y="1095978"/>
                  </a:lnTo>
                  <a:lnTo>
                    <a:pt x="281142" y="1091214"/>
                  </a:lnTo>
                  <a:lnTo>
                    <a:pt x="281142" y="1086448"/>
                  </a:lnTo>
                  <a:lnTo>
                    <a:pt x="295438" y="1081684"/>
                  </a:lnTo>
                  <a:lnTo>
                    <a:pt x="309732" y="1076918"/>
                  </a:lnTo>
                  <a:lnTo>
                    <a:pt x="357384" y="1072152"/>
                  </a:lnTo>
                  <a:lnTo>
                    <a:pt x="366914" y="1067388"/>
                  </a:lnTo>
                  <a:lnTo>
                    <a:pt x="381210" y="1048328"/>
                  </a:lnTo>
                  <a:lnTo>
                    <a:pt x="400270" y="1034032"/>
                  </a:lnTo>
                  <a:lnTo>
                    <a:pt x="405036" y="1029266"/>
                  </a:lnTo>
                  <a:lnTo>
                    <a:pt x="385974" y="1029266"/>
                  </a:lnTo>
                  <a:lnTo>
                    <a:pt x="314498" y="1034032"/>
                  </a:lnTo>
                  <a:lnTo>
                    <a:pt x="262082" y="1029266"/>
                  </a:lnTo>
                  <a:lnTo>
                    <a:pt x="257316" y="1038798"/>
                  </a:lnTo>
                  <a:lnTo>
                    <a:pt x="252550" y="1038798"/>
                  </a:lnTo>
                  <a:lnTo>
                    <a:pt x="247786" y="1019736"/>
                  </a:lnTo>
                  <a:lnTo>
                    <a:pt x="257316" y="1010206"/>
                  </a:lnTo>
                  <a:lnTo>
                    <a:pt x="266846" y="1010206"/>
                  </a:lnTo>
                  <a:lnTo>
                    <a:pt x="295438" y="1000676"/>
                  </a:lnTo>
                  <a:lnTo>
                    <a:pt x="290672" y="986380"/>
                  </a:lnTo>
                  <a:lnTo>
                    <a:pt x="271612" y="976850"/>
                  </a:lnTo>
                  <a:lnTo>
                    <a:pt x="266846" y="967320"/>
                  </a:lnTo>
                  <a:lnTo>
                    <a:pt x="257316" y="967320"/>
                  </a:lnTo>
                  <a:lnTo>
                    <a:pt x="243020" y="957790"/>
                  </a:lnTo>
                  <a:lnTo>
                    <a:pt x="243020" y="938730"/>
                  </a:lnTo>
                  <a:lnTo>
                    <a:pt x="233490" y="914904"/>
                  </a:lnTo>
                  <a:lnTo>
                    <a:pt x="219196" y="905374"/>
                  </a:lnTo>
                  <a:lnTo>
                    <a:pt x="223960" y="900608"/>
                  </a:lnTo>
                  <a:lnTo>
                    <a:pt x="243020" y="891078"/>
                  </a:lnTo>
                  <a:lnTo>
                    <a:pt x="247786" y="862488"/>
                  </a:lnTo>
                  <a:lnTo>
                    <a:pt x="247786" y="843426"/>
                  </a:lnTo>
                  <a:lnTo>
                    <a:pt x="233490" y="838662"/>
                  </a:lnTo>
                  <a:lnTo>
                    <a:pt x="200134" y="824366"/>
                  </a:lnTo>
                  <a:lnTo>
                    <a:pt x="190604" y="829132"/>
                  </a:lnTo>
                  <a:lnTo>
                    <a:pt x="181074" y="810072"/>
                  </a:lnTo>
                  <a:lnTo>
                    <a:pt x="162014" y="800540"/>
                  </a:lnTo>
                  <a:lnTo>
                    <a:pt x="152484" y="800540"/>
                  </a:lnTo>
                  <a:lnTo>
                    <a:pt x="142954" y="810072"/>
                  </a:lnTo>
                  <a:lnTo>
                    <a:pt x="138188" y="805306"/>
                  </a:lnTo>
                  <a:lnTo>
                    <a:pt x="119128" y="795776"/>
                  </a:lnTo>
                  <a:lnTo>
                    <a:pt x="104832" y="791010"/>
                  </a:lnTo>
                  <a:lnTo>
                    <a:pt x="100066" y="781480"/>
                  </a:lnTo>
                  <a:lnTo>
                    <a:pt x="109598" y="762420"/>
                  </a:lnTo>
                  <a:lnTo>
                    <a:pt x="119128" y="762420"/>
                  </a:lnTo>
                  <a:lnTo>
                    <a:pt x="119128" y="748124"/>
                  </a:lnTo>
                  <a:lnTo>
                    <a:pt x="114362" y="724298"/>
                  </a:lnTo>
                  <a:lnTo>
                    <a:pt x="114362" y="714768"/>
                  </a:lnTo>
                  <a:lnTo>
                    <a:pt x="123892" y="710004"/>
                  </a:lnTo>
                  <a:lnTo>
                    <a:pt x="133422" y="714768"/>
                  </a:lnTo>
                  <a:lnTo>
                    <a:pt x="142954" y="724298"/>
                  </a:lnTo>
                  <a:lnTo>
                    <a:pt x="147718" y="738594"/>
                  </a:lnTo>
                  <a:lnTo>
                    <a:pt x="147718" y="752890"/>
                  </a:lnTo>
                  <a:lnTo>
                    <a:pt x="152484" y="767184"/>
                  </a:lnTo>
                  <a:lnTo>
                    <a:pt x="157248" y="771950"/>
                  </a:lnTo>
                  <a:lnTo>
                    <a:pt x="162014" y="757654"/>
                  </a:lnTo>
                  <a:lnTo>
                    <a:pt x="166778" y="752890"/>
                  </a:lnTo>
                  <a:lnTo>
                    <a:pt x="176308" y="762420"/>
                  </a:lnTo>
                  <a:lnTo>
                    <a:pt x="190604" y="762420"/>
                  </a:lnTo>
                  <a:lnTo>
                    <a:pt x="223960" y="752890"/>
                  </a:lnTo>
                  <a:lnTo>
                    <a:pt x="233490" y="748124"/>
                  </a:lnTo>
                  <a:lnTo>
                    <a:pt x="204900" y="748124"/>
                  </a:lnTo>
                  <a:lnTo>
                    <a:pt x="195370" y="743360"/>
                  </a:lnTo>
                  <a:lnTo>
                    <a:pt x="185840" y="724298"/>
                  </a:lnTo>
                  <a:lnTo>
                    <a:pt x="176308" y="714768"/>
                  </a:lnTo>
                  <a:lnTo>
                    <a:pt x="176308" y="705238"/>
                  </a:lnTo>
                  <a:lnTo>
                    <a:pt x="171544" y="695708"/>
                  </a:lnTo>
                  <a:lnTo>
                    <a:pt x="176308" y="690942"/>
                  </a:lnTo>
                  <a:lnTo>
                    <a:pt x="195370" y="681412"/>
                  </a:lnTo>
                  <a:lnTo>
                    <a:pt x="214430" y="662352"/>
                  </a:lnTo>
                  <a:lnTo>
                    <a:pt x="204900" y="652822"/>
                  </a:lnTo>
                  <a:lnTo>
                    <a:pt x="195370" y="652822"/>
                  </a:lnTo>
                  <a:lnTo>
                    <a:pt x="190604" y="652822"/>
                  </a:lnTo>
                  <a:lnTo>
                    <a:pt x="181074" y="648056"/>
                  </a:lnTo>
                  <a:lnTo>
                    <a:pt x="181074" y="633762"/>
                  </a:lnTo>
                  <a:lnTo>
                    <a:pt x="185840" y="624232"/>
                  </a:lnTo>
                  <a:lnTo>
                    <a:pt x="185840" y="614700"/>
                  </a:lnTo>
                  <a:lnTo>
                    <a:pt x="166778" y="586110"/>
                  </a:lnTo>
                  <a:lnTo>
                    <a:pt x="162014" y="581346"/>
                  </a:lnTo>
                  <a:lnTo>
                    <a:pt x="166778" y="571814"/>
                  </a:lnTo>
                  <a:lnTo>
                    <a:pt x="181074" y="552754"/>
                  </a:lnTo>
                  <a:lnTo>
                    <a:pt x="195370" y="533694"/>
                  </a:lnTo>
                  <a:lnTo>
                    <a:pt x="195370" y="528928"/>
                  </a:lnTo>
                  <a:lnTo>
                    <a:pt x="181074" y="524164"/>
                  </a:lnTo>
                  <a:lnTo>
                    <a:pt x="128658" y="533694"/>
                  </a:lnTo>
                  <a:lnTo>
                    <a:pt x="109598" y="538458"/>
                  </a:lnTo>
                  <a:lnTo>
                    <a:pt x="71476" y="543224"/>
                  </a:lnTo>
                  <a:lnTo>
                    <a:pt x="66712" y="533694"/>
                  </a:lnTo>
                  <a:lnTo>
                    <a:pt x="71476" y="524164"/>
                  </a:lnTo>
                  <a:lnTo>
                    <a:pt x="76242" y="505104"/>
                  </a:lnTo>
                  <a:lnTo>
                    <a:pt x="76242" y="462216"/>
                  </a:lnTo>
                  <a:lnTo>
                    <a:pt x="81006" y="438392"/>
                  </a:lnTo>
                  <a:lnTo>
                    <a:pt x="104832" y="428862"/>
                  </a:lnTo>
                  <a:lnTo>
                    <a:pt x="128658" y="395506"/>
                  </a:lnTo>
                  <a:lnTo>
                    <a:pt x="166778" y="352620"/>
                  </a:lnTo>
                  <a:lnTo>
                    <a:pt x="214430" y="352620"/>
                  </a:lnTo>
                  <a:lnTo>
                    <a:pt x="228726" y="343088"/>
                  </a:lnTo>
                  <a:lnTo>
                    <a:pt x="252550" y="343088"/>
                  </a:lnTo>
                  <a:lnTo>
                    <a:pt x="257316" y="352620"/>
                  </a:lnTo>
                  <a:lnTo>
                    <a:pt x="262082" y="357384"/>
                  </a:lnTo>
                  <a:lnTo>
                    <a:pt x="285906" y="371680"/>
                  </a:lnTo>
                  <a:lnTo>
                    <a:pt x="324028" y="366914"/>
                  </a:lnTo>
                  <a:lnTo>
                    <a:pt x="333558" y="362150"/>
                  </a:lnTo>
                  <a:lnTo>
                    <a:pt x="343088" y="357384"/>
                  </a:lnTo>
                  <a:lnTo>
                    <a:pt x="324028" y="338324"/>
                  </a:lnTo>
                  <a:lnTo>
                    <a:pt x="328792" y="333558"/>
                  </a:lnTo>
                  <a:lnTo>
                    <a:pt x="347854" y="328794"/>
                  </a:lnTo>
                  <a:lnTo>
                    <a:pt x="362148" y="338324"/>
                  </a:lnTo>
                  <a:lnTo>
                    <a:pt x="366914" y="338324"/>
                  </a:lnTo>
                  <a:lnTo>
                    <a:pt x="362148" y="347854"/>
                  </a:lnTo>
                  <a:lnTo>
                    <a:pt x="357384" y="357384"/>
                  </a:lnTo>
                  <a:lnTo>
                    <a:pt x="362148" y="362150"/>
                  </a:lnTo>
                  <a:lnTo>
                    <a:pt x="409800" y="352620"/>
                  </a:lnTo>
                  <a:lnTo>
                    <a:pt x="466982" y="357384"/>
                  </a:lnTo>
                  <a:lnTo>
                    <a:pt x="481278" y="357384"/>
                  </a:lnTo>
                  <a:lnTo>
                    <a:pt x="524164" y="357384"/>
                  </a:lnTo>
                  <a:lnTo>
                    <a:pt x="528928" y="347854"/>
                  </a:lnTo>
                  <a:lnTo>
                    <a:pt x="519398" y="338324"/>
                  </a:lnTo>
                  <a:lnTo>
                    <a:pt x="505102" y="338324"/>
                  </a:lnTo>
                  <a:lnTo>
                    <a:pt x="495572" y="333558"/>
                  </a:lnTo>
                  <a:lnTo>
                    <a:pt x="490808" y="328794"/>
                  </a:lnTo>
                  <a:lnTo>
                    <a:pt x="514632" y="304968"/>
                  </a:lnTo>
                  <a:lnTo>
                    <a:pt x="528928" y="304968"/>
                  </a:lnTo>
                  <a:lnTo>
                    <a:pt x="600406" y="290672"/>
                  </a:lnTo>
                  <a:lnTo>
                    <a:pt x="652822" y="285908"/>
                  </a:lnTo>
                  <a:lnTo>
                    <a:pt x="652822" y="281142"/>
                  </a:lnTo>
                  <a:lnTo>
                    <a:pt x="648056" y="281142"/>
                  </a:lnTo>
                  <a:lnTo>
                    <a:pt x="581344" y="271612"/>
                  </a:lnTo>
                  <a:lnTo>
                    <a:pt x="562284" y="262082"/>
                  </a:lnTo>
                  <a:lnTo>
                    <a:pt x="538458" y="243022"/>
                  </a:lnTo>
                  <a:lnTo>
                    <a:pt x="533694" y="238256"/>
                  </a:lnTo>
                  <a:lnTo>
                    <a:pt x="528928" y="228726"/>
                  </a:lnTo>
                  <a:lnTo>
                    <a:pt x="533694" y="209666"/>
                  </a:lnTo>
                  <a:lnTo>
                    <a:pt x="538458" y="195370"/>
                  </a:lnTo>
                  <a:lnTo>
                    <a:pt x="547988" y="185840"/>
                  </a:lnTo>
                  <a:lnTo>
                    <a:pt x="571814" y="181074"/>
                  </a:lnTo>
                  <a:lnTo>
                    <a:pt x="667116" y="200136"/>
                  </a:lnTo>
                  <a:lnTo>
                    <a:pt x="733828" y="190604"/>
                  </a:lnTo>
                  <a:lnTo>
                    <a:pt x="805306" y="214430"/>
                  </a:lnTo>
                  <a:lnTo>
                    <a:pt x="872018" y="209666"/>
                  </a:lnTo>
                  <a:lnTo>
                    <a:pt x="891078" y="195370"/>
                  </a:lnTo>
                  <a:lnTo>
                    <a:pt x="905374" y="162014"/>
                  </a:lnTo>
                  <a:lnTo>
                    <a:pt x="1005440" y="109598"/>
                  </a:lnTo>
                  <a:lnTo>
                    <a:pt x="1038796" y="76242"/>
                  </a:lnTo>
                  <a:lnTo>
                    <a:pt x="1076916" y="61946"/>
                  </a:lnTo>
                  <a:lnTo>
                    <a:pt x="1138864" y="42886"/>
                  </a:lnTo>
                  <a:lnTo>
                    <a:pt x="1191280" y="19060"/>
                  </a:lnTo>
                  <a:lnTo>
                    <a:pt x="1205576" y="19060"/>
                  </a:lnTo>
                  <a:lnTo>
                    <a:pt x="1334236" y="28590"/>
                  </a:lnTo>
                  <a:lnTo>
                    <a:pt x="1420008" y="28590"/>
                  </a:lnTo>
                  <a:close/>
                  <a:moveTo>
                    <a:pt x="247786" y="0"/>
                  </a:moveTo>
                  <a:lnTo>
                    <a:pt x="257316" y="4766"/>
                  </a:lnTo>
                  <a:lnTo>
                    <a:pt x="266846" y="14296"/>
                  </a:lnTo>
                  <a:lnTo>
                    <a:pt x="285906" y="33356"/>
                  </a:lnTo>
                  <a:lnTo>
                    <a:pt x="295436" y="38120"/>
                  </a:lnTo>
                  <a:lnTo>
                    <a:pt x="300202" y="38120"/>
                  </a:lnTo>
                  <a:lnTo>
                    <a:pt x="314498" y="28590"/>
                  </a:lnTo>
                  <a:lnTo>
                    <a:pt x="324028" y="28590"/>
                  </a:lnTo>
                  <a:lnTo>
                    <a:pt x="333558" y="33356"/>
                  </a:lnTo>
                  <a:lnTo>
                    <a:pt x="338324" y="23826"/>
                  </a:lnTo>
                  <a:lnTo>
                    <a:pt x="347854" y="23826"/>
                  </a:lnTo>
                  <a:lnTo>
                    <a:pt x="366914" y="28590"/>
                  </a:lnTo>
                  <a:lnTo>
                    <a:pt x="362148" y="52416"/>
                  </a:lnTo>
                  <a:lnTo>
                    <a:pt x="371678" y="76242"/>
                  </a:lnTo>
                  <a:lnTo>
                    <a:pt x="395504" y="114364"/>
                  </a:lnTo>
                  <a:lnTo>
                    <a:pt x="419330" y="133424"/>
                  </a:lnTo>
                  <a:lnTo>
                    <a:pt x="514632" y="181074"/>
                  </a:lnTo>
                  <a:lnTo>
                    <a:pt x="528928" y="181074"/>
                  </a:lnTo>
                  <a:lnTo>
                    <a:pt x="528928" y="200136"/>
                  </a:lnTo>
                  <a:lnTo>
                    <a:pt x="519398" y="219196"/>
                  </a:lnTo>
                  <a:lnTo>
                    <a:pt x="514632" y="228726"/>
                  </a:lnTo>
                  <a:lnTo>
                    <a:pt x="486042" y="233492"/>
                  </a:lnTo>
                  <a:lnTo>
                    <a:pt x="414566" y="214430"/>
                  </a:lnTo>
                  <a:lnTo>
                    <a:pt x="390740" y="214430"/>
                  </a:lnTo>
                  <a:lnTo>
                    <a:pt x="381210" y="219196"/>
                  </a:lnTo>
                  <a:lnTo>
                    <a:pt x="352618" y="233492"/>
                  </a:lnTo>
                  <a:lnTo>
                    <a:pt x="324028" y="228726"/>
                  </a:lnTo>
                  <a:lnTo>
                    <a:pt x="285906" y="233492"/>
                  </a:lnTo>
                  <a:lnTo>
                    <a:pt x="276376" y="262082"/>
                  </a:lnTo>
                  <a:lnTo>
                    <a:pt x="252550" y="295438"/>
                  </a:lnTo>
                  <a:lnTo>
                    <a:pt x="204900" y="319264"/>
                  </a:lnTo>
                  <a:lnTo>
                    <a:pt x="176308" y="333558"/>
                  </a:lnTo>
                  <a:lnTo>
                    <a:pt x="128658" y="381210"/>
                  </a:lnTo>
                  <a:lnTo>
                    <a:pt x="104832" y="409800"/>
                  </a:lnTo>
                  <a:lnTo>
                    <a:pt x="95302" y="414566"/>
                  </a:lnTo>
                  <a:lnTo>
                    <a:pt x="85772" y="419332"/>
                  </a:lnTo>
                  <a:lnTo>
                    <a:pt x="90536" y="405036"/>
                  </a:lnTo>
                  <a:lnTo>
                    <a:pt x="95302" y="395506"/>
                  </a:lnTo>
                  <a:lnTo>
                    <a:pt x="95302" y="385976"/>
                  </a:lnTo>
                  <a:lnTo>
                    <a:pt x="95302" y="371680"/>
                  </a:lnTo>
                  <a:lnTo>
                    <a:pt x="109598" y="357384"/>
                  </a:lnTo>
                  <a:lnTo>
                    <a:pt x="123892" y="343088"/>
                  </a:lnTo>
                  <a:lnTo>
                    <a:pt x="166778" y="324028"/>
                  </a:lnTo>
                  <a:lnTo>
                    <a:pt x="176308" y="309734"/>
                  </a:lnTo>
                  <a:lnTo>
                    <a:pt x="142954" y="309734"/>
                  </a:lnTo>
                  <a:lnTo>
                    <a:pt x="109598" y="309734"/>
                  </a:lnTo>
                  <a:lnTo>
                    <a:pt x="90536" y="309734"/>
                  </a:lnTo>
                  <a:lnTo>
                    <a:pt x="71476" y="309734"/>
                  </a:lnTo>
                  <a:lnTo>
                    <a:pt x="61946" y="295438"/>
                  </a:lnTo>
                  <a:lnTo>
                    <a:pt x="61946" y="285908"/>
                  </a:lnTo>
                  <a:lnTo>
                    <a:pt x="66712" y="285908"/>
                  </a:lnTo>
                  <a:lnTo>
                    <a:pt x="71476" y="281142"/>
                  </a:lnTo>
                  <a:lnTo>
                    <a:pt x="81006" y="266848"/>
                  </a:lnTo>
                  <a:lnTo>
                    <a:pt x="90536" y="252552"/>
                  </a:lnTo>
                  <a:lnTo>
                    <a:pt x="104832" y="238256"/>
                  </a:lnTo>
                  <a:lnTo>
                    <a:pt x="109598" y="228726"/>
                  </a:lnTo>
                  <a:lnTo>
                    <a:pt x="109598" y="223960"/>
                  </a:lnTo>
                  <a:lnTo>
                    <a:pt x="104832" y="214430"/>
                  </a:lnTo>
                  <a:lnTo>
                    <a:pt x="104832" y="209666"/>
                  </a:lnTo>
                  <a:lnTo>
                    <a:pt x="104832" y="200136"/>
                  </a:lnTo>
                  <a:lnTo>
                    <a:pt x="104832" y="181074"/>
                  </a:lnTo>
                  <a:lnTo>
                    <a:pt x="138188" y="157250"/>
                  </a:lnTo>
                  <a:lnTo>
                    <a:pt x="147718" y="157250"/>
                  </a:lnTo>
                  <a:lnTo>
                    <a:pt x="152484" y="147718"/>
                  </a:lnTo>
                  <a:lnTo>
                    <a:pt x="147718" y="123894"/>
                  </a:lnTo>
                  <a:lnTo>
                    <a:pt x="142954" y="104832"/>
                  </a:lnTo>
                  <a:lnTo>
                    <a:pt x="138188" y="104832"/>
                  </a:lnTo>
                  <a:lnTo>
                    <a:pt x="133422" y="100068"/>
                  </a:lnTo>
                  <a:lnTo>
                    <a:pt x="123892" y="90538"/>
                  </a:lnTo>
                  <a:lnTo>
                    <a:pt x="119128" y="85772"/>
                  </a:lnTo>
                  <a:lnTo>
                    <a:pt x="104832" y="81008"/>
                  </a:lnTo>
                  <a:lnTo>
                    <a:pt x="104832" y="76242"/>
                  </a:lnTo>
                  <a:lnTo>
                    <a:pt x="104832" y="71476"/>
                  </a:lnTo>
                  <a:lnTo>
                    <a:pt x="109598" y="61946"/>
                  </a:lnTo>
                  <a:lnTo>
                    <a:pt x="133422" y="57182"/>
                  </a:lnTo>
                  <a:lnTo>
                    <a:pt x="138188" y="52416"/>
                  </a:lnTo>
                  <a:lnTo>
                    <a:pt x="138188" y="42886"/>
                  </a:lnTo>
                  <a:lnTo>
                    <a:pt x="142954" y="33356"/>
                  </a:lnTo>
                  <a:lnTo>
                    <a:pt x="152484" y="28590"/>
                  </a:lnTo>
                  <a:lnTo>
                    <a:pt x="162014" y="28590"/>
                  </a:lnTo>
                  <a:lnTo>
                    <a:pt x="181074" y="28590"/>
                  </a:lnTo>
                  <a:lnTo>
                    <a:pt x="190604" y="23826"/>
                  </a:lnTo>
                  <a:lnTo>
                    <a:pt x="204900" y="14296"/>
                  </a:lnTo>
                  <a:lnTo>
                    <a:pt x="209664" y="9530"/>
                  </a:lnTo>
                  <a:lnTo>
                    <a:pt x="238256"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6" name="Google Shape;4893;p64">
              <a:extLst>
                <a:ext uri="{FF2B5EF4-FFF2-40B4-BE49-F238E27FC236}">
                  <a16:creationId xmlns:a16="http://schemas.microsoft.com/office/drawing/2014/main" id="{50212EF1-0762-DAA5-5FC3-BDFC38C3D042}"/>
                </a:ext>
              </a:extLst>
            </p:cNvPr>
            <p:cNvSpPr/>
            <p:nvPr/>
          </p:nvSpPr>
          <p:spPr>
            <a:xfrm>
              <a:off x="6108654" y="3620378"/>
              <a:ext cx="1314926" cy="970689"/>
            </a:xfrm>
            <a:custGeom>
              <a:avLst/>
              <a:gdLst/>
              <a:ahLst/>
              <a:cxnLst/>
              <a:rect l="l" t="t" r="r" b="b"/>
              <a:pathLst>
                <a:path w="9546932" h="7047620" extrusionOk="0">
                  <a:moveTo>
                    <a:pt x="5782480" y="6728358"/>
                  </a:moveTo>
                  <a:lnTo>
                    <a:pt x="5787244" y="6728358"/>
                  </a:lnTo>
                  <a:lnTo>
                    <a:pt x="5796776" y="6742654"/>
                  </a:lnTo>
                  <a:lnTo>
                    <a:pt x="5806308" y="6747418"/>
                  </a:lnTo>
                  <a:lnTo>
                    <a:pt x="5820600" y="6752184"/>
                  </a:lnTo>
                  <a:lnTo>
                    <a:pt x="5825368" y="6761714"/>
                  </a:lnTo>
                  <a:lnTo>
                    <a:pt x="5834896" y="6771244"/>
                  </a:lnTo>
                  <a:lnTo>
                    <a:pt x="5834896" y="6790304"/>
                  </a:lnTo>
                  <a:lnTo>
                    <a:pt x="5839660" y="6809366"/>
                  </a:lnTo>
                  <a:lnTo>
                    <a:pt x="5825368" y="6818896"/>
                  </a:lnTo>
                  <a:lnTo>
                    <a:pt x="5811072" y="6823660"/>
                  </a:lnTo>
                  <a:lnTo>
                    <a:pt x="5782480" y="6871312"/>
                  </a:lnTo>
                  <a:lnTo>
                    <a:pt x="5772952" y="6885606"/>
                  </a:lnTo>
                  <a:lnTo>
                    <a:pt x="5768184" y="6890372"/>
                  </a:lnTo>
                  <a:lnTo>
                    <a:pt x="5768184" y="6895138"/>
                  </a:lnTo>
                  <a:lnTo>
                    <a:pt x="5768184" y="6899902"/>
                  </a:lnTo>
                  <a:lnTo>
                    <a:pt x="5763420" y="6923728"/>
                  </a:lnTo>
                  <a:lnTo>
                    <a:pt x="5753888" y="6947554"/>
                  </a:lnTo>
                  <a:lnTo>
                    <a:pt x="5753888" y="6957084"/>
                  </a:lnTo>
                  <a:lnTo>
                    <a:pt x="5744360" y="6966614"/>
                  </a:lnTo>
                  <a:lnTo>
                    <a:pt x="5734828" y="6971380"/>
                  </a:lnTo>
                  <a:lnTo>
                    <a:pt x="5725300" y="6971380"/>
                  </a:lnTo>
                  <a:lnTo>
                    <a:pt x="5720532" y="6976144"/>
                  </a:lnTo>
                  <a:lnTo>
                    <a:pt x="5706240" y="6990440"/>
                  </a:lnTo>
                  <a:lnTo>
                    <a:pt x="5687176" y="6999970"/>
                  </a:lnTo>
                  <a:lnTo>
                    <a:pt x="5691944" y="7004734"/>
                  </a:lnTo>
                  <a:lnTo>
                    <a:pt x="5691944" y="7009500"/>
                  </a:lnTo>
                  <a:lnTo>
                    <a:pt x="5682412" y="7014266"/>
                  </a:lnTo>
                  <a:lnTo>
                    <a:pt x="5677648" y="7014266"/>
                  </a:lnTo>
                  <a:lnTo>
                    <a:pt x="5653820" y="7019030"/>
                  </a:lnTo>
                  <a:lnTo>
                    <a:pt x="5644292" y="7023796"/>
                  </a:lnTo>
                  <a:lnTo>
                    <a:pt x="5634760" y="7038090"/>
                  </a:lnTo>
                  <a:lnTo>
                    <a:pt x="5629996" y="7042856"/>
                  </a:lnTo>
                  <a:lnTo>
                    <a:pt x="5615700" y="7047620"/>
                  </a:lnTo>
                  <a:lnTo>
                    <a:pt x="5606172" y="7047620"/>
                  </a:lnTo>
                  <a:lnTo>
                    <a:pt x="5587112" y="7038090"/>
                  </a:lnTo>
                  <a:lnTo>
                    <a:pt x="5577580" y="7033326"/>
                  </a:lnTo>
                  <a:lnTo>
                    <a:pt x="5553756" y="7028560"/>
                  </a:lnTo>
                  <a:lnTo>
                    <a:pt x="5529928" y="7023796"/>
                  </a:lnTo>
                  <a:lnTo>
                    <a:pt x="5510868" y="7014266"/>
                  </a:lnTo>
                  <a:lnTo>
                    <a:pt x="5477512" y="6995204"/>
                  </a:lnTo>
                  <a:lnTo>
                    <a:pt x="5472748" y="6957084"/>
                  </a:lnTo>
                  <a:lnTo>
                    <a:pt x="5467980" y="6938024"/>
                  </a:lnTo>
                  <a:lnTo>
                    <a:pt x="5467980" y="6933258"/>
                  </a:lnTo>
                  <a:lnTo>
                    <a:pt x="5467980" y="6876076"/>
                  </a:lnTo>
                  <a:lnTo>
                    <a:pt x="5472748" y="6866546"/>
                  </a:lnTo>
                  <a:lnTo>
                    <a:pt x="5477512" y="6861782"/>
                  </a:lnTo>
                  <a:lnTo>
                    <a:pt x="5491808" y="6847486"/>
                  </a:lnTo>
                  <a:lnTo>
                    <a:pt x="5510868" y="6837956"/>
                  </a:lnTo>
                  <a:lnTo>
                    <a:pt x="5534692" y="6814130"/>
                  </a:lnTo>
                  <a:lnTo>
                    <a:pt x="5553756" y="6804600"/>
                  </a:lnTo>
                  <a:lnTo>
                    <a:pt x="5568048" y="6790304"/>
                  </a:lnTo>
                  <a:lnTo>
                    <a:pt x="5558520" y="6790304"/>
                  </a:lnTo>
                  <a:lnTo>
                    <a:pt x="5553756" y="6790304"/>
                  </a:lnTo>
                  <a:lnTo>
                    <a:pt x="5558520" y="6776010"/>
                  </a:lnTo>
                  <a:lnTo>
                    <a:pt x="5563284" y="6771244"/>
                  </a:lnTo>
                  <a:lnTo>
                    <a:pt x="5572816" y="6766478"/>
                  </a:lnTo>
                  <a:lnTo>
                    <a:pt x="5591876" y="6771244"/>
                  </a:lnTo>
                  <a:lnTo>
                    <a:pt x="5606172" y="6766478"/>
                  </a:lnTo>
                  <a:lnTo>
                    <a:pt x="5615700" y="6756948"/>
                  </a:lnTo>
                  <a:lnTo>
                    <a:pt x="5625232" y="6756948"/>
                  </a:lnTo>
                  <a:lnTo>
                    <a:pt x="5668116" y="6756948"/>
                  </a:lnTo>
                  <a:lnTo>
                    <a:pt x="5691944" y="6752184"/>
                  </a:lnTo>
                  <a:lnTo>
                    <a:pt x="5706240" y="6742654"/>
                  </a:lnTo>
                  <a:lnTo>
                    <a:pt x="5715768" y="6742654"/>
                  </a:lnTo>
                  <a:lnTo>
                    <a:pt x="5734828" y="6747418"/>
                  </a:lnTo>
                  <a:lnTo>
                    <a:pt x="5739596" y="6756948"/>
                  </a:lnTo>
                  <a:lnTo>
                    <a:pt x="5739596" y="6747418"/>
                  </a:lnTo>
                  <a:lnTo>
                    <a:pt x="5744360" y="6742654"/>
                  </a:lnTo>
                  <a:lnTo>
                    <a:pt x="5772952" y="6756948"/>
                  </a:lnTo>
                  <a:lnTo>
                    <a:pt x="5772952" y="6737888"/>
                  </a:lnTo>
                  <a:close/>
                  <a:moveTo>
                    <a:pt x="5730064" y="6571108"/>
                  </a:moveTo>
                  <a:lnTo>
                    <a:pt x="5739596" y="6571108"/>
                  </a:lnTo>
                  <a:lnTo>
                    <a:pt x="5749124" y="6575874"/>
                  </a:lnTo>
                  <a:lnTo>
                    <a:pt x="5763420" y="6571108"/>
                  </a:lnTo>
                  <a:lnTo>
                    <a:pt x="5763420" y="6580640"/>
                  </a:lnTo>
                  <a:lnTo>
                    <a:pt x="5758656" y="6590170"/>
                  </a:lnTo>
                  <a:lnTo>
                    <a:pt x="5749124" y="6585404"/>
                  </a:lnTo>
                  <a:lnTo>
                    <a:pt x="5734828" y="6585404"/>
                  </a:lnTo>
                  <a:lnTo>
                    <a:pt x="5725300" y="6585404"/>
                  </a:lnTo>
                  <a:lnTo>
                    <a:pt x="5720532" y="6580640"/>
                  </a:lnTo>
                  <a:close/>
                  <a:moveTo>
                    <a:pt x="6092212" y="6466276"/>
                  </a:moveTo>
                  <a:lnTo>
                    <a:pt x="6092212" y="6475806"/>
                  </a:lnTo>
                  <a:lnTo>
                    <a:pt x="6077920" y="6480572"/>
                  </a:lnTo>
                  <a:lnTo>
                    <a:pt x="6073152" y="6480572"/>
                  </a:lnTo>
                  <a:lnTo>
                    <a:pt x="6082684" y="6471040"/>
                  </a:lnTo>
                  <a:close/>
                  <a:moveTo>
                    <a:pt x="6116040" y="6456746"/>
                  </a:moveTo>
                  <a:lnTo>
                    <a:pt x="6125568" y="6456746"/>
                  </a:lnTo>
                  <a:lnTo>
                    <a:pt x="6130336" y="6461512"/>
                  </a:lnTo>
                  <a:lnTo>
                    <a:pt x="6120804" y="6466276"/>
                  </a:lnTo>
                  <a:lnTo>
                    <a:pt x="6116040" y="6485336"/>
                  </a:lnTo>
                  <a:lnTo>
                    <a:pt x="6111276" y="6485336"/>
                  </a:lnTo>
                  <a:lnTo>
                    <a:pt x="6111276" y="6480572"/>
                  </a:lnTo>
                  <a:lnTo>
                    <a:pt x="6106508" y="6471042"/>
                  </a:lnTo>
                  <a:lnTo>
                    <a:pt x="6106508" y="6466276"/>
                  </a:lnTo>
                  <a:lnTo>
                    <a:pt x="6111276" y="6461512"/>
                  </a:lnTo>
                  <a:close/>
                  <a:moveTo>
                    <a:pt x="6211340" y="6266140"/>
                  </a:moveTo>
                  <a:lnTo>
                    <a:pt x="6220872" y="6266140"/>
                  </a:lnTo>
                  <a:lnTo>
                    <a:pt x="6230404" y="6270906"/>
                  </a:lnTo>
                  <a:lnTo>
                    <a:pt x="6235168" y="6280436"/>
                  </a:lnTo>
                  <a:lnTo>
                    <a:pt x="6239932" y="6289966"/>
                  </a:lnTo>
                  <a:lnTo>
                    <a:pt x="6225636" y="6275670"/>
                  </a:lnTo>
                  <a:lnTo>
                    <a:pt x="6220872" y="6275670"/>
                  </a:lnTo>
                  <a:lnTo>
                    <a:pt x="6216108" y="6270906"/>
                  </a:lnTo>
                  <a:close/>
                  <a:moveTo>
                    <a:pt x="6992824" y="5989764"/>
                  </a:moveTo>
                  <a:lnTo>
                    <a:pt x="7002352" y="5999292"/>
                  </a:lnTo>
                  <a:lnTo>
                    <a:pt x="6997588" y="6008824"/>
                  </a:lnTo>
                  <a:lnTo>
                    <a:pt x="6978528" y="6004056"/>
                  </a:lnTo>
                  <a:lnTo>
                    <a:pt x="6973764" y="5994528"/>
                  </a:lnTo>
                  <a:lnTo>
                    <a:pt x="6983292" y="5999292"/>
                  </a:lnTo>
                  <a:close/>
                  <a:moveTo>
                    <a:pt x="6945172" y="5984996"/>
                  </a:moveTo>
                  <a:lnTo>
                    <a:pt x="6959468" y="5989764"/>
                  </a:lnTo>
                  <a:lnTo>
                    <a:pt x="6959468" y="5994528"/>
                  </a:lnTo>
                  <a:lnTo>
                    <a:pt x="6954700" y="6004060"/>
                  </a:lnTo>
                  <a:lnTo>
                    <a:pt x="6945172" y="5999292"/>
                  </a:lnTo>
                  <a:lnTo>
                    <a:pt x="6945172" y="5994528"/>
                  </a:lnTo>
                  <a:lnTo>
                    <a:pt x="6940404" y="5994528"/>
                  </a:lnTo>
                  <a:close/>
                  <a:moveTo>
                    <a:pt x="7197724" y="5794392"/>
                  </a:moveTo>
                  <a:lnTo>
                    <a:pt x="7207252" y="5794392"/>
                  </a:lnTo>
                  <a:lnTo>
                    <a:pt x="7212020" y="5799156"/>
                  </a:lnTo>
                  <a:lnTo>
                    <a:pt x="7216784" y="5799156"/>
                  </a:lnTo>
                  <a:lnTo>
                    <a:pt x="7216784" y="5803924"/>
                  </a:lnTo>
                  <a:lnTo>
                    <a:pt x="7216784" y="5808688"/>
                  </a:lnTo>
                  <a:lnTo>
                    <a:pt x="7212020" y="5818216"/>
                  </a:lnTo>
                  <a:lnTo>
                    <a:pt x="7216784" y="5822984"/>
                  </a:lnTo>
                  <a:lnTo>
                    <a:pt x="7216784" y="5827748"/>
                  </a:lnTo>
                  <a:lnTo>
                    <a:pt x="7202488" y="5837280"/>
                  </a:lnTo>
                  <a:lnTo>
                    <a:pt x="7197724" y="5832512"/>
                  </a:lnTo>
                  <a:lnTo>
                    <a:pt x="7197724" y="5822984"/>
                  </a:lnTo>
                  <a:lnTo>
                    <a:pt x="7197724" y="5808688"/>
                  </a:lnTo>
                  <a:lnTo>
                    <a:pt x="7197724" y="5803924"/>
                  </a:lnTo>
                  <a:close/>
                  <a:moveTo>
                    <a:pt x="7431212" y="5346472"/>
                  </a:moveTo>
                  <a:lnTo>
                    <a:pt x="7435980" y="5351236"/>
                  </a:lnTo>
                  <a:lnTo>
                    <a:pt x="7435980" y="5356000"/>
                  </a:lnTo>
                  <a:lnTo>
                    <a:pt x="7435980" y="5365532"/>
                  </a:lnTo>
                  <a:lnTo>
                    <a:pt x="7426448" y="5370296"/>
                  </a:lnTo>
                  <a:lnTo>
                    <a:pt x="7421684" y="5370296"/>
                  </a:lnTo>
                  <a:lnTo>
                    <a:pt x="7421684" y="5360764"/>
                  </a:lnTo>
                  <a:close/>
                  <a:moveTo>
                    <a:pt x="7564640" y="5065328"/>
                  </a:moveTo>
                  <a:lnTo>
                    <a:pt x="7574168" y="5065328"/>
                  </a:lnTo>
                  <a:lnTo>
                    <a:pt x="7578932" y="5079624"/>
                  </a:lnTo>
                  <a:lnTo>
                    <a:pt x="7583700" y="5084388"/>
                  </a:lnTo>
                  <a:lnTo>
                    <a:pt x="7569404" y="5074856"/>
                  </a:lnTo>
                  <a:lnTo>
                    <a:pt x="7559872" y="5074856"/>
                  </a:lnTo>
                  <a:close/>
                  <a:moveTo>
                    <a:pt x="7612288" y="5031972"/>
                  </a:moveTo>
                  <a:lnTo>
                    <a:pt x="7617052" y="5036736"/>
                  </a:lnTo>
                  <a:lnTo>
                    <a:pt x="7617052" y="5046268"/>
                  </a:lnTo>
                  <a:lnTo>
                    <a:pt x="7617052" y="5051032"/>
                  </a:lnTo>
                  <a:lnTo>
                    <a:pt x="7612288" y="5051032"/>
                  </a:lnTo>
                  <a:lnTo>
                    <a:pt x="7607524" y="5036736"/>
                  </a:lnTo>
                  <a:close/>
                  <a:moveTo>
                    <a:pt x="7550344" y="4998616"/>
                  </a:moveTo>
                  <a:lnTo>
                    <a:pt x="7574168" y="4998616"/>
                  </a:lnTo>
                  <a:lnTo>
                    <a:pt x="7597996" y="5012912"/>
                  </a:lnTo>
                  <a:lnTo>
                    <a:pt x="7607524" y="5017676"/>
                  </a:lnTo>
                  <a:lnTo>
                    <a:pt x="7602760" y="5031972"/>
                  </a:lnTo>
                  <a:lnTo>
                    <a:pt x="7597996" y="5036736"/>
                  </a:lnTo>
                  <a:lnTo>
                    <a:pt x="7578932" y="5027208"/>
                  </a:lnTo>
                  <a:lnTo>
                    <a:pt x="7559872" y="5022440"/>
                  </a:lnTo>
                  <a:lnTo>
                    <a:pt x="7550344" y="5012912"/>
                  </a:lnTo>
                  <a:close/>
                  <a:moveTo>
                    <a:pt x="7431212" y="4698412"/>
                  </a:moveTo>
                  <a:lnTo>
                    <a:pt x="7450276" y="4698412"/>
                  </a:lnTo>
                  <a:lnTo>
                    <a:pt x="7469336" y="4707944"/>
                  </a:lnTo>
                  <a:lnTo>
                    <a:pt x="7474100" y="4717472"/>
                  </a:lnTo>
                  <a:lnTo>
                    <a:pt x="7483632" y="4722240"/>
                  </a:lnTo>
                  <a:lnTo>
                    <a:pt x="7488396" y="4727004"/>
                  </a:lnTo>
                  <a:lnTo>
                    <a:pt x="7526516" y="4741300"/>
                  </a:lnTo>
                  <a:lnTo>
                    <a:pt x="7531280" y="4746064"/>
                  </a:lnTo>
                  <a:lnTo>
                    <a:pt x="7536048" y="4755596"/>
                  </a:lnTo>
                  <a:lnTo>
                    <a:pt x="7521752" y="4760360"/>
                  </a:lnTo>
                  <a:lnTo>
                    <a:pt x="7478864" y="4746064"/>
                  </a:lnTo>
                  <a:lnTo>
                    <a:pt x="7450276" y="4727004"/>
                  </a:lnTo>
                  <a:lnTo>
                    <a:pt x="7435980" y="4703180"/>
                  </a:lnTo>
                  <a:close/>
                  <a:moveTo>
                    <a:pt x="7736184" y="0"/>
                  </a:moveTo>
                  <a:lnTo>
                    <a:pt x="7760008" y="0"/>
                  </a:lnTo>
                  <a:lnTo>
                    <a:pt x="7779068" y="4764"/>
                  </a:lnTo>
                  <a:lnTo>
                    <a:pt x="7788600" y="4764"/>
                  </a:lnTo>
                  <a:lnTo>
                    <a:pt x="7793364" y="4764"/>
                  </a:lnTo>
                  <a:lnTo>
                    <a:pt x="7798132" y="4764"/>
                  </a:lnTo>
                  <a:lnTo>
                    <a:pt x="7807660" y="0"/>
                  </a:lnTo>
                  <a:lnTo>
                    <a:pt x="7826720" y="9528"/>
                  </a:lnTo>
                  <a:lnTo>
                    <a:pt x="7864844" y="38120"/>
                  </a:lnTo>
                  <a:lnTo>
                    <a:pt x="7893432" y="47648"/>
                  </a:lnTo>
                  <a:lnTo>
                    <a:pt x="7902964" y="47648"/>
                  </a:lnTo>
                  <a:lnTo>
                    <a:pt x="7912492" y="52416"/>
                  </a:lnTo>
                  <a:lnTo>
                    <a:pt x="7926788" y="71476"/>
                  </a:lnTo>
                  <a:lnTo>
                    <a:pt x="7941084" y="85772"/>
                  </a:lnTo>
                  <a:lnTo>
                    <a:pt x="7969676" y="90536"/>
                  </a:lnTo>
                  <a:lnTo>
                    <a:pt x="7993500" y="109596"/>
                  </a:lnTo>
                  <a:lnTo>
                    <a:pt x="8003032" y="109596"/>
                  </a:lnTo>
                  <a:lnTo>
                    <a:pt x="8007796" y="100064"/>
                  </a:lnTo>
                  <a:lnTo>
                    <a:pt x="8017324" y="90536"/>
                  </a:lnTo>
                  <a:lnTo>
                    <a:pt x="8036388" y="90536"/>
                  </a:lnTo>
                  <a:lnTo>
                    <a:pt x="8060212" y="100064"/>
                  </a:lnTo>
                  <a:lnTo>
                    <a:pt x="8088804" y="123892"/>
                  </a:lnTo>
                  <a:lnTo>
                    <a:pt x="8107864" y="128656"/>
                  </a:lnTo>
                  <a:lnTo>
                    <a:pt x="8117392" y="128656"/>
                  </a:lnTo>
                  <a:lnTo>
                    <a:pt x="8126924" y="133420"/>
                  </a:lnTo>
                  <a:lnTo>
                    <a:pt x="8131688" y="142952"/>
                  </a:lnTo>
                  <a:lnTo>
                    <a:pt x="8131688" y="152484"/>
                  </a:lnTo>
                  <a:lnTo>
                    <a:pt x="8131688" y="162012"/>
                  </a:lnTo>
                  <a:lnTo>
                    <a:pt x="8136456" y="171544"/>
                  </a:lnTo>
                  <a:lnTo>
                    <a:pt x="8145984" y="171544"/>
                  </a:lnTo>
                  <a:lnTo>
                    <a:pt x="8160280" y="176308"/>
                  </a:lnTo>
                  <a:lnTo>
                    <a:pt x="8169812" y="195368"/>
                  </a:lnTo>
                  <a:lnTo>
                    <a:pt x="8179340" y="204900"/>
                  </a:lnTo>
                  <a:lnTo>
                    <a:pt x="8188872" y="209664"/>
                  </a:lnTo>
                  <a:lnTo>
                    <a:pt x="8188872" y="223960"/>
                  </a:lnTo>
                  <a:lnTo>
                    <a:pt x="8188872" y="228724"/>
                  </a:lnTo>
                  <a:lnTo>
                    <a:pt x="8184104" y="233488"/>
                  </a:lnTo>
                  <a:lnTo>
                    <a:pt x="8184104" y="243020"/>
                  </a:lnTo>
                  <a:lnTo>
                    <a:pt x="8188872" y="252548"/>
                  </a:lnTo>
                  <a:lnTo>
                    <a:pt x="8203164" y="262080"/>
                  </a:lnTo>
                  <a:lnTo>
                    <a:pt x="8207932" y="266844"/>
                  </a:lnTo>
                  <a:lnTo>
                    <a:pt x="8212696" y="276376"/>
                  </a:lnTo>
                  <a:lnTo>
                    <a:pt x="8217460" y="285904"/>
                  </a:lnTo>
                  <a:lnTo>
                    <a:pt x="8226992" y="300200"/>
                  </a:lnTo>
                  <a:lnTo>
                    <a:pt x="8231756" y="309732"/>
                  </a:lnTo>
                  <a:lnTo>
                    <a:pt x="8231756" y="314496"/>
                  </a:lnTo>
                  <a:lnTo>
                    <a:pt x="8236524" y="324028"/>
                  </a:lnTo>
                  <a:lnTo>
                    <a:pt x="8241288" y="328792"/>
                  </a:lnTo>
                  <a:lnTo>
                    <a:pt x="8241288" y="343088"/>
                  </a:lnTo>
                  <a:lnTo>
                    <a:pt x="8241288" y="357384"/>
                  </a:lnTo>
                  <a:lnTo>
                    <a:pt x="8250816" y="366912"/>
                  </a:lnTo>
                  <a:lnTo>
                    <a:pt x="8255584" y="390740"/>
                  </a:lnTo>
                  <a:lnTo>
                    <a:pt x="8260348" y="419328"/>
                  </a:lnTo>
                  <a:lnTo>
                    <a:pt x="8284172" y="457452"/>
                  </a:lnTo>
                  <a:lnTo>
                    <a:pt x="8288940" y="476512"/>
                  </a:lnTo>
                  <a:lnTo>
                    <a:pt x="8288940" y="500336"/>
                  </a:lnTo>
                  <a:lnTo>
                    <a:pt x="8288940" y="509868"/>
                  </a:lnTo>
                  <a:lnTo>
                    <a:pt x="8303232" y="514632"/>
                  </a:lnTo>
                  <a:lnTo>
                    <a:pt x="8308000" y="524164"/>
                  </a:lnTo>
                  <a:lnTo>
                    <a:pt x="8308000" y="538456"/>
                  </a:lnTo>
                  <a:lnTo>
                    <a:pt x="8312764" y="557516"/>
                  </a:lnTo>
                  <a:lnTo>
                    <a:pt x="8312764" y="571812"/>
                  </a:lnTo>
                  <a:lnTo>
                    <a:pt x="8312764" y="586108"/>
                  </a:lnTo>
                  <a:lnTo>
                    <a:pt x="8317528" y="595640"/>
                  </a:lnTo>
                  <a:lnTo>
                    <a:pt x="8322292" y="609936"/>
                  </a:lnTo>
                  <a:lnTo>
                    <a:pt x="8322292" y="624228"/>
                  </a:lnTo>
                  <a:lnTo>
                    <a:pt x="8341356" y="652820"/>
                  </a:lnTo>
                  <a:lnTo>
                    <a:pt x="8365180" y="690940"/>
                  </a:lnTo>
                  <a:lnTo>
                    <a:pt x="8384240" y="724296"/>
                  </a:lnTo>
                  <a:lnTo>
                    <a:pt x="8389004" y="743356"/>
                  </a:lnTo>
                  <a:lnTo>
                    <a:pt x="8389004" y="762420"/>
                  </a:lnTo>
                  <a:lnTo>
                    <a:pt x="8384240" y="776712"/>
                  </a:lnTo>
                  <a:lnTo>
                    <a:pt x="8384240" y="786244"/>
                  </a:lnTo>
                  <a:lnTo>
                    <a:pt x="8389004" y="791008"/>
                  </a:lnTo>
                  <a:lnTo>
                    <a:pt x="8389004" y="800540"/>
                  </a:lnTo>
                  <a:lnTo>
                    <a:pt x="8389004" y="810068"/>
                  </a:lnTo>
                  <a:lnTo>
                    <a:pt x="8398536" y="824364"/>
                  </a:lnTo>
                  <a:lnTo>
                    <a:pt x="8427128" y="843424"/>
                  </a:lnTo>
                  <a:lnTo>
                    <a:pt x="8417596" y="876780"/>
                  </a:lnTo>
                  <a:lnTo>
                    <a:pt x="8412832" y="900608"/>
                  </a:lnTo>
                  <a:lnTo>
                    <a:pt x="8412832" y="929196"/>
                  </a:lnTo>
                  <a:lnTo>
                    <a:pt x="8422364" y="943492"/>
                  </a:lnTo>
                  <a:lnTo>
                    <a:pt x="8436656" y="953024"/>
                  </a:lnTo>
                  <a:lnTo>
                    <a:pt x="8441420" y="967320"/>
                  </a:lnTo>
                  <a:lnTo>
                    <a:pt x="8446188" y="976848"/>
                  </a:lnTo>
                  <a:lnTo>
                    <a:pt x="8465248" y="986380"/>
                  </a:lnTo>
                  <a:lnTo>
                    <a:pt x="8493840" y="1000676"/>
                  </a:lnTo>
                  <a:lnTo>
                    <a:pt x="8527196" y="1005440"/>
                  </a:lnTo>
                  <a:lnTo>
                    <a:pt x="8574844" y="995908"/>
                  </a:lnTo>
                  <a:lnTo>
                    <a:pt x="8603436" y="991144"/>
                  </a:lnTo>
                  <a:lnTo>
                    <a:pt x="8612968" y="1000676"/>
                  </a:lnTo>
                  <a:lnTo>
                    <a:pt x="8617732" y="1005440"/>
                  </a:lnTo>
                  <a:lnTo>
                    <a:pt x="8612968" y="1019736"/>
                  </a:lnTo>
                  <a:lnTo>
                    <a:pt x="8622496" y="1024500"/>
                  </a:lnTo>
                  <a:lnTo>
                    <a:pt x="8636792" y="1029264"/>
                  </a:lnTo>
                  <a:lnTo>
                    <a:pt x="8651088" y="1034032"/>
                  </a:lnTo>
                  <a:lnTo>
                    <a:pt x="8660620" y="1048328"/>
                  </a:lnTo>
                  <a:lnTo>
                    <a:pt x="8665384" y="1048328"/>
                  </a:lnTo>
                  <a:lnTo>
                    <a:pt x="8674916" y="1043560"/>
                  </a:lnTo>
                  <a:lnTo>
                    <a:pt x="8689208" y="1048328"/>
                  </a:lnTo>
                  <a:lnTo>
                    <a:pt x="8698740" y="1053092"/>
                  </a:lnTo>
                  <a:lnTo>
                    <a:pt x="8703504" y="1048328"/>
                  </a:lnTo>
                  <a:lnTo>
                    <a:pt x="8708268" y="1043560"/>
                  </a:lnTo>
                  <a:lnTo>
                    <a:pt x="8727332" y="1043560"/>
                  </a:lnTo>
                  <a:lnTo>
                    <a:pt x="8732096" y="1057856"/>
                  </a:lnTo>
                  <a:lnTo>
                    <a:pt x="8741624" y="1067388"/>
                  </a:lnTo>
                  <a:lnTo>
                    <a:pt x="8751156" y="1072152"/>
                  </a:lnTo>
                  <a:lnTo>
                    <a:pt x="8770216" y="1091212"/>
                  </a:lnTo>
                  <a:lnTo>
                    <a:pt x="8808336" y="1143628"/>
                  </a:lnTo>
                  <a:lnTo>
                    <a:pt x="8836928" y="1162688"/>
                  </a:lnTo>
                  <a:lnTo>
                    <a:pt x="8860756" y="1167456"/>
                  </a:lnTo>
                  <a:lnTo>
                    <a:pt x="8889344" y="1167456"/>
                  </a:lnTo>
                  <a:lnTo>
                    <a:pt x="8903640" y="1191280"/>
                  </a:lnTo>
                  <a:lnTo>
                    <a:pt x="8894108" y="1210340"/>
                  </a:lnTo>
                  <a:lnTo>
                    <a:pt x="8889344" y="1229400"/>
                  </a:lnTo>
                  <a:lnTo>
                    <a:pt x="8898876" y="1238932"/>
                  </a:lnTo>
                  <a:lnTo>
                    <a:pt x="8908404" y="1257992"/>
                  </a:lnTo>
                  <a:lnTo>
                    <a:pt x="8922700" y="1272288"/>
                  </a:lnTo>
                  <a:lnTo>
                    <a:pt x="8922700" y="1281816"/>
                  </a:lnTo>
                  <a:lnTo>
                    <a:pt x="8932232" y="1291348"/>
                  </a:lnTo>
                  <a:lnTo>
                    <a:pt x="8927464" y="1315172"/>
                  </a:lnTo>
                  <a:lnTo>
                    <a:pt x="8917936" y="1343764"/>
                  </a:lnTo>
                  <a:lnTo>
                    <a:pt x="8917936" y="1367588"/>
                  </a:lnTo>
                  <a:lnTo>
                    <a:pt x="8936996" y="1386652"/>
                  </a:lnTo>
                  <a:lnTo>
                    <a:pt x="8946524" y="1410476"/>
                  </a:lnTo>
                  <a:lnTo>
                    <a:pt x="8951292" y="1429536"/>
                  </a:lnTo>
                  <a:lnTo>
                    <a:pt x="8956056" y="1439068"/>
                  </a:lnTo>
                  <a:lnTo>
                    <a:pt x="8960820" y="1443832"/>
                  </a:lnTo>
                  <a:lnTo>
                    <a:pt x="8979884" y="1443832"/>
                  </a:lnTo>
                  <a:lnTo>
                    <a:pt x="9013236" y="1434300"/>
                  </a:lnTo>
                  <a:lnTo>
                    <a:pt x="9032300" y="1439068"/>
                  </a:lnTo>
                  <a:lnTo>
                    <a:pt x="9046596" y="1448596"/>
                  </a:lnTo>
                  <a:lnTo>
                    <a:pt x="9084716" y="1448596"/>
                  </a:lnTo>
                  <a:lnTo>
                    <a:pt x="9141896" y="1439068"/>
                  </a:lnTo>
                  <a:lnTo>
                    <a:pt x="9175252" y="1434300"/>
                  </a:lnTo>
                  <a:lnTo>
                    <a:pt x="9189548" y="1439068"/>
                  </a:lnTo>
                  <a:lnTo>
                    <a:pt x="9203844" y="1424772"/>
                  </a:lnTo>
                  <a:lnTo>
                    <a:pt x="9218140" y="1396180"/>
                  </a:lnTo>
                  <a:lnTo>
                    <a:pt x="9227668" y="1386652"/>
                  </a:lnTo>
                  <a:lnTo>
                    <a:pt x="9237200" y="1386652"/>
                  </a:lnTo>
                  <a:lnTo>
                    <a:pt x="9256260" y="1377120"/>
                  </a:lnTo>
                  <a:lnTo>
                    <a:pt x="9275320" y="1358060"/>
                  </a:lnTo>
                  <a:lnTo>
                    <a:pt x="9294380" y="1348528"/>
                  </a:lnTo>
                  <a:lnTo>
                    <a:pt x="9318204" y="1348528"/>
                  </a:lnTo>
                  <a:lnTo>
                    <a:pt x="9346796" y="1348528"/>
                  </a:lnTo>
                  <a:lnTo>
                    <a:pt x="9361092" y="1343764"/>
                  </a:lnTo>
                  <a:lnTo>
                    <a:pt x="9380152" y="1324704"/>
                  </a:lnTo>
                  <a:lnTo>
                    <a:pt x="9403980" y="1310408"/>
                  </a:lnTo>
                  <a:lnTo>
                    <a:pt x="9461160" y="1286584"/>
                  </a:lnTo>
                  <a:lnTo>
                    <a:pt x="9475456" y="1286584"/>
                  </a:lnTo>
                  <a:lnTo>
                    <a:pt x="9480220" y="1286584"/>
                  </a:lnTo>
                  <a:lnTo>
                    <a:pt x="9499280" y="1291348"/>
                  </a:lnTo>
                  <a:lnTo>
                    <a:pt x="9518340" y="1296112"/>
                  </a:lnTo>
                  <a:lnTo>
                    <a:pt x="9532636" y="1315172"/>
                  </a:lnTo>
                  <a:lnTo>
                    <a:pt x="9537404" y="1324704"/>
                  </a:lnTo>
                  <a:lnTo>
                    <a:pt x="9532636" y="1339000"/>
                  </a:lnTo>
                  <a:lnTo>
                    <a:pt x="9532636" y="1343764"/>
                  </a:lnTo>
                  <a:lnTo>
                    <a:pt x="9523108" y="1353296"/>
                  </a:lnTo>
                  <a:lnTo>
                    <a:pt x="9518340" y="1367588"/>
                  </a:lnTo>
                  <a:lnTo>
                    <a:pt x="9523108" y="1377120"/>
                  </a:lnTo>
                  <a:lnTo>
                    <a:pt x="9532636" y="1400944"/>
                  </a:lnTo>
                  <a:lnTo>
                    <a:pt x="9537404" y="1420004"/>
                  </a:lnTo>
                  <a:lnTo>
                    <a:pt x="9546932" y="1439068"/>
                  </a:lnTo>
                  <a:lnTo>
                    <a:pt x="9542168" y="1443832"/>
                  </a:lnTo>
                  <a:lnTo>
                    <a:pt x="9537404" y="1458128"/>
                  </a:lnTo>
                  <a:lnTo>
                    <a:pt x="9523108" y="1481952"/>
                  </a:lnTo>
                  <a:lnTo>
                    <a:pt x="9504044" y="1501012"/>
                  </a:lnTo>
                  <a:lnTo>
                    <a:pt x="9489748" y="1501012"/>
                  </a:lnTo>
                  <a:lnTo>
                    <a:pt x="9484984" y="1505780"/>
                  </a:lnTo>
                  <a:lnTo>
                    <a:pt x="9475456" y="1510544"/>
                  </a:lnTo>
                  <a:lnTo>
                    <a:pt x="9470692" y="1515308"/>
                  </a:lnTo>
                  <a:lnTo>
                    <a:pt x="9465924" y="1524840"/>
                  </a:lnTo>
                  <a:lnTo>
                    <a:pt x="9456396" y="1534368"/>
                  </a:lnTo>
                  <a:lnTo>
                    <a:pt x="9456396" y="1543900"/>
                  </a:lnTo>
                  <a:lnTo>
                    <a:pt x="9461160" y="1558196"/>
                  </a:lnTo>
                  <a:lnTo>
                    <a:pt x="9461160" y="1572492"/>
                  </a:lnTo>
                  <a:lnTo>
                    <a:pt x="9451628" y="1586784"/>
                  </a:lnTo>
                  <a:lnTo>
                    <a:pt x="9442100" y="1610612"/>
                  </a:lnTo>
                  <a:lnTo>
                    <a:pt x="9442100" y="1615376"/>
                  </a:lnTo>
                  <a:lnTo>
                    <a:pt x="9437332" y="1629672"/>
                  </a:lnTo>
                  <a:lnTo>
                    <a:pt x="9437332" y="1634436"/>
                  </a:lnTo>
                  <a:lnTo>
                    <a:pt x="9432568" y="1667792"/>
                  </a:lnTo>
                  <a:lnTo>
                    <a:pt x="9423040" y="1691620"/>
                  </a:lnTo>
                  <a:lnTo>
                    <a:pt x="9408744" y="1720208"/>
                  </a:lnTo>
                  <a:lnTo>
                    <a:pt x="9413508" y="1734504"/>
                  </a:lnTo>
                  <a:lnTo>
                    <a:pt x="9413508" y="1748800"/>
                  </a:lnTo>
                  <a:lnTo>
                    <a:pt x="9408744" y="1753564"/>
                  </a:lnTo>
                  <a:lnTo>
                    <a:pt x="9408744" y="1763096"/>
                  </a:lnTo>
                  <a:lnTo>
                    <a:pt x="9408744" y="1772624"/>
                  </a:lnTo>
                  <a:lnTo>
                    <a:pt x="9403980" y="1782156"/>
                  </a:lnTo>
                  <a:lnTo>
                    <a:pt x="9389684" y="1786920"/>
                  </a:lnTo>
                  <a:lnTo>
                    <a:pt x="9380152" y="1801216"/>
                  </a:lnTo>
                  <a:lnTo>
                    <a:pt x="9384916" y="1815512"/>
                  </a:lnTo>
                  <a:lnTo>
                    <a:pt x="9380152" y="1829808"/>
                  </a:lnTo>
                  <a:lnTo>
                    <a:pt x="9375388" y="1839336"/>
                  </a:lnTo>
                  <a:lnTo>
                    <a:pt x="9370620" y="1848868"/>
                  </a:lnTo>
                  <a:lnTo>
                    <a:pt x="9361092" y="1853632"/>
                  </a:lnTo>
                  <a:lnTo>
                    <a:pt x="9351564" y="1858396"/>
                  </a:lnTo>
                  <a:lnTo>
                    <a:pt x="9351564" y="1872692"/>
                  </a:lnTo>
                  <a:lnTo>
                    <a:pt x="9346796" y="1886988"/>
                  </a:lnTo>
                  <a:lnTo>
                    <a:pt x="9342032" y="1896520"/>
                  </a:lnTo>
                  <a:lnTo>
                    <a:pt x="9346796" y="1910816"/>
                  </a:lnTo>
                  <a:lnTo>
                    <a:pt x="9342032" y="1920344"/>
                  </a:lnTo>
                  <a:lnTo>
                    <a:pt x="9327736" y="1925108"/>
                  </a:lnTo>
                  <a:lnTo>
                    <a:pt x="9322972" y="1929876"/>
                  </a:lnTo>
                  <a:lnTo>
                    <a:pt x="9313440" y="1934640"/>
                  </a:lnTo>
                  <a:lnTo>
                    <a:pt x="9303908" y="1944168"/>
                  </a:lnTo>
                  <a:lnTo>
                    <a:pt x="9289616" y="1982292"/>
                  </a:lnTo>
                  <a:lnTo>
                    <a:pt x="9289616" y="2006116"/>
                  </a:lnTo>
                  <a:lnTo>
                    <a:pt x="9289616" y="2025176"/>
                  </a:lnTo>
                  <a:lnTo>
                    <a:pt x="9275320" y="2039472"/>
                  </a:lnTo>
                  <a:lnTo>
                    <a:pt x="9261024" y="2049004"/>
                  </a:lnTo>
                  <a:lnTo>
                    <a:pt x="9256260" y="2044236"/>
                  </a:lnTo>
                  <a:lnTo>
                    <a:pt x="9246728" y="2039472"/>
                  </a:lnTo>
                  <a:lnTo>
                    <a:pt x="9241964" y="2039472"/>
                  </a:lnTo>
                  <a:lnTo>
                    <a:pt x="9241964" y="2020412"/>
                  </a:lnTo>
                  <a:lnTo>
                    <a:pt x="9232436" y="2001352"/>
                  </a:lnTo>
                  <a:lnTo>
                    <a:pt x="9208608" y="1987056"/>
                  </a:lnTo>
                  <a:lnTo>
                    <a:pt x="9180016" y="1982292"/>
                  </a:lnTo>
                  <a:lnTo>
                    <a:pt x="9151428" y="1982292"/>
                  </a:lnTo>
                  <a:lnTo>
                    <a:pt x="9127600" y="1991820"/>
                  </a:lnTo>
                  <a:lnTo>
                    <a:pt x="9122836" y="2001352"/>
                  </a:lnTo>
                  <a:lnTo>
                    <a:pt x="9113304" y="2001352"/>
                  </a:lnTo>
                  <a:lnTo>
                    <a:pt x="9103776" y="1991820"/>
                  </a:lnTo>
                  <a:lnTo>
                    <a:pt x="9094244" y="1982292"/>
                  </a:lnTo>
                  <a:lnTo>
                    <a:pt x="9084716" y="1987056"/>
                  </a:lnTo>
                  <a:lnTo>
                    <a:pt x="9075184" y="2001352"/>
                  </a:lnTo>
                  <a:lnTo>
                    <a:pt x="9060888" y="2006116"/>
                  </a:lnTo>
                  <a:lnTo>
                    <a:pt x="9056124" y="2025176"/>
                  </a:lnTo>
                  <a:lnTo>
                    <a:pt x="9051360" y="2034708"/>
                  </a:lnTo>
                  <a:lnTo>
                    <a:pt x="9037064" y="2049004"/>
                  </a:lnTo>
                  <a:lnTo>
                    <a:pt x="9032300" y="2058532"/>
                  </a:lnTo>
                  <a:lnTo>
                    <a:pt x="9003708" y="2068064"/>
                  </a:lnTo>
                  <a:lnTo>
                    <a:pt x="8998940" y="2072828"/>
                  </a:lnTo>
                  <a:lnTo>
                    <a:pt x="8975116" y="2072828"/>
                  </a:lnTo>
                  <a:lnTo>
                    <a:pt x="8965588" y="2077592"/>
                  </a:lnTo>
                  <a:lnTo>
                    <a:pt x="8956056" y="2087124"/>
                  </a:lnTo>
                  <a:lnTo>
                    <a:pt x="8956056" y="2096656"/>
                  </a:lnTo>
                  <a:lnTo>
                    <a:pt x="8960820" y="2106184"/>
                  </a:lnTo>
                  <a:lnTo>
                    <a:pt x="8970352" y="2130008"/>
                  </a:lnTo>
                  <a:lnTo>
                    <a:pt x="8975116" y="2144304"/>
                  </a:lnTo>
                  <a:lnTo>
                    <a:pt x="8979884" y="2168132"/>
                  </a:lnTo>
                  <a:lnTo>
                    <a:pt x="8998940" y="2258668"/>
                  </a:lnTo>
                  <a:lnTo>
                    <a:pt x="8994176" y="2272964"/>
                  </a:lnTo>
                  <a:lnTo>
                    <a:pt x="8989412" y="2334912"/>
                  </a:lnTo>
                  <a:lnTo>
                    <a:pt x="8989412" y="2349204"/>
                  </a:lnTo>
                  <a:lnTo>
                    <a:pt x="8989412" y="2368268"/>
                  </a:lnTo>
                  <a:lnTo>
                    <a:pt x="8989412" y="2377796"/>
                  </a:lnTo>
                  <a:lnTo>
                    <a:pt x="8994176" y="2382560"/>
                  </a:lnTo>
                  <a:lnTo>
                    <a:pt x="8998940" y="2387328"/>
                  </a:lnTo>
                  <a:lnTo>
                    <a:pt x="9003708" y="2396856"/>
                  </a:lnTo>
                  <a:lnTo>
                    <a:pt x="8998940" y="2406388"/>
                  </a:lnTo>
                  <a:lnTo>
                    <a:pt x="8998940" y="2415916"/>
                  </a:lnTo>
                  <a:lnTo>
                    <a:pt x="8994176" y="2434980"/>
                  </a:lnTo>
                  <a:lnTo>
                    <a:pt x="8989412" y="2458804"/>
                  </a:lnTo>
                  <a:lnTo>
                    <a:pt x="8979884" y="2468332"/>
                  </a:lnTo>
                  <a:lnTo>
                    <a:pt x="8979884" y="2473100"/>
                  </a:lnTo>
                  <a:lnTo>
                    <a:pt x="8975116" y="2477864"/>
                  </a:lnTo>
                  <a:lnTo>
                    <a:pt x="8975116" y="2496924"/>
                  </a:lnTo>
                  <a:lnTo>
                    <a:pt x="8970352" y="2511220"/>
                  </a:lnTo>
                  <a:lnTo>
                    <a:pt x="8960820" y="2511220"/>
                  </a:lnTo>
                  <a:lnTo>
                    <a:pt x="8951292" y="2520752"/>
                  </a:lnTo>
                  <a:lnTo>
                    <a:pt x="8941760" y="2515984"/>
                  </a:lnTo>
                  <a:lnTo>
                    <a:pt x="8932232" y="2520752"/>
                  </a:lnTo>
                  <a:lnTo>
                    <a:pt x="8917936" y="2520752"/>
                  </a:lnTo>
                  <a:lnTo>
                    <a:pt x="8894108" y="2530280"/>
                  </a:lnTo>
                  <a:lnTo>
                    <a:pt x="8879812" y="2535044"/>
                  </a:lnTo>
                  <a:lnTo>
                    <a:pt x="8875048" y="2539812"/>
                  </a:lnTo>
                  <a:lnTo>
                    <a:pt x="8870284" y="2544576"/>
                  </a:lnTo>
                  <a:lnTo>
                    <a:pt x="8870284" y="2554108"/>
                  </a:lnTo>
                  <a:lnTo>
                    <a:pt x="8875048" y="2554108"/>
                  </a:lnTo>
                  <a:lnTo>
                    <a:pt x="8884580" y="2558872"/>
                  </a:lnTo>
                  <a:lnTo>
                    <a:pt x="8894108" y="2568400"/>
                  </a:lnTo>
                  <a:lnTo>
                    <a:pt x="8894108" y="2577932"/>
                  </a:lnTo>
                  <a:lnTo>
                    <a:pt x="8889344" y="2587464"/>
                  </a:lnTo>
                  <a:lnTo>
                    <a:pt x="8884580" y="2577932"/>
                  </a:lnTo>
                  <a:lnTo>
                    <a:pt x="8875048" y="2577932"/>
                  </a:lnTo>
                  <a:lnTo>
                    <a:pt x="8860756" y="2568400"/>
                  </a:lnTo>
                  <a:lnTo>
                    <a:pt x="8851224" y="2554108"/>
                  </a:lnTo>
                  <a:lnTo>
                    <a:pt x="8841692" y="2544576"/>
                  </a:lnTo>
                  <a:lnTo>
                    <a:pt x="8841692" y="2515984"/>
                  </a:lnTo>
                  <a:lnTo>
                    <a:pt x="8841692" y="2511220"/>
                  </a:lnTo>
                  <a:lnTo>
                    <a:pt x="8827396" y="2506456"/>
                  </a:lnTo>
                  <a:lnTo>
                    <a:pt x="8822632" y="2496924"/>
                  </a:lnTo>
                  <a:lnTo>
                    <a:pt x="8817868" y="2492160"/>
                  </a:lnTo>
                  <a:lnTo>
                    <a:pt x="8808336" y="2496924"/>
                  </a:lnTo>
                  <a:lnTo>
                    <a:pt x="8803572" y="2492160"/>
                  </a:lnTo>
                  <a:lnTo>
                    <a:pt x="8794044" y="2487396"/>
                  </a:lnTo>
                  <a:lnTo>
                    <a:pt x="8789276" y="2487396"/>
                  </a:lnTo>
                  <a:lnTo>
                    <a:pt x="8784512" y="2496924"/>
                  </a:lnTo>
                  <a:lnTo>
                    <a:pt x="8779748" y="2511220"/>
                  </a:lnTo>
                  <a:lnTo>
                    <a:pt x="8770216" y="2535044"/>
                  </a:lnTo>
                  <a:lnTo>
                    <a:pt x="8770216" y="2549340"/>
                  </a:lnTo>
                  <a:lnTo>
                    <a:pt x="8765452" y="2573168"/>
                  </a:lnTo>
                  <a:lnTo>
                    <a:pt x="8760684" y="2601756"/>
                  </a:lnTo>
                  <a:lnTo>
                    <a:pt x="8755920" y="2606524"/>
                  </a:lnTo>
                  <a:lnTo>
                    <a:pt x="8746392" y="2606524"/>
                  </a:lnTo>
                  <a:lnTo>
                    <a:pt x="8741624" y="2606524"/>
                  </a:lnTo>
                  <a:lnTo>
                    <a:pt x="8736860" y="2616052"/>
                  </a:lnTo>
                  <a:lnTo>
                    <a:pt x="8732096" y="2620820"/>
                  </a:lnTo>
                  <a:lnTo>
                    <a:pt x="8722564" y="2611288"/>
                  </a:lnTo>
                  <a:lnTo>
                    <a:pt x="8713036" y="2606524"/>
                  </a:lnTo>
                  <a:lnTo>
                    <a:pt x="8703504" y="2606524"/>
                  </a:lnTo>
                  <a:lnTo>
                    <a:pt x="8698740" y="2611288"/>
                  </a:lnTo>
                  <a:lnTo>
                    <a:pt x="8689208" y="2625584"/>
                  </a:lnTo>
                  <a:lnTo>
                    <a:pt x="8684444" y="2635112"/>
                  </a:lnTo>
                  <a:lnTo>
                    <a:pt x="8679680" y="2644644"/>
                  </a:lnTo>
                  <a:lnTo>
                    <a:pt x="8679680" y="2654172"/>
                  </a:lnTo>
                  <a:lnTo>
                    <a:pt x="8670148" y="2663704"/>
                  </a:lnTo>
                  <a:lnTo>
                    <a:pt x="8660620" y="2668468"/>
                  </a:lnTo>
                  <a:lnTo>
                    <a:pt x="8641556" y="2687528"/>
                  </a:lnTo>
                  <a:lnTo>
                    <a:pt x="8636792" y="2692296"/>
                  </a:lnTo>
                  <a:lnTo>
                    <a:pt x="8608204" y="2692296"/>
                  </a:lnTo>
                  <a:lnTo>
                    <a:pt x="8589140" y="2697060"/>
                  </a:lnTo>
                  <a:lnTo>
                    <a:pt x="8560552" y="2697060"/>
                  </a:lnTo>
                  <a:lnTo>
                    <a:pt x="8541492" y="2692296"/>
                  </a:lnTo>
                  <a:lnTo>
                    <a:pt x="8517664" y="2697060"/>
                  </a:lnTo>
                  <a:lnTo>
                    <a:pt x="8498604" y="2701824"/>
                  </a:lnTo>
                  <a:lnTo>
                    <a:pt x="8498604" y="2711356"/>
                  </a:lnTo>
                  <a:lnTo>
                    <a:pt x="8498604" y="2720884"/>
                  </a:lnTo>
                  <a:lnTo>
                    <a:pt x="8503368" y="2730416"/>
                  </a:lnTo>
                  <a:lnTo>
                    <a:pt x="8508132" y="2735180"/>
                  </a:lnTo>
                  <a:lnTo>
                    <a:pt x="8512900" y="2749476"/>
                  </a:lnTo>
                  <a:lnTo>
                    <a:pt x="8522428" y="2763772"/>
                  </a:lnTo>
                  <a:lnTo>
                    <a:pt x="8531960" y="2773304"/>
                  </a:lnTo>
                  <a:lnTo>
                    <a:pt x="8536724" y="2782832"/>
                  </a:lnTo>
                  <a:lnTo>
                    <a:pt x="8536724" y="2792364"/>
                  </a:lnTo>
                  <a:lnTo>
                    <a:pt x="8531960" y="2801892"/>
                  </a:lnTo>
                  <a:lnTo>
                    <a:pt x="8522428" y="2820952"/>
                  </a:lnTo>
                  <a:lnTo>
                    <a:pt x="8517664" y="2825720"/>
                  </a:lnTo>
                  <a:lnTo>
                    <a:pt x="8508132" y="2825720"/>
                  </a:lnTo>
                  <a:lnTo>
                    <a:pt x="8503368" y="2820952"/>
                  </a:lnTo>
                  <a:lnTo>
                    <a:pt x="8493840" y="2816188"/>
                  </a:lnTo>
                  <a:lnTo>
                    <a:pt x="8479544" y="2811424"/>
                  </a:lnTo>
                  <a:lnTo>
                    <a:pt x="8441420" y="2816188"/>
                  </a:lnTo>
                  <a:lnTo>
                    <a:pt x="8427128" y="2811424"/>
                  </a:lnTo>
                  <a:lnTo>
                    <a:pt x="8417596" y="2806660"/>
                  </a:lnTo>
                  <a:lnTo>
                    <a:pt x="8403300" y="2806660"/>
                  </a:lnTo>
                  <a:lnTo>
                    <a:pt x="8379476" y="2801892"/>
                  </a:lnTo>
                  <a:lnTo>
                    <a:pt x="8365180" y="2797128"/>
                  </a:lnTo>
                  <a:lnTo>
                    <a:pt x="8355652" y="2792364"/>
                  </a:lnTo>
                  <a:lnTo>
                    <a:pt x="8355652" y="2782832"/>
                  </a:lnTo>
                  <a:lnTo>
                    <a:pt x="8350884" y="2773304"/>
                  </a:lnTo>
                  <a:lnTo>
                    <a:pt x="8346120" y="2763772"/>
                  </a:lnTo>
                  <a:lnTo>
                    <a:pt x="8336588" y="2754240"/>
                  </a:lnTo>
                  <a:lnTo>
                    <a:pt x="8327060" y="2749476"/>
                  </a:lnTo>
                  <a:lnTo>
                    <a:pt x="8322292" y="2744712"/>
                  </a:lnTo>
                  <a:lnTo>
                    <a:pt x="8312764" y="2754240"/>
                  </a:lnTo>
                  <a:lnTo>
                    <a:pt x="8303232" y="2759008"/>
                  </a:lnTo>
                  <a:lnTo>
                    <a:pt x="8298468" y="2759008"/>
                  </a:lnTo>
                  <a:lnTo>
                    <a:pt x="8293704" y="2759008"/>
                  </a:lnTo>
                  <a:lnTo>
                    <a:pt x="8288940" y="2763772"/>
                  </a:lnTo>
                  <a:lnTo>
                    <a:pt x="8274644" y="2773304"/>
                  </a:lnTo>
                  <a:lnTo>
                    <a:pt x="8269876" y="2782832"/>
                  </a:lnTo>
                  <a:lnTo>
                    <a:pt x="8265112" y="2806660"/>
                  </a:lnTo>
                  <a:lnTo>
                    <a:pt x="8260348" y="2825720"/>
                  </a:lnTo>
                  <a:lnTo>
                    <a:pt x="8255584" y="2835248"/>
                  </a:lnTo>
                  <a:lnTo>
                    <a:pt x="8250816" y="2835248"/>
                  </a:lnTo>
                  <a:lnTo>
                    <a:pt x="8246052" y="2840012"/>
                  </a:lnTo>
                  <a:lnTo>
                    <a:pt x="8231756" y="2863840"/>
                  </a:lnTo>
                  <a:lnTo>
                    <a:pt x="8217460" y="2878136"/>
                  </a:lnTo>
                  <a:lnTo>
                    <a:pt x="8203164" y="2892432"/>
                  </a:lnTo>
                  <a:lnTo>
                    <a:pt x="8193636" y="2901960"/>
                  </a:lnTo>
                  <a:lnTo>
                    <a:pt x="8188872" y="2911492"/>
                  </a:lnTo>
                  <a:lnTo>
                    <a:pt x="8179340" y="2925788"/>
                  </a:lnTo>
                  <a:lnTo>
                    <a:pt x="8160280" y="2930552"/>
                  </a:lnTo>
                  <a:lnTo>
                    <a:pt x="8145984" y="2935316"/>
                  </a:lnTo>
                  <a:lnTo>
                    <a:pt x="8136456" y="2935316"/>
                  </a:lnTo>
                  <a:lnTo>
                    <a:pt x="8131688" y="2940080"/>
                  </a:lnTo>
                  <a:lnTo>
                    <a:pt x="8126924" y="2949612"/>
                  </a:lnTo>
                  <a:lnTo>
                    <a:pt x="8122160" y="2954376"/>
                  </a:lnTo>
                  <a:lnTo>
                    <a:pt x="8117392" y="2954376"/>
                  </a:lnTo>
                  <a:lnTo>
                    <a:pt x="8107864" y="2963908"/>
                  </a:lnTo>
                  <a:lnTo>
                    <a:pt x="8088804" y="2978204"/>
                  </a:lnTo>
                  <a:lnTo>
                    <a:pt x="8074508" y="2982968"/>
                  </a:lnTo>
                  <a:lnTo>
                    <a:pt x="8050684" y="2992496"/>
                  </a:lnTo>
                  <a:lnTo>
                    <a:pt x="8036388" y="3002028"/>
                  </a:lnTo>
                  <a:lnTo>
                    <a:pt x="8026856" y="3006792"/>
                  </a:lnTo>
                  <a:lnTo>
                    <a:pt x="8026856" y="3011560"/>
                  </a:lnTo>
                  <a:lnTo>
                    <a:pt x="8022092" y="3021088"/>
                  </a:lnTo>
                  <a:lnTo>
                    <a:pt x="8017324" y="3021088"/>
                  </a:lnTo>
                  <a:lnTo>
                    <a:pt x="8007796" y="3021088"/>
                  </a:lnTo>
                  <a:lnTo>
                    <a:pt x="7988736" y="3035384"/>
                  </a:lnTo>
                  <a:lnTo>
                    <a:pt x="7979204" y="3049680"/>
                  </a:lnTo>
                  <a:lnTo>
                    <a:pt x="7941084" y="3078272"/>
                  </a:lnTo>
                  <a:lnTo>
                    <a:pt x="7926788" y="3092564"/>
                  </a:lnTo>
                  <a:lnTo>
                    <a:pt x="7922024" y="3111628"/>
                  </a:lnTo>
                  <a:lnTo>
                    <a:pt x="7907728" y="3130688"/>
                  </a:lnTo>
                  <a:lnTo>
                    <a:pt x="7883904" y="3144984"/>
                  </a:lnTo>
                  <a:lnTo>
                    <a:pt x="7831484" y="3149748"/>
                  </a:lnTo>
                  <a:lnTo>
                    <a:pt x="7812424" y="3140216"/>
                  </a:lnTo>
                  <a:lnTo>
                    <a:pt x="7807660" y="3144984"/>
                  </a:lnTo>
                  <a:lnTo>
                    <a:pt x="7802896" y="3159276"/>
                  </a:lnTo>
                  <a:lnTo>
                    <a:pt x="7788600" y="3159276"/>
                  </a:lnTo>
                  <a:lnTo>
                    <a:pt x="7764776" y="3164044"/>
                  </a:lnTo>
                  <a:lnTo>
                    <a:pt x="7755244" y="3168808"/>
                  </a:lnTo>
                  <a:lnTo>
                    <a:pt x="7745716" y="3178336"/>
                  </a:lnTo>
                  <a:lnTo>
                    <a:pt x="7717124" y="3178336"/>
                  </a:lnTo>
                  <a:lnTo>
                    <a:pt x="7707592" y="3192632"/>
                  </a:lnTo>
                  <a:lnTo>
                    <a:pt x="7688532" y="3197400"/>
                  </a:lnTo>
                  <a:lnTo>
                    <a:pt x="7607524" y="3240284"/>
                  </a:lnTo>
                  <a:lnTo>
                    <a:pt x="7588464" y="3264112"/>
                  </a:lnTo>
                  <a:lnTo>
                    <a:pt x="7574168" y="3283172"/>
                  </a:lnTo>
                  <a:lnTo>
                    <a:pt x="7564640" y="3297468"/>
                  </a:lnTo>
                  <a:lnTo>
                    <a:pt x="7550344" y="3306996"/>
                  </a:lnTo>
                  <a:lnTo>
                    <a:pt x="7540812" y="3306996"/>
                  </a:lnTo>
                  <a:lnTo>
                    <a:pt x="7536048" y="3316528"/>
                  </a:lnTo>
                  <a:lnTo>
                    <a:pt x="7526516" y="3316528"/>
                  </a:lnTo>
                  <a:lnTo>
                    <a:pt x="7516988" y="3316528"/>
                  </a:lnTo>
                  <a:lnTo>
                    <a:pt x="7502692" y="3316528"/>
                  </a:lnTo>
                  <a:lnTo>
                    <a:pt x="7497928" y="3326056"/>
                  </a:lnTo>
                  <a:lnTo>
                    <a:pt x="7502692" y="3335588"/>
                  </a:lnTo>
                  <a:lnTo>
                    <a:pt x="7502692" y="3345116"/>
                  </a:lnTo>
                  <a:lnTo>
                    <a:pt x="7478868" y="3349884"/>
                  </a:lnTo>
                  <a:lnTo>
                    <a:pt x="7450276" y="3354648"/>
                  </a:lnTo>
                  <a:lnTo>
                    <a:pt x="7435980" y="3364176"/>
                  </a:lnTo>
                  <a:lnTo>
                    <a:pt x="7431216" y="3368944"/>
                  </a:lnTo>
                  <a:lnTo>
                    <a:pt x="7426452" y="3368944"/>
                  </a:lnTo>
                  <a:lnTo>
                    <a:pt x="7416920" y="3354648"/>
                  </a:lnTo>
                  <a:lnTo>
                    <a:pt x="7416920" y="3330820"/>
                  </a:lnTo>
                  <a:lnTo>
                    <a:pt x="7426452" y="3326056"/>
                  </a:lnTo>
                  <a:lnTo>
                    <a:pt x="7440744" y="3326056"/>
                  </a:lnTo>
                  <a:lnTo>
                    <a:pt x="7502692" y="3292700"/>
                  </a:lnTo>
                  <a:lnTo>
                    <a:pt x="7497928" y="3273640"/>
                  </a:lnTo>
                  <a:lnTo>
                    <a:pt x="7502692" y="3264112"/>
                  </a:lnTo>
                  <a:lnTo>
                    <a:pt x="7516988" y="3245048"/>
                  </a:lnTo>
                  <a:lnTo>
                    <a:pt x="7526516" y="3240284"/>
                  </a:lnTo>
                  <a:lnTo>
                    <a:pt x="7521752" y="3235520"/>
                  </a:lnTo>
                  <a:lnTo>
                    <a:pt x="7478868" y="3240284"/>
                  </a:lnTo>
                  <a:lnTo>
                    <a:pt x="7455040" y="3240284"/>
                  </a:lnTo>
                  <a:lnTo>
                    <a:pt x="7440744" y="3240284"/>
                  </a:lnTo>
                  <a:lnTo>
                    <a:pt x="7445512" y="3225988"/>
                  </a:lnTo>
                  <a:lnTo>
                    <a:pt x="7445512" y="3211692"/>
                  </a:lnTo>
                  <a:lnTo>
                    <a:pt x="7440744" y="3206928"/>
                  </a:lnTo>
                  <a:lnTo>
                    <a:pt x="7464572" y="3192632"/>
                  </a:lnTo>
                  <a:lnTo>
                    <a:pt x="7474100" y="3187868"/>
                  </a:lnTo>
                  <a:lnTo>
                    <a:pt x="7478868" y="3187868"/>
                  </a:lnTo>
                  <a:lnTo>
                    <a:pt x="7478868" y="3178336"/>
                  </a:lnTo>
                  <a:lnTo>
                    <a:pt x="7474100" y="3164044"/>
                  </a:lnTo>
                  <a:lnTo>
                    <a:pt x="7478868" y="3144984"/>
                  </a:lnTo>
                  <a:lnTo>
                    <a:pt x="7521752" y="3125920"/>
                  </a:lnTo>
                  <a:lnTo>
                    <a:pt x="7536048" y="3102096"/>
                  </a:lnTo>
                  <a:lnTo>
                    <a:pt x="7550344" y="3087800"/>
                  </a:lnTo>
                  <a:lnTo>
                    <a:pt x="7583700" y="3040148"/>
                  </a:lnTo>
                  <a:lnTo>
                    <a:pt x="7588464" y="3030620"/>
                  </a:lnTo>
                  <a:lnTo>
                    <a:pt x="7597996" y="3011560"/>
                  </a:lnTo>
                  <a:lnTo>
                    <a:pt x="7597996" y="3002028"/>
                  </a:lnTo>
                  <a:lnTo>
                    <a:pt x="7583700" y="2992496"/>
                  </a:lnTo>
                  <a:lnTo>
                    <a:pt x="7578936" y="2973436"/>
                  </a:lnTo>
                  <a:lnTo>
                    <a:pt x="7531284" y="2940080"/>
                  </a:lnTo>
                  <a:lnTo>
                    <a:pt x="7531284" y="2911492"/>
                  </a:lnTo>
                  <a:lnTo>
                    <a:pt x="7526516" y="2916256"/>
                  </a:lnTo>
                  <a:lnTo>
                    <a:pt x="7516988" y="2935316"/>
                  </a:lnTo>
                  <a:lnTo>
                    <a:pt x="7512224" y="2940080"/>
                  </a:lnTo>
                  <a:lnTo>
                    <a:pt x="7493164" y="2940080"/>
                  </a:lnTo>
                  <a:lnTo>
                    <a:pt x="7483632" y="2935316"/>
                  </a:lnTo>
                  <a:lnTo>
                    <a:pt x="7426452" y="2930552"/>
                  </a:lnTo>
                  <a:lnTo>
                    <a:pt x="7412156" y="2940080"/>
                  </a:lnTo>
                  <a:lnTo>
                    <a:pt x="7397860" y="2959144"/>
                  </a:lnTo>
                  <a:lnTo>
                    <a:pt x="7388328" y="2973436"/>
                  </a:lnTo>
                  <a:lnTo>
                    <a:pt x="7374036" y="2982968"/>
                  </a:lnTo>
                  <a:lnTo>
                    <a:pt x="7364504" y="2992496"/>
                  </a:lnTo>
                  <a:lnTo>
                    <a:pt x="7316852" y="3068740"/>
                  </a:lnTo>
                  <a:lnTo>
                    <a:pt x="7302556" y="3073504"/>
                  </a:lnTo>
                  <a:lnTo>
                    <a:pt x="7221548" y="3116392"/>
                  </a:lnTo>
                  <a:lnTo>
                    <a:pt x="7178664" y="3135452"/>
                  </a:lnTo>
                  <a:lnTo>
                    <a:pt x="7145308" y="3164044"/>
                  </a:lnTo>
                  <a:lnTo>
                    <a:pt x="7135776" y="3183104"/>
                  </a:lnTo>
                  <a:lnTo>
                    <a:pt x="7126248" y="3202164"/>
                  </a:lnTo>
                  <a:lnTo>
                    <a:pt x="7121484" y="3235520"/>
                  </a:lnTo>
                  <a:lnTo>
                    <a:pt x="7092892" y="3273640"/>
                  </a:lnTo>
                  <a:lnTo>
                    <a:pt x="7083360" y="3278404"/>
                  </a:lnTo>
                  <a:lnTo>
                    <a:pt x="7073832" y="3283172"/>
                  </a:lnTo>
                  <a:lnTo>
                    <a:pt x="7059536" y="3283172"/>
                  </a:lnTo>
                  <a:lnTo>
                    <a:pt x="7050004" y="3283172"/>
                  </a:lnTo>
                  <a:lnTo>
                    <a:pt x="7026180" y="3278404"/>
                  </a:lnTo>
                  <a:lnTo>
                    <a:pt x="7002356" y="3292700"/>
                  </a:lnTo>
                  <a:lnTo>
                    <a:pt x="6978528" y="3302232"/>
                  </a:lnTo>
                  <a:lnTo>
                    <a:pt x="6954704" y="3278404"/>
                  </a:lnTo>
                  <a:lnTo>
                    <a:pt x="6935644" y="3268876"/>
                  </a:lnTo>
                  <a:lnTo>
                    <a:pt x="6911816" y="3278404"/>
                  </a:lnTo>
                  <a:lnTo>
                    <a:pt x="6897520" y="3287936"/>
                  </a:lnTo>
                  <a:lnTo>
                    <a:pt x="6868932" y="3345116"/>
                  </a:lnTo>
                  <a:lnTo>
                    <a:pt x="6859400" y="3378472"/>
                  </a:lnTo>
                  <a:lnTo>
                    <a:pt x="6859400" y="3392768"/>
                  </a:lnTo>
                  <a:lnTo>
                    <a:pt x="6878460" y="3430888"/>
                  </a:lnTo>
                  <a:lnTo>
                    <a:pt x="6892756" y="3454716"/>
                  </a:lnTo>
                  <a:lnTo>
                    <a:pt x="6930876" y="3478540"/>
                  </a:lnTo>
                  <a:lnTo>
                    <a:pt x="7016648" y="3497600"/>
                  </a:lnTo>
                  <a:lnTo>
                    <a:pt x="7035708" y="3492836"/>
                  </a:lnTo>
                  <a:lnTo>
                    <a:pt x="7054772" y="3492836"/>
                  </a:lnTo>
                  <a:lnTo>
                    <a:pt x="7078596" y="3507132"/>
                  </a:lnTo>
                  <a:lnTo>
                    <a:pt x="7092892" y="3535724"/>
                  </a:lnTo>
                  <a:lnTo>
                    <a:pt x="7092892" y="3554784"/>
                  </a:lnTo>
                  <a:lnTo>
                    <a:pt x="7092892" y="3559548"/>
                  </a:lnTo>
                  <a:lnTo>
                    <a:pt x="7097656" y="3564312"/>
                  </a:lnTo>
                  <a:lnTo>
                    <a:pt x="7102420" y="3573844"/>
                  </a:lnTo>
                  <a:lnTo>
                    <a:pt x="7092892" y="3583372"/>
                  </a:lnTo>
                  <a:lnTo>
                    <a:pt x="7083360" y="3588140"/>
                  </a:lnTo>
                  <a:lnTo>
                    <a:pt x="7078596" y="3616728"/>
                  </a:lnTo>
                  <a:lnTo>
                    <a:pt x="7078596" y="3650084"/>
                  </a:lnTo>
                  <a:lnTo>
                    <a:pt x="7088124" y="3659616"/>
                  </a:lnTo>
                  <a:lnTo>
                    <a:pt x="7102420" y="3673912"/>
                  </a:lnTo>
                  <a:lnTo>
                    <a:pt x="7131012" y="3683440"/>
                  </a:lnTo>
                  <a:lnTo>
                    <a:pt x="7154836" y="3688208"/>
                  </a:lnTo>
                  <a:lnTo>
                    <a:pt x="7207256" y="3683440"/>
                  </a:lnTo>
                  <a:lnTo>
                    <a:pt x="7226316" y="3664380"/>
                  </a:lnTo>
                  <a:lnTo>
                    <a:pt x="7226316" y="3654852"/>
                  </a:lnTo>
                  <a:lnTo>
                    <a:pt x="7226316" y="3645320"/>
                  </a:lnTo>
                  <a:lnTo>
                    <a:pt x="7269200" y="3616728"/>
                  </a:lnTo>
                  <a:lnTo>
                    <a:pt x="7293028" y="3588140"/>
                  </a:lnTo>
                  <a:lnTo>
                    <a:pt x="7288260" y="3583372"/>
                  </a:lnTo>
                  <a:lnTo>
                    <a:pt x="7283496" y="3578608"/>
                  </a:lnTo>
                  <a:lnTo>
                    <a:pt x="7288260" y="3578608"/>
                  </a:lnTo>
                  <a:lnTo>
                    <a:pt x="7302556" y="3573844"/>
                  </a:lnTo>
                  <a:lnTo>
                    <a:pt x="7359740" y="3550016"/>
                  </a:lnTo>
                  <a:lnTo>
                    <a:pt x="7407388" y="3569080"/>
                  </a:lnTo>
                  <a:lnTo>
                    <a:pt x="7431216" y="3592904"/>
                  </a:lnTo>
                  <a:lnTo>
                    <a:pt x="7459804" y="3597668"/>
                  </a:lnTo>
                  <a:lnTo>
                    <a:pt x="7478868" y="3611964"/>
                  </a:lnTo>
                  <a:lnTo>
                    <a:pt x="7497928" y="3621496"/>
                  </a:lnTo>
                  <a:lnTo>
                    <a:pt x="7526516" y="3621496"/>
                  </a:lnTo>
                  <a:lnTo>
                    <a:pt x="7550344" y="3626260"/>
                  </a:lnTo>
                  <a:lnTo>
                    <a:pt x="7555108" y="3616728"/>
                  </a:lnTo>
                  <a:lnTo>
                    <a:pt x="7564640" y="3607200"/>
                  </a:lnTo>
                  <a:lnTo>
                    <a:pt x="7574168" y="3611964"/>
                  </a:lnTo>
                  <a:lnTo>
                    <a:pt x="7583700" y="3621496"/>
                  </a:lnTo>
                  <a:lnTo>
                    <a:pt x="7607524" y="3631024"/>
                  </a:lnTo>
                  <a:lnTo>
                    <a:pt x="7631352" y="3631024"/>
                  </a:lnTo>
                  <a:lnTo>
                    <a:pt x="7650412" y="3631024"/>
                  </a:lnTo>
                  <a:lnTo>
                    <a:pt x="7659940" y="3635792"/>
                  </a:lnTo>
                  <a:lnTo>
                    <a:pt x="7645644" y="3650084"/>
                  </a:lnTo>
                  <a:lnTo>
                    <a:pt x="7645644" y="3678676"/>
                  </a:lnTo>
                  <a:lnTo>
                    <a:pt x="7636116" y="3688208"/>
                  </a:lnTo>
                  <a:lnTo>
                    <a:pt x="7626584" y="3697736"/>
                  </a:lnTo>
                  <a:lnTo>
                    <a:pt x="7631352" y="3707268"/>
                  </a:lnTo>
                  <a:lnTo>
                    <a:pt x="7636116" y="3712032"/>
                  </a:lnTo>
                  <a:lnTo>
                    <a:pt x="7636116" y="3721564"/>
                  </a:lnTo>
                  <a:lnTo>
                    <a:pt x="7626584" y="3731092"/>
                  </a:lnTo>
                  <a:lnTo>
                    <a:pt x="7607524" y="3745388"/>
                  </a:lnTo>
                  <a:lnTo>
                    <a:pt x="7597996" y="3745388"/>
                  </a:lnTo>
                  <a:lnTo>
                    <a:pt x="7593228" y="3740624"/>
                  </a:lnTo>
                  <a:lnTo>
                    <a:pt x="7588464" y="3735856"/>
                  </a:lnTo>
                  <a:lnTo>
                    <a:pt x="7588464" y="3726328"/>
                  </a:lnTo>
                  <a:lnTo>
                    <a:pt x="7578936" y="3721564"/>
                  </a:lnTo>
                  <a:lnTo>
                    <a:pt x="7564640" y="3716796"/>
                  </a:lnTo>
                  <a:lnTo>
                    <a:pt x="7545580" y="3721564"/>
                  </a:lnTo>
                  <a:lnTo>
                    <a:pt x="7502692" y="3745388"/>
                  </a:lnTo>
                  <a:lnTo>
                    <a:pt x="7464572" y="3764448"/>
                  </a:lnTo>
                  <a:lnTo>
                    <a:pt x="7421684" y="3778744"/>
                  </a:lnTo>
                  <a:lnTo>
                    <a:pt x="7407388" y="3788276"/>
                  </a:lnTo>
                  <a:lnTo>
                    <a:pt x="7397860" y="3793040"/>
                  </a:lnTo>
                  <a:lnTo>
                    <a:pt x="7378800" y="3783508"/>
                  </a:lnTo>
                  <a:lnTo>
                    <a:pt x="7369268" y="3783508"/>
                  </a:lnTo>
                  <a:lnTo>
                    <a:pt x="7369268" y="3788276"/>
                  </a:lnTo>
                  <a:lnTo>
                    <a:pt x="7378800" y="3802568"/>
                  </a:lnTo>
                  <a:lnTo>
                    <a:pt x="7383564" y="3812100"/>
                  </a:lnTo>
                  <a:lnTo>
                    <a:pt x="7383564" y="3821632"/>
                  </a:lnTo>
                  <a:lnTo>
                    <a:pt x="7374036" y="3826396"/>
                  </a:lnTo>
                  <a:lnTo>
                    <a:pt x="7364504" y="3816864"/>
                  </a:lnTo>
                  <a:lnTo>
                    <a:pt x="7354972" y="3826396"/>
                  </a:lnTo>
                  <a:lnTo>
                    <a:pt x="7350208" y="3840692"/>
                  </a:lnTo>
                  <a:lnTo>
                    <a:pt x="7350208" y="3874048"/>
                  </a:lnTo>
                  <a:lnTo>
                    <a:pt x="7340676" y="3883576"/>
                  </a:lnTo>
                  <a:lnTo>
                    <a:pt x="7321616" y="3888340"/>
                  </a:lnTo>
                  <a:lnTo>
                    <a:pt x="7302556" y="3897872"/>
                  </a:lnTo>
                  <a:lnTo>
                    <a:pt x="7297792" y="3893108"/>
                  </a:lnTo>
                  <a:lnTo>
                    <a:pt x="7293028" y="3883576"/>
                  </a:lnTo>
                  <a:lnTo>
                    <a:pt x="7297792" y="3869280"/>
                  </a:lnTo>
                  <a:lnTo>
                    <a:pt x="7293028" y="3864516"/>
                  </a:lnTo>
                  <a:lnTo>
                    <a:pt x="7283496" y="3864516"/>
                  </a:lnTo>
                  <a:lnTo>
                    <a:pt x="7273964" y="3869280"/>
                  </a:lnTo>
                  <a:lnTo>
                    <a:pt x="7259672" y="3878812"/>
                  </a:lnTo>
                  <a:lnTo>
                    <a:pt x="7259672" y="3883576"/>
                  </a:lnTo>
                  <a:lnTo>
                    <a:pt x="7269200" y="3902636"/>
                  </a:lnTo>
                  <a:lnTo>
                    <a:pt x="7283496" y="3907404"/>
                  </a:lnTo>
                  <a:lnTo>
                    <a:pt x="7288260" y="3912168"/>
                  </a:lnTo>
                  <a:lnTo>
                    <a:pt x="7278732" y="3921696"/>
                  </a:lnTo>
                  <a:lnTo>
                    <a:pt x="7250140" y="3935992"/>
                  </a:lnTo>
                  <a:lnTo>
                    <a:pt x="7245376" y="3945524"/>
                  </a:lnTo>
                  <a:lnTo>
                    <a:pt x="7240612" y="3955052"/>
                  </a:lnTo>
                  <a:lnTo>
                    <a:pt x="7231080" y="3964584"/>
                  </a:lnTo>
                  <a:lnTo>
                    <a:pt x="7221548" y="3974116"/>
                  </a:lnTo>
                  <a:lnTo>
                    <a:pt x="7212020" y="3978880"/>
                  </a:lnTo>
                  <a:lnTo>
                    <a:pt x="7197724" y="3988408"/>
                  </a:lnTo>
                  <a:lnTo>
                    <a:pt x="7183428" y="4007472"/>
                  </a:lnTo>
                  <a:lnTo>
                    <a:pt x="7169132" y="4031296"/>
                  </a:lnTo>
                  <a:lnTo>
                    <a:pt x="7154836" y="4040824"/>
                  </a:lnTo>
                  <a:lnTo>
                    <a:pt x="7140544" y="4078948"/>
                  </a:lnTo>
                  <a:lnTo>
                    <a:pt x="7121484" y="4098008"/>
                  </a:lnTo>
                  <a:lnTo>
                    <a:pt x="7111952" y="4126600"/>
                  </a:lnTo>
                  <a:lnTo>
                    <a:pt x="7116716" y="4145660"/>
                  </a:lnTo>
                  <a:lnTo>
                    <a:pt x="7140544" y="4145660"/>
                  </a:lnTo>
                  <a:lnTo>
                    <a:pt x="7154836" y="4155188"/>
                  </a:lnTo>
                  <a:lnTo>
                    <a:pt x="7178664" y="4179016"/>
                  </a:lnTo>
                  <a:lnTo>
                    <a:pt x="7207256" y="4193312"/>
                  </a:lnTo>
                  <a:lnTo>
                    <a:pt x="7235844" y="4202840"/>
                  </a:lnTo>
                  <a:lnTo>
                    <a:pt x="7273964" y="4226668"/>
                  </a:lnTo>
                  <a:lnTo>
                    <a:pt x="7283496" y="4236196"/>
                  </a:lnTo>
                  <a:lnTo>
                    <a:pt x="7293028" y="4255256"/>
                  </a:lnTo>
                  <a:lnTo>
                    <a:pt x="7312088" y="4312440"/>
                  </a:lnTo>
                  <a:lnTo>
                    <a:pt x="7321616" y="4341028"/>
                  </a:lnTo>
                  <a:lnTo>
                    <a:pt x="7321616" y="4355324"/>
                  </a:lnTo>
                  <a:lnTo>
                    <a:pt x="7340676" y="4383916"/>
                  </a:lnTo>
                  <a:lnTo>
                    <a:pt x="7359740" y="4431568"/>
                  </a:lnTo>
                  <a:lnTo>
                    <a:pt x="7378800" y="4474452"/>
                  </a:lnTo>
                  <a:lnTo>
                    <a:pt x="7383564" y="4503044"/>
                  </a:lnTo>
                  <a:lnTo>
                    <a:pt x="7374036" y="4522104"/>
                  </a:lnTo>
                  <a:lnTo>
                    <a:pt x="7374036" y="4536400"/>
                  </a:lnTo>
                  <a:lnTo>
                    <a:pt x="7397860" y="4555460"/>
                  </a:lnTo>
                  <a:lnTo>
                    <a:pt x="7445512" y="4574520"/>
                  </a:lnTo>
                  <a:lnTo>
                    <a:pt x="7450276" y="4584052"/>
                  </a:lnTo>
                  <a:lnTo>
                    <a:pt x="7459804" y="4593580"/>
                  </a:lnTo>
                  <a:lnTo>
                    <a:pt x="7459804" y="4622172"/>
                  </a:lnTo>
                  <a:lnTo>
                    <a:pt x="7469336" y="4631700"/>
                  </a:lnTo>
                  <a:lnTo>
                    <a:pt x="7474100" y="4641232"/>
                  </a:lnTo>
                  <a:lnTo>
                    <a:pt x="7502692" y="4650764"/>
                  </a:lnTo>
                  <a:lnTo>
                    <a:pt x="7516988" y="4660292"/>
                  </a:lnTo>
                  <a:lnTo>
                    <a:pt x="7531284" y="4679352"/>
                  </a:lnTo>
                  <a:lnTo>
                    <a:pt x="7531284" y="4693648"/>
                  </a:lnTo>
                  <a:lnTo>
                    <a:pt x="7536048" y="4717476"/>
                  </a:lnTo>
                  <a:lnTo>
                    <a:pt x="7516988" y="4717476"/>
                  </a:lnTo>
                  <a:lnTo>
                    <a:pt x="7502692" y="4712708"/>
                  </a:lnTo>
                  <a:lnTo>
                    <a:pt x="7455040" y="4688884"/>
                  </a:lnTo>
                  <a:lnTo>
                    <a:pt x="7440744" y="4684120"/>
                  </a:lnTo>
                  <a:lnTo>
                    <a:pt x="7421684" y="4688884"/>
                  </a:lnTo>
                  <a:lnTo>
                    <a:pt x="7393096" y="4684120"/>
                  </a:lnTo>
                  <a:lnTo>
                    <a:pt x="7364504" y="4655528"/>
                  </a:lnTo>
                  <a:lnTo>
                    <a:pt x="7345444" y="4645996"/>
                  </a:lnTo>
                  <a:lnTo>
                    <a:pt x="7321616" y="4641232"/>
                  </a:lnTo>
                  <a:lnTo>
                    <a:pt x="7273964" y="4665056"/>
                  </a:lnTo>
                  <a:lnTo>
                    <a:pt x="7259672" y="4665056"/>
                  </a:lnTo>
                  <a:lnTo>
                    <a:pt x="7254904" y="4669824"/>
                  </a:lnTo>
                  <a:lnTo>
                    <a:pt x="7250140" y="4674588"/>
                  </a:lnTo>
                  <a:lnTo>
                    <a:pt x="7273964" y="4679352"/>
                  </a:lnTo>
                  <a:lnTo>
                    <a:pt x="7297792" y="4669824"/>
                  </a:lnTo>
                  <a:lnTo>
                    <a:pt x="7321616" y="4655528"/>
                  </a:lnTo>
                  <a:lnTo>
                    <a:pt x="7354972" y="4665056"/>
                  </a:lnTo>
                  <a:lnTo>
                    <a:pt x="7359740" y="4674588"/>
                  </a:lnTo>
                  <a:lnTo>
                    <a:pt x="7364504" y="4693648"/>
                  </a:lnTo>
                  <a:lnTo>
                    <a:pt x="7388328" y="4707944"/>
                  </a:lnTo>
                  <a:lnTo>
                    <a:pt x="7407388" y="4712708"/>
                  </a:lnTo>
                  <a:lnTo>
                    <a:pt x="7431216" y="4727004"/>
                  </a:lnTo>
                  <a:lnTo>
                    <a:pt x="7455040" y="4755596"/>
                  </a:lnTo>
                  <a:lnTo>
                    <a:pt x="7502692" y="4784184"/>
                  </a:lnTo>
                  <a:lnTo>
                    <a:pt x="7521752" y="4812776"/>
                  </a:lnTo>
                  <a:lnTo>
                    <a:pt x="7531284" y="4831836"/>
                  </a:lnTo>
                  <a:lnTo>
                    <a:pt x="7536048" y="4860428"/>
                  </a:lnTo>
                  <a:lnTo>
                    <a:pt x="7516988" y="4865192"/>
                  </a:lnTo>
                  <a:lnTo>
                    <a:pt x="7502692" y="4869960"/>
                  </a:lnTo>
                  <a:lnTo>
                    <a:pt x="7483632" y="4874724"/>
                  </a:lnTo>
                  <a:lnTo>
                    <a:pt x="7464572" y="4884252"/>
                  </a:lnTo>
                  <a:lnTo>
                    <a:pt x="7445512" y="4898548"/>
                  </a:lnTo>
                  <a:lnTo>
                    <a:pt x="7397860" y="4922376"/>
                  </a:lnTo>
                  <a:lnTo>
                    <a:pt x="7388328" y="4941436"/>
                  </a:lnTo>
                  <a:lnTo>
                    <a:pt x="7383564" y="4955732"/>
                  </a:lnTo>
                  <a:lnTo>
                    <a:pt x="7369268" y="4960496"/>
                  </a:lnTo>
                  <a:lnTo>
                    <a:pt x="7340676" y="4955732"/>
                  </a:lnTo>
                  <a:lnTo>
                    <a:pt x="7312088" y="4955732"/>
                  </a:lnTo>
                  <a:lnTo>
                    <a:pt x="7283496" y="4974792"/>
                  </a:lnTo>
                  <a:lnTo>
                    <a:pt x="7273964" y="4979556"/>
                  </a:lnTo>
                  <a:lnTo>
                    <a:pt x="7278732" y="4979556"/>
                  </a:lnTo>
                  <a:lnTo>
                    <a:pt x="7283496" y="4979556"/>
                  </a:lnTo>
                  <a:lnTo>
                    <a:pt x="7297792" y="4979556"/>
                  </a:lnTo>
                  <a:lnTo>
                    <a:pt x="7321616" y="4970024"/>
                  </a:lnTo>
                  <a:lnTo>
                    <a:pt x="7340676" y="5003380"/>
                  </a:lnTo>
                  <a:lnTo>
                    <a:pt x="7383564" y="4998616"/>
                  </a:lnTo>
                  <a:lnTo>
                    <a:pt x="7421684" y="4970024"/>
                  </a:lnTo>
                  <a:lnTo>
                    <a:pt x="7440744" y="4970024"/>
                  </a:lnTo>
                  <a:lnTo>
                    <a:pt x="7450276" y="4974792"/>
                  </a:lnTo>
                  <a:lnTo>
                    <a:pt x="7469336" y="4984320"/>
                  </a:lnTo>
                  <a:lnTo>
                    <a:pt x="7502692" y="5027208"/>
                  </a:lnTo>
                  <a:lnTo>
                    <a:pt x="7526516" y="5031972"/>
                  </a:lnTo>
                  <a:lnTo>
                    <a:pt x="7545580" y="5046268"/>
                  </a:lnTo>
                  <a:lnTo>
                    <a:pt x="7559876" y="5046268"/>
                  </a:lnTo>
                  <a:lnTo>
                    <a:pt x="7569404" y="5051032"/>
                  </a:lnTo>
                  <a:lnTo>
                    <a:pt x="7540812" y="5065328"/>
                  </a:lnTo>
                  <a:lnTo>
                    <a:pt x="7502692" y="5098684"/>
                  </a:lnTo>
                  <a:lnTo>
                    <a:pt x="7488396" y="5108216"/>
                  </a:lnTo>
                  <a:lnTo>
                    <a:pt x="7478868" y="5117744"/>
                  </a:lnTo>
                  <a:lnTo>
                    <a:pt x="7507456" y="5112980"/>
                  </a:lnTo>
                  <a:lnTo>
                    <a:pt x="7526516" y="5098684"/>
                  </a:lnTo>
                  <a:lnTo>
                    <a:pt x="7536048" y="5093920"/>
                  </a:lnTo>
                  <a:lnTo>
                    <a:pt x="7545580" y="5098684"/>
                  </a:lnTo>
                  <a:lnTo>
                    <a:pt x="7550344" y="5117744"/>
                  </a:lnTo>
                  <a:lnTo>
                    <a:pt x="7540812" y="5179692"/>
                  </a:lnTo>
                  <a:lnTo>
                    <a:pt x="7531284" y="5179692"/>
                  </a:lnTo>
                  <a:lnTo>
                    <a:pt x="7521752" y="5165396"/>
                  </a:lnTo>
                  <a:lnTo>
                    <a:pt x="7512224" y="5160632"/>
                  </a:lnTo>
                  <a:lnTo>
                    <a:pt x="7502692" y="5160632"/>
                  </a:lnTo>
                  <a:lnTo>
                    <a:pt x="7483632" y="5160632"/>
                  </a:lnTo>
                  <a:lnTo>
                    <a:pt x="7474100" y="5170160"/>
                  </a:lnTo>
                  <a:lnTo>
                    <a:pt x="7469336" y="5179692"/>
                  </a:lnTo>
                  <a:lnTo>
                    <a:pt x="7478868" y="5184456"/>
                  </a:lnTo>
                  <a:lnTo>
                    <a:pt x="7502692" y="5203516"/>
                  </a:lnTo>
                  <a:lnTo>
                    <a:pt x="7502692" y="5213048"/>
                  </a:lnTo>
                  <a:lnTo>
                    <a:pt x="7497928" y="5217812"/>
                  </a:lnTo>
                  <a:lnTo>
                    <a:pt x="7483632" y="5217812"/>
                  </a:lnTo>
                  <a:lnTo>
                    <a:pt x="7502692" y="5232108"/>
                  </a:lnTo>
                  <a:lnTo>
                    <a:pt x="7497928" y="5246404"/>
                  </a:lnTo>
                  <a:lnTo>
                    <a:pt x="7493164" y="5251168"/>
                  </a:lnTo>
                  <a:lnTo>
                    <a:pt x="7478868" y="5255932"/>
                  </a:lnTo>
                  <a:lnTo>
                    <a:pt x="7474100" y="5270228"/>
                  </a:lnTo>
                  <a:lnTo>
                    <a:pt x="7483632" y="5289288"/>
                  </a:lnTo>
                  <a:lnTo>
                    <a:pt x="7493164" y="5317880"/>
                  </a:lnTo>
                  <a:lnTo>
                    <a:pt x="7493164" y="5332176"/>
                  </a:lnTo>
                  <a:lnTo>
                    <a:pt x="7478868" y="5327412"/>
                  </a:lnTo>
                  <a:lnTo>
                    <a:pt x="7455040" y="5341704"/>
                  </a:lnTo>
                  <a:lnTo>
                    <a:pt x="7440744" y="5341704"/>
                  </a:lnTo>
                  <a:lnTo>
                    <a:pt x="7431216" y="5322644"/>
                  </a:lnTo>
                  <a:lnTo>
                    <a:pt x="7421684" y="5322644"/>
                  </a:lnTo>
                  <a:lnTo>
                    <a:pt x="7412156" y="5332176"/>
                  </a:lnTo>
                  <a:lnTo>
                    <a:pt x="7402624" y="5356000"/>
                  </a:lnTo>
                  <a:lnTo>
                    <a:pt x="7393096" y="5375060"/>
                  </a:lnTo>
                  <a:lnTo>
                    <a:pt x="7383564" y="5384592"/>
                  </a:lnTo>
                  <a:lnTo>
                    <a:pt x="7369268" y="5379828"/>
                  </a:lnTo>
                  <a:lnTo>
                    <a:pt x="7359740" y="5379828"/>
                  </a:lnTo>
                  <a:lnTo>
                    <a:pt x="7359740" y="5384592"/>
                  </a:lnTo>
                  <a:lnTo>
                    <a:pt x="7374036" y="5394124"/>
                  </a:lnTo>
                  <a:lnTo>
                    <a:pt x="7374036" y="5403652"/>
                  </a:lnTo>
                  <a:lnTo>
                    <a:pt x="7350208" y="5427480"/>
                  </a:lnTo>
                  <a:lnTo>
                    <a:pt x="7345444" y="5437008"/>
                  </a:lnTo>
                  <a:lnTo>
                    <a:pt x="7345444" y="5446540"/>
                  </a:lnTo>
                  <a:lnTo>
                    <a:pt x="7335912" y="5456068"/>
                  </a:lnTo>
                  <a:lnTo>
                    <a:pt x="7340676" y="5475128"/>
                  </a:lnTo>
                  <a:lnTo>
                    <a:pt x="7335912" y="5484660"/>
                  </a:lnTo>
                  <a:lnTo>
                    <a:pt x="7326384" y="5503720"/>
                  </a:lnTo>
                  <a:lnTo>
                    <a:pt x="7316852" y="5513252"/>
                  </a:lnTo>
                  <a:lnTo>
                    <a:pt x="7302556" y="5532312"/>
                  </a:lnTo>
                  <a:lnTo>
                    <a:pt x="7288260" y="5541840"/>
                  </a:lnTo>
                  <a:lnTo>
                    <a:pt x="7264436" y="5579964"/>
                  </a:lnTo>
                  <a:lnTo>
                    <a:pt x="7259672" y="5599024"/>
                  </a:lnTo>
                  <a:lnTo>
                    <a:pt x="7254904" y="5618084"/>
                  </a:lnTo>
                  <a:lnTo>
                    <a:pt x="7250140" y="5622848"/>
                  </a:lnTo>
                  <a:lnTo>
                    <a:pt x="7235844" y="5632380"/>
                  </a:lnTo>
                  <a:lnTo>
                    <a:pt x="7226316" y="5627612"/>
                  </a:lnTo>
                  <a:lnTo>
                    <a:pt x="7226316" y="5613320"/>
                  </a:lnTo>
                  <a:lnTo>
                    <a:pt x="7216784" y="5613320"/>
                  </a:lnTo>
                  <a:lnTo>
                    <a:pt x="7216784" y="5603788"/>
                  </a:lnTo>
                  <a:lnTo>
                    <a:pt x="7212020" y="5594256"/>
                  </a:lnTo>
                  <a:lnTo>
                    <a:pt x="7216784" y="5584728"/>
                  </a:lnTo>
                  <a:lnTo>
                    <a:pt x="7207256" y="5589492"/>
                  </a:lnTo>
                  <a:lnTo>
                    <a:pt x="7207256" y="5599024"/>
                  </a:lnTo>
                  <a:lnTo>
                    <a:pt x="7197724" y="5608552"/>
                  </a:lnTo>
                  <a:lnTo>
                    <a:pt x="7188196" y="5603788"/>
                  </a:lnTo>
                  <a:lnTo>
                    <a:pt x="7178664" y="5599024"/>
                  </a:lnTo>
                  <a:lnTo>
                    <a:pt x="7178664" y="5603788"/>
                  </a:lnTo>
                  <a:lnTo>
                    <a:pt x="7183428" y="5613320"/>
                  </a:lnTo>
                  <a:lnTo>
                    <a:pt x="7188196" y="5622848"/>
                  </a:lnTo>
                  <a:lnTo>
                    <a:pt x="7202488" y="5627612"/>
                  </a:lnTo>
                  <a:lnTo>
                    <a:pt x="7207256" y="5637144"/>
                  </a:lnTo>
                  <a:lnTo>
                    <a:pt x="7216784" y="5656204"/>
                  </a:lnTo>
                  <a:lnTo>
                    <a:pt x="7216784" y="5660968"/>
                  </a:lnTo>
                  <a:lnTo>
                    <a:pt x="7221548" y="5670500"/>
                  </a:lnTo>
                  <a:lnTo>
                    <a:pt x="7226316" y="5675264"/>
                  </a:lnTo>
                  <a:lnTo>
                    <a:pt x="7212020" y="5680028"/>
                  </a:lnTo>
                  <a:lnTo>
                    <a:pt x="7192960" y="5689560"/>
                  </a:lnTo>
                  <a:lnTo>
                    <a:pt x="7173900" y="5708620"/>
                  </a:lnTo>
                  <a:lnTo>
                    <a:pt x="7159604" y="5722916"/>
                  </a:lnTo>
                  <a:lnTo>
                    <a:pt x="7145308" y="5722916"/>
                  </a:lnTo>
                  <a:lnTo>
                    <a:pt x="7135776" y="5722916"/>
                  </a:lnTo>
                  <a:lnTo>
                    <a:pt x="7121484" y="5713384"/>
                  </a:lnTo>
                  <a:lnTo>
                    <a:pt x="7107188" y="5713384"/>
                  </a:lnTo>
                  <a:lnTo>
                    <a:pt x="7126248" y="5737212"/>
                  </a:lnTo>
                  <a:lnTo>
                    <a:pt x="7140544" y="5741976"/>
                  </a:lnTo>
                  <a:lnTo>
                    <a:pt x="7150072" y="5741976"/>
                  </a:lnTo>
                  <a:lnTo>
                    <a:pt x="7164368" y="5732448"/>
                  </a:lnTo>
                  <a:lnTo>
                    <a:pt x="7183428" y="5732448"/>
                  </a:lnTo>
                  <a:lnTo>
                    <a:pt x="7188196" y="5746740"/>
                  </a:lnTo>
                  <a:lnTo>
                    <a:pt x="7183428" y="5765804"/>
                  </a:lnTo>
                  <a:lnTo>
                    <a:pt x="7173900" y="5784864"/>
                  </a:lnTo>
                  <a:lnTo>
                    <a:pt x="7169132" y="5803924"/>
                  </a:lnTo>
                  <a:lnTo>
                    <a:pt x="7183428" y="5832512"/>
                  </a:lnTo>
                  <a:lnTo>
                    <a:pt x="7183428" y="5837280"/>
                  </a:lnTo>
                  <a:lnTo>
                    <a:pt x="7178664" y="5842044"/>
                  </a:lnTo>
                  <a:lnTo>
                    <a:pt x="7164368" y="5837280"/>
                  </a:lnTo>
                  <a:lnTo>
                    <a:pt x="7154836" y="5827748"/>
                  </a:lnTo>
                  <a:lnTo>
                    <a:pt x="7140544" y="5827748"/>
                  </a:lnTo>
                  <a:lnTo>
                    <a:pt x="7126248" y="5822984"/>
                  </a:lnTo>
                  <a:lnTo>
                    <a:pt x="7116716" y="5827748"/>
                  </a:lnTo>
                  <a:lnTo>
                    <a:pt x="7107188" y="5837280"/>
                  </a:lnTo>
                  <a:lnTo>
                    <a:pt x="7111952" y="5846808"/>
                  </a:lnTo>
                  <a:lnTo>
                    <a:pt x="7126248" y="5851576"/>
                  </a:lnTo>
                  <a:lnTo>
                    <a:pt x="7131012" y="5865868"/>
                  </a:lnTo>
                  <a:lnTo>
                    <a:pt x="7121484" y="5870636"/>
                  </a:lnTo>
                  <a:lnTo>
                    <a:pt x="7088124" y="5865868"/>
                  </a:lnTo>
                  <a:lnTo>
                    <a:pt x="7083360" y="5870636"/>
                  </a:lnTo>
                  <a:lnTo>
                    <a:pt x="7073832" y="5884932"/>
                  </a:lnTo>
                  <a:lnTo>
                    <a:pt x="7078596" y="5903992"/>
                  </a:lnTo>
                  <a:lnTo>
                    <a:pt x="7073832" y="5918288"/>
                  </a:lnTo>
                  <a:lnTo>
                    <a:pt x="7059536" y="5923052"/>
                  </a:lnTo>
                  <a:lnTo>
                    <a:pt x="7040476" y="5932580"/>
                  </a:lnTo>
                  <a:lnTo>
                    <a:pt x="7030944" y="5932580"/>
                  </a:lnTo>
                  <a:lnTo>
                    <a:pt x="7030944" y="5937348"/>
                  </a:lnTo>
                  <a:lnTo>
                    <a:pt x="7040476" y="5942112"/>
                  </a:lnTo>
                  <a:lnTo>
                    <a:pt x="7045240" y="5951644"/>
                  </a:lnTo>
                  <a:lnTo>
                    <a:pt x="7030944" y="5970704"/>
                  </a:lnTo>
                  <a:lnTo>
                    <a:pt x="7016648" y="5980232"/>
                  </a:lnTo>
                  <a:lnTo>
                    <a:pt x="6992824" y="5975468"/>
                  </a:lnTo>
                  <a:lnTo>
                    <a:pt x="6978528" y="5980232"/>
                  </a:lnTo>
                  <a:lnTo>
                    <a:pt x="6959468" y="5970704"/>
                  </a:lnTo>
                  <a:lnTo>
                    <a:pt x="6945172" y="5970704"/>
                  </a:lnTo>
                  <a:lnTo>
                    <a:pt x="6930876" y="5980232"/>
                  </a:lnTo>
                  <a:lnTo>
                    <a:pt x="6930876" y="5994528"/>
                  </a:lnTo>
                  <a:lnTo>
                    <a:pt x="6921348" y="5994528"/>
                  </a:lnTo>
                  <a:lnTo>
                    <a:pt x="6911816" y="5994528"/>
                  </a:lnTo>
                  <a:lnTo>
                    <a:pt x="6907052" y="5994528"/>
                  </a:lnTo>
                  <a:lnTo>
                    <a:pt x="6907052" y="6004060"/>
                  </a:lnTo>
                  <a:lnTo>
                    <a:pt x="6911816" y="6008824"/>
                  </a:lnTo>
                  <a:lnTo>
                    <a:pt x="6935644" y="6013588"/>
                  </a:lnTo>
                  <a:lnTo>
                    <a:pt x="6940408" y="6023120"/>
                  </a:lnTo>
                  <a:lnTo>
                    <a:pt x="6940408" y="6037416"/>
                  </a:lnTo>
                  <a:lnTo>
                    <a:pt x="6916580" y="6061240"/>
                  </a:lnTo>
                  <a:lnTo>
                    <a:pt x="6907052" y="6075536"/>
                  </a:lnTo>
                  <a:lnTo>
                    <a:pt x="6887992" y="6075536"/>
                  </a:lnTo>
                  <a:lnTo>
                    <a:pt x="6878460" y="6089832"/>
                  </a:lnTo>
                  <a:lnTo>
                    <a:pt x="6873696" y="6104128"/>
                  </a:lnTo>
                  <a:lnTo>
                    <a:pt x="6864164" y="6104128"/>
                  </a:lnTo>
                  <a:lnTo>
                    <a:pt x="6845104" y="6104128"/>
                  </a:lnTo>
                  <a:lnTo>
                    <a:pt x="6840340" y="6113656"/>
                  </a:lnTo>
                  <a:lnTo>
                    <a:pt x="6845104" y="6118420"/>
                  </a:lnTo>
                  <a:lnTo>
                    <a:pt x="6845104" y="6123188"/>
                  </a:lnTo>
                  <a:lnTo>
                    <a:pt x="6840340" y="6142248"/>
                  </a:lnTo>
                  <a:lnTo>
                    <a:pt x="6830808" y="6147012"/>
                  </a:lnTo>
                  <a:lnTo>
                    <a:pt x="6830808" y="6142248"/>
                  </a:lnTo>
                  <a:lnTo>
                    <a:pt x="6826044" y="6127952"/>
                  </a:lnTo>
                  <a:lnTo>
                    <a:pt x="6821280" y="6127952"/>
                  </a:lnTo>
                  <a:lnTo>
                    <a:pt x="6811748" y="6137480"/>
                  </a:lnTo>
                  <a:lnTo>
                    <a:pt x="6797452" y="6147012"/>
                  </a:lnTo>
                  <a:lnTo>
                    <a:pt x="6787924" y="6151776"/>
                  </a:lnTo>
                  <a:lnTo>
                    <a:pt x="6778392" y="6142248"/>
                  </a:lnTo>
                  <a:lnTo>
                    <a:pt x="6759332" y="6137480"/>
                  </a:lnTo>
                  <a:lnTo>
                    <a:pt x="6754568" y="6170836"/>
                  </a:lnTo>
                  <a:lnTo>
                    <a:pt x="6735508" y="6185132"/>
                  </a:lnTo>
                  <a:lnTo>
                    <a:pt x="6730740" y="6185132"/>
                  </a:lnTo>
                  <a:lnTo>
                    <a:pt x="6716444" y="6189900"/>
                  </a:lnTo>
                  <a:lnTo>
                    <a:pt x="6725976" y="6194664"/>
                  </a:lnTo>
                  <a:lnTo>
                    <a:pt x="6725976" y="6199428"/>
                  </a:lnTo>
                  <a:lnTo>
                    <a:pt x="6721212" y="6208960"/>
                  </a:lnTo>
                  <a:lnTo>
                    <a:pt x="6711680" y="6208960"/>
                  </a:lnTo>
                  <a:lnTo>
                    <a:pt x="6702152" y="6218488"/>
                  </a:lnTo>
                  <a:lnTo>
                    <a:pt x="6697384" y="6247080"/>
                  </a:lnTo>
                  <a:lnTo>
                    <a:pt x="6692620" y="6256612"/>
                  </a:lnTo>
                  <a:lnTo>
                    <a:pt x="6673560" y="6256612"/>
                  </a:lnTo>
                  <a:lnTo>
                    <a:pt x="6659264" y="6251844"/>
                  </a:lnTo>
                  <a:lnTo>
                    <a:pt x="6654500" y="6256612"/>
                  </a:lnTo>
                  <a:lnTo>
                    <a:pt x="6649736" y="6261376"/>
                  </a:lnTo>
                  <a:lnTo>
                    <a:pt x="6644968" y="6266140"/>
                  </a:lnTo>
                  <a:lnTo>
                    <a:pt x="6625908" y="6270904"/>
                  </a:lnTo>
                  <a:lnTo>
                    <a:pt x="6597316" y="6280436"/>
                  </a:lnTo>
                  <a:lnTo>
                    <a:pt x="6578256" y="6275672"/>
                  </a:lnTo>
                  <a:lnTo>
                    <a:pt x="6563964" y="6270904"/>
                  </a:lnTo>
                  <a:lnTo>
                    <a:pt x="6549668" y="6275672"/>
                  </a:lnTo>
                  <a:lnTo>
                    <a:pt x="6544900" y="6289968"/>
                  </a:lnTo>
                  <a:lnTo>
                    <a:pt x="6540136" y="6294732"/>
                  </a:lnTo>
                  <a:lnTo>
                    <a:pt x="6521076" y="6294732"/>
                  </a:lnTo>
                  <a:lnTo>
                    <a:pt x="6506780" y="6285200"/>
                  </a:lnTo>
                  <a:lnTo>
                    <a:pt x="6492484" y="6280436"/>
                  </a:lnTo>
                  <a:lnTo>
                    <a:pt x="6478188" y="6285200"/>
                  </a:lnTo>
                  <a:lnTo>
                    <a:pt x="6463896" y="6299496"/>
                  </a:lnTo>
                  <a:lnTo>
                    <a:pt x="6449600" y="6304260"/>
                  </a:lnTo>
                  <a:lnTo>
                    <a:pt x="6444836" y="6309028"/>
                  </a:lnTo>
                  <a:lnTo>
                    <a:pt x="6440068" y="6313792"/>
                  </a:lnTo>
                  <a:lnTo>
                    <a:pt x="6421008" y="6313792"/>
                  </a:lnTo>
                  <a:lnTo>
                    <a:pt x="6416244" y="6294732"/>
                  </a:lnTo>
                  <a:lnTo>
                    <a:pt x="6406712" y="6289968"/>
                  </a:lnTo>
                  <a:lnTo>
                    <a:pt x="6397184" y="6299496"/>
                  </a:lnTo>
                  <a:lnTo>
                    <a:pt x="6397184" y="6309028"/>
                  </a:lnTo>
                  <a:lnTo>
                    <a:pt x="6392416" y="6313792"/>
                  </a:lnTo>
                  <a:lnTo>
                    <a:pt x="6392416" y="6328088"/>
                  </a:lnTo>
                  <a:lnTo>
                    <a:pt x="6382888" y="6328088"/>
                  </a:lnTo>
                  <a:lnTo>
                    <a:pt x="6373356" y="6318556"/>
                  </a:lnTo>
                  <a:lnTo>
                    <a:pt x="6359060" y="6318556"/>
                  </a:lnTo>
                  <a:lnTo>
                    <a:pt x="6344768" y="6328088"/>
                  </a:lnTo>
                  <a:lnTo>
                    <a:pt x="6340000" y="6323320"/>
                  </a:lnTo>
                  <a:lnTo>
                    <a:pt x="6335236" y="6323320"/>
                  </a:lnTo>
                  <a:lnTo>
                    <a:pt x="6325708" y="6323320"/>
                  </a:lnTo>
                  <a:lnTo>
                    <a:pt x="6320940" y="6323320"/>
                  </a:lnTo>
                  <a:lnTo>
                    <a:pt x="6316176" y="6328088"/>
                  </a:lnTo>
                  <a:lnTo>
                    <a:pt x="6306644" y="6332852"/>
                  </a:lnTo>
                  <a:lnTo>
                    <a:pt x="6297116" y="6328088"/>
                  </a:lnTo>
                  <a:lnTo>
                    <a:pt x="6278056" y="6313792"/>
                  </a:lnTo>
                  <a:lnTo>
                    <a:pt x="6268524" y="6294732"/>
                  </a:lnTo>
                  <a:lnTo>
                    <a:pt x="6254228" y="6280436"/>
                  </a:lnTo>
                  <a:lnTo>
                    <a:pt x="6244700" y="6270904"/>
                  </a:lnTo>
                  <a:lnTo>
                    <a:pt x="6244700" y="6251844"/>
                  </a:lnTo>
                  <a:lnTo>
                    <a:pt x="6239932" y="6247080"/>
                  </a:lnTo>
                  <a:lnTo>
                    <a:pt x="6239932" y="6232784"/>
                  </a:lnTo>
                  <a:lnTo>
                    <a:pt x="6244700" y="6228020"/>
                  </a:lnTo>
                  <a:lnTo>
                    <a:pt x="6230404" y="6232784"/>
                  </a:lnTo>
                  <a:lnTo>
                    <a:pt x="6220872" y="6237548"/>
                  </a:lnTo>
                  <a:lnTo>
                    <a:pt x="6220872" y="6247080"/>
                  </a:lnTo>
                  <a:lnTo>
                    <a:pt x="6220872" y="6256612"/>
                  </a:lnTo>
                  <a:lnTo>
                    <a:pt x="6201812" y="6261376"/>
                  </a:lnTo>
                  <a:lnTo>
                    <a:pt x="6201812" y="6266140"/>
                  </a:lnTo>
                  <a:lnTo>
                    <a:pt x="6201812" y="6270904"/>
                  </a:lnTo>
                  <a:lnTo>
                    <a:pt x="6216108" y="6285200"/>
                  </a:lnTo>
                  <a:lnTo>
                    <a:pt x="6220872" y="6294732"/>
                  </a:lnTo>
                  <a:lnTo>
                    <a:pt x="6225636" y="6299496"/>
                  </a:lnTo>
                  <a:lnTo>
                    <a:pt x="6235168" y="6318556"/>
                  </a:lnTo>
                  <a:lnTo>
                    <a:pt x="6235168" y="6347148"/>
                  </a:lnTo>
                  <a:lnTo>
                    <a:pt x="6239932" y="6356676"/>
                  </a:lnTo>
                  <a:lnTo>
                    <a:pt x="6239932" y="6366208"/>
                  </a:lnTo>
                  <a:lnTo>
                    <a:pt x="6235168" y="6380504"/>
                  </a:lnTo>
                  <a:lnTo>
                    <a:pt x="6225636" y="6385268"/>
                  </a:lnTo>
                  <a:lnTo>
                    <a:pt x="6216108" y="6385268"/>
                  </a:lnTo>
                  <a:lnTo>
                    <a:pt x="6206576" y="6390032"/>
                  </a:lnTo>
                  <a:lnTo>
                    <a:pt x="6201812" y="6394800"/>
                  </a:lnTo>
                  <a:lnTo>
                    <a:pt x="6192284" y="6404328"/>
                  </a:lnTo>
                  <a:lnTo>
                    <a:pt x="6173220" y="6404328"/>
                  </a:lnTo>
                  <a:lnTo>
                    <a:pt x="6163692" y="6380504"/>
                  </a:lnTo>
                  <a:lnTo>
                    <a:pt x="6149396" y="6394800"/>
                  </a:lnTo>
                  <a:lnTo>
                    <a:pt x="6144632" y="6428156"/>
                  </a:lnTo>
                  <a:lnTo>
                    <a:pt x="6144632" y="6432920"/>
                  </a:lnTo>
                  <a:lnTo>
                    <a:pt x="6135100" y="6437684"/>
                  </a:lnTo>
                  <a:lnTo>
                    <a:pt x="6120804" y="6428156"/>
                  </a:lnTo>
                  <a:lnTo>
                    <a:pt x="6106508" y="6432920"/>
                  </a:lnTo>
                  <a:lnTo>
                    <a:pt x="6096980" y="6442452"/>
                  </a:lnTo>
                  <a:lnTo>
                    <a:pt x="6092216" y="6447216"/>
                  </a:lnTo>
                  <a:lnTo>
                    <a:pt x="6082684" y="6456744"/>
                  </a:lnTo>
                  <a:lnTo>
                    <a:pt x="6068388" y="6447216"/>
                  </a:lnTo>
                  <a:lnTo>
                    <a:pt x="6058860" y="6437684"/>
                  </a:lnTo>
                  <a:lnTo>
                    <a:pt x="6063624" y="6428156"/>
                  </a:lnTo>
                  <a:lnTo>
                    <a:pt x="6058860" y="6423388"/>
                  </a:lnTo>
                  <a:lnTo>
                    <a:pt x="6054092" y="6418624"/>
                  </a:lnTo>
                  <a:lnTo>
                    <a:pt x="6049328" y="6423388"/>
                  </a:lnTo>
                  <a:lnTo>
                    <a:pt x="6054092" y="6432920"/>
                  </a:lnTo>
                  <a:lnTo>
                    <a:pt x="6054092" y="6451980"/>
                  </a:lnTo>
                  <a:lnTo>
                    <a:pt x="6049328" y="6456744"/>
                  </a:lnTo>
                  <a:lnTo>
                    <a:pt x="6039796" y="6461512"/>
                  </a:lnTo>
                  <a:lnTo>
                    <a:pt x="6025504" y="6456744"/>
                  </a:lnTo>
                  <a:lnTo>
                    <a:pt x="6011208" y="6451980"/>
                  </a:lnTo>
                  <a:lnTo>
                    <a:pt x="5996912" y="6442452"/>
                  </a:lnTo>
                  <a:lnTo>
                    <a:pt x="5982616" y="6442452"/>
                  </a:lnTo>
                  <a:lnTo>
                    <a:pt x="5982616" y="6456744"/>
                  </a:lnTo>
                  <a:lnTo>
                    <a:pt x="5973088" y="6466276"/>
                  </a:lnTo>
                  <a:lnTo>
                    <a:pt x="5968320" y="6466276"/>
                  </a:lnTo>
                  <a:lnTo>
                    <a:pt x="5958792" y="6466276"/>
                  </a:lnTo>
                  <a:lnTo>
                    <a:pt x="5949260" y="6475808"/>
                  </a:lnTo>
                  <a:lnTo>
                    <a:pt x="5944496" y="6485336"/>
                  </a:lnTo>
                  <a:lnTo>
                    <a:pt x="5930200" y="6490100"/>
                  </a:lnTo>
                  <a:lnTo>
                    <a:pt x="5896844" y="6494868"/>
                  </a:lnTo>
                  <a:lnTo>
                    <a:pt x="5887316" y="6504396"/>
                  </a:lnTo>
                  <a:lnTo>
                    <a:pt x="5873020" y="6504396"/>
                  </a:lnTo>
                  <a:lnTo>
                    <a:pt x="5858724" y="6504396"/>
                  </a:lnTo>
                  <a:lnTo>
                    <a:pt x="5853956" y="6504396"/>
                  </a:lnTo>
                  <a:lnTo>
                    <a:pt x="5849192" y="6499632"/>
                  </a:lnTo>
                  <a:lnTo>
                    <a:pt x="5839664" y="6499632"/>
                  </a:lnTo>
                  <a:lnTo>
                    <a:pt x="5834896" y="6513928"/>
                  </a:lnTo>
                  <a:lnTo>
                    <a:pt x="5815836" y="6518692"/>
                  </a:lnTo>
                  <a:lnTo>
                    <a:pt x="5801540" y="6518692"/>
                  </a:lnTo>
                  <a:lnTo>
                    <a:pt x="5782480" y="6537752"/>
                  </a:lnTo>
                  <a:lnTo>
                    <a:pt x="5768188" y="6547284"/>
                  </a:lnTo>
                  <a:lnTo>
                    <a:pt x="5758656" y="6552048"/>
                  </a:lnTo>
                  <a:lnTo>
                    <a:pt x="5753892" y="6547284"/>
                  </a:lnTo>
                  <a:lnTo>
                    <a:pt x="5749124" y="6528224"/>
                  </a:lnTo>
                  <a:lnTo>
                    <a:pt x="5744360" y="6528224"/>
                  </a:lnTo>
                  <a:lnTo>
                    <a:pt x="5744360" y="6542516"/>
                  </a:lnTo>
                  <a:lnTo>
                    <a:pt x="5739596" y="6556812"/>
                  </a:lnTo>
                  <a:lnTo>
                    <a:pt x="5734828" y="6561580"/>
                  </a:lnTo>
                  <a:lnTo>
                    <a:pt x="5711004" y="6580640"/>
                  </a:lnTo>
                  <a:lnTo>
                    <a:pt x="5706240" y="6594936"/>
                  </a:lnTo>
                  <a:lnTo>
                    <a:pt x="5711004" y="6609228"/>
                  </a:lnTo>
                  <a:lnTo>
                    <a:pt x="5739596" y="6613996"/>
                  </a:lnTo>
                  <a:lnTo>
                    <a:pt x="5739596" y="6618760"/>
                  </a:lnTo>
                  <a:lnTo>
                    <a:pt x="5739596" y="6628292"/>
                  </a:lnTo>
                  <a:lnTo>
                    <a:pt x="5730064" y="6633056"/>
                  </a:lnTo>
                  <a:lnTo>
                    <a:pt x="5730064" y="6637820"/>
                  </a:lnTo>
                  <a:lnTo>
                    <a:pt x="5758656" y="6666412"/>
                  </a:lnTo>
                  <a:lnTo>
                    <a:pt x="5763420" y="6675940"/>
                  </a:lnTo>
                  <a:lnTo>
                    <a:pt x="5758656" y="6680708"/>
                  </a:lnTo>
                  <a:lnTo>
                    <a:pt x="5749124" y="6695000"/>
                  </a:lnTo>
                  <a:lnTo>
                    <a:pt x="5734828" y="6704532"/>
                  </a:lnTo>
                  <a:lnTo>
                    <a:pt x="5701476" y="6709296"/>
                  </a:lnTo>
                  <a:lnTo>
                    <a:pt x="5672884" y="6704532"/>
                  </a:lnTo>
                  <a:lnTo>
                    <a:pt x="5663352" y="6690236"/>
                  </a:lnTo>
                  <a:lnTo>
                    <a:pt x="5663352" y="6685472"/>
                  </a:lnTo>
                  <a:lnTo>
                    <a:pt x="5668116" y="6685472"/>
                  </a:lnTo>
                  <a:lnTo>
                    <a:pt x="5677648" y="6685472"/>
                  </a:lnTo>
                  <a:lnTo>
                    <a:pt x="5677648" y="6675940"/>
                  </a:lnTo>
                  <a:lnTo>
                    <a:pt x="5672884" y="6671176"/>
                  </a:lnTo>
                  <a:lnTo>
                    <a:pt x="5658588" y="6666412"/>
                  </a:lnTo>
                  <a:lnTo>
                    <a:pt x="5649056" y="6647352"/>
                  </a:lnTo>
                  <a:lnTo>
                    <a:pt x="5649056" y="6633056"/>
                  </a:lnTo>
                  <a:lnTo>
                    <a:pt x="5644292" y="6623524"/>
                  </a:lnTo>
                  <a:lnTo>
                    <a:pt x="5639528" y="6613996"/>
                  </a:lnTo>
                  <a:lnTo>
                    <a:pt x="5629996" y="6604464"/>
                  </a:lnTo>
                  <a:lnTo>
                    <a:pt x="5629996" y="6599700"/>
                  </a:lnTo>
                  <a:lnTo>
                    <a:pt x="5634764" y="6575872"/>
                  </a:lnTo>
                  <a:lnTo>
                    <a:pt x="5629996" y="6561580"/>
                  </a:lnTo>
                  <a:lnTo>
                    <a:pt x="5644292" y="6547284"/>
                  </a:lnTo>
                  <a:lnTo>
                    <a:pt x="5644292" y="6528224"/>
                  </a:lnTo>
                  <a:lnTo>
                    <a:pt x="5668116" y="6523456"/>
                  </a:lnTo>
                  <a:lnTo>
                    <a:pt x="5668116" y="6504396"/>
                  </a:lnTo>
                  <a:lnTo>
                    <a:pt x="5653824" y="6504396"/>
                  </a:lnTo>
                  <a:lnTo>
                    <a:pt x="5644292" y="6490100"/>
                  </a:lnTo>
                  <a:lnTo>
                    <a:pt x="5639528" y="6494868"/>
                  </a:lnTo>
                  <a:lnTo>
                    <a:pt x="5629996" y="6499632"/>
                  </a:lnTo>
                  <a:lnTo>
                    <a:pt x="5615700" y="6471040"/>
                  </a:lnTo>
                  <a:lnTo>
                    <a:pt x="5606172" y="6471040"/>
                  </a:lnTo>
                  <a:lnTo>
                    <a:pt x="5610936" y="6494868"/>
                  </a:lnTo>
                  <a:lnTo>
                    <a:pt x="5591876" y="6504396"/>
                  </a:lnTo>
                  <a:lnTo>
                    <a:pt x="5577580" y="6509160"/>
                  </a:lnTo>
                  <a:lnTo>
                    <a:pt x="5558520" y="6509160"/>
                  </a:lnTo>
                  <a:lnTo>
                    <a:pt x="5548988" y="6513928"/>
                  </a:lnTo>
                  <a:lnTo>
                    <a:pt x="5539460" y="6509160"/>
                  </a:lnTo>
                  <a:lnTo>
                    <a:pt x="5539460" y="6504396"/>
                  </a:lnTo>
                  <a:lnTo>
                    <a:pt x="5544224" y="6494868"/>
                  </a:lnTo>
                  <a:lnTo>
                    <a:pt x="5539460" y="6485336"/>
                  </a:lnTo>
                  <a:lnTo>
                    <a:pt x="5529928" y="6480572"/>
                  </a:lnTo>
                  <a:lnTo>
                    <a:pt x="5510868" y="6480572"/>
                  </a:lnTo>
                  <a:lnTo>
                    <a:pt x="5501340" y="6480572"/>
                  </a:lnTo>
                  <a:lnTo>
                    <a:pt x="5487044" y="6480572"/>
                  </a:lnTo>
                  <a:lnTo>
                    <a:pt x="5482276" y="6475808"/>
                  </a:lnTo>
                  <a:lnTo>
                    <a:pt x="5472748" y="6461512"/>
                  </a:lnTo>
                  <a:lnTo>
                    <a:pt x="5463216" y="6456744"/>
                  </a:lnTo>
                  <a:lnTo>
                    <a:pt x="5458452" y="6447216"/>
                  </a:lnTo>
                  <a:lnTo>
                    <a:pt x="5463216" y="6437684"/>
                  </a:lnTo>
                  <a:lnTo>
                    <a:pt x="5463216" y="6432920"/>
                  </a:lnTo>
                  <a:lnTo>
                    <a:pt x="5444156" y="6432920"/>
                  </a:lnTo>
                  <a:lnTo>
                    <a:pt x="5444156" y="6447216"/>
                  </a:lnTo>
                  <a:lnTo>
                    <a:pt x="5444156" y="6461512"/>
                  </a:lnTo>
                  <a:lnTo>
                    <a:pt x="5448924" y="6471040"/>
                  </a:lnTo>
                  <a:lnTo>
                    <a:pt x="5448924" y="6480572"/>
                  </a:lnTo>
                  <a:lnTo>
                    <a:pt x="5439392" y="6485336"/>
                  </a:lnTo>
                  <a:lnTo>
                    <a:pt x="5429860" y="6471040"/>
                  </a:lnTo>
                  <a:lnTo>
                    <a:pt x="5425096" y="6466276"/>
                  </a:lnTo>
                  <a:lnTo>
                    <a:pt x="5420332" y="6471040"/>
                  </a:lnTo>
                  <a:lnTo>
                    <a:pt x="5415568" y="6480572"/>
                  </a:lnTo>
                  <a:lnTo>
                    <a:pt x="5406036" y="6490100"/>
                  </a:lnTo>
                  <a:lnTo>
                    <a:pt x="5391740" y="6490100"/>
                  </a:lnTo>
                  <a:lnTo>
                    <a:pt x="5377444" y="6499632"/>
                  </a:lnTo>
                  <a:lnTo>
                    <a:pt x="5363148" y="6499632"/>
                  </a:lnTo>
                  <a:lnTo>
                    <a:pt x="5353620" y="6490100"/>
                  </a:lnTo>
                  <a:lnTo>
                    <a:pt x="5339324" y="6475808"/>
                  </a:lnTo>
                  <a:lnTo>
                    <a:pt x="5329796" y="6475808"/>
                  </a:lnTo>
                  <a:lnTo>
                    <a:pt x="5310732" y="6480572"/>
                  </a:lnTo>
                  <a:lnTo>
                    <a:pt x="5286908" y="6485336"/>
                  </a:lnTo>
                  <a:lnTo>
                    <a:pt x="5282144" y="6475808"/>
                  </a:lnTo>
                  <a:lnTo>
                    <a:pt x="5267848" y="6485336"/>
                  </a:lnTo>
                  <a:lnTo>
                    <a:pt x="5253552" y="6466276"/>
                  </a:lnTo>
                  <a:lnTo>
                    <a:pt x="5239256" y="6466276"/>
                  </a:lnTo>
                  <a:lnTo>
                    <a:pt x="5220196" y="6451980"/>
                  </a:lnTo>
                  <a:lnTo>
                    <a:pt x="5215432" y="6447216"/>
                  </a:lnTo>
                  <a:lnTo>
                    <a:pt x="5215432" y="6432920"/>
                  </a:lnTo>
                  <a:lnTo>
                    <a:pt x="5205900" y="6428156"/>
                  </a:lnTo>
                  <a:lnTo>
                    <a:pt x="5201136" y="6432920"/>
                  </a:lnTo>
                  <a:lnTo>
                    <a:pt x="5191604" y="6423388"/>
                  </a:lnTo>
                  <a:lnTo>
                    <a:pt x="5182076" y="6418624"/>
                  </a:lnTo>
                  <a:lnTo>
                    <a:pt x="5167780" y="6418624"/>
                  </a:lnTo>
                  <a:lnTo>
                    <a:pt x="5163016" y="6418624"/>
                  </a:lnTo>
                  <a:lnTo>
                    <a:pt x="5158248" y="6423388"/>
                  </a:lnTo>
                  <a:lnTo>
                    <a:pt x="5158248" y="6413860"/>
                  </a:lnTo>
                  <a:lnTo>
                    <a:pt x="5158248" y="6394800"/>
                  </a:lnTo>
                  <a:lnTo>
                    <a:pt x="5158248" y="6375740"/>
                  </a:lnTo>
                  <a:lnTo>
                    <a:pt x="5153484" y="6370972"/>
                  </a:lnTo>
                  <a:lnTo>
                    <a:pt x="5148720" y="6361444"/>
                  </a:lnTo>
                  <a:lnTo>
                    <a:pt x="5143956" y="6361444"/>
                  </a:lnTo>
                  <a:lnTo>
                    <a:pt x="5139188" y="6351912"/>
                  </a:lnTo>
                  <a:lnTo>
                    <a:pt x="5143956" y="6332852"/>
                  </a:lnTo>
                  <a:lnTo>
                    <a:pt x="5148720" y="6318556"/>
                  </a:lnTo>
                  <a:lnTo>
                    <a:pt x="5153484" y="6318556"/>
                  </a:lnTo>
                  <a:lnTo>
                    <a:pt x="5167780" y="6309028"/>
                  </a:lnTo>
                  <a:lnTo>
                    <a:pt x="5172544" y="6294732"/>
                  </a:lnTo>
                  <a:lnTo>
                    <a:pt x="5177308" y="6285200"/>
                  </a:lnTo>
                  <a:lnTo>
                    <a:pt x="5153484" y="6270904"/>
                  </a:lnTo>
                  <a:lnTo>
                    <a:pt x="5139188" y="6266140"/>
                  </a:lnTo>
                  <a:lnTo>
                    <a:pt x="5124892" y="6266140"/>
                  </a:lnTo>
                  <a:lnTo>
                    <a:pt x="5110600" y="6270904"/>
                  </a:lnTo>
                  <a:lnTo>
                    <a:pt x="5101068" y="6270904"/>
                  </a:lnTo>
                  <a:lnTo>
                    <a:pt x="5096304" y="6270904"/>
                  </a:lnTo>
                  <a:lnTo>
                    <a:pt x="5086772" y="6256612"/>
                  </a:lnTo>
                  <a:lnTo>
                    <a:pt x="5077244" y="6251844"/>
                  </a:lnTo>
                  <a:lnTo>
                    <a:pt x="5067712" y="6251844"/>
                  </a:lnTo>
                  <a:lnTo>
                    <a:pt x="5058180" y="6251844"/>
                  </a:lnTo>
                  <a:lnTo>
                    <a:pt x="5048652" y="6261376"/>
                  </a:lnTo>
                  <a:lnTo>
                    <a:pt x="5039120" y="6261376"/>
                  </a:lnTo>
                  <a:lnTo>
                    <a:pt x="5029592" y="6261376"/>
                  </a:lnTo>
                  <a:lnTo>
                    <a:pt x="5020060" y="6251844"/>
                  </a:lnTo>
                  <a:lnTo>
                    <a:pt x="5005764" y="6242316"/>
                  </a:lnTo>
                  <a:lnTo>
                    <a:pt x="4986704" y="6237548"/>
                  </a:lnTo>
                  <a:lnTo>
                    <a:pt x="4981940" y="6228020"/>
                  </a:lnTo>
                  <a:lnTo>
                    <a:pt x="4977176" y="6218488"/>
                  </a:lnTo>
                  <a:lnTo>
                    <a:pt x="4967644" y="6208960"/>
                  </a:lnTo>
                  <a:lnTo>
                    <a:pt x="4953348" y="6194664"/>
                  </a:lnTo>
                  <a:lnTo>
                    <a:pt x="4943820" y="6189900"/>
                  </a:lnTo>
                  <a:lnTo>
                    <a:pt x="4939052" y="6194664"/>
                  </a:lnTo>
                  <a:lnTo>
                    <a:pt x="4929524" y="6199428"/>
                  </a:lnTo>
                  <a:lnTo>
                    <a:pt x="4900932" y="6213724"/>
                  </a:lnTo>
                  <a:lnTo>
                    <a:pt x="4886636" y="6223256"/>
                  </a:lnTo>
                  <a:lnTo>
                    <a:pt x="4877108" y="6223256"/>
                  </a:lnTo>
                  <a:lnTo>
                    <a:pt x="4872340" y="6232784"/>
                  </a:lnTo>
                  <a:lnTo>
                    <a:pt x="4872340" y="6247080"/>
                  </a:lnTo>
                  <a:lnTo>
                    <a:pt x="4867576" y="6261376"/>
                  </a:lnTo>
                  <a:lnTo>
                    <a:pt x="4858048" y="6270904"/>
                  </a:lnTo>
                  <a:lnTo>
                    <a:pt x="4853280" y="6280436"/>
                  </a:lnTo>
                  <a:lnTo>
                    <a:pt x="4843752" y="6280436"/>
                  </a:lnTo>
                  <a:lnTo>
                    <a:pt x="4834220" y="6280436"/>
                  </a:lnTo>
                  <a:lnTo>
                    <a:pt x="4824692" y="6280436"/>
                  </a:lnTo>
                  <a:lnTo>
                    <a:pt x="4800864" y="6299496"/>
                  </a:lnTo>
                  <a:lnTo>
                    <a:pt x="4791336" y="6294732"/>
                  </a:lnTo>
                  <a:lnTo>
                    <a:pt x="4781804" y="6289968"/>
                  </a:lnTo>
                  <a:lnTo>
                    <a:pt x="4777040" y="6280436"/>
                  </a:lnTo>
                  <a:lnTo>
                    <a:pt x="4767508" y="6280436"/>
                  </a:lnTo>
                  <a:lnTo>
                    <a:pt x="4753212" y="6289968"/>
                  </a:lnTo>
                  <a:lnTo>
                    <a:pt x="4748448" y="6304260"/>
                  </a:lnTo>
                  <a:lnTo>
                    <a:pt x="4743684" y="6318556"/>
                  </a:lnTo>
                  <a:lnTo>
                    <a:pt x="4738920" y="6323320"/>
                  </a:lnTo>
                  <a:lnTo>
                    <a:pt x="4734152" y="6328088"/>
                  </a:lnTo>
                  <a:lnTo>
                    <a:pt x="4729388" y="6328088"/>
                  </a:lnTo>
                  <a:lnTo>
                    <a:pt x="4686500" y="6285200"/>
                  </a:lnTo>
                  <a:lnTo>
                    <a:pt x="4676972" y="6294732"/>
                  </a:lnTo>
                  <a:lnTo>
                    <a:pt x="4672208" y="6313792"/>
                  </a:lnTo>
                  <a:lnTo>
                    <a:pt x="4662676" y="6318556"/>
                  </a:lnTo>
                  <a:lnTo>
                    <a:pt x="4643616" y="6289968"/>
                  </a:lnTo>
                  <a:lnTo>
                    <a:pt x="4638852" y="6285200"/>
                  </a:lnTo>
                  <a:lnTo>
                    <a:pt x="4634084" y="6289968"/>
                  </a:lnTo>
                  <a:lnTo>
                    <a:pt x="4629320" y="6294732"/>
                  </a:lnTo>
                  <a:lnTo>
                    <a:pt x="4619788" y="6309028"/>
                  </a:lnTo>
                  <a:lnTo>
                    <a:pt x="4610260" y="6318556"/>
                  </a:lnTo>
                  <a:lnTo>
                    <a:pt x="4610260" y="6328088"/>
                  </a:lnTo>
                  <a:lnTo>
                    <a:pt x="4600728" y="6332852"/>
                  </a:lnTo>
                  <a:lnTo>
                    <a:pt x="4586436" y="6342384"/>
                  </a:lnTo>
                  <a:lnTo>
                    <a:pt x="4576904" y="6337616"/>
                  </a:lnTo>
                  <a:lnTo>
                    <a:pt x="4567372" y="6328088"/>
                  </a:lnTo>
                  <a:lnTo>
                    <a:pt x="4562608" y="6318556"/>
                  </a:lnTo>
                  <a:lnTo>
                    <a:pt x="4543548" y="6309028"/>
                  </a:lnTo>
                  <a:lnTo>
                    <a:pt x="4524488" y="6299496"/>
                  </a:lnTo>
                  <a:lnTo>
                    <a:pt x="4510192" y="6289968"/>
                  </a:lnTo>
                  <a:lnTo>
                    <a:pt x="4505428" y="6289968"/>
                  </a:lnTo>
                  <a:lnTo>
                    <a:pt x="4500660" y="6294732"/>
                  </a:lnTo>
                  <a:lnTo>
                    <a:pt x="4495896" y="6299496"/>
                  </a:lnTo>
                  <a:lnTo>
                    <a:pt x="4491132" y="6309028"/>
                  </a:lnTo>
                  <a:lnTo>
                    <a:pt x="4476836" y="6323320"/>
                  </a:lnTo>
                  <a:lnTo>
                    <a:pt x="4467308" y="6337616"/>
                  </a:lnTo>
                  <a:lnTo>
                    <a:pt x="4457776" y="6347148"/>
                  </a:lnTo>
                  <a:lnTo>
                    <a:pt x="4453012" y="6351912"/>
                  </a:lnTo>
                  <a:lnTo>
                    <a:pt x="4443480" y="6347148"/>
                  </a:lnTo>
                  <a:lnTo>
                    <a:pt x="4433948" y="6342384"/>
                  </a:lnTo>
                  <a:lnTo>
                    <a:pt x="4424420" y="6342384"/>
                  </a:lnTo>
                  <a:lnTo>
                    <a:pt x="4405360" y="6351912"/>
                  </a:lnTo>
                  <a:lnTo>
                    <a:pt x="4395828" y="6332852"/>
                  </a:lnTo>
                  <a:lnTo>
                    <a:pt x="4391064" y="6332852"/>
                  </a:lnTo>
                  <a:lnTo>
                    <a:pt x="4386300" y="6332852"/>
                  </a:lnTo>
                  <a:lnTo>
                    <a:pt x="4381532" y="6337616"/>
                  </a:lnTo>
                  <a:lnTo>
                    <a:pt x="4376768" y="6347148"/>
                  </a:lnTo>
                  <a:lnTo>
                    <a:pt x="4372004" y="6361444"/>
                  </a:lnTo>
                  <a:lnTo>
                    <a:pt x="4362472" y="6370972"/>
                  </a:lnTo>
                  <a:lnTo>
                    <a:pt x="4357708" y="6375740"/>
                  </a:lnTo>
                  <a:lnTo>
                    <a:pt x="4357708" y="6380504"/>
                  </a:lnTo>
                  <a:lnTo>
                    <a:pt x="4362472" y="6390032"/>
                  </a:lnTo>
                  <a:lnTo>
                    <a:pt x="4362472" y="6394800"/>
                  </a:lnTo>
                  <a:lnTo>
                    <a:pt x="4367240" y="6409096"/>
                  </a:lnTo>
                  <a:lnTo>
                    <a:pt x="4367240" y="6418624"/>
                  </a:lnTo>
                  <a:lnTo>
                    <a:pt x="4386300" y="6437684"/>
                  </a:lnTo>
                  <a:lnTo>
                    <a:pt x="4391064" y="6447216"/>
                  </a:lnTo>
                  <a:lnTo>
                    <a:pt x="4391064" y="6456744"/>
                  </a:lnTo>
                  <a:lnTo>
                    <a:pt x="4391064" y="6485336"/>
                  </a:lnTo>
                  <a:lnTo>
                    <a:pt x="4391064" y="6494868"/>
                  </a:lnTo>
                  <a:lnTo>
                    <a:pt x="4386300" y="6518692"/>
                  </a:lnTo>
                  <a:lnTo>
                    <a:pt x="4386300" y="6532988"/>
                  </a:lnTo>
                  <a:lnTo>
                    <a:pt x="4395828" y="6537752"/>
                  </a:lnTo>
                  <a:lnTo>
                    <a:pt x="4400596" y="6547284"/>
                  </a:lnTo>
                  <a:lnTo>
                    <a:pt x="4395828" y="6552048"/>
                  </a:lnTo>
                  <a:lnTo>
                    <a:pt x="4391064" y="6561580"/>
                  </a:lnTo>
                  <a:lnTo>
                    <a:pt x="4386300" y="6561580"/>
                  </a:lnTo>
                  <a:lnTo>
                    <a:pt x="4381532" y="6556812"/>
                  </a:lnTo>
                  <a:lnTo>
                    <a:pt x="4372004" y="6552048"/>
                  </a:lnTo>
                  <a:lnTo>
                    <a:pt x="4367240" y="6552048"/>
                  </a:lnTo>
                  <a:lnTo>
                    <a:pt x="4357708" y="6547284"/>
                  </a:lnTo>
                  <a:lnTo>
                    <a:pt x="4343412" y="6547284"/>
                  </a:lnTo>
                  <a:lnTo>
                    <a:pt x="4319588" y="6552048"/>
                  </a:lnTo>
                  <a:lnTo>
                    <a:pt x="4314820" y="6552048"/>
                  </a:lnTo>
                  <a:lnTo>
                    <a:pt x="4310056" y="6547284"/>
                  </a:lnTo>
                  <a:lnTo>
                    <a:pt x="4310056" y="6537752"/>
                  </a:lnTo>
                  <a:lnTo>
                    <a:pt x="4310056" y="6528224"/>
                  </a:lnTo>
                  <a:lnTo>
                    <a:pt x="4305292" y="6523456"/>
                  </a:lnTo>
                  <a:lnTo>
                    <a:pt x="4300528" y="6518692"/>
                  </a:lnTo>
                  <a:lnTo>
                    <a:pt x="4305292" y="6499632"/>
                  </a:lnTo>
                  <a:lnTo>
                    <a:pt x="4295760" y="6490100"/>
                  </a:lnTo>
                  <a:lnTo>
                    <a:pt x="4300528" y="6485336"/>
                  </a:lnTo>
                  <a:lnTo>
                    <a:pt x="4295760" y="6466276"/>
                  </a:lnTo>
                  <a:lnTo>
                    <a:pt x="4295760" y="6461512"/>
                  </a:lnTo>
                  <a:lnTo>
                    <a:pt x="4286232" y="6456744"/>
                  </a:lnTo>
                  <a:lnTo>
                    <a:pt x="4276700" y="6461512"/>
                  </a:lnTo>
                  <a:lnTo>
                    <a:pt x="4248108" y="6475808"/>
                  </a:lnTo>
                  <a:lnTo>
                    <a:pt x="4224284" y="6499632"/>
                  </a:lnTo>
                  <a:lnTo>
                    <a:pt x="4214756" y="6504396"/>
                  </a:lnTo>
                  <a:lnTo>
                    <a:pt x="4200460" y="6509160"/>
                  </a:lnTo>
                  <a:lnTo>
                    <a:pt x="4190928" y="6504396"/>
                  </a:lnTo>
                  <a:lnTo>
                    <a:pt x="4171868" y="6499632"/>
                  </a:lnTo>
                  <a:lnTo>
                    <a:pt x="4152808" y="6509160"/>
                  </a:lnTo>
                  <a:lnTo>
                    <a:pt x="4143276" y="6504396"/>
                  </a:lnTo>
                  <a:lnTo>
                    <a:pt x="4138512" y="6499632"/>
                  </a:lnTo>
                  <a:lnTo>
                    <a:pt x="4133748" y="6490100"/>
                  </a:lnTo>
                  <a:lnTo>
                    <a:pt x="4133748" y="6480572"/>
                  </a:lnTo>
                  <a:lnTo>
                    <a:pt x="4133748" y="6475808"/>
                  </a:lnTo>
                  <a:lnTo>
                    <a:pt x="4124216" y="6471040"/>
                  </a:lnTo>
                  <a:lnTo>
                    <a:pt x="4114688" y="6466276"/>
                  </a:lnTo>
                  <a:lnTo>
                    <a:pt x="4109920" y="6456744"/>
                  </a:lnTo>
                  <a:lnTo>
                    <a:pt x="4105156" y="6447216"/>
                  </a:lnTo>
                  <a:lnTo>
                    <a:pt x="4109920" y="6432920"/>
                  </a:lnTo>
                  <a:lnTo>
                    <a:pt x="4109920" y="6418624"/>
                  </a:lnTo>
                  <a:lnTo>
                    <a:pt x="4105156" y="6413860"/>
                  </a:lnTo>
                  <a:lnTo>
                    <a:pt x="4090860" y="6409096"/>
                  </a:lnTo>
                  <a:lnTo>
                    <a:pt x="4057504" y="6404328"/>
                  </a:lnTo>
                  <a:lnTo>
                    <a:pt x="4024148" y="6399564"/>
                  </a:lnTo>
                  <a:lnTo>
                    <a:pt x="4009852" y="6399564"/>
                  </a:lnTo>
                  <a:lnTo>
                    <a:pt x="4000324" y="6399564"/>
                  </a:lnTo>
                  <a:lnTo>
                    <a:pt x="3990792" y="6394800"/>
                  </a:lnTo>
                  <a:lnTo>
                    <a:pt x="3990792" y="6390032"/>
                  </a:lnTo>
                  <a:lnTo>
                    <a:pt x="3990792" y="6385268"/>
                  </a:lnTo>
                  <a:lnTo>
                    <a:pt x="3995560" y="6370972"/>
                  </a:lnTo>
                  <a:lnTo>
                    <a:pt x="4000324" y="6356676"/>
                  </a:lnTo>
                  <a:lnTo>
                    <a:pt x="4014620" y="6332852"/>
                  </a:lnTo>
                  <a:lnTo>
                    <a:pt x="4014620" y="6318556"/>
                  </a:lnTo>
                  <a:lnTo>
                    <a:pt x="4014620" y="6299496"/>
                  </a:lnTo>
                  <a:lnTo>
                    <a:pt x="4024148" y="6275672"/>
                  </a:lnTo>
                  <a:lnTo>
                    <a:pt x="4033680" y="6261376"/>
                  </a:lnTo>
                  <a:lnTo>
                    <a:pt x="4043208" y="6256612"/>
                  </a:lnTo>
                  <a:lnTo>
                    <a:pt x="4038444" y="6247080"/>
                  </a:lnTo>
                  <a:lnTo>
                    <a:pt x="4033680" y="6242316"/>
                  </a:lnTo>
                  <a:lnTo>
                    <a:pt x="4028916" y="6237548"/>
                  </a:lnTo>
                  <a:lnTo>
                    <a:pt x="4014620" y="6232784"/>
                  </a:lnTo>
                  <a:lnTo>
                    <a:pt x="3995560" y="6232784"/>
                  </a:lnTo>
                  <a:lnTo>
                    <a:pt x="3971732" y="6228020"/>
                  </a:lnTo>
                  <a:lnTo>
                    <a:pt x="3943140" y="6213724"/>
                  </a:lnTo>
                  <a:lnTo>
                    <a:pt x="3943140" y="6194664"/>
                  </a:lnTo>
                  <a:lnTo>
                    <a:pt x="3943140" y="6185132"/>
                  </a:lnTo>
                  <a:lnTo>
                    <a:pt x="3938376" y="6175604"/>
                  </a:lnTo>
                  <a:lnTo>
                    <a:pt x="3933612" y="6166072"/>
                  </a:lnTo>
                  <a:lnTo>
                    <a:pt x="3933612" y="6161308"/>
                  </a:lnTo>
                  <a:lnTo>
                    <a:pt x="3938376" y="6142248"/>
                  </a:lnTo>
                  <a:lnTo>
                    <a:pt x="3928848" y="6123188"/>
                  </a:lnTo>
                  <a:lnTo>
                    <a:pt x="3919316" y="6113656"/>
                  </a:lnTo>
                  <a:lnTo>
                    <a:pt x="3914552" y="6104128"/>
                  </a:lnTo>
                  <a:lnTo>
                    <a:pt x="3914552" y="6094596"/>
                  </a:lnTo>
                  <a:lnTo>
                    <a:pt x="3914552" y="6085064"/>
                  </a:lnTo>
                  <a:lnTo>
                    <a:pt x="3938376" y="6061240"/>
                  </a:lnTo>
                  <a:lnTo>
                    <a:pt x="3938376" y="6056476"/>
                  </a:lnTo>
                  <a:lnTo>
                    <a:pt x="3933612" y="6056476"/>
                  </a:lnTo>
                  <a:lnTo>
                    <a:pt x="3924080" y="6056476"/>
                  </a:lnTo>
                  <a:lnTo>
                    <a:pt x="3895492" y="6066004"/>
                  </a:lnTo>
                  <a:lnTo>
                    <a:pt x="3895492" y="6061240"/>
                  </a:lnTo>
                  <a:lnTo>
                    <a:pt x="3885960" y="6056476"/>
                  </a:lnTo>
                  <a:lnTo>
                    <a:pt x="3862136" y="6056476"/>
                  </a:lnTo>
                  <a:lnTo>
                    <a:pt x="3838308" y="6061240"/>
                  </a:lnTo>
                  <a:lnTo>
                    <a:pt x="3812100" y="6066004"/>
                  </a:lnTo>
                  <a:lnTo>
                    <a:pt x="3783512" y="6080300"/>
                  </a:lnTo>
                  <a:lnTo>
                    <a:pt x="3769216" y="6089832"/>
                  </a:lnTo>
                  <a:lnTo>
                    <a:pt x="3759684" y="6094596"/>
                  </a:lnTo>
                  <a:lnTo>
                    <a:pt x="3750156" y="6099360"/>
                  </a:lnTo>
                  <a:lnTo>
                    <a:pt x="3740624" y="6094596"/>
                  </a:lnTo>
                  <a:lnTo>
                    <a:pt x="3740624" y="6080300"/>
                  </a:lnTo>
                  <a:lnTo>
                    <a:pt x="3759684" y="6056476"/>
                  </a:lnTo>
                  <a:lnTo>
                    <a:pt x="3764448" y="6037416"/>
                  </a:lnTo>
                  <a:lnTo>
                    <a:pt x="3759684" y="6023120"/>
                  </a:lnTo>
                  <a:lnTo>
                    <a:pt x="3754920" y="6013588"/>
                  </a:lnTo>
                  <a:lnTo>
                    <a:pt x="3750156" y="6004060"/>
                  </a:lnTo>
                  <a:lnTo>
                    <a:pt x="3740624" y="6004060"/>
                  </a:lnTo>
                  <a:lnTo>
                    <a:pt x="3735860" y="5994528"/>
                  </a:lnTo>
                  <a:lnTo>
                    <a:pt x="3735860" y="5970704"/>
                  </a:lnTo>
                  <a:lnTo>
                    <a:pt x="3745388" y="5946876"/>
                  </a:lnTo>
                  <a:lnTo>
                    <a:pt x="3759684" y="5937348"/>
                  </a:lnTo>
                  <a:lnTo>
                    <a:pt x="3764448" y="5932580"/>
                  </a:lnTo>
                  <a:lnTo>
                    <a:pt x="3769216" y="5927816"/>
                  </a:lnTo>
                  <a:lnTo>
                    <a:pt x="3764448" y="5913520"/>
                  </a:lnTo>
                  <a:lnTo>
                    <a:pt x="3764448" y="5899224"/>
                  </a:lnTo>
                  <a:lnTo>
                    <a:pt x="3773980" y="5880164"/>
                  </a:lnTo>
                  <a:lnTo>
                    <a:pt x="3778744" y="5861104"/>
                  </a:lnTo>
                  <a:lnTo>
                    <a:pt x="3797804" y="5865868"/>
                  </a:lnTo>
                  <a:lnTo>
                    <a:pt x="3802572" y="5861104"/>
                  </a:lnTo>
                  <a:lnTo>
                    <a:pt x="3812100" y="5856340"/>
                  </a:lnTo>
                  <a:lnTo>
                    <a:pt x="3816868" y="5846808"/>
                  </a:lnTo>
                  <a:lnTo>
                    <a:pt x="3826396" y="5832512"/>
                  </a:lnTo>
                  <a:lnTo>
                    <a:pt x="3831160" y="5808688"/>
                  </a:lnTo>
                  <a:lnTo>
                    <a:pt x="3833544" y="5803924"/>
                  </a:lnTo>
                  <a:lnTo>
                    <a:pt x="3852604" y="5808688"/>
                  </a:lnTo>
                  <a:lnTo>
                    <a:pt x="3857368" y="5803924"/>
                  </a:lnTo>
                  <a:lnTo>
                    <a:pt x="3871664" y="5789628"/>
                  </a:lnTo>
                  <a:lnTo>
                    <a:pt x="3881196" y="5770568"/>
                  </a:lnTo>
                  <a:lnTo>
                    <a:pt x="3895492" y="5765804"/>
                  </a:lnTo>
                  <a:lnTo>
                    <a:pt x="3905020" y="5761036"/>
                  </a:lnTo>
                  <a:lnTo>
                    <a:pt x="3909788" y="5756272"/>
                  </a:lnTo>
                  <a:lnTo>
                    <a:pt x="3909788" y="5746740"/>
                  </a:lnTo>
                  <a:lnTo>
                    <a:pt x="3900256" y="5732448"/>
                  </a:lnTo>
                  <a:lnTo>
                    <a:pt x="3895492" y="5722916"/>
                  </a:lnTo>
                  <a:lnTo>
                    <a:pt x="3895492" y="5713384"/>
                  </a:lnTo>
                  <a:lnTo>
                    <a:pt x="3909788" y="5708620"/>
                  </a:lnTo>
                  <a:lnTo>
                    <a:pt x="3914552" y="5699092"/>
                  </a:lnTo>
                  <a:lnTo>
                    <a:pt x="3909788" y="5680028"/>
                  </a:lnTo>
                  <a:lnTo>
                    <a:pt x="3919316" y="5660968"/>
                  </a:lnTo>
                  <a:lnTo>
                    <a:pt x="3919316" y="5632380"/>
                  </a:lnTo>
                  <a:lnTo>
                    <a:pt x="3924080" y="5613320"/>
                  </a:lnTo>
                  <a:lnTo>
                    <a:pt x="3924080" y="5594256"/>
                  </a:lnTo>
                  <a:lnTo>
                    <a:pt x="3919316" y="5579964"/>
                  </a:lnTo>
                  <a:lnTo>
                    <a:pt x="3919316" y="5551372"/>
                  </a:lnTo>
                  <a:lnTo>
                    <a:pt x="3909788" y="5527544"/>
                  </a:lnTo>
                  <a:lnTo>
                    <a:pt x="3914552" y="5513252"/>
                  </a:lnTo>
                  <a:lnTo>
                    <a:pt x="3914552" y="5484660"/>
                  </a:lnTo>
                  <a:lnTo>
                    <a:pt x="3909788" y="5456068"/>
                  </a:lnTo>
                  <a:lnTo>
                    <a:pt x="3900256" y="5451304"/>
                  </a:lnTo>
                  <a:lnTo>
                    <a:pt x="3885960" y="5446540"/>
                  </a:lnTo>
                  <a:lnTo>
                    <a:pt x="3876432" y="5441772"/>
                  </a:lnTo>
                  <a:lnTo>
                    <a:pt x="3871664" y="5446540"/>
                  </a:lnTo>
                  <a:lnTo>
                    <a:pt x="3866900" y="5456068"/>
                  </a:lnTo>
                  <a:lnTo>
                    <a:pt x="3862136" y="5465600"/>
                  </a:lnTo>
                  <a:lnTo>
                    <a:pt x="3852604" y="5460832"/>
                  </a:lnTo>
                  <a:lnTo>
                    <a:pt x="3847840" y="5451304"/>
                  </a:lnTo>
                  <a:lnTo>
                    <a:pt x="3843076" y="5441772"/>
                  </a:lnTo>
                  <a:lnTo>
                    <a:pt x="3831160" y="5389356"/>
                  </a:lnTo>
                  <a:lnTo>
                    <a:pt x="3826396" y="5375060"/>
                  </a:lnTo>
                  <a:lnTo>
                    <a:pt x="3826396" y="5356000"/>
                  </a:lnTo>
                  <a:lnTo>
                    <a:pt x="3816868" y="5351236"/>
                  </a:lnTo>
                  <a:lnTo>
                    <a:pt x="3812100" y="5346472"/>
                  </a:lnTo>
                  <a:lnTo>
                    <a:pt x="3797804" y="5327412"/>
                  </a:lnTo>
                  <a:lnTo>
                    <a:pt x="3793040" y="5317880"/>
                  </a:lnTo>
                  <a:lnTo>
                    <a:pt x="3788276" y="5317880"/>
                  </a:lnTo>
                  <a:lnTo>
                    <a:pt x="3778744" y="5317880"/>
                  </a:lnTo>
                  <a:lnTo>
                    <a:pt x="3773980" y="5317880"/>
                  </a:lnTo>
                  <a:lnTo>
                    <a:pt x="3764448" y="5308348"/>
                  </a:lnTo>
                  <a:lnTo>
                    <a:pt x="3759684" y="5298820"/>
                  </a:lnTo>
                  <a:lnTo>
                    <a:pt x="3754920" y="5294056"/>
                  </a:lnTo>
                  <a:lnTo>
                    <a:pt x="3745388" y="5289288"/>
                  </a:lnTo>
                  <a:lnTo>
                    <a:pt x="3735860" y="5294056"/>
                  </a:lnTo>
                  <a:lnTo>
                    <a:pt x="3731092" y="5303584"/>
                  </a:lnTo>
                  <a:lnTo>
                    <a:pt x="3726328" y="5308348"/>
                  </a:lnTo>
                  <a:lnTo>
                    <a:pt x="3721564" y="5317880"/>
                  </a:lnTo>
                  <a:lnTo>
                    <a:pt x="3707268" y="5336940"/>
                  </a:lnTo>
                  <a:lnTo>
                    <a:pt x="3702504" y="5346472"/>
                  </a:lnTo>
                  <a:lnTo>
                    <a:pt x="3697740" y="5341704"/>
                  </a:lnTo>
                  <a:lnTo>
                    <a:pt x="3673912" y="5322644"/>
                  </a:lnTo>
                  <a:lnTo>
                    <a:pt x="3664380" y="5317880"/>
                  </a:lnTo>
                  <a:lnTo>
                    <a:pt x="3650088" y="5322644"/>
                  </a:lnTo>
                  <a:lnTo>
                    <a:pt x="3626260" y="5317880"/>
                  </a:lnTo>
                  <a:lnTo>
                    <a:pt x="3616732" y="5317880"/>
                  </a:lnTo>
                  <a:lnTo>
                    <a:pt x="3597672" y="5303584"/>
                  </a:lnTo>
                  <a:lnTo>
                    <a:pt x="3592904" y="5298820"/>
                  </a:lnTo>
                  <a:lnTo>
                    <a:pt x="3564316" y="5308348"/>
                  </a:lnTo>
                  <a:lnTo>
                    <a:pt x="3559548" y="5317880"/>
                  </a:lnTo>
                  <a:lnTo>
                    <a:pt x="3554784" y="5317880"/>
                  </a:lnTo>
                  <a:lnTo>
                    <a:pt x="3545252" y="5313116"/>
                  </a:lnTo>
                  <a:lnTo>
                    <a:pt x="3540488" y="5308348"/>
                  </a:lnTo>
                  <a:lnTo>
                    <a:pt x="3545252" y="5298820"/>
                  </a:lnTo>
                  <a:lnTo>
                    <a:pt x="3550020" y="5294056"/>
                  </a:lnTo>
                  <a:lnTo>
                    <a:pt x="3550020" y="5289288"/>
                  </a:lnTo>
                  <a:lnTo>
                    <a:pt x="3559548" y="5274992"/>
                  </a:lnTo>
                  <a:lnTo>
                    <a:pt x="3588140" y="5246404"/>
                  </a:lnTo>
                  <a:lnTo>
                    <a:pt x="3583376" y="5236872"/>
                  </a:lnTo>
                  <a:lnTo>
                    <a:pt x="3569080" y="5213048"/>
                  </a:lnTo>
                  <a:lnTo>
                    <a:pt x="3569080" y="5198752"/>
                  </a:lnTo>
                  <a:lnTo>
                    <a:pt x="3564316" y="5193988"/>
                  </a:lnTo>
                  <a:lnTo>
                    <a:pt x="3550020" y="5198752"/>
                  </a:lnTo>
                  <a:lnTo>
                    <a:pt x="3521428" y="5222576"/>
                  </a:lnTo>
                  <a:lnTo>
                    <a:pt x="3516664" y="5217812"/>
                  </a:lnTo>
                  <a:lnTo>
                    <a:pt x="3516664" y="5213048"/>
                  </a:lnTo>
                  <a:lnTo>
                    <a:pt x="3516664" y="5189220"/>
                  </a:lnTo>
                  <a:lnTo>
                    <a:pt x="3526192" y="5184456"/>
                  </a:lnTo>
                  <a:lnTo>
                    <a:pt x="3540488" y="5174928"/>
                  </a:lnTo>
                  <a:lnTo>
                    <a:pt x="3550020" y="5165396"/>
                  </a:lnTo>
                  <a:lnTo>
                    <a:pt x="3550020" y="5160632"/>
                  </a:lnTo>
                  <a:lnTo>
                    <a:pt x="3550020" y="5155864"/>
                  </a:lnTo>
                  <a:lnTo>
                    <a:pt x="3530960" y="5160632"/>
                  </a:lnTo>
                  <a:lnTo>
                    <a:pt x="3526192" y="5155864"/>
                  </a:lnTo>
                  <a:lnTo>
                    <a:pt x="3516664" y="5136804"/>
                  </a:lnTo>
                  <a:lnTo>
                    <a:pt x="3507132" y="5127276"/>
                  </a:lnTo>
                  <a:lnTo>
                    <a:pt x="3502368" y="5122508"/>
                  </a:lnTo>
                  <a:lnTo>
                    <a:pt x="3478540" y="5136804"/>
                  </a:lnTo>
                  <a:lnTo>
                    <a:pt x="3449952" y="5151100"/>
                  </a:lnTo>
                  <a:lnTo>
                    <a:pt x="3421360" y="5170160"/>
                  </a:lnTo>
                  <a:lnTo>
                    <a:pt x="3421360" y="5179692"/>
                  </a:lnTo>
                  <a:lnTo>
                    <a:pt x="3416596" y="5179692"/>
                  </a:lnTo>
                  <a:lnTo>
                    <a:pt x="3411832" y="5189220"/>
                  </a:lnTo>
                  <a:lnTo>
                    <a:pt x="3407064" y="5193988"/>
                  </a:lnTo>
                  <a:lnTo>
                    <a:pt x="3402300" y="5198752"/>
                  </a:lnTo>
                  <a:lnTo>
                    <a:pt x="3397536" y="5198752"/>
                  </a:lnTo>
                  <a:lnTo>
                    <a:pt x="3383240" y="5193988"/>
                  </a:lnTo>
                  <a:lnTo>
                    <a:pt x="3364180" y="5184456"/>
                  </a:lnTo>
                  <a:lnTo>
                    <a:pt x="3340352" y="5179692"/>
                  </a:lnTo>
                  <a:lnTo>
                    <a:pt x="3335588" y="5179692"/>
                  </a:lnTo>
                  <a:lnTo>
                    <a:pt x="3306996" y="5174928"/>
                  </a:lnTo>
                  <a:lnTo>
                    <a:pt x="3302232" y="5170160"/>
                  </a:lnTo>
                  <a:lnTo>
                    <a:pt x="3297468" y="5160632"/>
                  </a:lnTo>
                  <a:lnTo>
                    <a:pt x="3287936" y="5151100"/>
                  </a:lnTo>
                  <a:lnTo>
                    <a:pt x="3283172" y="5151100"/>
                  </a:lnTo>
                  <a:lnTo>
                    <a:pt x="3259348" y="5165396"/>
                  </a:lnTo>
                  <a:lnTo>
                    <a:pt x="3230756" y="5179692"/>
                  </a:lnTo>
                  <a:lnTo>
                    <a:pt x="3216460" y="5193988"/>
                  </a:lnTo>
                  <a:lnTo>
                    <a:pt x="3202164" y="5208284"/>
                  </a:lnTo>
                  <a:lnTo>
                    <a:pt x="3187868" y="5213048"/>
                  </a:lnTo>
                  <a:lnTo>
                    <a:pt x="3187868" y="5222576"/>
                  </a:lnTo>
                  <a:lnTo>
                    <a:pt x="3178340" y="5232108"/>
                  </a:lnTo>
                  <a:lnTo>
                    <a:pt x="3168808" y="5241640"/>
                  </a:lnTo>
                  <a:lnTo>
                    <a:pt x="3144984" y="5251168"/>
                  </a:lnTo>
                  <a:lnTo>
                    <a:pt x="3130688" y="5260700"/>
                  </a:lnTo>
                  <a:lnTo>
                    <a:pt x="3083036" y="5265464"/>
                  </a:lnTo>
                  <a:lnTo>
                    <a:pt x="3068740" y="5270228"/>
                  </a:lnTo>
                  <a:lnTo>
                    <a:pt x="3059212" y="5279760"/>
                  </a:lnTo>
                  <a:lnTo>
                    <a:pt x="3054444" y="5294056"/>
                  </a:lnTo>
                  <a:lnTo>
                    <a:pt x="3044916" y="5313116"/>
                  </a:lnTo>
                  <a:lnTo>
                    <a:pt x="3035384" y="5322644"/>
                  </a:lnTo>
                  <a:lnTo>
                    <a:pt x="3011560" y="5341704"/>
                  </a:lnTo>
                  <a:lnTo>
                    <a:pt x="2982968" y="5356000"/>
                  </a:lnTo>
                  <a:lnTo>
                    <a:pt x="2973440" y="5365532"/>
                  </a:lnTo>
                  <a:lnTo>
                    <a:pt x="2973440" y="5370296"/>
                  </a:lnTo>
                  <a:lnTo>
                    <a:pt x="2978204" y="5375060"/>
                  </a:lnTo>
                  <a:lnTo>
                    <a:pt x="2978204" y="5379828"/>
                  </a:lnTo>
                  <a:lnTo>
                    <a:pt x="2978204" y="5384592"/>
                  </a:lnTo>
                  <a:lnTo>
                    <a:pt x="2973440" y="5389356"/>
                  </a:lnTo>
                  <a:lnTo>
                    <a:pt x="2959144" y="5403652"/>
                  </a:lnTo>
                  <a:lnTo>
                    <a:pt x="2944848" y="5408416"/>
                  </a:lnTo>
                  <a:lnTo>
                    <a:pt x="2935316" y="5413184"/>
                  </a:lnTo>
                  <a:lnTo>
                    <a:pt x="2925788" y="5413184"/>
                  </a:lnTo>
                  <a:lnTo>
                    <a:pt x="2916256" y="5413184"/>
                  </a:lnTo>
                  <a:lnTo>
                    <a:pt x="2911492" y="5408416"/>
                  </a:lnTo>
                  <a:lnTo>
                    <a:pt x="2906728" y="5413184"/>
                  </a:lnTo>
                  <a:lnTo>
                    <a:pt x="2897196" y="5417948"/>
                  </a:lnTo>
                  <a:lnTo>
                    <a:pt x="2887668" y="5417948"/>
                  </a:lnTo>
                  <a:lnTo>
                    <a:pt x="2868604" y="5432244"/>
                  </a:lnTo>
                  <a:lnTo>
                    <a:pt x="2859076" y="5432244"/>
                  </a:lnTo>
                  <a:lnTo>
                    <a:pt x="2844780" y="5427480"/>
                  </a:lnTo>
                  <a:lnTo>
                    <a:pt x="2825720" y="5427480"/>
                  </a:lnTo>
                  <a:lnTo>
                    <a:pt x="2816188" y="5427480"/>
                  </a:lnTo>
                  <a:lnTo>
                    <a:pt x="2816188" y="5417948"/>
                  </a:lnTo>
                  <a:lnTo>
                    <a:pt x="2816188" y="5394124"/>
                  </a:lnTo>
                  <a:lnTo>
                    <a:pt x="2811424" y="5389356"/>
                  </a:lnTo>
                  <a:lnTo>
                    <a:pt x="2792364" y="5384592"/>
                  </a:lnTo>
                  <a:lnTo>
                    <a:pt x="2773304" y="5379828"/>
                  </a:lnTo>
                  <a:lnTo>
                    <a:pt x="2763772" y="5370296"/>
                  </a:lnTo>
                  <a:lnTo>
                    <a:pt x="2759008" y="5370296"/>
                  </a:lnTo>
                  <a:lnTo>
                    <a:pt x="2749476" y="5370296"/>
                  </a:lnTo>
                  <a:lnTo>
                    <a:pt x="2739948" y="5379828"/>
                  </a:lnTo>
                  <a:lnTo>
                    <a:pt x="2725652" y="5389356"/>
                  </a:lnTo>
                  <a:lnTo>
                    <a:pt x="2720888" y="5389356"/>
                  </a:lnTo>
                  <a:lnTo>
                    <a:pt x="2711356" y="5384592"/>
                  </a:lnTo>
                  <a:lnTo>
                    <a:pt x="2701828" y="5379828"/>
                  </a:lnTo>
                  <a:lnTo>
                    <a:pt x="2673236" y="5370296"/>
                  </a:lnTo>
                  <a:lnTo>
                    <a:pt x="2658940" y="5370296"/>
                  </a:lnTo>
                  <a:lnTo>
                    <a:pt x="2635116" y="5370296"/>
                  </a:lnTo>
                  <a:lnTo>
                    <a:pt x="2616052" y="5370296"/>
                  </a:lnTo>
                  <a:lnTo>
                    <a:pt x="2611288" y="5365532"/>
                  </a:lnTo>
                  <a:lnTo>
                    <a:pt x="2611288" y="5360768"/>
                  </a:lnTo>
                  <a:lnTo>
                    <a:pt x="2616052" y="5351236"/>
                  </a:lnTo>
                  <a:lnTo>
                    <a:pt x="2616052" y="5346472"/>
                  </a:lnTo>
                  <a:lnTo>
                    <a:pt x="2611288" y="5336940"/>
                  </a:lnTo>
                  <a:lnTo>
                    <a:pt x="2592228" y="5332176"/>
                  </a:lnTo>
                  <a:lnTo>
                    <a:pt x="2577932" y="5327412"/>
                  </a:lnTo>
                  <a:lnTo>
                    <a:pt x="2554108" y="5327412"/>
                  </a:lnTo>
                  <a:lnTo>
                    <a:pt x="2544576" y="5332176"/>
                  </a:lnTo>
                  <a:lnTo>
                    <a:pt x="2530280" y="5336940"/>
                  </a:lnTo>
                  <a:lnTo>
                    <a:pt x="2520752" y="5351236"/>
                  </a:lnTo>
                  <a:lnTo>
                    <a:pt x="2506456" y="5356000"/>
                  </a:lnTo>
                  <a:lnTo>
                    <a:pt x="2487396" y="5365532"/>
                  </a:lnTo>
                  <a:lnTo>
                    <a:pt x="2477864" y="5370296"/>
                  </a:lnTo>
                  <a:lnTo>
                    <a:pt x="2463572" y="5389356"/>
                  </a:lnTo>
                  <a:lnTo>
                    <a:pt x="2444508" y="5413184"/>
                  </a:lnTo>
                  <a:lnTo>
                    <a:pt x="2430212" y="5432244"/>
                  </a:lnTo>
                  <a:lnTo>
                    <a:pt x="2420684" y="5456068"/>
                  </a:lnTo>
                  <a:lnTo>
                    <a:pt x="2406388" y="5465600"/>
                  </a:lnTo>
                  <a:lnTo>
                    <a:pt x="2396860" y="5479896"/>
                  </a:lnTo>
                  <a:lnTo>
                    <a:pt x="2387328" y="5503720"/>
                  </a:lnTo>
                  <a:lnTo>
                    <a:pt x="2377796" y="5494188"/>
                  </a:lnTo>
                  <a:lnTo>
                    <a:pt x="2368268" y="5484660"/>
                  </a:lnTo>
                  <a:lnTo>
                    <a:pt x="2363504" y="5465600"/>
                  </a:lnTo>
                  <a:lnTo>
                    <a:pt x="2377796" y="5422712"/>
                  </a:lnTo>
                  <a:lnTo>
                    <a:pt x="2377796" y="5403652"/>
                  </a:lnTo>
                  <a:lnTo>
                    <a:pt x="2377796" y="5398888"/>
                  </a:lnTo>
                  <a:lnTo>
                    <a:pt x="2373032" y="5379828"/>
                  </a:lnTo>
                  <a:lnTo>
                    <a:pt x="2363504" y="5375060"/>
                  </a:lnTo>
                  <a:lnTo>
                    <a:pt x="2344440" y="5365532"/>
                  </a:lnTo>
                  <a:lnTo>
                    <a:pt x="2334912" y="5365532"/>
                  </a:lnTo>
                  <a:lnTo>
                    <a:pt x="2330148" y="5370296"/>
                  </a:lnTo>
                  <a:lnTo>
                    <a:pt x="2320616" y="5375060"/>
                  </a:lnTo>
                  <a:lnTo>
                    <a:pt x="2315852" y="5379828"/>
                  </a:lnTo>
                  <a:lnTo>
                    <a:pt x="2292024" y="5389356"/>
                  </a:lnTo>
                  <a:lnTo>
                    <a:pt x="2268200" y="5389356"/>
                  </a:lnTo>
                  <a:lnTo>
                    <a:pt x="2263436" y="5394124"/>
                  </a:lnTo>
                  <a:lnTo>
                    <a:pt x="2263436" y="5398888"/>
                  </a:lnTo>
                  <a:lnTo>
                    <a:pt x="2263436" y="5403652"/>
                  </a:lnTo>
                  <a:lnTo>
                    <a:pt x="2249140" y="5403652"/>
                  </a:lnTo>
                  <a:lnTo>
                    <a:pt x="2234844" y="5403652"/>
                  </a:lnTo>
                  <a:lnTo>
                    <a:pt x="2225312" y="5403652"/>
                  </a:lnTo>
                  <a:lnTo>
                    <a:pt x="2196724" y="5413184"/>
                  </a:lnTo>
                  <a:lnTo>
                    <a:pt x="2187192" y="5413184"/>
                  </a:lnTo>
                  <a:lnTo>
                    <a:pt x="2177664" y="5413184"/>
                  </a:lnTo>
                  <a:lnTo>
                    <a:pt x="2134776" y="5413184"/>
                  </a:lnTo>
                  <a:lnTo>
                    <a:pt x="2110952" y="5413184"/>
                  </a:lnTo>
                  <a:lnTo>
                    <a:pt x="2091892" y="5394124"/>
                  </a:lnTo>
                  <a:lnTo>
                    <a:pt x="2082360" y="5389356"/>
                  </a:lnTo>
                  <a:lnTo>
                    <a:pt x="2068064" y="5384592"/>
                  </a:lnTo>
                  <a:lnTo>
                    <a:pt x="2053768" y="5379828"/>
                  </a:lnTo>
                  <a:lnTo>
                    <a:pt x="2049004" y="5370296"/>
                  </a:lnTo>
                  <a:lnTo>
                    <a:pt x="2044240" y="5365532"/>
                  </a:lnTo>
                  <a:lnTo>
                    <a:pt x="2029944" y="5365532"/>
                  </a:lnTo>
                  <a:lnTo>
                    <a:pt x="2020412" y="5365532"/>
                  </a:lnTo>
                  <a:lnTo>
                    <a:pt x="2015648" y="5389356"/>
                  </a:lnTo>
                  <a:lnTo>
                    <a:pt x="2010884" y="5394124"/>
                  </a:lnTo>
                  <a:lnTo>
                    <a:pt x="1996588" y="5394124"/>
                  </a:lnTo>
                  <a:lnTo>
                    <a:pt x="1987056" y="5389356"/>
                  </a:lnTo>
                  <a:lnTo>
                    <a:pt x="1967996" y="5379828"/>
                  </a:lnTo>
                  <a:lnTo>
                    <a:pt x="1963232" y="5365532"/>
                  </a:lnTo>
                  <a:lnTo>
                    <a:pt x="1958468" y="5360768"/>
                  </a:lnTo>
                  <a:lnTo>
                    <a:pt x="1948936" y="5370296"/>
                  </a:lnTo>
                  <a:lnTo>
                    <a:pt x="1944172" y="5384592"/>
                  </a:lnTo>
                  <a:lnTo>
                    <a:pt x="1944172" y="5394124"/>
                  </a:lnTo>
                  <a:lnTo>
                    <a:pt x="1934640" y="5398888"/>
                  </a:lnTo>
                  <a:lnTo>
                    <a:pt x="1925112" y="5394124"/>
                  </a:lnTo>
                  <a:lnTo>
                    <a:pt x="1920344" y="5384592"/>
                  </a:lnTo>
                  <a:lnTo>
                    <a:pt x="1910816" y="5360768"/>
                  </a:lnTo>
                  <a:lnTo>
                    <a:pt x="1896520" y="5341704"/>
                  </a:lnTo>
                  <a:lnTo>
                    <a:pt x="1882224" y="5332176"/>
                  </a:lnTo>
                  <a:lnTo>
                    <a:pt x="1844104" y="5332176"/>
                  </a:lnTo>
                  <a:lnTo>
                    <a:pt x="1810748" y="5332176"/>
                  </a:lnTo>
                  <a:lnTo>
                    <a:pt x="1796452" y="5327412"/>
                  </a:lnTo>
                  <a:lnTo>
                    <a:pt x="1791688" y="5317880"/>
                  </a:lnTo>
                  <a:lnTo>
                    <a:pt x="1796452" y="5298820"/>
                  </a:lnTo>
                  <a:lnTo>
                    <a:pt x="1801216" y="5279760"/>
                  </a:lnTo>
                  <a:lnTo>
                    <a:pt x="1796452" y="5274992"/>
                  </a:lnTo>
                  <a:lnTo>
                    <a:pt x="1786920" y="5274992"/>
                  </a:lnTo>
                  <a:lnTo>
                    <a:pt x="1753564" y="5284524"/>
                  </a:lnTo>
                  <a:lnTo>
                    <a:pt x="1748800" y="5284524"/>
                  </a:lnTo>
                  <a:lnTo>
                    <a:pt x="1739272" y="5279760"/>
                  </a:lnTo>
                  <a:lnTo>
                    <a:pt x="1734504" y="5274992"/>
                  </a:lnTo>
                  <a:lnTo>
                    <a:pt x="1729740" y="5270228"/>
                  </a:lnTo>
                  <a:lnTo>
                    <a:pt x="1724976" y="5265464"/>
                  </a:lnTo>
                  <a:lnTo>
                    <a:pt x="1696384" y="5251168"/>
                  </a:lnTo>
                  <a:lnTo>
                    <a:pt x="1686856" y="5241640"/>
                  </a:lnTo>
                  <a:lnTo>
                    <a:pt x="1672560" y="5227344"/>
                  </a:lnTo>
                  <a:lnTo>
                    <a:pt x="1658264" y="5222576"/>
                  </a:lnTo>
                  <a:lnTo>
                    <a:pt x="1648732" y="5198752"/>
                  </a:lnTo>
                  <a:lnTo>
                    <a:pt x="1643968" y="5174928"/>
                  </a:lnTo>
                  <a:lnTo>
                    <a:pt x="1639204" y="5165396"/>
                  </a:lnTo>
                  <a:lnTo>
                    <a:pt x="1624908" y="5160632"/>
                  </a:lnTo>
                  <a:lnTo>
                    <a:pt x="1610612" y="5155864"/>
                  </a:lnTo>
                  <a:lnTo>
                    <a:pt x="1591552" y="5165396"/>
                  </a:lnTo>
                  <a:lnTo>
                    <a:pt x="1572492" y="5170160"/>
                  </a:lnTo>
                  <a:lnTo>
                    <a:pt x="1558196" y="5170160"/>
                  </a:lnTo>
                  <a:lnTo>
                    <a:pt x="1539136" y="5151100"/>
                  </a:lnTo>
                  <a:lnTo>
                    <a:pt x="1520076" y="5127276"/>
                  </a:lnTo>
                  <a:lnTo>
                    <a:pt x="1501016" y="5103448"/>
                  </a:lnTo>
                  <a:lnTo>
                    <a:pt x="1491484" y="5093920"/>
                  </a:lnTo>
                  <a:lnTo>
                    <a:pt x="1467660" y="5093920"/>
                  </a:lnTo>
                  <a:lnTo>
                    <a:pt x="1443832" y="5084388"/>
                  </a:lnTo>
                  <a:lnTo>
                    <a:pt x="1410476" y="5055800"/>
                  </a:lnTo>
                  <a:lnTo>
                    <a:pt x="1386652" y="5036736"/>
                  </a:lnTo>
                  <a:lnTo>
                    <a:pt x="1343764" y="5012912"/>
                  </a:lnTo>
                  <a:lnTo>
                    <a:pt x="1334236" y="5003380"/>
                  </a:lnTo>
                  <a:lnTo>
                    <a:pt x="1329468" y="4998616"/>
                  </a:lnTo>
                  <a:lnTo>
                    <a:pt x="1324704" y="4979556"/>
                  </a:lnTo>
                  <a:lnTo>
                    <a:pt x="1315176" y="4965260"/>
                  </a:lnTo>
                  <a:lnTo>
                    <a:pt x="1286584" y="4960496"/>
                  </a:lnTo>
                  <a:lnTo>
                    <a:pt x="1253228" y="4955732"/>
                  </a:lnTo>
                  <a:lnTo>
                    <a:pt x="1219872" y="4965260"/>
                  </a:lnTo>
                  <a:lnTo>
                    <a:pt x="1196044" y="5008148"/>
                  </a:lnTo>
                  <a:lnTo>
                    <a:pt x="1181752" y="5017676"/>
                  </a:lnTo>
                  <a:lnTo>
                    <a:pt x="1172220" y="5017676"/>
                  </a:lnTo>
                  <a:lnTo>
                    <a:pt x="1162692" y="5008148"/>
                  </a:lnTo>
                  <a:lnTo>
                    <a:pt x="1153160" y="4993852"/>
                  </a:lnTo>
                  <a:lnTo>
                    <a:pt x="1153160" y="4984320"/>
                  </a:lnTo>
                  <a:lnTo>
                    <a:pt x="1134100" y="4974792"/>
                  </a:lnTo>
                  <a:lnTo>
                    <a:pt x="1115040" y="4960496"/>
                  </a:lnTo>
                  <a:lnTo>
                    <a:pt x="1105508" y="4950964"/>
                  </a:lnTo>
                  <a:lnTo>
                    <a:pt x="1091212" y="4946200"/>
                  </a:lnTo>
                  <a:lnTo>
                    <a:pt x="1081684" y="4941436"/>
                  </a:lnTo>
                  <a:lnTo>
                    <a:pt x="1062624" y="4931904"/>
                  </a:lnTo>
                  <a:lnTo>
                    <a:pt x="1038796" y="4922376"/>
                  </a:lnTo>
                  <a:lnTo>
                    <a:pt x="1029268" y="4922376"/>
                  </a:lnTo>
                  <a:lnTo>
                    <a:pt x="1024500" y="4917608"/>
                  </a:lnTo>
                  <a:lnTo>
                    <a:pt x="1029268" y="4903316"/>
                  </a:lnTo>
                  <a:lnTo>
                    <a:pt x="1029268" y="4889020"/>
                  </a:lnTo>
                  <a:lnTo>
                    <a:pt x="1019736" y="4884252"/>
                  </a:lnTo>
                  <a:lnTo>
                    <a:pt x="1010208" y="4884252"/>
                  </a:lnTo>
                  <a:lnTo>
                    <a:pt x="986380" y="4865192"/>
                  </a:lnTo>
                  <a:lnTo>
                    <a:pt x="976852" y="4855664"/>
                  </a:lnTo>
                  <a:lnTo>
                    <a:pt x="967320" y="4850896"/>
                  </a:lnTo>
                  <a:lnTo>
                    <a:pt x="943496" y="4850896"/>
                  </a:lnTo>
                  <a:lnTo>
                    <a:pt x="929200" y="4850896"/>
                  </a:lnTo>
                  <a:lnTo>
                    <a:pt x="919668" y="4846132"/>
                  </a:lnTo>
                  <a:lnTo>
                    <a:pt x="900608" y="4831836"/>
                  </a:lnTo>
                  <a:lnTo>
                    <a:pt x="900608" y="4827072"/>
                  </a:lnTo>
                  <a:lnTo>
                    <a:pt x="895844" y="4827072"/>
                  </a:lnTo>
                  <a:lnTo>
                    <a:pt x="876784" y="4798480"/>
                  </a:lnTo>
                  <a:lnTo>
                    <a:pt x="857720" y="4769892"/>
                  </a:lnTo>
                  <a:lnTo>
                    <a:pt x="848192" y="4765124"/>
                  </a:lnTo>
                  <a:lnTo>
                    <a:pt x="843428" y="4769892"/>
                  </a:lnTo>
                  <a:lnTo>
                    <a:pt x="838660" y="4784184"/>
                  </a:lnTo>
                  <a:lnTo>
                    <a:pt x="833896" y="4784184"/>
                  </a:lnTo>
                  <a:lnTo>
                    <a:pt x="824368" y="4784184"/>
                  </a:lnTo>
                  <a:lnTo>
                    <a:pt x="814836" y="4788952"/>
                  </a:lnTo>
                  <a:lnTo>
                    <a:pt x="810072" y="4788952"/>
                  </a:lnTo>
                  <a:lnTo>
                    <a:pt x="805304" y="4788952"/>
                  </a:lnTo>
                  <a:lnTo>
                    <a:pt x="800540" y="4784184"/>
                  </a:lnTo>
                  <a:lnTo>
                    <a:pt x="805304" y="4765124"/>
                  </a:lnTo>
                  <a:lnTo>
                    <a:pt x="800540" y="4760360"/>
                  </a:lnTo>
                  <a:lnTo>
                    <a:pt x="805304" y="4741300"/>
                  </a:lnTo>
                  <a:lnTo>
                    <a:pt x="810072" y="4731768"/>
                  </a:lnTo>
                  <a:lnTo>
                    <a:pt x="805304" y="4722240"/>
                  </a:lnTo>
                  <a:lnTo>
                    <a:pt x="791012" y="4707944"/>
                  </a:lnTo>
                  <a:lnTo>
                    <a:pt x="791012" y="4698412"/>
                  </a:lnTo>
                  <a:lnTo>
                    <a:pt x="795776" y="4684120"/>
                  </a:lnTo>
                  <a:lnTo>
                    <a:pt x="800540" y="4669824"/>
                  </a:lnTo>
                  <a:lnTo>
                    <a:pt x="800540" y="4665056"/>
                  </a:lnTo>
                  <a:lnTo>
                    <a:pt x="791012" y="4655528"/>
                  </a:lnTo>
                  <a:lnTo>
                    <a:pt x="762420" y="4622172"/>
                  </a:lnTo>
                  <a:lnTo>
                    <a:pt x="762420" y="4617408"/>
                  </a:lnTo>
                  <a:lnTo>
                    <a:pt x="757656" y="4607876"/>
                  </a:lnTo>
                  <a:lnTo>
                    <a:pt x="752888" y="4588816"/>
                  </a:lnTo>
                  <a:lnTo>
                    <a:pt x="748124" y="4574520"/>
                  </a:lnTo>
                  <a:lnTo>
                    <a:pt x="748124" y="4564992"/>
                  </a:lnTo>
                  <a:lnTo>
                    <a:pt x="748124" y="4560224"/>
                  </a:lnTo>
                  <a:lnTo>
                    <a:pt x="767184" y="4555460"/>
                  </a:lnTo>
                  <a:lnTo>
                    <a:pt x="786244" y="4555460"/>
                  </a:lnTo>
                  <a:lnTo>
                    <a:pt x="795776" y="4550696"/>
                  </a:lnTo>
                  <a:lnTo>
                    <a:pt x="800540" y="4560224"/>
                  </a:lnTo>
                  <a:lnTo>
                    <a:pt x="805304" y="4569756"/>
                  </a:lnTo>
                  <a:lnTo>
                    <a:pt x="805304" y="4574520"/>
                  </a:lnTo>
                  <a:lnTo>
                    <a:pt x="814836" y="4584052"/>
                  </a:lnTo>
                  <a:lnTo>
                    <a:pt x="829132" y="4593580"/>
                  </a:lnTo>
                  <a:lnTo>
                    <a:pt x="843428" y="4593580"/>
                  </a:lnTo>
                  <a:lnTo>
                    <a:pt x="852956" y="4588816"/>
                  </a:lnTo>
                  <a:lnTo>
                    <a:pt x="862488" y="4574520"/>
                  </a:lnTo>
                  <a:lnTo>
                    <a:pt x="867252" y="4569756"/>
                  </a:lnTo>
                  <a:lnTo>
                    <a:pt x="876784" y="4569756"/>
                  </a:lnTo>
                  <a:lnTo>
                    <a:pt x="876784" y="4564992"/>
                  </a:lnTo>
                  <a:lnTo>
                    <a:pt x="876784" y="4555460"/>
                  </a:lnTo>
                  <a:lnTo>
                    <a:pt x="876784" y="4531636"/>
                  </a:lnTo>
                  <a:lnTo>
                    <a:pt x="876784" y="4522104"/>
                  </a:lnTo>
                  <a:lnTo>
                    <a:pt x="872016" y="4512572"/>
                  </a:lnTo>
                  <a:lnTo>
                    <a:pt x="876784" y="4498280"/>
                  </a:lnTo>
                  <a:lnTo>
                    <a:pt x="872016" y="4483984"/>
                  </a:lnTo>
                  <a:lnTo>
                    <a:pt x="862488" y="4474452"/>
                  </a:lnTo>
                  <a:lnTo>
                    <a:pt x="857720" y="4469688"/>
                  </a:lnTo>
                  <a:lnTo>
                    <a:pt x="857720" y="4464924"/>
                  </a:lnTo>
                  <a:lnTo>
                    <a:pt x="862488" y="4455392"/>
                  </a:lnTo>
                  <a:lnTo>
                    <a:pt x="862488" y="4445860"/>
                  </a:lnTo>
                  <a:lnTo>
                    <a:pt x="857720" y="4436332"/>
                  </a:lnTo>
                  <a:lnTo>
                    <a:pt x="857720" y="4431568"/>
                  </a:lnTo>
                  <a:lnTo>
                    <a:pt x="852956" y="4426800"/>
                  </a:lnTo>
                  <a:lnTo>
                    <a:pt x="843428" y="4422036"/>
                  </a:lnTo>
                  <a:lnTo>
                    <a:pt x="833896" y="4412504"/>
                  </a:lnTo>
                  <a:lnTo>
                    <a:pt x="829132" y="4402976"/>
                  </a:lnTo>
                  <a:lnTo>
                    <a:pt x="819600" y="4393444"/>
                  </a:lnTo>
                  <a:lnTo>
                    <a:pt x="810072" y="4383916"/>
                  </a:lnTo>
                  <a:lnTo>
                    <a:pt x="810072" y="4355324"/>
                  </a:lnTo>
                  <a:lnTo>
                    <a:pt x="805304" y="4326732"/>
                  </a:lnTo>
                  <a:lnTo>
                    <a:pt x="805304" y="4307672"/>
                  </a:lnTo>
                  <a:lnTo>
                    <a:pt x="800540" y="4283848"/>
                  </a:lnTo>
                  <a:lnTo>
                    <a:pt x="800540" y="4279084"/>
                  </a:lnTo>
                  <a:lnTo>
                    <a:pt x="800540" y="4274316"/>
                  </a:lnTo>
                  <a:lnTo>
                    <a:pt x="829132" y="4255256"/>
                  </a:lnTo>
                  <a:lnTo>
                    <a:pt x="838660" y="4245728"/>
                  </a:lnTo>
                  <a:lnTo>
                    <a:pt x="838660" y="4240960"/>
                  </a:lnTo>
                  <a:lnTo>
                    <a:pt x="838660" y="4231432"/>
                  </a:lnTo>
                  <a:lnTo>
                    <a:pt x="829132" y="4221900"/>
                  </a:lnTo>
                  <a:lnTo>
                    <a:pt x="819600" y="4217136"/>
                  </a:lnTo>
                  <a:lnTo>
                    <a:pt x="805304" y="4202840"/>
                  </a:lnTo>
                  <a:lnTo>
                    <a:pt x="791012" y="4188544"/>
                  </a:lnTo>
                  <a:lnTo>
                    <a:pt x="767184" y="4183780"/>
                  </a:lnTo>
                  <a:lnTo>
                    <a:pt x="733828" y="4174248"/>
                  </a:lnTo>
                  <a:lnTo>
                    <a:pt x="729064" y="4164720"/>
                  </a:lnTo>
                  <a:lnTo>
                    <a:pt x="724300" y="4140892"/>
                  </a:lnTo>
                  <a:lnTo>
                    <a:pt x="710004" y="4107536"/>
                  </a:lnTo>
                  <a:lnTo>
                    <a:pt x="695708" y="4074180"/>
                  </a:lnTo>
                  <a:lnTo>
                    <a:pt x="686176" y="4050356"/>
                  </a:lnTo>
                  <a:lnTo>
                    <a:pt x="686176" y="4040824"/>
                  </a:lnTo>
                  <a:lnTo>
                    <a:pt x="690944" y="4012236"/>
                  </a:lnTo>
                  <a:lnTo>
                    <a:pt x="690944" y="4007472"/>
                  </a:lnTo>
                  <a:lnTo>
                    <a:pt x="686176" y="4002704"/>
                  </a:lnTo>
                  <a:lnTo>
                    <a:pt x="676648" y="4007472"/>
                  </a:lnTo>
                  <a:lnTo>
                    <a:pt x="667116" y="4012236"/>
                  </a:lnTo>
                  <a:lnTo>
                    <a:pt x="662352" y="4012236"/>
                  </a:lnTo>
                  <a:lnTo>
                    <a:pt x="657588" y="4007472"/>
                  </a:lnTo>
                  <a:lnTo>
                    <a:pt x="652820" y="4002704"/>
                  </a:lnTo>
                  <a:lnTo>
                    <a:pt x="643292" y="4007472"/>
                  </a:lnTo>
                  <a:lnTo>
                    <a:pt x="619464" y="4007472"/>
                  </a:lnTo>
                  <a:lnTo>
                    <a:pt x="609936" y="4007472"/>
                  </a:lnTo>
                  <a:lnTo>
                    <a:pt x="600404" y="4007472"/>
                  </a:lnTo>
                  <a:lnTo>
                    <a:pt x="576580" y="4002704"/>
                  </a:lnTo>
                  <a:lnTo>
                    <a:pt x="543224" y="3993176"/>
                  </a:lnTo>
                  <a:lnTo>
                    <a:pt x="509868" y="3983644"/>
                  </a:lnTo>
                  <a:lnTo>
                    <a:pt x="490808" y="3974116"/>
                  </a:lnTo>
                  <a:lnTo>
                    <a:pt x="486044" y="3969348"/>
                  </a:lnTo>
                  <a:lnTo>
                    <a:pt x="471748" y="3959820"/>
                  </a:lnTo>
                  <a:lnTo>
                    <a:pt x="462216" y="3950288"/>
                  </a:lnTo>
                  <a:lnTo>
                    <a:pt x="457452" y="3926464"/>
                  </a:lnTo>
                  <a:lnTo>
                    <a:pt x="452688" y="3931228"/>
                  </a:lnTo>
                  <a:lnTo>
                    <a:pt x="433624" y="3940760"/>
                  </a:lnTo>
                  <a:lnTo>
                    <a:pt x="409800" y="3945524"/>
                  </a:lnTo>
                  <a:lnTo>
                    <a:pt x="400268" y="3945524"/>
                  </a:lnTo>
                  <a:lnTo>
                    <a:pt x="395504" y="3940760"/>
                  </a:lnTo>
                  <a:lnTo>
                    <a:pt x="390740" y="3916932"/>
                  </a:lnTo>
                  <a:lnTo>
                    <a:pt x="381208" y="3912168"/>
                  </a:lnTo>
                  <a:lnTo>
                    <a:pt x="376444" y="3907404"/>
                  </a:lnTo>
                  <a:lnTo>
                    <a:pt x="362148" y="3902636"/>
                  </a:lnTo>
                  <a:lnTo>
                    <a:pt x="357384" y="3897872"/>
                  </a:lnTo>
                  <a:lnTo>
                    <a:pt x="357384" y="3888340"/>
                  </a:lnTo>
                  <a:lnTo>
                    <a:pt x="362148" y="3883576"/>
                  </a:lnTo>
                  <a:lnTo>
                    <a:pt x="366912" y="3874048"/>
                  </a:lnTo>
                  <a:lnTo>
                    <a:pt x="366912" y="3831160"/>
                  </a:lnTo>
                  <a:lnTo>
                    <a:pt x="366912" y="3816864"/>
                  </a:lnTo>
                  <a:lnTo>
                    <a:pt x="362148" y="3807336"/>
                  </a:lnTo>
                  <a:lnTo>
                    <a:pt x="352620" y="3788276"/>
                  </a:lnTo>
                  <a:lnTo>
                    <a:pt x="347852" y="3783508"/>
                  </a:lnTo>
                  <a:lnTo>
                    <a:pt x="338324" y="3773980"/>
                  </a:lnTo>
                  <a:lnTo>
                    <a:pt x="319264" y="3764448"/>
                  </a:lnTo>
                  <a:lnTo>
                    <a:pt x="304968" y="3759684"/>
                  </a:lnTo>
                  <a:lnTo>
                    <a:pt x="290672" y="3764448"/>
                  </a:lnTo>
                  <a:lnTo>
                    <a:pt x="281140" y="3764448"/>
                  </a:lnTo>
                  <a:lnTo>
                    <a:pt x="276376" y="3735856"/>
                  </a:lnTo>
                  <a:lnTo>
                    <a:pt x="271612" y="3731092"/>
                  </a:lnTo>
                  <a:lnTo>
                    <a:pt x="238256" y="3716796"/>
                  </a:lnTo>
                  <a:lnTo>
                    <a:pt x="223960" y="3716796"/>
                  </a:lnTo>
                  <a:lnTo>
                    <a:pt x="209664" y="3721564"/>
                  </a:lnTo>
                  <a:lnTo>
                    <a:pt x="200136" y="3721564"/>
                  </a:lnTo>
                  <a:lnTo>
                    <a:pt x="190604" y="3716796"/>
                  </a:lnTo>
                  <a:lnTo>
                    <a:pt x="181072" y="3712032"/>
                  </a:lnTo>
                  <a:lnTo>
                    <a:pt x="166780" y="3707268"/>
                  </a:lnTo>
                  <a:lnTo>
                    <a:pt x="152484" y="3707268"/>
                  </a:lnTo>
                  <a:lnTo>
                    <a:pt x="142952" y="3707268"/>
                  </a:lnTo>
                  <a:lnTo>
                    <a:pt x="138188" y="3702500"/>
                  </a:lnTo>
                  <a:lnTo>
                    <a:pt x="119128" y="3688208"/>
                  </a:lnTo>
                  <a:lnTo>
                    <a:pt x="119128" y="3683440"/>
                  </a:lnTo>
                  <a:lnTo>
                    <a:pt x="147716" y="3664380"/>
                  </a:lnTo>
                  <a:lnTo>
                    <a:pt x="166780" y="3659616"/>
                  </a:lnTo>
                  <a:lnTo>
                    <a:pt x="176308" y="3654852"/>
                  </a:lnTo>
                  <a:lnTo>
                    <a:pt x="181072" y="3664380"/>
                  </a:lnTo>
                  <a:lnTo>
                    <a:pt x="190604" y="3669148"/>
                  </a:lnTo>
                  <a:lnTo>
                    <a:pt x="200136" y="3669148"/>
                  </a:lnTo>
                  <a:lnTo>
                    <a:pt x="204900" y="3664380"/>
                  </a:lnTo>
                  <a:lnTo>
                    <a:pt x="219196" y="3654852"/>
                  </a:lnTo>
                  <a:lnTo>
                    <a:pt x="228724" y="3645320"/>
                  </a:lnTo>
                  <a:lnTo>
                    <a:pt x="233492" y="3635792"/>
                  </a:lnTo>
                  <a:lnTo>
                    <a:pt x="233492" y="3626260"/>
                  </a:lnTo>
                  <a:lnTo>
                    <a:pt x="214428" y="3607200"/>
                  </a:lnTo>
                  <a:lnTo>
                    <a:pt x="204900" y="3597668"/>
                  </a:lnTo>
                  <a:lnTo>
                    <a:pt x="200136" y="3592904"/>
                  </a:lnTo>
                  <a:lnTo>
                    <a:pt x="204900" y="3578608"/>
                  </a:lnTo>
                  <a:lnTo>
                    <a:pt x="204900" y="3559548"/>
                  </a:lnTo>
                  <a:lnTo>
                    <a:pt x="204900" y="3554784"/>
                  </a:lnTo>
                  <a:lnTo>
                    <a:pt x="200136" y="3550016"/>
                  </a:lnTo>
                  <a:lnTo>
                    <a:pt x="200136" y="3530956"/>
                  </a:lnTo>
                  <a:lnTo>
                    <a:pt x="190604" y="3507132"/>
                  </a:lnTo>
                  <a:lnTo>
                    <a:pt x="185840" y="3492836"/>
                  </a:lnTo>
                  <a:lnTo>
                    <a:pt x="181072" y="3478540"/>
                  </a:lnTo>
                  <a:lnTo>
                    <a:pt x="181072" y="3459480"/>
                  </a:lnTo>
                  <a:lnTo>
                    <a:pt x="190604" y="3435656"/>
                  </a:lnTo>
                  <a:lnTo>
                    <a:pt x="185840" y="3426124"/>
                  </a:lnTo>
                  <a:lnTo>
                    <a:pt x="176308" y="3416596"/>
                  </a:lnTo>
                  <a:lnTo>
                    <a:pt x="142952" y="3397532"/>
                  </a:lnTo>
                  <a:lnTo>
                    <a:pt x="104832" y="3383240"/>
                  </a:lnTo>
                  <a:lnTo>
                    <a:pt x="90536" y="3383240"/>
                  </a:lnTo>
                  <a:lnTo>
                    <a:pt x="81008" y="3383240"/>
                  </a:lnTo>
                  <a:lnTo>
                    <a:pt x="71476" y="3392768"/>
                  </a:lnTo>
                  <a:lnTo>
                    <a:pt x="61944" y="3407064"/>
                  </a:lnTo>
                  <a:lnTo>
                    <a:pt x="57180" y="3411828"/>
                  </a:lnTo>
                  <a:lnTo>
                    <a:pt x="38120" y="3402300"/>
                  </a:lnTo>
                  <a:lnTo>
                    <a:pt x="28588" y="3392768"/>
                  </a:lnTo>
                  <a:lnTo>
                    <a:pt x="23824" y="3378472"/>
                  </a:lnTo>
                  <a:lnTo>
                    <a:pt x="14296" y="3354648"/>
                  </a:lnTo>
                  <a:lnTo>
                    <a:pt x="14296" y="3345116"/>
                  </a:lnTo>
                  <a:lnTo>
                    <a:pt x="14296" y="3340352"/>
                  </a:lnTo>
                  <a:lnTo>
                    <a:pt x="19060" y="3335588"/>
                  </a:lnTo>
                  <a:lnTo>
                    <a:pt x="28588" y="3326056"/>
                  </a:lnTo>
                  <a:lnTo>
                    <a:pt x="28588" y="3321292"/>
                  </a:lnTo>
                  <a:lnTo>
                    <a:pt x="28588" y="3316528"/>
                  </a:lnTo>
                  <a:lnTo>
                    <a:pt x="19060" y="3306996"/>
                  </a:lnTo>
                  <a:lnTo>
                    <a:pt x="9528" y="3297468"/>
                  </a:lnTo>
                  <a:lnTo>
                    <a:pt x="0" y="3268876"/>
                  </a:lnTo>
                  <a:lnTo>
                    <a:pt x="0" y="3254580"/>
                  </a:lnTo>
                  <a:lnTo>
                    <a:pt x="4764" y="3235520"/>
                  </a:lnTo>
                  <a:lnTo>
                    <a:pt x="4764" y="3225988"/>
                  </a:lnTo>
                  <a:lnTo>
                    <a:pt x="14296" y="3221224"/>
                  </a:lnTo>
                  <a:lnTo>
                    <a:pt x="33356" y="3216460"/>
                  </a:lnTo>
                  <a:lnTo>
                    <a:pt x="42884" y="3206928"/>
                  </a:lnTo>
                  <a:lnTo>
                    <a:pt x="47652" y="3197400"/>
                  </a:lnTo>
                  <a:lnTo>
                    <a:pt x="47652" y="3192632"/>
                  </a:lnTo>
                  <a:lnTo>
                    <a:pt x="42884" y="3173572"/>
                  </a:lnTo>
                  <a:lnTo>
                    <a:pt x="33356" y="3164044"/>
                  </a:lnTo>
                  <a:lnTo>
                    <a:pt x="33356" y="3154512"/>
                  </a:lnTo>
                  <a:lnTo>
                    <a:pt x="38120" y="3149748"/>
                  </a:lnTo>
                  <a:lnTo>
                    <a:pt x="42884" y="3140216"/>
                  </a:lnTo>
                  <a:lnTo>
                    <a:pt x="52416" y="3116392"/>
                  </a:lnTo>
                  <a:lnTo>
                    <a:pt x="57180" y="3106860"/>
                  </a:lnTo>
                  <a:lnTo>
                    <a:pt x="61944" y="3102096"/>
                  </a:lnTo>
                  <a:lnTo>
                    <a:pt x="76240" y="3097332"/>
                  </a:lnTo>
                  <a:lnTo>
                    <a:pt x="100068" y="3097332"/>
                  </a:lnTo>
                  <a:lnTo>
                    <a:pt x="123892" y="3087800"/>
                  </a:lnTo>
                  <a:lnTo>
                    <a:pt x="157248" y="3059208"/>
                  </a:lnTo>
                  <a:lnTo>
                    <a:pt x="166780" y="3049680"/>
                  </a:lnTo>
                  <a:lnTo>
                    <a:pt x="181072" y="3044916"/>
                  </a:lnTo>
                  <a:lnTo>
                    <a:pt x="190604" y="3044916"/>
                  </a:lnTo>
                  <a:lnTo>
                    <a:pt x="185840" y="3025852"/>
                  </a:lnTo>
                  <a:lnTo>
                    <a:pt x="185840" y="3021088"/>
                  </a:lnTo>
                  <a:lnTo>
                    <a:pt x="190604" y="3016324"/>
                  </a:lnTo>
                  <a:lnTo>
                    <a:pt x="195368" y="3011560"/>
                  </a:lnTo>
                  <a:lnTo>
                    <a:pt x="219196" y="3021088"/>
                  </a:lnTo>
                  <a:lnTo>
                    <a:pt x="233492" y="3021088"/>
                  </a:lnTo>
                  <a:lnTo>
                    <a:pt x="252552" y="3016324"/>
                  </a:lnTo>
                  <a:lnTo>
                    <a:pt x="300204" y="2982968"/>
                  </a:lnTo>
                  <a:lnTo>
                    <a:pt x="304968" y="2987732"/>
                  </a:lnTo>
                  <a:lnTo>
                    <a:pt x="314496" y="3006792"/>
                  </a:lnTo>
                  <a:lnTo>
                    <a:pt x="319264" y="3044916"/>
                  </a:lnTo>
                  <a:lnTo>
                    <a:pt x="324028" y="3049680"/>
                  </a:lnTo>
                  <a:lnTo>
                    <a:pt x="352620" y="3054444"/>
                  </a:lnTo>
                  <a:lnTo>
                    <a:pt x="371680" y="3040148"/>
                  </a:lnTo>
                  <a:lnTo>
                    <a:pt x="381208" y="3035384"/>
                  </a:lnTo>
                  <a:lnTo>
                    <a:pt x="395504" y="3035384"/>
                  </a:lnTo>
                  <a:lnTo>
                    <a:pt x="405036" y="3030620"/>
                  </a:lnTo>
                  <a:lnTo>
                    <a:pt x="414564" y="3025852"/>
                  </a:lnTo>
                  <a:lnTo>
                    <a:pt x="424096" y="3040148"/>
                  </a:lnTo>
                  <a:lnTo>
                    <a:pt x="433624" y="3035384"/>
                  </a:lnTo>
                  <a:lnTo>
                    <a:pt x="447920" y="3021088"/>
                  </a:lnTo>
                  <a:lnTo>
                    <a:pt x="452688" y="3006792"/>
                  </a:lnTo>
                  <a:lnTo>
                    <a:pt x="462216" y="2997264"/>
                  </a:lnTo>
                  <a:lnTo>
                    <a:pt x="471748" y="2978204"/>
                  </a:lnTo>
                  <a:lnTo>
                    <a:pt x="471748" y="2963908"/>
                  </a:lnTo>
                  <a:lnTo>
                    <a:pt x="476512" y="2954376"/>
                  </a:lnTo>
                  <a:lnTo>
                    <a:pt x="486044" y="2944848"/>
                  </a:lnTo>
                  <a:lnTo>
                    <a:pt x="500336" y="2911492"/>
                  </a:lnTo>
                  <a:lnTo>
                    <a:pt x="514632" y="2901960"/>
                  </a:lnTo>
                  <a:lnTo>
                    <a:pt x="528928" y="2901960"/>
                  </a:lnTo>
                  <a:lnTo>
                    <a:pt x="557520" y="2906724"/>
                  </a:lnTo>
                  <a:lnTo>
                    <a:pt x="571816" y="2906724"/>
                  </a:lnTo>
                  <a:lnTo>
                    <a:pt x="619464" y="2911492"/>
                  </a:lnTo>
                  <a:lnTo>
                    <a:pt x="643292" y="2901960"/>
                  </a:lnTo>
                  <a:lnTo>
                    <a:pt x="657588" y="2897196"/>
                  </a:lnTo>
                  <a:lnTo>
                    <a:pt x="676648" y="2897196"/>
                  </a:lnTo>
                  <a:lnTo>
                    <a:pt x="705236" y="2892432"/>
                  </a:lnTo>
                  <a:lnTo>
                    <a:pt x="738592" y="2849544"/>
                  </a:lnTo>
                  <a:lnTo>
                    <a:pt x="738592" y="2840012"/>
                  </a:lnTo>
                  <a:lnTo>
                    <a:pt x="743360" y="2830484"/>
                  </a:lnTo>
                  <a:lnTo>
                    <a:pt x="752888" y="2820952"/>
                  </a:lnTo>
                  <a:lnTo>
                    <a:pt x="771948" y="2811424"/>
                  </a:lnTo>
                  <a:lnTo>
                    <a:pt x="800540" y="2792364"/>
                  </a:lnTo>
                  <a:lnTo>
                    <a:pt x="862488" y="2759008"/>
                  </a:lnTo>
                  <a:lnTo>
                    <a:pt x="886312" y="2744712"/>
                  </a:lnTo>
                  <a:lnTo>
                    <a:pt x="895844" y="2744712"/>
                  </a:lnTo>
                  <a:lnTo>
                    <a:pt x="919668" y="2735180"/>
                  </a:lnTo>
                  <a:lnTo>
                    <a:pt x="962556" y="2720884"/>
                  </a:lnTo>
                  <a:lnTo>
                    <a:pt x="972084" y="2701824"/>
                  </a:lnTo>
                  <a:lnTo>
                    <a:pt x="981616" y="2697060"/>
                  </a:lnTo>
                  <a:lnTo>
                    <a:pt x="1029268" y="2692296"/>
                  </a:lnTo>
                  <a:lnTo>
                    <a:pt x="1034032" y="2692296"/>
                  </a:lnTo>
                  <a:lnTo>
                    <a:pt x="1034032" y="2687528"/>
                  </a:lnTo>
                  <a:lnTo>
                    <a:pt x="1034032" y="2673236"/>
                  </a:lnTo>
                  <a:lnTo>
                    <a:pt x="1029268" y="2658940"/>
                  </a:lnTo>
                  <a:lnTo>
                    <a:pt x="1034032" y="2654172"/>
                  </a:lnTo>
                  <a:lnTo>
                    <a:pt x="1038796" y="2649408"/>
                  </a:lnTo>
                  <a:lnTo>
                    <a:pt x="1038796" y="2639880"/>
                  </a:lnTo>
                  <a:lnTo>
                    <a:pt x="1029268" y="2616052"/>
                  </a:lnTo>
                  <a:lnTo>
                    <a:pt x="1024500" y="2592228"/>
                  </a:lnTo>
                  <a:lnTo>
                    <a:pt x="1024500" y="2568400"/>
                  </a:lnTo>
                  <a:lnTo>
                    <a:pt x="1024500" y="2558872"/>
                  </a:lnTo>
                  <a:lnTo>
                    <a:pt x="1029268" y="2544576"/>
                  </a:lnTo>
                  <a:lnTo>
                    <a:pt x="1038796" y="2530280"/>
                  </a:lnTo>
                  <a:lnTo>
                    <a:pt x="1062624" y="2520752"/>
                  </a:lnTo>
                  <a:lnTo>
                    <a:pt x="1081684" y="2515984"/>
                  </a:lnTo>
                  <a:lnTo>
                    <a:pt x="1081684" y="2506456"/>
                  </a:lnTo>
                  <a:lnTo>
                    <a:pt x="1067388" y="2501688"/>
                  </a:lnTo>
                  <a:lnTo>
                    <a:pt x="1057856" y="2492160"/>
                  </a:lnTo>
                  <a:lnTo>
                    <a:pt x="1057856" y="2487396"/>
                  </a:lnTo>
                  <a:lnTo>
                    <a:pt x="1057856" y="2482628"/>
                  </a:lnTo>
                  <a:lnTo>
                    <a:pt x="1057856" y="2477864"/>
                  </a:lnTo>
                  <a:lnTo>
                    <a:pt x="1076916" y="2468332"/>
                  </a:lnTo>
                  <a:lnTo>
                    <a:pt x="1095980" y="2458804"/>
                  </a:lnTo>
                  <a:lnTo>
                    <a:pt x="1115040" y="2468332"/>
                  </a:lnTo>
                  <a:lnTo>
                    <a:pt x="1119804" y="2463568"/>
                  </a:lnTo>
                  <a:lnTo>
                    <a:pt x="1119804" y="2454040"/>
                  </a:lnTo>
                  <a:lnTo>
                    <a:pt x="1115040" y="2444508"/>
                  </a:lnTo>
                  <a:lnTo>
                    <a:pt x="1110272" y="2430212"/>
                  </a:lnTo>
                  <a:lnTo>
                    <a:pt x="1100744" y="2420684"/>
                  </a:lnTo>
                  <a:lnTo>
                    <a:pt x="1100744" y="2411152"/>
                  </a:lnTo>
                  <a:lnTo>
                    <a:pt x="1105508" y="2396856"/>
                  </a:lnTo>
                  <a:lnTo>
                    <a:pt x="1100744" y="2368268"/>
                  </a:lnTo>
                  <a:lnTo>
                    <a:pt x="1091212" y="2339676"/>
                  </a:lnTo>
                  <a:lnTo>
                    <a:pt x="1076916" y="2296788"/>
                  </a:lnTo>
                  <a:lnTo>
                    <a:pt x="1062624" y="2282496"/>
                  </a:lnTo>
                  <a:lnTo>
                    <a:pt x="1057856" y="2263432"/>
                  </a:lnTo>
                  <a:lnTo>
                    <a:pt x="1053092" y="2249140"/>
                  </a:lnTo>
                  <a:lnTo>
                    <a:pt x="1053092" y="2234844"/>
                  </a:lnTo>
                  <a:lnTo>
                    <a:pt x="1053092" y="2225312"/>
                  </a:lnTo>
                  <a:lnTo>
                    <a:pt x="1053092" y="2201488"/>
                  </a:lnTo>
                  <a:lnTo>
                    <a:pt x="1048328" y="2177660"/>
                  </a:lnTo>
                  <a:lnTo>
                    <a:pt x="1053092" y="2153836"/>
                  </a:lnTo>
                  <a:lnTo>
                    <a:pt x="1057856" y="2134776"/>
                  </a:lnTo>
                  <a:lnTo>
                    <a:pt x="1057856" y="2130008"/>
                  </a:lnTo>
                  <a:lnTo>
                    <a:pt x="1057856" y="2125244"/>
                  </a:lnTo>
                  <a:lnTo>
                    <a:pt x="1067388" y="2125244"/>
                  </a:lnTo>
                  <a:lnTo>
                    <a:pt x="1072152" y="2115716"/>
                  </a:lnTo>
                  <a:lnTo>
                    <a:pt x="1067388" y="2110948"/>
                  </a:lnTo>
                  <a:lnTo>
                    <a:pt x="1053092" y="2106184"/>
                  </a:lnTo>
                  <a:lnTo>
                    <a:pt x="1038796" y="2096656"/>
                  </a:lnTo>
                  <a:lnTo>
                    <a:pt x="1019736" y="2096656"/>
                  </a:lnTo>
                  <a:lnTo>
                    <a:pt x="995912" y="2096656"/>
                  </a:lnTo>
                  <a:lnTo>
                    <a:pt x="986380" y="2091888"/>
                  </a:lnTo>
                  <a:lnTo>
                    <a:pt x="976852" y="2082360"/>
                  </a:lnTo>
                  <a:lnTo>
                    <a:pt x="976852" y="2077592"/>
                  </a:lnTo>
                  <a:lnTo>
                    <a:pt x="991144" y="2068064"/>
                  </a:lnTo>
                  <a:lnTo>
                    <a:pt x="1005440" y="2053768"/>
                  </a:lnTo>
                  <a:lnTo>
                    <a:pt x="1034032" y="2044236"/>
                  </a:lnTo>
                  <a:lnTo>
                    <a:pt x="1062624" y="2039472"/>
                  </a:lnTo>
                  <a:lnTo>
                    <a:pt x="1076916" y="2029944"/>
                  </a:lnTo>
                  <a:lnTo>
                    <a:pt x="1095980" y="2025176"/>
                  </a:lnTo>
                  <a:lnTo>
                    <a:pt x="1119804" y="2025176"/>
                  </a:lnTo>
                  <a:lnTo>
                    <a:pt x="1129336" y="2025176"/>
                  </a:lnTo>
                  <a:lnTo>
                    <a:pt x="1157924" y="2015648"/>
                  </a:lnTo>
                  <a:lnTo>
                    <a:pt x="1205576" y="2001352"/>
                  </a:lnTo>
                  <a:lnTo>
                    <a:pt x="1248464" y="1987056"/>
                  </a:lnTo>
                  <a:lnTo>
                    <a:pt x="1262756" y="1977524"/>
                  </a:lnTo>
                  <a:lnTo>
                    <a:pt x="1272288" y="1987056"/>
                  </a:lnTo>
                  <a:lnTo>
                    <a:pt x="1277052" y="2001352"/>
                  </a:lnTo>
                  <a:lnTo>
                    <a:pt x="1291348" y="2010880"/>
                  </a:lnTo>
                  <a:lnTo>
                    <a:pt x="1300880" y="2020412"/>
                  </a:lnTo>
                  <a:lnTo>
                    <a:pt x="1310408" y="2020412"/>
                  </a:lnTo>
                  <a:lnTo>
                    <a:pt x="1329468" y="2010880"/>
                  </a:lnTo>
                  <a:lnTo>
                    <a:pt x="1353296" y="2006116"/>
                  </a:lnTo>
                  <a:lnTo>
                    <a:pt x="1358060" y="2006116"/>
                  </a:lnTo>
                  <a:lnTo>
                    <a:pt x="1372356" y="2015648"/>
                  </a:lnTo>
                  <a:lnTo>
                    <a:pt x="1386652" y="2025176"/>
                  </a:lnTo>
                  <a:lnTo>
                    <a:pt x="1391416" y="2025176"/>
                  </a:lnTo>
                  <a:lnTo>
                    <a:pt x="1396180" y="2020412"/>
                  </a:lnTo>
                  <a:lnTo>
                    <a:pt x="1400948" y="2006116"/>
                  </a:lnTo>
                  <a:lnTo>
                    <a:pt x="1405712" y="1987056"/>
                  </a:lnTo>
                  <a:lnTo>
                    <a:pt x="1405712" y="1972760"/>
                  </a:lnTo>
                  <a:lnTo>
                    <a:pt x="1405712" y="1958464"/>
                  </a:lnTo>
                  <a:lnTo>
                    <a:pt x="1400948" y="1953700"/>
                  </a:lnTo>
                  <a:lnTo>
                    <a:pt x="1381884" y="1948936"/>
                  </a:lnTo>
                  <a:lnTo>
                    <a:pt x="1362824" y="1939404"/>
                  </a:lnTo>
                  <a:lnTo>
                    <a:pt x="1358060" y="1929876"/>
                  </a:lnTo>
                  <a:lnTo>
                    <a:pt x="1358060" y="1920344"/>
                  </a:lnTo>
                  <a:lnTo>
                    <a:pt x="1362824" y="1906048"/>
                  </a:lnTo>
                  <a:lnTo>
                    <a:pt x="1377120" y="1872692"/>
                  </a:lnTo>
                  <a:lnTo>
                    <a:pt x="1391416" y="1829808"/>
                  </a:lnTo>
                  <a:lnTo>
                    <a:pt x="1396180" y="1796452"/>
                  </a:lnTo>
                  <a:lnTo>
                    <a:pt x="1420008" y="1744036"/>
                  </a:lnTo>
                  <a:lnTo>
                    <a:pt x="1434304" y="1691620"/>
                  </a:lnTo>
                  <a:lnTo>
                    <a:pt x="1462892" y="1610612"/>
                  </a:lnTo>
                  <a:lnTo>
                    <a:pt x="1467660" y="1596316"/>
                  </a:lnTo>
                  <a:lnTo>
                    <a:pt x="1467660" y="1572492"/>
                  </a:lnTo>
                  <a:lnTo>
                    <a:pt x="1472424" y="1562960"/>
                  </a:lnTo>
                  <a:lnTo>
                    <a:pt x="1481952" y="1558196"/>
                  </a:lnTo>
                  <a:lnTo>
                    <a:pt x="1496248" y="1562960"/>
                  </a:lnTo>
                  <a:lnTo>
                    <a:pt x="1534372" y="1577256"/>
                  </a:lnTo>
                  <a:lnTo>
                    <a:pt x="1562960" y="1596316"/>
                  </a:lnTo>
                  <a:lnTo>
                    <a:pt x="1577256" y="1601080"/>
                  </a:lnTo>
                  <a:lnTo>
                    <a:pt x="1596316" y="1605844"/>
                  </a:lnTo>
                  <a:lnTo>
                    <a:pt x="1624908" y="1610612"/>
                  </a:lnTo>
                  <a:lnTo>
                    <a:pt x="1639204" y="1610612"/>
                  </a:lnTo>
                  <a:lnTo>
                    <a:pt x="1653500" y="1605844"/>
                  </a:lnTo>
                  <a:lnTo>
                    <a:pt x="1672560" y="1605844"/>
                  </a:lnTo>
                  <a:lnTo>
                    <a:pt x="1705916" y="1610612"/>
                  </a:lnTo>
                  <a:lnTo>
                    <a:pt x="1715444" y="1610612"/>
                  </a:lnTo>
                  <a:lnTo>
                    <a:pt x="1724976" y="1610612"/>
                  </a:lnTo>
                  <a:lnTo>
                    <a:pt x="1734504" y="1615376"/>
                  </a:lnTo>
                  <a:lnTo>
                    <a:pt x="1739272" y="1634436"/>
                  </a:lnTo>
                  <a:lnTo>
                    <a:pt x="1744036" y="1643968"/>
                  </a:lnTo>
                  <a:lnTo>
                    <a:pt x="1758332" y="1639200"/>
                  </a:lnTo>
                  <a:lnTo>
                    <a:pt x="1782156" y="1624908"/>
                  </a:lnTo>
                  <a:lnTo>
                    <a:pt x="1796452" y="1610612"/>
                  </a:lnTo>
                  <a:lnTo>
                    <a:pt x="1815512" y="1596316"/>
                  </a:lnTo>
                  <a:lnTo>
                    <a:pt x="1834572" y="1591552"/>
                  </a:lnTo>
                  <a:lnTo>
                    <a:pt x="1853632" y="1591552"/>
                  </a:lnTo>
                  <a:lnTo>
                    <a:pt x="1863164" y="1582020"/>
                  </a:lnTo>
                  <a:lnTo>
                    <a:pt x="1867928" y="1558196"/>
                  </a:lnTo>
                  <a:lnTo>
                    <a:pt x="1882224" y="1543900"/>
                  </a:lnTo>
                  <a:lnTo>
                    <a:pt x="1882224" y="1524840"/>
                  </a:lnTo>
                  <a:lnTo>
                    <a:pt x="1877460" y="1510544"/>
                  </a:lnTo>
                  <a:lnTo>
                    <a:pt x="1867928" y="1491484"/>
                  </a:lnTo>
                  <a:lnTo>
                    <a:pt x="1867928" y="1477188"/>
                  </a:lnTo>
                  <a:lnTo>
                    <a:pt x="1867928" y="1434300"/>
                  </a:lnTo>
                  <a:lnTo>
                    <a:pt x="1858400" y="1391416"/>
                  </a:lnTo>
                  <a:lnTo>
                    <a:pt x="1867928" y="1362824"/>
                  </a:lnTo>
                  <a:lnTo>
                    <a:pt x="1877460" y="1324704"/>
                  </a:lnTo>
                  <a:lnTo>
                    <a:pt x="1882224" y="1315172"/>
                  </a:lnTo>
                  <a:lnTo>
                    <a:pt x="1886988" y="1300876"/>
                  </a:lnTo>
                  <a:lnTo>
                    <a:pt x="1896520" y="1281816"/>
                  </a:lnTo>
                  <a:lnTo>
                    <a:pt x="1906052" y="1277052"/>
                  </a:lnTo>
                  <a:lnTo>
                    <a:pt x="1944172" y="1272288"/>
                  </a:lnTo>
                  <a:lnTo>
                    <a:pt x="1977528" y="1267520"/>
                  </a:lnTo>
                  <a:lnTo>
                    <a:pt x="1991824" y="1257992"/>
                  </a:lnTo>
                  <a:lnTo>
                    <a:pt x="2010884" y="1253228"/>
                  </a:lnTo>
                  <a:lnTo>
                    <a:pt x="2020412" y="1248460"/>
                  </a:lnTo>
                  <a:lnTo>
                    <a:pt x="2039472" y="1224636"/>
                  </a:lnTo>
                  <a:lnTo>
                    <a:pt x="2044240" y="1210340"/>
                  </a:lnTo>
                  <a:lnTo>
                    <a:pt x="2053768" y="1172220"/>
                  </a:lnTo>
                  <a:lnTo>
                    <a:pt x="2049004" y="1153160"/>
                  </a:lnTo>
                  <a:lnTo>
                    <a:pt x="2053768" y="1134100"/>
                  </a:lnTo>
                  <a:lnTo>
                    <a:pt x="2058536" y="1124568"/>
                  </a:lnTo>
                  <a:lnTo>
                    <a:pt x="2072828" y="1115036"/>
                  </a:lnTo>
                  <a:lnTo>
                    <a:pt x="2082360" y="1115036"/>
                  </a:lnTo>
                  <a:lnTo>
                    <a:pt x="2096656" y="1110272"/>
                  </a:lnTo>
                  <a:lnTo>
                    <a:pt x="2125244" y="1110272"/>
                  </a:lnTo>
                  <a:lnTo>
                    <a:pt x="2139540" y="1115036"/>
                  </a:lnTo>
                  <a:lnTo>
                    <a:pt x="2153836" y="1119804"/>
                  </a:lnTo>
                  <a:lnTo>
                    <a:pt x="2163368" y="1115036"/>
                  </a:lnTo>
                  <a:lnTo>
                    <a:pt x="2172896" y="1105508"/>
                  </a:lnTo>
                  <a:lnTo>
                    <a:pt x="2182428" y="1105508"/>
                  </a:lnTo>
                  <a:lnTo>
                    <a:pt x="2196724" y="1100744"/>
                  </a:lnTo>
                  <a:lnTo>
                    <a:pt x="2211020" y="1095976"/>
                  </a:lnTo>
                  <a:lnTo>
                    <a:pt x="2215784" y="1100744"/>
                  </a:lnTo>
                  <a:lnTo>
                    <a:pt x="2220548" y="1110272"/>
                  </a:lnTo>
                  <a:lnTo>
                    <a:pt x="2220548" y="1119804"/>
                  </a:lnTo>
                  <a:lnTo>
                    <a:pt x="2220548" y="1129332"/>
                  </a:lnTo>
                  <a:lnTo>
                    <a:pt x="2225312" y="1138864"/>
                  </a:lnTo>
                  <a:lnTo>
                    <a:pt x="2225312" y="1143628"/>
                  </a:lnTo>
                  <a:lnTo>
                    <a:pt x="2215784" y="1148392"/>
                  </a:lnTo>
                  <a:lnTo>
                    <a:pt x="2211020" y="1157924"/>
                  </a:lnTo>
                  <a:lnTo>
                    <a:pt x="2206252" y="1167456"/>
                  </a:lnTo>
                  <a:lnTo>
                    <a:pt x="2215784" y="1176984"/>
                  </a:lnTo>
                  <a:lnTo>
                    <a:pt x="2220548" y="1186516"/>
                  </a:lnTo>
                  <a:lnTo>
                    <a:pt x="2239608" y="1191280"/>
                  </a:lnTo>
                  <a:lnTo>
                    <a:pt x="2253904" y="1200812"/>
                  </a:lnTo>
                  <a:lnTo>
                    <a:pt x="2258668" y="1205576"/>
                  </a:lnTo>
                  <a:lnTo>
                    <a:pt x="2253904" y="1215104"/>
                  </a:lnTo>
                  <a:lnTo>
                    <a:pt x="2249140" y="1224636"/>
                  </a:lnTo>
                  <a:lnTo>
                    <a:pt x="2244372" y="1229400"/>
                  </a:lnTo>
                  <a:lnTo>
                    <a:pt x="2239608" y="1234164"/>
                  </a:lnTo>
                  <a:lnTo>
                    <a:pt x="2244372" y="1243696"/>
                  </a:lnTo>
                  <a:lnTo>
                    <a:pt x="2258668" y="1248460"/>
                  </a:lnTo>
                  <a:lnTo>
                    <a:pt x="2272964" y="1253228"/>
                  </a:lnTo>
                  <a:lnTo>
                    <a:pt x="2296792" y="1262756"/>
                  </a:lnTo>
                  <a:lnTo>
                    <a:pt x="2311084" y="1277052"/>
                  </a:lnTo>
                  <a:lnTo>
                    <a:pt x="2330148" y="1281816"/>
                  </a:lnTo>
                  <a:lnTo>
                    <a:pt x="2334912" y="1296112"/>
                  </a:lnTo>
                  <a:lnTo>
                    <a:pt x="2334912" y="1319940"/>
                  </a:lnTo>
                  <a:lnTo>
                    <a:pt x="2353972" y="1334232"/>
                  </a:lnTo>
                  <a:lnTo>
                    <a:pt x="2377796" y="1348528"/>
                  </a:lnTo>
                  <a:lnTo>
                    <a:pt x="2392092" y="1353296"/>
                  </a:lnTo>
                  <a:lnTo>
                    <a:pt x="2396860" y="1362824"/>
                  </a:lnTo>
                  <a:lnTo>
                    <a:pt x="2411152" y="1372356"/>
                  </a:lnTo>
                  <a:lnTo>
                    <a:pt x="2420684" y="1377120"/>
                  </a:lnTo>
                  <a:lnTo>
                    <a:pt x="2434980" y="1377120"/>
                  </a:lnTo>
                  <a:lnTo>
                    <a:pt x="2454040" y="1367588"/>
                  </a:lnTo>
                  <a:lnTo>
                    <a:pt x="2477864" y="1367588"/>
                  </a:lnTo>
                  <a:lnTo>
                    <a:pt x="2492160" y="1372356"/>
                  </a:lnTo>
                  <a:lnTo>
                    <a:pt x="2501692" y="1396180"/>
                  </a:lnTo>
                  <a:lnTo>
                    <a:pt x="2511220" y="1400944"/>
                  </a:lnTo>
                  <a:lnTo>
                    <a:pt x="2515988" y="1405712"/>
                  </a:lnTo>
                  <a:lnTo>
                    <a:pt x="2525516" y="1415240"/>
                  </a:lnTo>
                  <a:lnTo>
                    <a:pt x="2535048" y="1415240"/>
                  </a:lnTo>
                  <a:lnTo>
                    <a:pt x="2544576" y="1410476"/>
                  </a:lnTo>
                  <a:lnTo>
                    <a:pt x="2554108" y="1400944"/>
                  </a:lnTo>
                  <a:lnTo>
                    <a:pt x="2563636" y="1400944"/>
                  </a:lnTo>
                  <a:lnTo>
                    <a:pt x="2568404" y="1405712"/>
                  </a:lnTo>
                  <a:lnTo>
                    <a:pt x="2568404" y="1420004"/>
                  </a:lnTo>
                  <a:lnTo>
                    <a:pt x="2577932" y="1434300"/>
                  </a:lnTo>
                  <a:lnTo>
                    <a:pt x="2587464" y="1443832"/>
                  </a:lnTo>
                  <a:lnTo>
                    <a:pt x="2606524" y="1448596"/>
                  </a:lnTo>
                  <a:lnTo>
                    <a:pt x="2611288" y="1453360"/>
                  </a:lnTo>
                  <a:lnTo>
                    <a:pt x="2611288" y="1467656"/>
                  </a:lnTo>
                  <a:lnTo>
                    <a:pt x="2620820" y="1477188"/>
                  </a:lnTo>
                  <a:lnTo>
                    <a:pt x="2625584" y="1486716"/>
                  </a:lnTo>
                  <a:lnTo>
                    <a:pt x="2630348" y="1510544"/>
                  </a:lnTo>
                  <a:lnTo>
                    <a:pt x="2635116" y="1529604"/>
                  </a:lnTo>
                  <a:lnTo>
                    <a:pt x="2635116" y="1539136"/>
                  </a:lnTo>
                  <a:lnTo>
                    <a:pt x="2644644" y="1553428"/>
                  </a:lnTo>
                  <a:lnTo>
                    <a:pt x="2658940" y="1582020"/>
                  </a:lnTo>
                  <a:lnTo>
                    <a:pt x="2673236" y="1601080"/>
                  </a:lnTo>
                  <a:lnTo>
                    <a:pt x="2682764" y="1605844"/>
                  </a:lnTo>
                  <a:lnTo>
                    <a:pt x="2697060" y="1615376"/>
                  </a:lnTo>
                  <a:lnTo>
                    <a:pt x="2701828" y="1629672"/>
                  </a:lnTo>
                  <a:lnTo>
                    <a:pt x="2711356" y="1663028"/>
                  </a:lnTo>
                  <a:lnTo>
                    <a:pt x="2716120" y="1682088"/>
                  </a:lnTo>
                  <a:lnTo>
                    <a:pt x="2716120" y="1696384"/>
                  </a:lnTo>
                  <a:lnTo>
                    <a:pt x="2720888" y="1701148"/>
                  </a:lnTo>
                  <a:lnTo>
                    <a:pt x="2720888" y="1710680"/>
                  </a:lnTo>
                  <a:lnTo>
                    <a:pt x="2711356" y="1744036"/>
                  </a:lnTo>
                  <a:lnTo>
                    <a:pt x="2701828" y="1758328"/>
                  </a:lnTo>
                  <a:lnTo>
                    <a:pt x="2701828" y="1767860"/>
                  </a:lnTo>
                  <a:lnTo>
                    <a:pt x="2706592" y="1791684"/>
                  </a:lnTo>
                  <a:lnTo>
                    <a:pt x="2716120" y="1805980"/>
                  </a:lnTo>
                  <a:lnTo>
                    <a:pt x="2716120" y="1825040"/>
                  </a:lnTo>
                  <a:lnTo>
                    <a:pt x="2711356" y="1834572"/>
                  </a:lnTo>
                  <a:lnTo>
                    <a:pt x="2697060" y="1848868"/>
                  </a:lnTo>
                  <a:lnTo>
                    <a:pt x="2692296" y="1858396"/>
                  </a:lnTo>
                  <a:lnTo>
                    <a:pt x="2682764" y="1863164"/>
                  </a:lnTo>
                  <a:lnTo>
                    <a:pt x="2668472" y="1891752"/>
                  </a:lnTo>
                  <a:lnTo>
                    <a:pt x="2663704" y="1920344"/>
                  </a:lnTo>
                  <a:lnTo>
                    <a:pt x="2663704" y="1934640"/>
                  </a:lnTo>
                  <a:lnTo>
                    <a:pt x="2668472" y="1948936"/>
                  </a:lnTo>
                  <a:lnTo>
                    <a:pt x="2678000" y="1963232"/>
                  </a:lnTo>
                  <a:lnTo>
                    <a:pt x="2678000" y="1972760"/>
                  </a:lnTo>
                  <a:lnTo>
                    <a:pt x="2692296" y="1996588"/>
                  </a:lnTo>
                  <a:lnTo>
                    <a:pt x="2697060" y="2010880"/>
                  </a:lnTo>
                  <a:lnTo>
                    <a:pt x="2701828" y="2010880"/>
                  </a:lnTo>
                  <a:lnTo>
                    <a:pt x="2706592" y="2006116"/>
                  </a:lnTo>
                  <a:lnTo>
                    <a:pt x="2725652" y="2006116"/>
                  </a:lnTo>
                  <a:lnTo>
                    <a:pt x="2735184" y="2010880"/>
                  </a:lnTo>
                  <a:lnTo>
                    <a:pt x="2749476" y="2020412"/>
                  </a:lnTo>
                  <a:lnTo>
                    <a:pt x="2763772" y="2025176"/>
                  </a:lnTo>
                  <a:lnTo>
                    <a:pt x="2782832" y="2025176"/>
                  </a:lnTo>
                  <a:lnTo>
                    <a:pt x="2797128" y="2029944"/>
                  </a:lnTo>
                  <a:lnTo>
                    <a:pt x="2806660" y="2034708"/>
                  </a:lnTo>
                  <a:lnTo>
                    <a:pt x="2830484" y="2039472"/>
                  </a:lnTo>
                  <a:lnTo>
                    <a:pt x="2878136" y="2039472"/>
                  </a:lnTo>
                  <a:lnTo>
                    <a:pt x="2897196" y="2044236"/>
                  </a:lnTo>
                  <a:lnTo>
                    <a:pt x="2940084" y="2053768"/>
                  </a:lnTo>
                  <a:lnTo>
                    <a:pt x="2963908" y="2049004"/>
                  </a:lnTo>
                  <a:lnTo>
                    <a:pt x="2997264" y="2044236"/>
                  </a:lnTo>
                  <a:lnTo>
                    <a:pt x="3016324" y="2049004"/>
                  </a:lnTo>
                  <a:lnTo>
                    <a:pt x="3073508" y="2058532"/>
                  </a:lnTo>
                  <a:lnTo>
                    <a:pt x="3106864" y="2068064"/>
                  </a:lnTo>
                  <a:lnTo>
                    <a:pt x="3130688" y="2077592"/>
                  </a:lnTo>
                  <a:lnTo>
                    <a:pt x="3144984" y="2091888"/>
                  </a:lnTo>
                  <a:lnTo>
                    <a:pt x="3164044" y="2115716"/>
                  </a:lnTo>
                  <a:lnTo>
                    <a:pt x="3178340" y="2125244"/>
                  </a:lnTo>
                  <a:lnTo>
                    <a:pt x="3216460" y="2130008"/>
                  </a:lnTo>
                  <a:lnTo>
                    <a:pt x="3240284" y="2158600"/>
                  </a:lnTo>
                  <a:lnTo>
                    <a:pt x="3259348" y="2168132"/>
                  </a:lnTo>
                  <a:lnTo>
                    <a:pt x="3297468" y="2196720"/>
                  </a:lnTo>
                  <a:lnTo>
                    <a:pt x="3321292" y="2206252"/>
                  </a:lnTo>
                  <a:lnTo>
                    <a:pt x="3349884" y="2215784"/>
                  </a:lnTo>
                  <a:lnTo>
                    <a:pt x="3392768" y="2211016"/>
                  </a:lnTo>
                  <a:lnTo>
                    <a:pt x="3397536" y="2215784"/>
                  </a:lnTo>
                  <a:lnTo>
                    <a:pt x="3392768" y="2230076"/>
                  </a:lnTo>
                  <a:lnTo>
                    <a:pt x="3392768" y="2249140"/>
                  </a:lnTo>
                  <a:lnTo>
                    <a:pt x="3392768" y="2263432"/>
                  </a:lnTo>
                  <a:lnTo>
                    <a:pt x="3397536" y="2272964"/>
                  </a:lnTo>
                  <a:lnTo>
                    <a:pt x="3411832" y="2277728"/>
                  </a:lnTo>
                  <a:lnTo>
                    <a:pt x="3421360" y="2282496"/>
                  </a:lnTo>
                  <a:lnTo>
                    <a:pt x="3430892" y="2296788"/>
                  </a:lnTo>
                  <a:lnTo>
                    <a:pt x="3430892" y="2306320"/>
                  </a:lnTo>
                  <a:lnTo>
                    <a:pt x="3449952" y="2344440"/>
                  </a:lnTo>
                  <a:lnTo>
                    <a:pt x="3473776" y="2406388"/>
                  </a:lnTo>
                  <a:lnTo>
                    <a:pt x="3473776" y="2430212"/>
                  </a:lnTo>
                  <a:lnTo>
                    <a:pt x="3483308" y="2444508"/>
                  </a:lnTo>
                  <a:lnTo>
                    <a:pt x="3507132" y="2468332"/>
                  </a:lnTo>
                  <a:lnTo>
                    <a:pt x="3521428" y="2482628"/>
                  </a:lnTo>
                  <a:lnTo>
                    <a:pt x="3545252" y="2501688"/>
                  </a:lnTo>
                  <a:lnTo>
                    <a:pt x="3550020" y="2520752"/>
                  </a:lnTo>
                  <a:lnTo>
                    <a:pt x="3550020" y="2544576"/>
                  </a:lnTo>
                  <a:lnTo>
                    <a:pt x="3554784" y="2549340"/>
                  </a:lnTo>
                  <a:lnTo>
                    <a:pt x="3592904" y="2544576"/>
                  </a:lnTo>
                  <a:lnTo>
                    <a:pt x="3626260" y="2539812"/>
                  </a:lnTo>
                  <a:lnTo>
                    <a:pt x="3683444" y="2535044"/>
                  </a:lnTo>
                  <a:lnTo>
                    <a:pt x="3764448" y="2544576"/>
                  </a:lnTo>
                  <a:lnTo>
                    <a:pt x="3843076" y="2554108"/>
                  </a:lnTo>
                  <a:lnTo>
                    <a:pt x="3919316" y="2563636"/>
                  </a:lnTo>
                  <a:lnTo>
                    <a:pt x="3952672" y="2568400"/>
                  </a:lnTo>
                  <a:lnTo>
                    <a:pt x="4033680" y="2577932"/>
                  </a:lnTo>
                  <a:lnTo>
                    <a:pt x="4081332" y="2568400"/>
                  </a:lnTo>
                  <a:lnTo>
                    <a:pt x="4114688" y="2558872"/>
                  </a:lnTo>
                  <a:lnTo>
                    <a:pt x="4133748" y="2558872"/>
                  </a:lnTo>
                  <a:lnTo>
                    <a:pt x="4200460" y="2568400"/>
                  </a:lnTo>
                  <a:lnTo>
                    <a:pt x="4238580" y="2577932"/>
                  </a:lnTo>
                  <a:lnTo>
                    <a:pt x="4290996" y="2582696"/>
                  </a:lnTo>
                  <a:lnTo>
                    <a:pt x="4324352" y="2587464"/>
                  </a:lnTo>
                  <a:lnTo>
                    <a:pt x="4352944" y="2587464"/>
                  </a:lnTo>
                  <a:lnTo>
                    <a:pt x="4367240" y="2587464"/>
                  </a:lnTo>
                  <a:lnTo>
                    <a:pt x="4376768" y="2592228"/>
                  </a:lnTo>
                  <a:lnTo>
                    <a:pt x="4386300" y="2601756"/>
                  </a:lnTo>
                  <a:lnTo>
                    <a:pt x="4410124" y="2639880"/>
                  </a:lnTo>
                  <a:lnTo>
                    <a:pt x="4429184" y="2654172"/>
                  </a:lnTo>
                  <a:lnTo>
                    <a:pt x="4457776" y="2668468"/>
                  </a:lnTo>
                  <a:lnTo>
                    <a:pt x="4519724" y="2678000"/>
                  </a:lnTo>
                  <a:lnTo>
                    <a:pt x="4557844" y="2687528"/>
                  </a:lnTo>
                  <a:lnTo>
                    <a:pt x="4600728" y="2697060"/>
                  </a:lnTo>
                  <a:lnTo>
                    <a:pt x="4624556" y="2711356"/>
                  </a:lnTo>
                  <a:lnTo>
                    <a:pt x="4657912" y="2730416"/>
                  </a:lnTo>
                  <a:lnTo>
                    <a:pt x="4700796" y="2754240"/>
                  </a:lnTo>
                  <a:lnTo>
                    <a:pt x="4743684" y="2744712"/>
                  </a:lnTo>
                  <a:lnTo>
                    <a:pt x="4791336" y="2730416"/>
                  </a:lnTo>
                  <a:lnTo>
                    <a:pt x="4819924" y="2725652"/>
                  </a:lnTo>
                  <a:lnTo>
                    <a:pt x="4819924" y="2773304"/>
                  </a:lnTo>
                  <a:lnTo>
                    <a:pt x="4862812" y="2773304"/>
                  </a:lnTo>
                  <a:lnTo>
                    <a:pt x="4877108" y="2773304"/>
                  </a:lnTo>
                  <a:lnTo>
                    <a:pt x="4896168" y="2782832"/>
                  </a:lnTo>
                  <a:lnTo>
                    <a:pt x="4905700" y="2782832"/>
                  </a:lnTo>
                  <a:lnTo>
                    <a:pt x="4919992" y="2768536"/>
                  </a:lnTo>
                  <a:lnTo>
                    <a:pt x="4929524" y="2754240"/>
                  </a:lnTo>
                  <a:lnTo>
                    <a:pt x="4948584" y="2749476"/>
                  </a:lnTo>
                  <a:lnTo>
                    <a:pt x="4981940" y="2730416"/>
                  </a:lnTo>
                  <a:lnTo>
                    <a:pt x="5034356" y="2701824"/>
                  </a:lnTo>
                  <a:lnTo>
                    <a:pt x="5105832" y="2668468"/>
                  </a:lnTo>
                  <a:lnTo>
                    <a:pt x="5139188" y="2654172"/>
                  </a:lnTo>
                  <a:lnTo>
                    <a:pt x="5148720" y="2654172"/>
                  </a:lnTo>
                  <a:lnTo>
                    <a:pt x="5163016" y="2644644"/>
                  </a:lnTo>
                  <a:lnTo>
                    <a:pt x="5177308" y="2639880"/>
                  </a:lnTo>
                  <a:lnTo>
                    <a:pt x="5196372" y="2635112"/>
                  </a:lnTo>
                  <a:lnTo>
                    <a:pt x="5224960" y="2630348"/>
                  </a:lnTo>
                  <a:lnTo>
                    <a:pt x="5258316" y="2625584"/>
                  </a:lnTo>
                  <a:lnTo>
                    <a:pt x="5329796" y="2616052"/>
                  </a:lnTo>
                  <a:lnTo>
                    <a:pt x="5339324" y="2616052"/>
                  </a:lnTo>
                  <a:lnTo>
                    <a:pt x="5377444" y="2611288"/>
                  </a:lnTo>
                  <a:lnTo>
                    <a:pt x="5396508" y="2606524"/>
                  </a:lnTo>
                  <a:lnTo>
                    <a:pt x="5420332" y="2606524"/>
                  </a:lnTo>
                  <a:lnTo>
                    <a:pt x="5453688" y="2611288"/>
                  </a:lnTo>
                  <a:lnTo>
                    <a:pt x="5477512" y="2611288"/>
                  </a:lnTo>
                  <a:lnTo>
                    <a:pt x="5506104" y="2611288"/>
                  </a:lnTo>
                  <a:lnTo>
                    <a:pt x="5544224" y="2606524"/>
                  </a:lnTo>
                  <a:lnTo>
                    <a:pt x="5577580" y="2606524"/>
                  </a:lnTo>
                  <a:lnTo>
                    <a:pt x="5591876" y="2601756"/>
                  </a:lnTo>
                  <a:lnTo>
                    <a:pt x="5615700" y="2592228"/>
                  </a:lnTo>
                  <a:lnTo>
                    <a:pt x="5634764" y="2582696"/>
                  </a:lnTo>
                  <a:lnTo>
                    <a:pt x="5658588" y="2573168"/>
                  </a:lnTo>
                  <a:lnTo>
                    <a:pt x="5691944" y="2558872"/>
                  </a:lnTo>
                  <a:lnTo>
                    <a:pt x="5711004" y="2549340"/>
                  </a:lnTo>
                  <a:lnTo>
                    <a:pt x="5725300" y="2544576"/>
                  </a:lnTo>
                  <a:lnTo>
                    <a:pt x="5744360" y="2535044"/>
                  </a:lnTo>
                  <a:lnTo>
                    <a:pt x="5749124" y="2530280"/>
                  </a:lnTo>
                  <a:lnTo>
                    <a:pt x="5753892" y="2520752"/>
                  </a:lnTo>
                  <a:lnTo>
                    <a:pt x="5763420" y="2511220"/>
                  </a:lnTo>
                  <a:lnTo>
                    <a:pt x="5777716" y="2492160"/>
                  </a:lnTo>
                  <a:lnTo>
                    <a:pt x="5792012" y="2473100"/>
                  </a:lnTo>
                  <a:lnTo>
                    <a:pt x="5796776" y="2463568"/>
                  </a:lnTo>
                  <a:lnTo>
                    <a:pt x="5811072" y="2444508"/>
                  </a:lnTo>
                  <a:lnTo>
                    <a:pt x="5825368" y="2434980"/>
                  </a:lnTo>
                  <a:lnTo>
                    <a:pt x="5839664" y="2415916"/>
                  </a:lnTo>
                  <a:lnTo>
                    <a:pt x="5849192" y="2411152"/>
                  </a:lnTo>
                  <a:lnTo>
                    <a:pt x="5868252" y="2401624"/>
                  </a:lnTo>
                  <a:lnTo>
                    <a:pt x="5906376" y="2387328"/>
                  </a:lnTo>
                  <a:lnTo>
                    <a:pt x="5915904" y="2382560"/>
                  </a:lnTo>
                  <a:lnTo>
                    <a:pt x="5920668" y="2382560"/>
                  </a:lnTo>
                  <a:lnTo>
                    <a:pt x="5934964" y="2368268"/>
                  </a:lnTo>
                  <a:lnTo>
                    <a:pt x="5949260" y="2353972"/>
                  </a:lnTo>
                  <a:lnTo>
                    <a:pt x="5958792" y="2344440"/>
                  </a:lnTo>
                  <a:lnTo>
                    <a:pt x="5973088" y="2339676"/>
                  </a:lnTo>
                  <a:lnTo>
                    <a:pt x="5982616" y="2334912"/>
                  </a:lnTo>
                  <a:lnTo>
                    <a:pt x="5982616" y="2325380"/>
                  </a:lnTo>
                  <a:lnTo>
                    <a:pt x="5982616" y="2311084"/>
                  </a:lnTo>
                  <a:lnTo>
                    <a:pt x="5973088" y="2296788"/>
                  </a:lnTo>
                  <a:lnTo>
                    <a:pt x="5968320" y="2287260"/>
                  </a:lnTo>
                  <a:lnTo>
                    <a:pt x="5944496" y="2263432"/>
                  </a:lnTo>
                  <a:lnTo>
                    <a:pt x="5930200" y="2249140"/>
                  </a:lnTo>
                  <a:lnTo>
                    <a:pt x="5915904" y="2230076"/>
                  </a:lnTo>
                  <a:lnTo>
                    <a:pt x="5911140" y="2215784"/>
                  </a:lnTo>
                  <a:lnTo>
                    <a:pt x="5906376" y="2201488"/>
                  </a:lnTo>
                  <a:lnTo>
                    <a:pt x="5901608" y="2191956"/>
                  </a:lnTo>
                  <a:lnTo>
                    <a:pt x="5901608" y="2182428"/>
                  </a:lnTo>
                  <a:lnTo>
                    <a:pt x="5911140" y="2163364"/>
                  </a:lnTo>
                  <a:lnTo>
                    <a:pt x="5915904" y="2149072"/>
                  </a:lnTo>
                  <a:lnTo>
                    <a:pt x="5920668" y="2125244"/>
                  </a:lnTo>
                  <a:lnTo>
                    <a:pt x="5934964" y="2091888"/>
                  </a:lnTo>
                  <a:lnTo>
                    <a:pt x="5944496" y="2077592"/>
                  </a:lnTo>
                  <a:lnTo>
                    <a:pt x="5954028" y="2058532"/>
                  </a:lnTo>
                  <a:lnTo>
                    <a:pt x="5977852" y="2039472"/>
                  </a:lnTo>
                  <a:lnTo>
                    <a:pt x="5996912" y="2034708"/>
                  </a:lnTo>
                  <a:lnTo>
                    <a:pt x="6011208" y="2039472"/>
                  </a:lnTo>
                  <a:lnTo>
                    <a:pt x="6039796" y="2039472"/>
                  </a:lnTo>
                  <a:lnTo>
                    <a:pt x="6058860" y="2039472"/>
                  </a:lnTo>
                  <a:lnTo>
                    <a:pt x="6073156" y="2049004"/>
                  </a:lnTo>
                  <a:lnTo>
                    <a:pt x="6087448" y="2072828"/>
                  </a:lnTo>
                  <a:lnTo>
                    <a:pt x="6101744" y="2077592"/>
                  </a:lnTo>
                  <a:lnTo>
                    <a:pt x="6158928" y="2096656"/>
                  </a:lnTo>
                  <a:lnTo>
                    <a:pt x="6177988" y="2101420"/>
                  </a:lnTo>
                  <a:lnTo>
                    <a:pt x="6197048" y="2101420"/>
                  </a:lnTo>
                  <a:lnTo>
                    <a:pt x="6220872" y="2106184"/>
                  </a:lnTo>
                  <a:lnTo>
                    <a:pt x="6230404" y="2106184"/>
                  </a:lnTo>
                  <a:lnTo>
                    <a:pt x="6239932" y="2110948"/>
                  </a:lnTo>
                  <a:lnTo>
                    <a:pt x="6254228" y="2106184"/>
                  </a:lnTo>
                  <a:lnTo>
                    <a:pt x="6268524" y="2091888"/>
                  </a:lnTo>
                  <a:lnTo>
                    <a:pt x="6287584" y="2077592"/>
                  </a:lnTo>
                  <a:lnTo>
                    <a:pt x="6297116" y="2072828"/>
                  </a:lnTo>
                  <a:lnTo>
                    <a:pt x="6311412" y="2068064"/>
                  </a:lnTo>
                  <a:lnTo>
                    <a:pt x="6316176" y="2058532"/>
                  </a:lnTo>
                  <a:lnTo>
                    <a:pt x="6330472" y="2044236"/>
                  </a:lnTo>
                  <a:lnTo>
                    <a:pt x="6349532" y="2029944"/>
                  </a:lnTo>
                  <a:lnTo>
                    <a:pt x="6373356" y="2010880"/>
                  </a:lnTo>
                  <a:lnTo>
                    <a:pt x="6382888" y="1991820"/>
                  </a:lnTo>
                  <a:lnTo>
                    <a:pt x="6382888" y="1982292"/>
                  </a:lnTo>
                  <a:lnTo>
                    <a:pt x="6387652" y="1972760"/>
                  </a:lnTo>
                  <a:lnTo>
                    <a:pt x="6392416" y="1967996"/>
                  </a:lnTo>
                  <a:lnTo>
                    <a:pt x="6406712" y="1963232"/>
                  </a:lnTo>
                  <a:lnTo>
                    <a:pt x="6421008" y="1958464"/>
                  </a:lnTo>
                  <a:lnTo>
                    <a:pt x="6449600" y="1967996"/>
                  </a:lnTo>
                  <a:lnTo>
                    <a:pt x="6487720" y="1967996"/>
                  </a:lnTo>
                  <a:lnTo>
                    <a:pt x="6497252" y="1967996"/>
                  </a:lnTo>
                  <a:lnTo>
                    <a:pt x="6530608" y="1958464"/>
                  </a:lnTo>
                  <a:lnTo>
                    <a:pt x="6544900" y="1958464"/>
                  </a:lnTo>
                  <a:lnTo>
                    <a:pt x="6568728" y="1953700"/>
                  </a:lnTo>
                  <a:lnTo>
                    <a:pt x="6583024" y="1934640"/>
                  </a:lnTo>
                  <a:lnTo>
                    <a:pt x="6606848" y="1915580"/>
                  </a:lnTo>
                  <a:lnTo>
                    <a:pt x="6625908" y="1901284"/>
                  </a:lnTo>
                  <a:lnTo>
                    <a:pt x="6635440" y="1901284"/>
                  </a:lnTo>
                  <a:lnTo>
                    <a:pt x="6649736" y="1886988"/>
                  </a:lnTo>
                  <a:lnTo>
                    <a:pt x="6654500" y="1877460"/>
                  </a:lnTo>
                  <a:lnTo>
                    <a:pt x="6654500" y="1867928"/>
                  </a:lnTo>
                  <a:lnTo>
                    <a:pt x="6649736" y="1853632"/>
                  </a:lnTo>
                  <a:lnTo>
                    <a:pt x="6659264" y="1839336"/>
                  </a:lnTo>
                  <a:lnTo>
                    <a:pt x="6673560" y="1810748"/>
                  </a:lnTo>
                  <a:lnTo>
                    <a:pt x="6687856" y="1796452"/>
                  </a:lnTo>
                  <a:lnTo>
                    <a:pt x="6697384" y="1782156"/>
                  </a:lnTo>
                  <a:lnTo>
                    <a:pt x="6706916" y="1767860"/>
                  </a:lnTo>
                  <a:lnTo>
                    <a:pt x="6716444" y="1758328"/>
                  </a:lnTo>
                  <a:lnTo>
                    <a:pt x="6725976" y="1758328"/>
                  </a:lnTo>
                  <a:lnTo>
                    <a:pt x="6740272" y="1744036"/>
                  </a:lnTo>
                  <a:lnTo>
                    <a:pt x="6754568" y="1744036"/>
                  </a:lnTo>
                  <a:lnTo>
                    <a:pt x="6768864" y="1748800"/>
                  </a:lnTo>
                  <a:lnTo>
                    <a:pt x="6797452" y="1748800"/>
                  </a:lnTo>
                  <a:lnTo>
                    <a:pt x="6816516" y="1753564"/>
                  </a:lnTo>
                  <a:lnTo>
                    <a:pt x="6826044" y="1748800"/>
                  </a:lnTo>
                  <a:lnTo>
                    <a:pt x="6830808" y="1744036"/>
                  </a:lnTo>
                  <a:lnTo>
                    <a:pt x="6830808" y="1734504"/>
                  </a:lnTo>
                  <a:lnTo>
                    <a:pt x="6835576" y="1710680"/>
                  </a:lnTo>
                  <a:lnTo>
                    <a:pt x="6835576" y="1701148"/>
                  </a:lnTo>
                  <a:lnTo>
                    <a:pt x="6845104" y="1696384"/>
                  </a:lnTo>
                  <a:lnTo>
                    <a:pt x="6859400" y="1696384"/>
                  </a:lnTo>
                  <a:lnTo>
                    <a:pt x="6868932" y="1705912"/>
                  </a:lnTo>
                  <a:lnTo>
                    <a:pt x="6878460" y="1710680"/>
                  </a:lnTo>
                  <a:lnTo>
                    <a:pt x="6887992" y="1715444"/>
                  </a:lnTo>
                  <a:lnTo>
                    <a:pt x="6902284" y="1710680"/>
                  </a:lnTo>
                  <a:lnTo>
                    <a:pt x="6916580" y="1691620"/>
                  </a:lnTo>
                  <a:lnTo>
                    <a:pt x="6940408" y="1682088"/>
                  </a:lnTo>
                  <a:lnTo>
                    <a:pt x="6954704" y="1677324"/>
                  </a:lnTo>
                  <a:lnTo>
                    <a:pt x="6978528" y="1667792"/>
                  </a:lnTo>
                  <a:lnTo>
                    <a:pt x="6992824" y="1672556"/>
                  </a:lnTo>
                  <a:lnTo>
                    <a:pt x="7021416" y="1672556"/>
                  </a:lnTo>
                  <a:lnTo>
                    <a:pt x="7030944" y="1672556"/>
                  </a:lnTo>
                  <a:lnTo>
                    <a:pt x="7045240" y="1672556"/>
                  </a:lnTo>
                  <a:lnTo>
                    <a:pt x="7054772" y="1663028"/>
                  </a:lnTo>
                  <a:lnTo>
                    <a:pt x="7064300" y="1658264"/>
                  </a:lnTo>
                  <a:lnTo>
                    <a:pt x="7078596" y="1663028"/>
                  </a:lnTo>
                  <a:lnTo>
                    <a:pt x="7092892" y="1672556"/>
                  </a:lnTo>
                  <a:lnTo>
                    <a:pt x="7111952" y="1686852"/>
                  </a:lnTo>
                  <a:lnTo>
                    <a:pt x="7140544" y="1691620"/>
                  </a:lnTo>
                  <a:lnTo>
                    <a:pt x="7159604" y="1686852"/>
                  </a:lnTo>
                  <a:lnTo>
                    <a:pt x="7183428" y="1696384"/>
                  </a:lnTo>
                  <a:lnTo>
                    <a:pt x="7197724" y="1691620"/>
                  </a:lnTo>
                  <a:lnTo>
                    <a:pt x="7202488" y="1686852"/>
                  </a:lnTo>
                  <a:lnTo>
                    <a:pt x="7221548" y="1677324"/>
                  </a:lnTo>
                  <a:lnTo>
                    <a:pt x="7226316" y="1663028"/>
                  </a:lnTo>
                  <a:lnTo>
                    <a:pt x="7226316" y="1653496"/>
                  </a:lnTo>
                  <a:lnTo>
                    <a:pt x="7226316" y="1634436"/>
                  </a:lnTo>
                  <a:lnTo>
                    <a:pt x="7221548" y="1624908"/>
                  </a:lnTo>
                  <a:lnTo>
                    <a:pt x="7207256" y="1610612"/>
                  </a:lnTo>
                  <a:lnTo>
                    <a:pt x="7207256" y="1596316"/>
                  </a:lnTo>
                  <a:lnTo>
                    <a:pt x="7202488" y="1582020"/>
                  </a:lnTo>
                  <a:lnTo>
                    <a:pt x="7197724" y="1567724"/>
                  </a:lnTo>
                  <a:lnTo>
                    <a:pt x="7178664" y="1553428"/>
                  </a:lnTo>
                  <a:lnTo>
                    <a:pt x="7169132" y="1543900"/>
                  </a:lnTo>
                  <a:lnTo>
                    <a:pt x="7145308" y="1515308"/>
                  </a:lnTo>
                  <a:lnTo>
                    <a:pt x="7135776" y="1510544"/>
                  </a:lnTo>
                  <a:lnTo>
                    <a:pt x="7135776" y="1505780"/>
                  </a:lnTo>
                  <a:lnTo>
                    <a:pt x="7131012" y="1496248"/>
                  </a:lnTo>
                  <a:lnTo>
                    <a:pt x="7121484" y="1491484"/>
                  </a:lnTo>
                  <a:lnTo>
                    <a:pt x="7111952" y="1481952"/>
                  </a:lnTo>
                  <a:lnTo>
                    <a:pt x="7107188" y="1477188"/>
                  </a:lnTo>
                  <a:lnTo>
                    <a:pt x="7102420" y="1462892"/>
                  </a:lnTo>
                  <a:lnTo>
                    <a:pt x="7097656" y="1453360"/>
                  </a:lnTo>
                  <a:lnTo>
                    <a:pt x="7088124" y="1443832"/>
                  </a:lnTo>
                  <a:lnTo>
                    <a:pt x="7078596" y="1443832"/>
                  </a:lnTo>
                  <a:lnTo>
                    <a:pt x="7069064" y="1439068"/>
                  </a:lnTo>
                  <a:lnTo>
                    <a:pt x="7050004" y="1429536"/>
                  </a:lnTo>
                  <a:lnTo>
                    <a:pt x="7040476" y="1415240"/>
                  </a:lnTo>
                  <a:lnTo>
                    <a:pt x="7021416" y="1386652"/>
                  </a:lnTo>
                  <a:lnTo>
                    <a:pt x="7007120" y="1377120"/>
                  </a:lnTo>
                  <a:lnTo>
                    <a:pt x="6968996" y="1372356"/>
                  </a:lnTo>
                  <a:lnTo>
                    <a:pt x="6954704" y="1367588"/>
                  </a:lnTo>
                  <a:lnTo>
                    <a:pt x="6935644" y="1367588"/>
                  </a:lnTo>
                  <a:lnTo>
                    <a:pt x="6926112" y="1372356"/>
                  </a:lnTo>
                  <a:lnTo>
                    <a:pt x="6907052" y="1372356"/>
                  </a:lnTo>
                  <a:lnTo>
                    <a:pt x="6892756" y="1377120"/>
                  </a:lnTo>
                  <a:lnTo>
                    <a:pt x="6878460" y="1396180"/>
                  </a:lnTo>
                  <a:lnTo>
                    <a:pt x="6859400" y="1420004"/>
                  </a:lnTo>
                  <a:lnTo>
                    <a:pt x="6845104" y="1434300"/>
                  </a:lnTo>
                  <a:lnTo>
                    <a:pt x="6835576" y="1448596"/>
                  </a:lnTo>
                  <a:lnTo>
                    <a:pt x="6830808" y="1453360"/>
                  </a:lnTo>
                  <a:lnTo>
                    <a:pt x="6816516" y="1448596"/>
                  </a:lnTo>
                  <a:lnTo>
                    <a:pt x="6806984" y="1434300"/>
                  </a:lnTo>
                  <a:lnTo>
                    <a:pt x="6783156" y="1420004"/>
                  </a:lnTo>
                  <a:lnTo>
                    <a:pt x="6768864" y="1410476"/>
                  </a:lnTo>
                  <a:lnTo>
                    <a:pt x="6759332" y="1405712"/>
                  </a:lnTo>
                  <a:lnTo>
                    <a:pt x="6735508" y="1400944"/>
                  </a:lnTo>
                  <a:lnTo>
                    <a:pt x="6721212" y="1405712"/>
                  </a:lnTo>
                  <a:lnTo>
                    <a:pt x="6697384" y="1410476"/>
                  </a:lnTo>
                  <a:lnTo>
                    <a:pt x="6678324" y="1410476"/>
                  </a:lnTo>
                  <a:lnTo>
                    <a:pt x="6668796" y="1405712"/>
                  </a:lnTo>
                  <a:lnTo>
                    <a:pt x="6654500" y="1405712"/>
                  </a:lnTo>
                  <a:lnTo>
                    <a:pt x="6630676" y="1420004"/>
                  </a:lnTo>
                  <a:lnTo>
                    <a:pt x="6616380" y="1439068"/>
                  </a:lnTo>
                  <a:lnTo>
                    <a:pt x="6602084" y="1443832"/>
                  </a:lnTo>
                  <a:lnTo>
                    <a:pt x="6587788" y="1434300"/>
                  </a:lnTo>
                  <a:lnTo>
                    <a:pt x="6573492" y="1420004"/>
                  </a:lnTo>
                  <a:lnTo>
                    <a:pt x="6559196" y="1400944"/>
                  </a:lnTo>
                  <a:lnTo>
                    <a:pt x="6549668" y="1386652"/>
                  </a:lnTo>
                  <a:lnTo>
                    <a:pt x="6544900" y="1343764"/>
                  </a:lnTo>
                  <a:lnTo>
                    <a:pt x="6563964" y="1329468"/>
                  </a:lnTo>
                  <a:lnTo>
                    <a:pt x="6583024" y="1315172"/>
                  </a:lnTo>
                  <a:lnTo>
                    <a:pt x="6587788" y="1291348"/>
                  </a:lnTo>
                  <a:lnTo>
                    <a:pt x="6583024" y="1267520"/>
                  </a:lnTo>
                  <a:lnTo>
                    <a:pt x="6592552" y="1238932"/>
                  </a:lnTo>
                  <a:lnTo>
                    <a:pt x="6611612" y="1210340"/>
                  </a:lnTo>
                  <a:lnTo>
                    <a:pt x="6621144" y="1186516"/>
                  </a:lnTo>
                  <a:lnTo>
                    <a:pt x="6621144" y="1176984"/>
                  </a:lnTo>
                  <a:lnTo>
                    <a:pt x="6635440" y="1153160"/>
                  </a:lnTo>
                  <a:lnTo>
                    <a:pt x="6644968" y="1129332"/>
                  </a:lnTo>
                  <a:lnTo>
                    <a:pt x="6654500" y="1095976"/>
                  </a:lnTo>
                  <a:lnTo>
                    <a:pt x="6678324" y="1038796"/>
                  </a:lnTo>
                  <a:lnTo>
                    <a:pt x="6711680" y="972084"/>
                  </a:lnTo>
                  <a:lnTo>
                    <a:pt x="6725976" y="938728"/>
                  </a:lnTo>
                  <a:lnTo>
                    <a:pt x="6754568" y="962552"/>
                  </a:lnTo>
                  <a:lnTo>
                    <a:pt x="6778392" y="972084"/>
                  </a:lnTo>
                  <a:lnTo>
                    <a:pt x="6811748" y="986380"/>
                  </a:lnTo>
                  <a:lnTo>
                    <a:pt x="6849868" y="991144"/>
                  </a:lnTo>
                  <a:lnTo>
                    <a:pt x="6883224" y="1010204"/>
                  </a:lnTo>
                  <a:lnTo>
                    <a:pt x="6902284" y="1014972"/>
                  </a:lnTo>
                  <a:lnTo>
                    <a:pt x="6911816" y="1014972"/>
                  </a:lnTo>
                  <a:lnTo>
                    <a:pt x="6959468" y="972084"/>
                  </a:lnTo>
                  <a:lnTo>
                    <a:pt x="7002356" y="933964"/>
                  </a:lnTo>
                  <a:lnTo>
                    <a:pt x="7050004" y="905372"/>
                  </a:lnTo>
                  <a:lnTo>
                    <a:pt x="7083360" y="900608"/>
                  </a:lnTo>
                  <a:lnTo>
                    <a:pt x="7107188" y="891076"/>
                  </a:lnTo>
                  <a:lnTo>
                    <a:pt x="7126248" y="881548"/>
                  </a:lnTo>
                  <a:lnTo>
                    <a:pt x="7135776" y="857720"/>
                  </a:lnTo>
                  <a:lnTo>
                    <a:pt x="7140544" y="829132"/>
                  </a:lnTo>
                  <a:lnTo>
                    <a:pt x="7135776" y="810068"/>
                  </a:lnTo>
                  <a:lnTo>
                    <a:pt x="7116716" y="805304"/>
                  </a:lnTo>
                  <a:lnTo>
                    <a:pt x="7111952" y="795776"/>
                  </a:lnTo>
                  <a:lnTo>
                    <a:pt x="7121484" y="791008"/>
                  </a:lnTo>
                  <a:lnTo>
                    <a:pt x="7126248" y="776712"/>
                  </a:lnTo>
                  <a:lnTo>
                    <a:pt x="7131012" y="757652"/>
                  </a:lnTo>
                  <a:lnTo>
                    <a:pt x="7140544" y="743356"/>
                  </a:lnTo>
                  <a:lnTo>
                    <a:pt x="7154836" y="724296"/>
                  </a:lnTo>
                  <a:lnTo>
                    <a:pt x="7164368" y="705236"/>
                  </a:lnTo>
                  <a:lnTo>
                    <a:pt x="7164368" y="686176"/>
                  </a:lnTo>
                  <a:lnTo>
                    <a:pt x="7178664" y="662352"/>
                  </a:lnTo>
                  <a:lnTo>
                    <a:pt x="7192960" y="643292"/>
                  </a:lnTo>
                  <a:lnTo>
                    <a:pt x="7202488" y="624228"/>
                  </a:lnTo>
                  <a:lnTo>
                    <a:pt x="7202488" y="605168"/>
                  </a:lnTo>
                  <a:lnTo>
                    <a:pt x="7212020" y="586108"/>
                  </a:lnTo>
                  <a:lnTo>
                    <a:pt x="7235844" y="543224"/>
                  </a:lnTo>
                  <a:lnTo>
                    <a:pt x="7254904" y="500336"/>
                  </a:lnTo>
                  <a:lnTo>
                    <a:pt x="7278732" y="471744"/>
                  </a:lnTo>
                  <a:lnTo>
                    <a:pt x="7321616" y="438388"/>
                  </a:lnTo>
                  <a:lnTo>
                    <a:pt x="7350208" y="405032"/>
                  </a:lnTo>
                  <a:lnTo>
                    <a:pt x="7359740" y="376444"/>
                  </a:lnTo>
                  <a:lnTo>
                    <a:pt x="7359740" y="347852"/>
                  </a:lnTo>
                  <a:lnTo>
                    <a:pt x="7345444" y="324028"/>
                  </a:lnTo>
                  <a:lnTo>
                    <a:pt x="7345444" y="300200"/>
                  </a:lnTo>
                  <a:lnTo>
                    <a:pt x="7350208" y="271612"/>
                  </a:lnTo>
                  <a:lnTo>
                    <a:pt x="7345444" y="257316"/>
                  </a:lnTo>
                  <a:lnTo>
                    <a:pt x="7326384" y="243020"/>
                  </a:lnTo>
                  <a:lnTo>
                    <a:pt x="7297792" y="238256"/>
                  </a:lnTo>
                  <a:lnTo>
                    <a:pt x="7269200" y="247784"/>
                  </a:lnTo>
                  <a:lnTo>
                    <a:pt x="7254904" y="238256"/>
                  </a:lnTo>
                  <a:lnTo>
                    <a:pt x="7250140" y="214428"/>
                  </a:lnTo>
                  <a:lnTo>
                    <a:pt x="7259672" y="200132"/>
                  </a:lnTo>
                  <a:lnTo>
                    <a:pt x="7278732" y="185836"/>
                  </a:lnTo>
                  <a:lnTo>
                    <a:pt x="7307324" y="152484"/>
                  </a:lnTo>
                  <a:lnTo>
                    <a:pt x="7354972" y="100064"/>
                  </a:lnTo>
                  <a:lnTo>
                    <a:pt x="7397860" y="71476"/>
                  </a:lnTo>
                  <a:lnTo>
                    <a:pt x="7459804" y="61944"/>
                  </a:lnTo>
                  <a:lnTo>
                    <a:pt x="7516988" y="42884"/>
                  </a:lnTo>
                  <a:lnTo>
                    <a:pt x="7569404" y="23824"/>
                  </a:lnTo>
                  <a:lnTo>
                    <a:pt x="7607524" y="14292"/>
                  </a:lnTo>
                  <a:lnTo>
                    <a:pt x="7612292" y="23824"/>
                  </a:lnTo>
                  <a:lnTo>
                    <a:pt x="7636116" y="23824"/>
                  </a:lnTo>
                  <a:lnTo>
                    <a:pt x="7669472" y="19060"/>
                  </a:lnTo>
                  <a:lnTo>
                    <a:pt x="7702828" y="1429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7" name="Google Shape;4894;p64">
              <a:extLst>
                <a:ext uri="{FF2B5EF4-FFF2-40B4-BE49-F238E27FC236}">
                  <a16:creationId xmlns:a16="http://schemas.microsoft.com/office/drawing/2014/main" id="{4398F274-C6C7-CFBF-83CC-90475544220B}"/>
                </a:ext>
              </a:extLst>
            </p:cNvPr>
            <p:cNvSpPr/>
            <p:nvPr/>
          </p:nvSpPr>
          <p:spPr>
            <a:xfrm>
              <a:off x="7107892" y="4426988"/>
              <a:ext cx="40036" cy="78758"/>
            </a:xfrm>
            <a:custGeom>
              <a:avLst/>
              <a:gdLst/>
              <a:ahLst/>
              <a:cxnLst/>
              <a:rect l="l" t="t" r="r" b="b"/>
              <a:pathLst>
                <a:path w="122" h="240" extrusionOk="0">
                  <a:moveTo>
                    <a:pt x="62" y="192"/>
                  </a:moveTo>
                  <a:lnTo>
                    <a:pt x="70" y="180"/>
                  </a:lnTo>
                  <a:lnTo>
                    <a:pt x="80" y="166"/>
                  </a:lnTo>
                  <a:lnTo>
                    <a:pt x="84" y="160"/>
                  </a:lnTo>
                  <a:lnTo>
                    <a:pt x="86" y="152"/>
                  </a:lnTo>
                  <a:lnTo>
                    <a:pt x="92" y="134"/>
                  </a:lnTo>
                  <a:lnTo>
                    <a:pt x="94" y="116"/>
                  </a:lnTo>
                  <a:lnTo>
                    <a:pt x="98" y="102"/>
                  </a:lnTo>
                  <a:lnTo>
                    <a:pt x="100" y="90"/>
                  </a:lnTo>
                  <a:lnTo>
                    <a:pt x="102" y="84"/>
                  </a:lnTo>
                  <a:lnTo>
                    <a:pt x="108" y="72"/>
                  </a:lnTo>
                  <a:lnTo>
                    <a:pt x="114" y="54"/>
                  </a:lnTo>
                  <a:lnTo>
                    <a:pt x="114" y="46"/>
                  </a:lnTo>
                  <a:lnTo>
                    <a:pt x="114" y="40"/>
                  </a:lnTo>
                  <a:lnTo>
                    <a:pt x="114" y="34"/>
                  </a:lnTo>
                  <a:lnTo>
                    <a:pt x="116" y="28"/>
                  </a:lnTo>
                  <a:lnTo>
                    <a:pt x="122" y="22"/>
                  </a:lnTo>
                  <a:lnTo>
                    <a:pt x="120" y="16"/>
                  </a:lnTo>
                  <a:lnTo>
                    <a:pt x="116" y="14"/>
                  </a:lnTo>
                  <a:lnTo>
                    <a:pt x="108" y="10"/>
                  </a:lnTo>
                  <a:lnTo>
                    <a:pt x="106" y="8"/>
                  </a:lnTo>
                  <a:lnTo>
                    <a:pt x="102" y="4"/>
                  </a:lnTo>
                  <a:lnTo>
                    <a:pt x="100" y="2"/>
                  </a:lnTo>
                  <a:lnTo>
                    <a:pt x="94" y="0"/>
                  </a:lnTo>
                  <a:lnTo>
                    <a:pt x="90" y="2"/>
                  </a:lnTo>
                  <a:lnTo>
                    <a:pt x="84" y="10"/>
                  </a:lnTo>
                  <a:lnTo>
                    <a:pt x="66" y="16"/>
                  </a:lnTo>
                  <a:lnTo>
                    <a:pt x="64" y="18"/>
                  </a:lnTo>
                  <a:lnTo>
                    <a:pt x="58" y="26"/>
                  </a:lnTo>
                  <a:lnTo>
                    <a:pt x="54" y="34"/>
                  </a:lnTo>
                  <a:lnTo>
                    <a:pt x="50" y="42"/>
                  </a:lnTo>
                  <a:lnTo>
                    <a:pt x="44" y="46"/>
                  </a:lnTo>
                  <a:lnTo>
                    <a:pt x="36" y="58"/>
                  </a:lnTo>
                  <a:lnTo>
                    <a:pt x="6" y="114"/>
                  </a:lnTo>
                  <a:lnTo>
                    <a:pt x="4" y="118"/>
                  </a:lnTo>
                  <a:lnTo>
                    <a:pt x="4" y="126"/>
                  </a:lnTo>
                  <a:lnTo>
                    <a:pt x="4" y="136"/>
                  </a:lnTo>
                  <a:lnTo>
                    <a:pt x="2" y="142"/>
                  </a:lnTo>
                  <a:lnTo>
                    <a:pt x="0" y="150"/>
                  </a:lnTo>
                  <a:lnTo>
                    <a:pt x="0" y="154"/>
                  </a:lnTo>
                  <a:lnTo>
                    <a:pt x="0" y="158"/>
                  </a:lnTo>
                  <a:lnTo>
                    <a:pt x="2" y="162"/>
                  </a:lnTo>
                  <a:lnTo>
                    <a:pt x="4" y="166"/>
                  </a:lnTo>
                  <a:lnTo>
                    <a:pt x="10" y="184"/>
                  </a:lnTo>
                  <a:lnTo>
                    <a:pt x="12" y="190"/>
                  </a:lnTo>
                  <a:lnTo>
                    <a:pt x="16" y="198"/>
                  </a:lnTo>
                  <a:lnTo>
                    <a:pt x="16" y="196"/>
                  </a:lnTo>
                  <a:lnTo>
                    <a:pt x="20" y="202"/>
                  </a:lnTo>
                  <a:lnTo>
                    <a:pt x="26" y="204"/>
                  </a:lnTo>
                  <a:lnTo>
                    <a:pt x="34" y="210"/>
                  </a:lnTo>
                  <a:lnTo>
                    <a:pt x="34" y="214"/>
                  </a:lnTo>
                  <a:lnTo>
                    <a:pt x="40" y="224"/>
                  </a:lnTo>
                  <a:lnTo>
                    <a:pt x="40" y="234"/>
                  </a:lnTo>
                  <a:lnTo>
                    <a:pt x="44" y="238"/>
                  </a:lnTo>
                  <a:lnTo>
                    <a:pt x="50" y="240"/>
                  </a:lnTo>
                  <a:lnTo>
                    <a:pt x="52" y="234"/>
                  </a:lnTo>
                  <a:lnTo>
                    <a:pt x="52" y="226"/>
                  </a:lnTo>
                  <a:lnTo>
                    <a:pt x="52" y="216"/>
                  </a:lnTo>
                  <a:lnTo>
                    <a:pt x="54" y="208"/>
                  </a:lnTo>
                  <a:lnTo>
                    <a:pt x="58" y="200"/>
                  </a:lnTo>
                  <a:lnTo>
                    <a:pt x="62" y="19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8" name="Google Shape;4895;p64">
              <a:extLst>
                <a:ext uri="{FF2B5EF4-FFF2-40B4-BE49-F238E27FC236}">
                  <a16:creationId xmlns:a16="http://schemas.microsoft.com/office/drawing/2014/main" id="{4E60D50D-2873-8BFC-99F3-06570591D539}"/>
                </a:ext>
              </a:extLst>
            </p:cNvPr>
            <p:cNvSpPr/>
            <p:nvPr/>
          </p:nvSpPr>
          <p:spPr>
            <a:xfrm>
              <a:off x="5161592" y="5011108"/>
              <a:ext cx="233649" cy="232335"/>
            </a:xfrm>
            <a:custGeom>
              <a:avLst/>
              <a:gdLst/>
              <a:ahLst/>
              <a:cxnLst/>
              <a:rect l="l" t="t" r="r" b="b"/>
              <a:pathLst>
                <a:path w="1696388" h="1686854" extrusionOk="0">
                  <a:moveTo>
                    <a:pt x="1610612" y="1043562"/>
                  </a:moveTo>
                  <a:lnTo>
                    <a:pt x="1610612" y="1053094"/>
                  </a:lnTo>
                  <a:lnTo>
                    <a:pt x="1596316" y="1081684"/>
                  </a:lnTo>
                  <a:lnTo>
                    <a:pt x="1586788" y="1081684"/>
                  </a:lnTo>
                  <a:lnTo>
                    <a:pt x="1582024" y="1095978"/>
                  </a:lnTo>
                  <a:lnTo>
                    <a:pt x="1572492" y="1095978"/>
                  </a:lnTo>
                  <a:lnTo>
                    <a:pt x="1567728" y="1095978"/>
                  </a:lnTo>
                  <a:lnTo>
                    <a:pt x="1562964" y="1086448"/>
                  </a:lnTo>
                  <a:lnTo>
                    <a:pt x="1572492" y="1081684"/>
                  </a:lnTo>
                  <a:lnTo>
                    <a:pt x="1582024" y="1072154"/>
                  </a:lnTo>
                  <a:lnTo>
                    <a:pt x="1601084" y="1053094"/>
                  </a:lnTo>
                  <a:close/>
                  <a:moveTo>
                    <a:pt x="1520076" y="738594"/>
                  </a:moveTo>
                  <a:lnTo>
                    <a:pt x="1524840" y="752890"/>
                  </a:lnTo>
                  <a:lnTo>
                    <a:pt x="1524840" y="776716"/>
                  </a:lnTo>
                  <a:lnTo>
                    <a:pt x="1539136" y="800542"/>
                  </a:lnTo>
                  <a:lnTo>
                    <a:pt x="1543904" y="810072"/>
                  </a:lnTo>
                  <a:lnTo>
                    <a:pt x="1548668" y="810072"/>
                  </a:lnTo>
                  <a:lnTo>
                    <a:pt x="1558196" y="843428"/>
                  </a:lnTo>
                  <a:lnTo>
                    <a:pt x="1558196" y="848192"/>
                  </a:lnTo>
                  <a:lnTo>
                    <a:pt x="1548668" y="852958"/>
                  </a:lnTo>
                  <a:lnTo>
                    <a:pt x="1543904" y="852958"/>
                  </a:lnTo>
                  <a:lnTo>
                    <a:pt x="1539136" y="848192"/>
                  </a:lnTo>
                  <a:lnTo>
                    <a:pt x="1534372" y="838662"/>
                  </a:lnTo>
                  <a:lnTo>
                    <a:pt x="1529608" y="838662"/>
                  </a:lnTo>
                  <a:lnTo>
                    <a:pt x="1520076" y="829132"/>
                  </a:lnTo>
                  <a:lnTo>
                    <a:pt x="1505780" y="824368"/>
                  </a:lnTo>
                  <a:lnTo>
                    <a:pt x="1496252" y="810072"/>
                  </a:lnTo>
                  <a:lnTo>
                    <a:pt x="1501016" y="795776"/>
                  </a:lnTo>
                  <a:lnTo>
                    <a:pt x="1501016" y="771950"/>
                  </a:lnTo>
                  <a:lnTo>
                    <a:pt x="1510548" y="757656"/>
                  </a:lnTo>
                  <a:close/>
                  <a:moveTo>
                    <a:pt x="1605848" y="609938"/>
                  </a:moveTo>
                  <a:lnTo>
                    <a:pt x="1605848" y="619468"/>
                  </a:lnTo>
                  <a:lnTo>
                    <a:pt x="1601084" y="628998"/>
                  </a:lnTo>
                  <a:lnTo>
                    <a:pt x="1605848" y="648058"/>
                  </a:lnTo>
                  <a:lnTo>
                    <a:pt x="1601084" y="667118"/>
                  </a:lnTo>
                  <a:lnTo>
                    <a:pt x="1596320" y="686178"/>
                  </a:lnTo>
                  <a:lnTo>
                    <a:pt x="1586788" y="695710"/>
                  </a:lnTo>
                  <a:lnTo>
                    <a:pt x="1582024" y="690944"/>
                  </a:lnTo>
                  <a:lnTo>
                    <a:pt x="1577260" y="690944"/>
                  </a:lnTo>
                  <a:lnTo>
                    <a:pt x="1572492" y="686178"/>
                  </a:lnTo>
                  <a:lnTo>
                    <a:pt x="1577260" y="643292"/>
                  </a:lnTo>
                  <a:lnTo>
                    <a:pt x="1577260" y="614702"/>
                  </a:lnTo>
                  <a:lnTo>
                    <a:pt x="1591552" y="619468"/>
                  </a:lnTo>
                  <a:close/>
                  <a:moveTo>
                    <a:pt x="347856" y="185840"/>
                  </a:moveTo>
                  <a:lnTo>
                    <a:pt x="352620" y="190606"/>
                  </a:lnTo>
                  <a:lnTo>
                    <a:pt x="357384" y="200136"/>
                  </a:lnTo>
                  <a:lnTo>
                    <a:pt x="362152" y="200136"/>
                  </a:lnTo>
                  <a:lnTo>
                    <a:pt x="371680" y="200136"/>
                  </a:lnTo>
                  <a:lnTo>
                    <a:pt x="381212" y="195370"/>
                  </a:lnTo>
                  <a:lnTo>
                    <a:pt x="385976" y="200136"/>
                  </a:lnTo>
                  <a:lnTo>
                    <a:pt x="385976" y="209666"/>
                  </a:lnTo>
                  <a:lnTo>
                    <a:pt x="381212" y="209666"/>
                  </a:lnTo>
                  <a:lnTo>
                    <a:pt x="371680" y="214430"/>
                  </a:lnTo>
                  <a:lnTo>
                    <a:pt x="362152" y="214430"/>
                  </a:lnTo>
                  <a:lnTo>
                    <a:pt x="362152" y="223960"/>
                  </a:lnTo>
                  <a:lnTo>
                    <a:pt x="352620" y="228726"/>
                  </a:lnTo>
                  <a:lnTo>
                    <a:pt x="352620" y="214430"/>
                  </a:lnTo>
                  <a:lnTo>
                    <a:pt x="343092" y="204900"/>
                  </a:lnTo>
                  <a:lnTo>
                    <a:pt x="343092" y="195370"/>
                  </a:lnTo>
                  <a:close/>
                  <a:moveTo>
                    <a:pt x="514636" y="142954"/>
                  </a:moveTo>
                  <a:lnTo>
                    <a:pt x="524164" y="142954"/>
                  </a:lnTo>
                  <a:lnTo>
                    <a:pt x="528928" y="152484"/>
                  </a:lnTo>
                  <a:lnTo>
                    <a:pt x="538460" y="152484"/>
                  </a:lnTo>
                  <a:lnTo>
                    <a:pt x="547992" y="152484"/>
                  </a:lnTo>
                  <a:lnTo>
                    <a:pt x="552756" y="157250"/>
                  </a:lnTo>
                  <a:lnTo>
                    <a:pt x="552756" y="166780"/>
                  </a:lnTo>
                  <a:lnTo>
                    <a:pt x="562284" y="176310"/>
                  </a:lnTo>
                  <a:lnTo>
                    <a:pt x="557520" y="181074"/>
                  </a:lnTo>
                  <a:lnTo>
                    <a:pt x="552756" y="181074"/>
                  </a:lnTo>
                  <a:lnTo>
                    <a:pt x="543224" y="176310"/>
                  </a:lnTo>
                  <a:lnTo>
                    <a:pt x="528928" y="171544"/>
                  </a:lnTo>
                  <a:lnTo>
                    <a:pt x="514636" y="171544"/>
                  </a:lnTo>
                  <a:lnTo>
                    <a:pt x="509868" y="166780"/>
                  </a:lnTo>
                  <a:lnTo>
                    <a:pt x="509868" y="152484"/>
                  </a:lnTo>
                  <a:lnTo>
                    <a:pt x="505104" y="147720"/>
                  </a:lnTo>
                  <a:close/>
                  <a:moveTo>
                    <a:pt x="181076" y="0"/>
                  </a:moveTo>
                  <a:lnTo>
                    <a:pt x="190604" y="0"/>
                  </a:lnTo>
                  <a:lnTo>
                    <a:pt x="195372" y="0"/>
                  </a:lnTo>
                  <a:lnTo>
                    <a:pt x="343092" y="0"/>
                  </a:lnTo>
                  <a:lnTo>
                    <a:pt x="347856" y="4766"/>
                  </a:lnTo>
                  <a:lnTo>
                    <a:pt x="352620" y="4766"/>
                  </a:lnTo>
                  <a:lnTo>
                    <a:pt x="352620" y="14296"/>
                  </a:lnTo>
                  <a:lnTo>
                    <a:pt x="347856" y="57182"/>
                  </a:lnTo>
                  <a:lnTo>
                    <a:pt x="347856" y="66712"/>
                  </a:lnTo>
                  <a:lnTo>
                    <a:pt x="338324" y="76242"/>
                  </a:lnTo>
                  <a:lnTo>
                    <a:pt x="324028" y="147718"/>
                  </a:lnTo>
                  <a:lnTo>
                    <a:pt x="324028" y="157250"/>
                  </a:lnTo>
                  <a:lnTo>
                    <a:pt x="324028" y="166780"/>
                  </a:lnTo>
                  <a:lnTo>
                    <a:pt x="324028" y="200136"/>
                  </a:lnTo>
                  <a:lnTo>
                    <a:pt x="328796" y="209666"/>
                  </a:lnTo>
                  <a:lnTo>
                    <a:pt x="333560" y="209666"/>
                  </a:lnTo>
                  <a:lnTo>
                    <a:pt x="338324" y="219196"/>
                  </a:lnTo>
                  <a:lnTo>
                    <a:pt x="343092" y="223960"/>
                  </a:lnTo>
                  <a:lnTo>
                    <a:pt x="343092" y="228726"/>
                  </a:lnTo>
                  <a:lnTo>
                    <a:pt x="333560" y="238256"/>
                  </a:lnTo>
                  <a:lnTo>
                    <a:pt x="333560" y="243022"/>
                  </a:lnTo>
                  <a:lnTo>
                    <a:pt x="338324" y="247786"/>
                  </a:lnTo>
                  <a:lnTo>
                    <a:pt x="347856" y="252552"/>
                  </a:lnTo>
                  <a:lnTo>
                    <a:pt x="343092" y="266848"/>
                  </a:lnTo>
                  <a:lnTo>
                    <a:pt x="343092" y="271612"/>
                  </a:lnTo>
                  <a:lnTo>
                    <a:pt x="343092" y="281142"/>
                  </a:lnTo>
                  <a:lnTo>
                    <a:pt x="347856" y="281142"/>
                  </a:lnTo>
                  <a:lnTo>
                    <a:pt x="352620" y="266848"/>
                  </a:lnTo>
                  <a:lnTo>
                    <a:pt x="357384" y="266848"/>
                  </a:lnTo>
                  <a:lnTo>
                    <a:pt x="362152" y="262082"/>
                  </a:lnTo>
                  <a:lnTo>
                    <a:pt x="371680" y="276378"/>
                  </a:lnTo>
                  <a:lnTo>
                    <a:pt x="376444" y="276378"/>
                  </a:lnTo>
                  <a:lnTo>
                    <a:pt x="371680" y="262082"/>
                  </a:lnTo>
                  <a:lnTo>
                    <a:pt x="371680" y="252552"/>
                  </a:lnTo>
                  <a:lnTo>
                    <a:pt x="371680" y="243022"/>
                  </a:lnTo>
                  <a:lnTo>
                    <a:pt x="381212" y="238256"/>
                  </a:lnTo>
                  <a:lnTo>
                    <a:pt x="395508" y="238256"/>
                  </a:lnTo>
                  <a:lnTo>
                    <a:pt x="400272" y="238256"/>
                  </a:lnTo>
                  <a:lnTo>
                    <a:pt x="400272" y="233492"/>
                  </a:lnTo>
                  <a:lnTo>
                    <a:pt x="390740" y="219196"/>
                  </a:lnTo>
                  <a:lnTo>
                    <a:pt x="395508" y="214430"/>
                  </a:lnTo>
                  <a:lnTo>
                    <a:pt x="405036" y="214430"/>
                  </a:lnTo>
                  <a:lnTo>
                    <a:pt x="409800" y="204900"/>
                  </a:lnTo>
                  <a:lnTo>
                    <a:pt x="414568" y="200136"/>
                  </a:lnTo>
                  <a:lnTo>
                    <a:pt x="419332" y="200136"/>
                  </a:lnTo>
                  <a:lnTo>
                    <a:pt x="424096" y="204900"/>
                  </a:lnTo>
                  <a:lnTo>
                    <a:pt x="433628" y="219196"/>
                  </a:lnTo>
                  <a:lnTo>
                    <a:pt x="438392" y="223960"/>
                  </a:lnTo>
                  <a:lnTo>
                    <a:pt x="443156" y="223960"/>
                  </a:lnTo>
                  <a:lnTo>
                    <a:pt x="457452" y="228726"/>
                  </a:lnTo>
                  <a:lnTo>
                    <a:pt x="462220" y="228726"/>
                  </a:lnTo>
                  <a:lnTo>
                    <a:pt x="462220" y="233492"/>
                  </a:lnTo>
                  <a:lnTo>
                    <a:pt x="462220" y="238256"/>
                  </a:lnTo>
                  <a:lnTo>
                    <a:pt x="476512" y="223960"/>
                  </a:lnTo>
                  <a:lnTo>
                    <a:pt x="481280" y="228726"/>
                  </a:lnTo>
                  <a:lnTo>
                    <a:pt x="481280" y="233492"/>
                  </a:lnTo>
                  <a:lnTo>
                    <a:pt x="486044" y="233492"/>
                  </a:lnTo>
                  <a:lnTo>
                    <a:pt x="495576" y="238256"/>
                  </a:lnTo>
                  <a:lnTo>
                    <a:pt x="505104" y="238256"/>
                  </a:lnTo>
                  <a:lnTo>
                    <a:pt x="505104" y="243022"/>
                  </a:lnTo>
                  <a:lnTo>
                    <a:pt x="505104" y="257316"/>
                  </a:lnTo>
                  <a:lnTo>
                    <a:pt x="509868" y="276378"/>
                  </a:lnTo>
                  <a:lnTo>
                    <a:pt x="509868" y="281142"/>
                  </a:lnTo>
                  <a:lnTo>
                    <a:pt x="495576" y="290672"/>
                  </a:lnTo>
                  <a:lnTo>
                    <a:pt x="495576" y="300202"/>
                  </a:lnTo>
                  <a:lnTo>
                    <a:pt x="495576" y="309734"/>
                  </a:lnTo>
                  <a:lnTo>
                    <a:pt x="500340" y="309734"/>
                  </a:lnTo>
                  <a:lnTo>
                    <a:pt x="514636" y="290672"/>
                  </a:lnTo>
                  <a:lnTo>
                    <a:pt x="524164" y="290672"/>
                  </a:lnTo>
                  <a:lnTo>
                    <a:pt x="524164" y="285908"/>
                  </a:lnTo>
                  <a:lnTo>
                    <a:pt x="514636" y="262082"/>
                  </a:lnTo>
                  <a:lnTo>
                    <a:pt x="514636" y="233492"/>
                  </a:lnTo>
                  <a:lnTo>
                    <a:pt x="519400" y="228726"/>
                  </a:lnTo>
                  <a:lnTo>
                    <a:pt x="524164" y="223960"/>
                  </a:lnTo>
                  <a:lnTo>
                    <a:pt x="533696" y="219196"/>
                  </a:lnTo>
                  <a:lnTo>
                    <a:pt x="543224" y="219196"/>
                  </a:lnTo>
                  <a:lnTo>
                    <a:pt x="567052" y="233492"/>
                  </a:lnTo>
                  <a:lnTo>
                    <a:pt x="595640" y="238256"/>
                  </a:lnTo>
                  <a:lnTo>
                    <a:pt x="600408" y="238256"/>
                  </a:lnTo>
                  <a:lnTo>
                    <a:pt x="600408" y="233492"/>
                  </a:lnTo>
                  <a:lnTo>
                    <a:pt x="600408" y="228726"/>
                  </a:lnTo>
                  <a:lnTo>
                    <a:pt x="614704" y="223960"/>
                  </a:lnTo>
                  <a:lnTo>
                    <a:pt x="624232" y="209666"/>
                  </a:lnTo>
                  <a:lnTo>
                    <a:pt x="652824" y="195370"/>
                  </a:lnTo>
                  <a:lnTo>
                    <a:pt x="657588" y="185840"/>
                  </a:lnTo>
                  <a:lnTo>
                    <a:pt x="657588" y="181074"/>
                  </a:lnTo>
                  <a:lnTo>
                    <a:pt x="657588" y="176310"/>
                  </a:lnTo>
                  <a:lnTo>
                    <a:pt x="648060" y="171544"/>
                  </a:lnTo>
                  <a:lnTo>
                    <a:pt x="624232" y="181074"/>
                  </a:lnTo>
                  <a:lnTo>
                    <a:pt x="614704" y="181074"/>
                  </a:lnTo>
                  <a:lnTo>
                    <a:pt x="576580" y="176310"/>
                  </a:lnTo>
                  <a:lnTo>
                    <a:pt x="567052" y="171544"/>
                  </a:lnTo>
                  <a:lnTo>
                    <a:pt x="567052" y="166780"/>
                  </a:lnTo>
                  <a:lnTo>
                    <a:pt x="581348" y="162014"/>
                  </a:lnTo>
                  <a:lnTo>
                    <a:pt x="590876" y="162014"/>
                  </a:lnTo>
                  <a:lnTo>
                    <a:pt x="595640" y="157250"/>
                  </a:lnTo>
                  <a:lnTo>
                    <a:pt x="614704" y="157250"/>
                  </a:lnTo>
                  <a:lnTo>
                    <a:pt x="614704" y="152484"/>
                  </a:lnTo>
                  <a:lnTo>
                    <a:pt x="609936" y="147718"/>
                  </a:lnTo>
                  <a:lnTo>
                    <a:pt x="605172" y="142954"/>
                  </a:lnTo>
                  <a:lnTo>
                    <a:pt x="600408" y="142954"/>
                  </a:lnTo>
                  <a:lnTo>
                    <a:pt x="581348" y="142954"/>
                  </a:lnTo>
                  <a:lnTo>
                    <a:pt x="586112" y="133424"/>
                  </a:lnTo>
                  <a:lnTo>
                    <a:pt x="590876" y="128658"/>
                  </a:lnTo>
                  <a:lnTo>
                    <a:pt x="595640" y="128658"/>
                  </a:lnTo>
                  <a:lnTo>
                    <a:pt x="609936" y="128658"/>
                  </a:lnTo>
                  <a:lnTo>
                    <a:pt x="619468" y="123894"/>
                  </a:lnTo>
                  <a:lnTo>
                    <a:pt x="624232" y="119128"/>
                  </a:lnTo>
                  <a:lnTo>
                    <a:pt x="624232" y="109598"/>
                  </a:lnTo>
                  <a:lnTo>
                    <a:pt x="638528" y="100068"/>
                  </a:lnTo>
                  <a:lnTo>
                    <a:pt x="638528" y="95302"/>
                  </a:lnTo>
                  <a:lnTo>
                    <a:pt x="633764" y="90538"/>
                  </a:lnTo>
                  <a:lnTo>
                    <a:pt x="638528" y="81008"/>
                  </a:lnTo>
                  <a:lnTo>
                    <a:pt x="638528" y="76242"/>
                  </a:lnTo>
                  <a:lnTo>
                    <a:pt x="648060" y="76242"/>
                  </a:lnTo>
                  <a:lnTo>
                    <a:pt x="657588" y="76242"/>
                  </a:lnTo>
                  <a:lnTo>
                    <a:pt x="671884" y="81008"/>
                  </a:lnTo>
                  <a:lnTo>
                    <a:pt x="676648" y="81008"/>
                  </a:lnTo>
                  <a:lnTo>
                    <a:pt x="676648" y="76242"/>
                  </a:lnTo>
                  <a:lnTo>
                    <a:pt x="662352" y="66712"/>
                  </a:lnTo>
                  <a:lnTo>
                    <a:pt x="657588" y="61946"/>
                  </a:lnTo>
                  <a:lnTo>
                    <a:pt x="662352" y="61946"/>
                  </a:lnTo>
                  <a:lnTo>
                    <a:pt x="662352" y="57182"/>
                  </a:lnTo>
                  <a:lnTo>
                    <a:pt x="662352" y="52416"/>
                  </a:lnTo>
                  <a:lnTo>
                    <a:pt x="681416" y="52416"/>
                  </a:lnTo>
                  <a:lnTo>
                    <a:pt x="676648" y="42886"/>
                  </a:lnTo>
                  <a:lnTo>
                    <a:pt x="671884" y="38122"/>
                  </a:lnTo>
                  <a:lnTo>
                    <a:pt x="676648" y="28590"/>
                  </a:lnTo>
                  <a:lnTo>
                    <a:pt x="695708" y="4766"/>
                  </a:lnTo>
                  <a:lnTo>
                    <a:pt x="710004" y="14296"/>
                  </a:lnTo>
                  <a:lnTo>
                    <a:pt x="743360" y="33356"/>
                  </a:lnTo>
                  <a:lnTo>
                    <a:pt x="776716" y="52416"/>
                  </a:lnTo>
                  <a:lnTo>
                    <a:pt x="810072" y="71476"/>
                  </a:lnTo>
                  <a:lnTo>
                    <a:pt x="876784" y="104832"/>
                  </a:lnTo>
                  <a:lnTo>
                    <a:pt x="910140" y="123894"/>
                  </a:lnTo>
                  <a:lnTo>
                    <a:pt x="976852" y="162014"/>
                  </a:lnTo>
                  <a:lnTo>
                    <a:pt x="1010208" y="181074"/>
                  </a:lnTo>
                  <a:lnTo>
                    <a:pt x="1043564" y="200136"/>
                  </a:lnTo>
                  <a:lnTo>
                    <a:pt x="1076920" y="219196"/>
                  </a:lnTo>
                  <a:lnTo>
                    <a:pt x="1110276" y="238256"/>
                  </a:lnTo>
                  <a:lnTo>
                    <a:pt x="1143632" y="257316"/>
                  </a:lnTo>
                  <a:lnTo>
                    <a:pt x="1176988" y="276378"/>
                  </a:lnTo>
                  <a:lnTo>
                    <a:pt x="1210344" y="290672"/>
                  </a:lnTo>
                  <a:lnTo>
                    <a:pt x="1243700" y="309734"/>
                  </a:lnTo>
                  <a:lnTo>
                    <a:pt x="1257996" y="319264"/>
                  </a:lnTo>
                  <a:lnTo>
                    <a:pt x="1262760" y="324028"/>
                  </a:lnTo>
                  <a:lnTo>
                    <a:pt x="1262760" y="338324"/>
                  </a:lnTo>
                  <a:lnTo>
                    <a:pt x="1262760" y="352620"/>
                  </a:lnTo>
                  <a:lnTo>
                    <a:pt x="1262760" y="362150"/>
                  </a:lnTo>
                  <a:lnTo>
                    <a:pt x="1253228" y="376446"/>
                  </a:lnTo>
                  <a:lnTo>
                    <a:pt x="1253228" y="385976"/>
                  </a:lnTo>
                  <a:lnTo>
                    <a:pt x="1253228" y="390740"/>
                  </a:lnTo>
                  <a:lnTo>
                    <a:pt x="1262760" y="395506"/>
                  </a:lnTo>
                  <a:lnTo>
                    <a:pt x="1267524" y="395506"/>
                  </a:lnTo>
                  <a:lnTo>
                    <a:pt x="1272288" y="400270"/>
                  </a:lnTo>
                  <a:lnTo>
                    <a:pt x="1277056" y="414566"/>
                  </a:lnTo>
                  <a:lnTo>
                    <a:pt x="1281820" y="419332"/>
                  </a:lnTo>
                  <a:lnTo>
                    <a:pt x="1296116" y="428862"/>
                  </a:lnTo>
                  <a:lnTo>
                    <a:pt x="1319940" y="443156"/>
                  </a:lnTo>
                  <a:lnTo>
                    <a:pt x="1367592" y="481278"/>
                  </a:lnTo>
                  <a:lnTo>
                    <a:pt x="1391416" y="495574"/>
                  </a:lnTo>
                  <a:lnTo>
                    <a:pt x="1415244" y="514634"/>
                  </a:lnTo>
                  <a:lnTo>
                    <a:pt x="1439068" y="533694"/>
                  </a:lnTo>
                  <a:lnTo>
                    <a:pt x="1462896" y="547990"/>
                  </a:lnTo>
                  <a:lnTo>
                    <a:pt x="1501016" y="576580"/>
                  </a:lnTo>
                  <a:lnTo>
                    <a:pt x="1505780" y="576580"/>
                  </a:lnTo>
                  <a:lnTo>
                    <a:pt x="1501016" y="590876"/>
                  </a:lnTo>
                  <a:lnTo>
                    <a:pt x="1486720" y="624232"/>
                  </a:lnTo>
                  <a:lnTo>
                    <a:pt x="1486720" y="633762"/>
                  </a:lnTo>
                  <a:lnTo>
                    <a:pt x="1481956" y="652822"/>
                  </a:lnTo>
                  <a:lnTo>
                    <a:pt x="1477192" y="662352"/>
                  </a:lnTo>
                  <a:lnTo>
                    <a:pt x="1467660" y="705238"/>
                  </a:lnTo>
                  <a:lnTo>
                    <a:pt x="1458128" y="724300"/>
                  </a:lnTo>
                  <a:lnTo>
                    <a:pt x="1439068" y="762420"/>
                  </a:lnTo>
                  <a:lnTo>
                    <a:pt x="1439068" y="795776"/>
                  </a:lnTo>
                  <a:lnTo>
                    <a:pt x="1448600" y="814836"/>
                  </a:lnTo>
                  <a:lnTo>
                    <a:pt x="1448600" y="833898"/>
                  </a:lnTo>
                  <a:lnTo>
                    <a:pt x="1467660" y="852958"/>
                  </a:lnTo>
                  <a:lnTo>
                    <a:pt x="1481956" y="862488"/>
                  </a:lnTo>
                  <a:lnTo>
                    <a:pt x="1486720" y="872018"/>
                  </a:lnTo>
                  <a:lnTo>
                    <a:pt x="1505780" y="891078"/>
                  </a:lnTo>
                  <a:lnTo>
                    <a:pt x="1515312" y="910140"/>
                  </a:lnTo>
                  <a:lnTo>
                    <a:pt x="1543900" y="919670"/>
                  </a:lnTo>
                  <a:lnTo>
                    <a:pt x="1553432" y="943496"/>
                  </a:lnTo>
                  <a:lnTo>
                    <a:pt x="1548668" y="957790"/>
                  </a:lnTo>
                  <a:lnTo>
                    <a:pt x="1539136" y="972086"/>
                  </a:lnTo>
                  <a:lnTo>
                    <a:pt x="1524840" y="995912"/>
                  </a:lnTo>
                  <a:lnTo>
                    <a:pt x="1515312" y="1019738"/>
                  </a:lnTo>
                  <a:lnTo>
                    <a:pt x="1515312" y="1062624"/>
                  </a:lnTo>
                  <a:lnTo>
                    <a:pt x="1520076" y="1057858"/>
                  </a:lnTo>
                  <a:lnTo>
                    <a:pt x="1534372" y="1067388"/>
                  </a:lnTo>
                  <a:lnTo>
                    <a:pt x="1539136" y="1100744"/>
                  </a:lnTo>
                  <a:lnTo>
                    <a:pt x="1524840" y="1134100"/>
                  </a:lnTo>
                  <a:lnTo>
                    <a:pt x="1520076" y="1153160"/>
                  </a:lnTo>
                  <a:lnTo>
                    <a:pt x="1515312" y="1167456"/>
                  </a:lnTo>
                  <a:lnTo>
                    <a:pt x="1529608" y="1210342"/>
                  </a:lnTo>
                  <a:lnTo>
                    <a:pt x="1543900" y="1234168"/>
                  </a:lnTo>
                  <a:lnTo>
                    <a:pt x="1543900" y="1238934"/>
                  </a:lnTo>
                  <a:lnTo>
                    <a:pt x="1539136" y="1248464"/>
                  </a:lnTo>
                  <a:lnTo>
                    <a:pt x="1567728" y="1286584"/>
                  </a:lnTo>
                  <a:lnTo>
                    <a:pt x="1567728" y="1319940"/>
                  </a:lnTo>
                  <a:lnTo>
                    <a:pt x="1577256" y="1348530"/>
                  </a:lnTo>
                  <a:lnTo>
                    <a:pt x="1582024" y="1372356"/>
                  </a:lnTo>
                  <a:lnTo>
                    <a:pt x="1591552" y="1386652"/>
                  </a:lnTo>
                  <a:lnTo>
                    <a:pt x="1591552" y="1400948"/>
                  </a:lnTo>
                  <a:lnTo>
                    <a:pt x="1582024" y="1415242"/>
                  </a:lnTo>
                  <a:lnTo>
                    <a:pt x="1605848" y="1415242"/>
                  </a:lnTo>
                  <a:lnTo>
                    <a:pt x="1615380" y="1429538"/>
                  </a:lnTo>
                  <a:lnTo>
                    <a:pt x="1624908" y="1439068"/>
                  </a:lnTo>
                  <a:lnTo>
                    <a:pt x="1639204" y="1439068"/>
                  </a:lnTo>
                  <a:lnTo>
                    <a:pt x="1648736" y="1443834"/>
                  </a:lnTo>
                  <a:lnTo>
                    <a:pt x="1658264" y="1453364"/>
                  </a:lnTo>
                  <a:lnTo>
                    <a:pt x="1686856" y="1472424"/>
                  </a:lnTo>
                  <a:lnTo>
                    <a:pt x="1691620" y="1477190"/>
                  </a:lnTo>
                  <a:lnTo>
                    <a:pt x="1696388" y="1481954"/>
                  </a:lnTo>
                  <a:lnTo>
                    <a:pt x="1696388" y="1486720"/>
                  </a:lnTo>
                  <a:lnTo>
                    <a:pt x="1682092" y="1501014"/>
                  </a:lnTo>
                  <a:lnTo>
                    <a:pt x="1653500" y="1524840"/>
                  </a:lnTo>
                  <a:lnTo>
                    <a:pt x="1624908" y="1543902"/>
                  </a:lnTo>
                  <a:lnTo>
                    <a:pt x="1596320" y="1558196"/>
                  </a:lnTo>
                  <a:lnTo>
                    <a:pt x="1577256" y="1567726"/>
                  </a:lnTo>
                  <a:lnTo>
                    <a:pt x="1558196" y="1567726"/>
                  </a:lnTo>
                  <a:lnTo>
                    <a:pt x="1539136" y="1577258"/>
                  </a:lnTo>
                  <a:lnTo>
                    <a:pt x="1520076" y="1591552"/>
                  </a:lnTo>
                  <a:lnTo>
                    <a:pt x="1496252" y="1601082"/>
                  </a:lnTo>
                  <a:lnTo>
                    <a:pt x="1467660" y="1601082"/>
                  </a:lnTo>
                  <a:lnTo>
                    <a:pt x="1439068" y="1610614"/>
                  </a:lnTo>
                  <a:lnTo>
                    <a:pt x="1405712" y="1629674"/>
                  </a:lnTo>
                  <a:lnTo>
                    <a:pt x="1391416" y="1639204"/>
                  </a:lnTo>
                  <a:lnTo>
                    <a:pt x="1362828" y="1624908"/>
                  </a:lnTo>
                  <a:lnTo>
                    <a:pt x="1339000" y="1615378"/>
                  </a:lnTo>
                  <a:lnTo>
                    <a:pt x="1315176" y="1615378"/>
                  </a:lnTo>
                  <a:lnTo>
                    <a:pt x="1300880" y="1620144"/>
                  </a:lnTo>
                  <a:lnTo>
                    <a:pt x="1296116" y="1624908"/>
                  </a:lnTo>
                  <a:lnTo>
                    <a:pt x="1291352" y="1634438"/>
                  </a:lnTo>
                  <a:lnTo>
                    <a:pt x="1286584" y="1648734"/>
                  </a:lnTo>
                  <a:lnTo>
                    <a:pt x="1272288" y="1667794"/>
                  </a:lnTo>
                  <a:lnTo>
                    <a:pt x="1243700" y="1682090"/>
                  </a:lnTo>
                  <a:lnTo>
                    <a:pt x="1215108" y="1686854"/>
                  </a:lnTo>
                  <a:lnTo>
                    <a:pt x="1191284" y="1682090"/>
                  </a:lnTo>
                  <a:lnTo>
                    <a:pt x="1176988" y="1677324"/>
                  </a:lnTo>
                  <a:lnTo>
                    <a:pt x="1167456" y="1667794"/>
                  </a:lnTo>
                  <a:lnTo>
                    <a:pt x="1153160" y="1663030"/>
                  </a:lnTo>
                  <a:lnTo>
                    <a:pt x="1138868" y="1663030"/>
                  </a:lnTo>
                  <a:lnTo>
                    <a:pt x="1119804" y="1667794"/>
                  </a:lnTo>
                  <a:lnTo>
                    <a:pt x="1105512" y="1682090"/>
                  </a:lnTo>
                  <a:lnTo>
                    <a:pt x="1081684" y="1686854"/>
                  </a:lnTo>
                  <a:lnTo>
                    <a:pt x="1048328" y="1686854"/>
                  </a:lnTo>
                  <a:lnTo>
                    <a:pt x="1029268" y="1677324"/>
                  </a:lnTo>
                  <a:lnTo>
                    <a:pt x="1029268" y="1667794"/>
                  </a:lnTo>
                  <a:lnTo>
                    <a:pt x="1014972" y="1658264"/>
                  </a:lnTo>
                  <a:lnTo>
                    <a:pt x="986384" y="1643968"/>
                  </a:lnTo>
                  <a:lnTo>
                    <a:pt x="967320" y="1643968"/>
                  </a:lnTo>
                  <a:lnTo>
                    <a:pt x="953028" y="1658264"/>
                  </a:lnTo>
                  <a:lnTo>
                    <a:pt x="943496" y="1667794"/>
                  </a:lnTo>
                  <a:lnTo>
                    <a:pt x="933964" y="1667794"/>
                  </a:lnTo>
                  <a:lnTo>
                    <a:pt x="924436" y="1667794"/>
                  </a:lnTo>
                  <a:lnTo>
                    <a:pt x="914904" y="1667794"/>
                  </a:lnTo>
                  <a:lnTo>
                    <a:pt x="910140" y="1667794"/>
                  </a:lnTo>
                  <a:lnTo>
                    <a:pt x="872020" y="1663030"/>
                  </a:lnTo>
                  <a:lnTo>
                    <a:pt x="838664" y="1663030"/>
                  </a:lnTo>
                  <a:lnTo>
                    <a:pt x="838664" y="1658264"/>
                  </a:lnTo>
                  <a:lnTo>
                    <a:pt x="833900" y="1648734"/>
                  </a:lnTo>
                  <a:lnTo>
                    <a:pt x="829132" y="1634438"/>
                  </a:lnTo>
                  <a:lnTo>
                    <a:pt x="819604" y="1629674"/>
                  </a:lnTo>
                  <a:lnTo>
                    <a:pt x="814836" y="1624908"/>
                  </a:lnTo>
                  <a:lnTo>
                    <a:pt x="810072" y="1629674"/>
                  </a:lnTo>
                  <a:lnTo>
                    <a:pt x="805308" y="1620144"/>
                  </a:lnTo>
                  <a:lnTo>
                    <a:pt x="800544" y="1610614"/>
                  </a:lnTo>
                  <a:lnTo>
                    <a:pt x="795776" y="1601082"/>
                  </a:lnTo>
                  <a:lnTo>
                    <a:pt x="786248" y="1591552"/>
                  </a:lnTo>
                  <a:lnTo>
                    <a:pt x="781480" y="1586788"/>
                  </a:lnTo>
                  <a:lnTo>
                    <a:pt x="781480" y="1577258"/>
                  </a:lnTo>
                  <a:lnTo>
                    <a:pt x="781480" y="1572492"/>
                  </a:lnTo>
                  <a:lnTo>
                    <a:pt x="791012" y="1553432"/>
                  </a:lnTo>
                  <a:lnTo>
                    <a:pt x="791012" y="1539136"/>
                  </a:lnTo>
                  <a:lnTo>
                    <a:pt x="791012" y="1524840"/>
                  </a:lnTo>
                  <a:lnTo>
                    <a:pt x="786248" y="1515310"/>
                  </a:lnTo>
                  <a:lnTo>
                    <a:pt x="781480" y="1496250"/>
                  </a:lnTo>
                  <a:lnTo>
                    <a:pt x="781480" y="1491484"/>
                  </a:lnTo>
                  <a:lnTo>
                    <a:pt x="776716" y="1481954"/>
                  </a:lnTo>
                  <a:lnTo>
                    <a:pt x="776716" y="1472424"/>
                  </a:lnTo>
                  <a:lnTo>
                    <a:pt x="781480" y="1462894"/>
                  </a:lnTo>
                  <a:lnTo>
                    <a:pt x="776716" y="1453364"/>
                  </a:lnTo>
                  <a:lnTo>
                    <a:pt x="771952" y="1424774"/>
                  </a:lnTo>
                  <a:lnTo>
                    <a:pt x="771952" y="1420008"/>
                  </a:lnTo>
                  <a:lnTo>
                    <a:pt x="762420" y="1405712"/>
                  </a:lnTo>
                  <a:lnTo>
                    <a:pt x="738596" y="1377122"/>
                  </a:lnTo>
                  <a:lnTo>
                    <a:pt x="738596" y="1372356"/>
                  </a:lnTo>
                  <a:lnTo>
                    <a:pt x="700476" y="1339000"/>
                  </a:lnTo>
                  <a:lnTo>
                    <a:pt x="686180" y="1334236"/>
                  </a:lnTo>
                  <a:lnTo>
                    <a:pt x="681416" y="1339000"/>
                  </a:lnTo>
                  <a:lnTo>
                    <a:pt x="681416" y="1343766"/>
                  </a:lnTo>
                  <a:lnTo>
                    <a:pt x="681416" y="1353296"/>
                  </a:lnTo>
                  <a:lnTo>
                    <a:pt x="681416" y="1358062"/>
                  </a:lnTo>
                  <a:lnTo>
                    <a:pt x="681416" y="1362826"/>
                  </a:lnTo>
                  <a:lnTo>
                    <a:pt x="671884" y="1362826"/>
                  </a:lnTo>
                  <a:lnTo>
                    <a:pt x="667120" y="1358062"/>
                  </a:lnTo>
                  <a:lnTo>
                    <a:pt x="652824" y="1353296"/>
                  </a:lnTo>
                  <a:lnTo>
                    <a:pt x="643292" y="1348530"/>
                  </a:lnTo>
                  <a:lnTo>
                    <a:pt x="614704" y="1353296"/>
                  </a:lnTo>
                  <a:lnTo>
                    <a:pt x="605172" y="1353296"/>
                  </a:lnTo>
                  <a:lnTo>
                    <a:pt x="600408" y="1353296"/>
                  </a:lnTo>
                  <a:lnTo>
                    <a:pt x="586112" y="1339000"/>
                  </a:lnTo>
                  <a:lnTo>
                    <a:pt x="567052" y="1334236"/>
                  </a:lnTo>
                  <a:lnTo>
                    <a:pt x="552756" y="1334236"/>
                  </a:lnTo>
                  <a:lnTo>
                    <a:pt x="528932" y="1319940"/>
                  </a:lnTo>
                  <a:lnTo>
                    <a:pt x="524164" y="1319940"/>
                  </a:lnTo>
                  <a:lnTo>
                    <a:pt x="519400" y="1319940"/>
                  </a:lnTo>
                  <a:lnTo>
                    <a:pt x="509868" y="1315176"/>
                  </a:lnTo>
                  <a:lnTo>
                    <a:pt x="495576" y="1305644"/>
                  </a:lnTo>
                  <a:lnTo>
                    <a:pt x="471748" y="1296114"/>
                  </a:lnTo>
                  <a:lnTo>
                    <a:pt x="452688" y="1286584"/>
                  </a:lnTo>
                  <a:lnTo>
                    <a:pt x="443156" y="1281820"/>
                  </a:lnTo>
                  <a:lnTo>
                    <a:pt x="424096" y="1277054"/>
                  </a:lnTo>
                  <a:lnTo>
                    <a:pt x="409800" y="1277054"/>
                  </a:lnTo>
                  <a:lnTo>
                    <a:pt x="395508" y="1267524"/>
                  </a:lnTo>
                  <a:lnTo>
                    <a:pt x="381212" y="1267524"/>
                  </a:lnTo>
                  <a:lnTo>
                    <a:pt x="366916" y="1262758"/>
                  </a:lnTo>
                  <a:lnTo>
                    <a:pt x="362152" y="1257994"/>
                  </a:lnTo>
                  <a:lnTo>
                    <a:pt x="362152" y="1248464"/>
                  </a:lnTo>
                  <a:lnTo>
                    <a:pt x="357384" y="1243698"/>
                  </a:lnTo>
                  <a:lnTo>
                    <a:pt x="347856" y="1238934"/>
                  </a:lnTo>
                  <a:lnTo>
                    <a:pt x="338324" y="1238934"/>
                  </a:lnTo>
                  <a:lnTo>
                    <a:pt x="328796" y="1243698"/>
                  </a:lnTo>
                  <a:lnTo>
                    <a:pt x="324028" y="1238934"/>
                  </a:lnTo>
                  <a:lnTo>
                    <a:pt x="314500" y="1234168"/>
                  </a:lnTo>
                  <a:lnTo>
                    <a:pt x="304968" y="1224638"/>
                  </a:lnTo>
                  <a:lnTo>
                    <a:pt x="304968" y="1210342"/>
                  </a:lnTo>
                  <a:lnTo>
                    <a:pt x="290672" y="1200812"/>
                  </a:lnTo>
                  <a:lnTo>
                    <a:pt x="276376" y="1196046"/>
                  </a:lnTo>
                  <a:lnTo>
                    <a:pt x="247788" y="1196046"/>
                  </a:lnTo>
                  <a:lnTo>
                    <a:pt x="247788" y="1191282"/>
                  </a:lnTo>
                  <a:lnTo>
                    <a:pt x="243020" y="1186516"/>
                  </a:lnTo>
                  <a:lnTo>
                    <a:pt x="243020" y="1176986"/>
                  </a:lnTo>
                  <a:lnTo>
                    <a:pt x="243020" y="1167456"/>
                  </a:lnTo>
                  <a:lnTo>
                    <a:pt x="233492" y="1157926"/>
                  </a:lnTo>
                  <a:lnTo>
                    <a:pt x="223960" y="1143630"/>
                  </a:lnTo>
                  <a:lnTo>
                    <a:pt x="214432" y="1134100"/>
                  </a:lnTo>
                  <a:lnTo>
                    <a:pt x="214432" y="1129336"/>
                  </a:lnTo>
                  <a:lnTo>
                    <a:pt x="209664" y="1124570"/>
                  </a:lnTo>
                  <a:lnTo>
                    <a:pt x="214432" y="1119804"/>
                  </a:lnTo>
                  <a:lnTo>
                    <a:pt x="214432" y="1115040"/>
                  </a:lnTo>
                  <a:lnTo>
                    <a:pt x="209664" y="1115040"/>
                  </a:lnTo>
                  <a:lnTo>
                    <a:pt x="204900" y="1110274"/>
                  </a:lnTo>
                  <a:lnTo>
                    <a:pt x="204900" y="1105510"/>
                  </a:lnTo>
                  <a:lnTo>
                    <a:pt x="190604" y="1081684"/>
                  </a:lnTo>
                  <a:lnTo>
                    <a:pt x="176308" y="1048328"/>
                  </a:lnTo>
                  <a:lnTo>
                    <a:pt x="166780" y="1038798"/>
                  </a:lnTo>
                  <a:lnTo>
                    <a:pt x="157248" y="1024502"/>
                  </a:lnTo>
                  <a:lnTo>
                    <a:pt x="157248" y="1014972"/>
                  </a:lnTo>
                  <a:lnTo>
                    <a:pt x="157248" y="1000676"/>
                  </a:lnTo>
                  <a:lnTo>
                    <a:pt x="152484" y="981616"/>
                  </a:lnTo>
                  <a:lnTo>
                    <a:pt x="147720" y="967320"/>
                  </a:lnTo>
                  <a:lnTo>
                    <a:pt x="142952" y="957790"/>
                  </a:lnTo>
                  <a:lnTo>
                    <a:pt x="147720" y="957790"/>
                  </a:lnTo>
                  <a:lnTo>
                    <a:pt x="152484" y="948260"/>
                  </a:lnTo>
                  <a:lnTo>
                    <a:pt x="152484" y="938730"/>
                  </a:lnTo>
                  <a:lnTo>
                    <a:pt x="147720" y="929200"/>
                  </a:lnTo>
                  <a:lnTo>
                    <a:pt x="133424" y="914904"/>
                  </a:lnTo>
                  <a:lnTo>
                    <a:pt x="123892" y="905374"/>
                  </a:lnTo>
                  <a:lnTo>
                    <a:pt x="119128" y="891078"/>
                  </a:lnTo>
                  <a:lnTo>
                    <a:pt x="109596" y="881548"/>
                  </a:lnTo>
                  <a:lnTo>
                    <a:pt x="90536" y="862488"/>
                  </a:lnTo>
                  <a:lnTo>
                    <a:pt x="90536" y="857722"/>
                  </a:lnTo>
                  <a:lnTo>
                    <a:pt x="85772" y="857722"/>
                  </a:lnTo>
                  <a:lnTo>
                    <a:pt x="76244" y="852958"/>
                  </a:lnTo>
                  <a:lnTo>
                    <a:pt x="66712" y="857722"/>
                  </a:lnTo>
                  <a:lnTo>
                    <a:pt x="57180" y="862488"/>
                  </a:lnTo>
                  <a:lnTo>
                    <a:pt x="57180" y="857722"/>
                  </a:lnTo>
                  <a:lnTo>
                    <a:pt x="38120" y="843428"/>
                  </a:lnTo>
                  <a:lnTo>
                    <a:pt x="23824" y="829132"/>
                  </a:lnTo>
                  <a:lnTo>
                    <a:pt x="19060" y="819602"/>
                  </a:lnTo>
                  <a:lnTo>
                    <a:pt x="19060" y="814836"/>
                  </a:lnTo>
                  <a:lnTo>
                    <a:pt x="19060" y="795776"/>
                  </a:lnTo>
                  <a:lnTo>
                    <a:pt x="23824" y="786246"/>
                  </a:lnTo>
                  <a:lnTo>
                    <a:pt x="28592" y="781480"/>
                  </a:lnTo>
                  <a:lnTo>
                    <a:pt x="33356" y="781480"/>
                  </a:lnTo>
                  <a:lnTo>
                    <a:pt x="42888" y="781480"/>
                  </a:lnTo>
                  <a:lnTo>
                    <a:pt x="52416" y="771950"/>
                  </a:lnTo>
                  <a:lnTo>
                    <a:pt x="57180" y="767186"/>
                  </a:lnTo>
                  <a:lnTo>
                    <a:pt x="57180" y="762420"/>
                  </a:lnTo>
                  <a:lnTo>
                    <a:pt x="52416" y="748124"/>
                  </a:lnTo>
                  <a:lnTo>
                    <a:pt x="42888" y="724300"/>
                  </a:lnTo>
                  <a:lnTo>
                    <a:pt x="33356" y="710004"/>
                  </a:lnTo>
                  <a:lnTo>
                    <a:pt x="28592" y="700474"/>
                  </a:lnTo>
                  <a:lnTo>
                    <a:pt x="23824" y="690944"/>
                  </a:lnTo>
                  <a:lnTo>
                    <a:pt x="28592" y="681414"/>
                  </a:lnTo>
                  <a:lnTo>
                    <a:pt x="28592" y="667118"/>
                  </a:lnTo>
                  <a:lnTo>
                    <a:pt x="33356" y="667118"/>
                  </a:lnTo>
                  <a:lnTo>
                    <a:pt x="33356" y="652822"/>
                  </a:lnTo>
                  <a:lnTo>
                    <a:pt x="33356" y="648058"/>
                  </a:lnTo>
                  <a:lnTo>
                    <a:pt x="33356" y="643292"/>
                  </a:lnTo>
                  <a:lnTo>
                    <a:pt x="33356" y="633762"/>
                  </a:lnTo>
                  <a:lnTo>
                    <a:pt x="23824" y="624232"/>
                  </a:lnTo>
                  <a:lnTo>
                    <a:pt x="14296" y="614702"/>
                  </a:lnTo>
                  <a:lnTo>
                    <a:pt x="9532" y="614702"/>
                  </a:lnTo>
                  <a:lnTo>
                    <a:pt x="4764" y="609936"/>
                  </a:lnTo>
                  <a:lnTo>
                    <a:pt x="0" y="609936"/>
                  </a:lnTo>
                  <a:lnTo>
                    <a:pt x="4764" y="605172"/>
                  </a:lnTo>
                  <a:lnTo>
                    <a:pt x="4764" y="590876"/>
                  </a:lnTo>
                  <a:lnTo>
                    <a:pt x="9532" y="547990"/>
                  </a:lnTo>
                  <a:lnTo>
                    <a:pt x="9532" y="538460"/>
                  </a:lnTo>
                  <a:lnTo>
                    <a:pt x="19060" y="538460"/>
                  </a:lnTo>
                  <a:lnTo>
                    <a:pt x="28592" y="533694"/>
                  </a:lnTo>
                  <a:lnTo>
                    <a:pt x="57180" y="519398"/>
                  </a:lnTo>
                  <a:lnTo>
                    <a:pt x="85772" y="481278"/>
                  </a:lnTo>
                  <a:lnTo>
                    <a:pt x="95304" y="466982"/>
                  </a:lnTo>
                  <a:lnTo>
                    <a:pt x="104832" y="447922"/>
                  </a:lnTo>
                  <a:lnTo>
                    <a:pt x="119128" y="433626"/>
                  </a:lnTo>
                  <a:lnTo>
                    <a:pt x="123892" y="428862"/>
                  </a:lnTo>
                  <a:lnTo>
                    <a:pt x="128660" y="414566"/>
                  </a:lnTo>
                  <a:lnTo>
                    <a:pt x="128660" y="405036"/>
                  </a:lnTo>
                  <a:lnTo>
                    <a:pt x="147720" y="390740"/>
                  </a:lnTo>
                  <a:lnTo>
                    <a:pt x="162016" y="376446"/>
                  </a:lnTo>
                  <a:lnTo>
                    <a:pt x="162016" y="371680"/>
                  </a:lnTo>
                  <a:lnTo>
                    <a:pt x="162016" y="366914"/>
                  </a:lnTo>
                  <a:lnTo>
                    <a:pt x="171544" y="362150"/>
                  </a:lnTo>
                  <a:lnTo>
                    <a:pt x="185840" y="357384"/>
                  </a:lnTo>
                  <a:lnTo>
                    <a:pt x="190604" y="343090"/>
                  </a:lnTo>
                  <a:lnTo>
                    <a:pt x="190604" y="328794"/>
                  </a:lnTo>
                  <a:lnTo>
                    <a:pt x="185840" y="324028"/>
                  </a:lnTo>
                  <a:lnTo>
                    <a:pt x="190604" y="314498"/>
                  </a:lnTo>
                  <a:lnTo>
                    <a:pt x="185840" y="309734"/>
                  </a:lnTo>
                  <a:lnTo>
                    <a:pt x="176308" y="309734"/>
                  </a:lnTo>
                  <a:lnTo>
                    <a:pt x="157248" y="304968"/>
                  </a:lnTo>
                  <a:lnTo>
                    <a:pt x="142952" y="300202"/>
                  </a:lnTo>
                  <a:lnTo>
                    <a:pt x="133424" y="295438"/>
                  </a:lnTo>
                  <a:lnTo>
                    <a:pt x="133424" y="290672"/>
                  </a:lnTo>
                  <a:lnTo>
                    <a:pt x="128660" y="285908"/>
                  </a:lnTo>
                  <a:lnTo>
                    <a:pt x="133424" y="276378"/>
                  </a:lnTo>
                  <a:lnTo>
                    <a:pt x="138188" y="266848"/>
                  </a:lnTo>
                  <a:lnTo>
                    <a:pt x="133424" y="257316"/>
                  </a:lnTo>
                  <a:lnTo>
                    <a:pt x="128660" y="257316"/>
                  </a:lnTo>
                  <a:lnTo>
                    <a:pt x="133424" y="252552"/>
                  </a:lnTo>
                  <a:lnTo>
                    <a:pt x="147720" y="223960"/>
                  </a:lnTo>
                  <a:lnTo>
                    <a:pt x="152484" y="219196"/>
                  </a:lnTo>
                  <a:lnTo>
                    <a:pt x="157248" y="219196"/>
                  </a:lnTo>
                  <a:lnTo>
                    <a:pt x="166780" y="214430"/>
                  </a:lnTo>
                  <a:lnTo>
                    <a:pt x="176308" y="214430"/>
                  </a:lnTo>
                  <a:lnTo>
                    <a:pt x="181076" y="214430"/>
                  </a:lnTo>
                  <a:lnTo>
                    <a:pt x="190604" y="214430"/>
                  </a:lnTo>
                  <a:lnTo>
                    <a:pt x="195372" y="209666"/>
                  </a:lnTo>
                  <a:lnTo>
                    <a:pt x="195372" y="200136"/>
                  </a:lnTo>
                  <a:lnTo>
                    <a:pt x="200136" y="181074"/>
                  </a:lnTo>
                  <a:lnTo>
                    <a:pt x="200136" y="162014"/>
                  </a:lnTo>
                  <a:lnTo>
                    <a:pt x="190604" y="152484"/>
                  </a:lnTo>
                  <a:lnTo>
                    <a:pt x="190604" y="133424"/>
                  </a:lnTo>
                  <a:lnTo>
                    <a:pt x="195372" y="109598"/>
                  </a:lnTo>
                  <a:lnTo>
                    <a:pt x="190604" y="85772"/>
                  </a:lnTo>
                  <a:lnTo>
                    <a:pt x="181076" y="71476"/>
                  </a:lnTo>
                  <a:lnTo>
                    <a:pt x="176308" y="61946"/>
                  </a:lnTo>
                  <a:lnTo>
                    <a:pt x="162016" y="57182"/>
                  </a:lnTo>
                  <a:lnTo>
                    <a:pt x="142952" y="33356"/>
                  </a:lnTo>
                  <a:lnTo>
                    <a:pt x="138188" y="19060"/>
                  </a:lnTo>
                  <a:lnTo>
                    <a:pt x="138188" y="14296"/>
                  </a:lnTo>
                  <a:lnTo>
                    <a:pt x="142952" y="9530"/>
                  </a:lnTo>
                  <a:lnTo>
                    <a:pt x="157248" y="9530"/>
                  </a:lnTo>
                  <a:lnTo>
                    <a:pt x="16678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29" name="Google Shape;4896;p64">
              <a:extLst>
                <a:ext uri="{FF2B5EF4-FFF2-40B4-BE49-F238E27FC236}">
                  <a16:creationId xmlns:a16="http://schemas.microsoft.com/office/drawing/2014/main" id="{8643B49A-F2B2-E5FC-B2FE-5B74EC6C56D1}"/>
                </a:ext>
              </a:extLst>
            </p:cNvPr>
            <p:cNvSpPr/>
            <p:nvPr/>
          </p:nvSpPr>
          <p:spPr>
            <a:xfrm>
              <a:off x="5160936" y="4898879"/>
              <a:ext cx="116824" cy="122075"/>
            </a:xfrm>
            <a:custGeom>
              <a:avLst/>
              <a:gdLst/>
              <a:ahLst/>
              <a:cxnLst/>
              <a:rect l="l" t="t" r="r" b="b"/>
              <a:pathLst>
                <a:path w="848192" h="886314" extrusionOk="0">
                  <a:moveTo>
                    <a:pt x="395504" y="695708"/>
                  </a:moveTo>
                  <a:lnTo>
                    <a:pt x="405036" y="695708"/>
                  </a:lnTo>
                  <a:lnTo>
                    <a:pt x="409800" y="695708"/>
                  </a:lnTo>
                  <a:lnTo>
                    <a:pt x="409800" y="705238"/>
                  </a:lnTo>
                  <a:lnTo>
                    <a:pt x="409800" y="710004"/>
                  </a:lnTo>
                  <a:lnTo>
                    <a:pt x="424096" y="705238"/>
                  </a:lnTo>
                  <a:lnTo>
                    <a:pt x="428860" y="710004"/>
                  </a:lnTo>
                  <a:lnTo>
                    <a:pt x="428860" y="719534"/>
                  </a:lnTo>
                  <a:lnTo>
                    <a:pt x="424096" y="733828"/>
                  </a:lnTo>
                  <a:lnTo>
                    <a:pt x="400272" y="743358"/>
                  </a:lnTo>
                  <a:lnTo>
                    <a:pt x="405036" y="733828"/>
                  </a:lnTo>
                  <a:lnTo>
                    <a:pt x="405036" y="729064"/>
                  </a:lnTo>
                  <a:lnTo>
                    <a:pt x="414564" y="719534"/>
                  </a:lnTo>
                  <a:lnTo>
                    <a:pt x="414564" y="714768"/>
                  </a:lnTo>
                  <a:lnTo>
                    <a:pt x="400272" y="710004"/>
                  </a:lnTo>
                  <a:lnTo>
                    <a:pt x="395504" y="710004"/>
                  </a:lnTo>
                  <a:lnTo>
                    <a:pt x="395504" y="705238"/>
                  </a:lnTo>
                  <a:lnTo>
                    <a:pt x="390740" y="700474"/>
                  </a:lnTo>
                  <a:close/>
                  <a:moveTo>
                    <a:pt x="586112" y="609936"/>
                  </a:moveTo>
                  <a:lnTo>
                    <a:pt x="600408" y="614702"/>
                  </a:lnTo>
                  <a:lnTo>
                    <a:pt x="595640" y="624232"/>
                  </a:lnTo>
                  <a:lnTo>
                    <a:pt x="586112" y="628996"/>
                  </a:lnTo>
                  <a:lnTo>
                    <a:pt x="586112" y="638526"/>
                  </a:lnTo>
                  <a:lnTo>
                    <a:pt x="590876" y="648058"/>
                  </a:lnTo>
                  <a:lnTo>
                    <a:pt x="581344" y="638526"/>
                  </a:lnTo>
                  <a:lnTo>
                    <a:pt x="576580" y="633762"/>
                  </a:lnTo>
                  <a:lnTo>
                    <a:pt x="567048" y="633762"/>
                  </a:lnTo>
                  <a:lnTo>
                    <a:pt x="567048" y="628996"/>
                  </a:lnTo>
                  <a:lnTo>
                    <a:pt x="571816" y="628996"/>
                  </a:lnTo>
                  <a:lnTo>
                    <a:pt x="571816" y="624232"/>
                  </a:lnTo>
                  <a:lnTo>
                    <a:pt x="571816" y="614702"/>
                  </a:lnTo>
                  <a:close/>
                  <a:moveTo>
                    <a:pt x="690944" y="0"/>
                  </a:moveTo>
                  <a:lnTo>
                    <a:pt x="714768" y="52416"/>
                  </a:lnTo>
                  <a:lnTo>
                    <a:pt x="724300" y="52416"/>
                  </a:lnTo>
                  <a:lnTo>
                    <a:pt x="719536" y="57182"/>
                  </a:lnTo>
                  <a:lnTo>
                    <a:pt x="719536" y="61946"/>
                  </a:lnTo>
                  <a:lnTo>
                    <a:pt x="733828" y="76242"/>
                  </a:lnTo>
                  <a:lnTo>
                    <a:pt x="752892" y="81008"/>
                  </a:lnTo>
                  <a:lnTo>
                    <a:pt x="762420" y="85772"/>
                  </a:lnTo>
                  <a:lnTo>
                    <a:pt x="762420" y="95302"/>
                  </a:lnTo>
                  <a:lnTo>
                    <a:pt x="757656" y="123894"/>
                  </a:lnTo>
                  <a:lnTo>
                    <a:pt x="757656" y="133424"/>
                  </a:lnTo>
                  <a:lnTo>
                    <a:pt x="762420" y="162014"/>
                  </a:lnTo>
                  <a:lnTo>
                    <a:pt x="776716" y="171544"/>
                  </a:lnTo>
                  <a:lnTo>
                    <a:pt x="786248" y="200136"/>
                  </a:lnTo>
                  <a:lnTo>
                    <a:pt x="805308" y="214430"/>
                  </a:lnTo>
                  <a:lnTo>
                    <a:pt x="810072" y="219196"/>
                  </a:lnTo>
                  <a:lnTo>
                    <a:pt x="814836" y="233492"/>
                  </a:lnTo>
                  <a:lnTo>
                    <a:pt x="819604" y="247786"/>
                  </a:lnTo>
                  <a:lnTo>
                    <a:pt x="824368" y="252552"/>
                  </a:lnTo>
                  <a:lnTo>
                    <a:pt x="829132" y="252552"/>
                  </a:lnTo>
                  <a:lnTo>
                    <a:pt x="833896" y="271612"/>
                  </a:lnTo>
                  <a:lnTo>
                    <a:pt x="833896" y="281142"/>
                  </a:lnTo>
                  <a:lnTo>
                    <a:pt x="838664" y="309734"/>
                  </a:lnTo>
                  <a:lnTo>
                    <a:pt x="843428" y="338324"/>
                  </a:lnTo>
                  <a:lnTo>
                    <a:pt x="848192" y="366914"/>
                  </a:lnTo>
                  <a:lnTo>
                    <a:pt x="848192" y="381210"/>
                  </a:lnTo>
                  <a:lnTo>
                    <a:pt x="843428" y="390740"/>
                  </a:lnTo>
                  <a:lnTo>
                    <a:pt x="843428" y="400270"/>
                  </a:lnTo>
                  <a:lnTo>
                    <a:pt x="838664" y="409802"/>
                  </a:lnTo>
                  <a:lnTo>
                    <a:pt x="833896" y="414566"/>
                  </a:lnTo>
                  <a:lnTo>
                    <a:pt x="824368" y="424096"/>
                  </a:lnTo>
                  <a:lnTo>
                    <a:pt x="814836" y="443158"/>
                  </a:lnTo>
                  <a:lnTo>
                    <a:pt x="819604" y="462218"/>
                  </a:lnTo>
                  <a:lnTo>
                    <a:pt x="819604" y="466982"/>
                  </a:lnTo>
                  <a:lnTo>
                    <a:pt x="814836" y="466982"/>
                  </a:lnTo>
                  <a:lnTo>
                    <a:pt x="805308" y="466982"/>
                  </a:lnTo>
                  <a:lnTo>
                    <a:pt x="795776" y="471748"/>
                  </a:lnTo>
                  <a:lnTo>
                    <a:pt x="786248" y="476512"/>
                  </a:lnTo>
                  <a:lnTo>
                    <a:pt x="776716" y="486044"/>
                  </a:lnTo>
                  <a:lnTo>
                    <a:pt x="767184" y="495574"/>
                  </a:lnTo>
                  <a:lnTo>
                    <a:pt x="757656" y="524164"/>
                  </a:lnTo>
                  <a:lnTo>
                    <a:pt x="738596" y="543224"/>
                  </a:lnTo>
                  <a:lnTo>
                    <a:pt x="738596" y="552754"/>
                  </a:lnTo>
                  <a:lnTo>
                    <a:pt x="719536" y="562286"/>
                  </a:lnTo>
                  <a:lnTo>
                    <a:pt x="710004" y="581346"/>
                  </a:lnTo>
                  <a:lnTo>
                    <a:pt x="705240" y="600406"/>
                  </a:lnTo>
                  <a:lnTo>
                    <a:pt x="700472" y="614702"/>
                  </a:lnTo>
                  <a:lnTo>
                    <a:pt x="690944" y="624232"/>
                  </a:lnTo>
                  <a:lnTo>
                    <a:pt x="686180" y="624232"/>
                  </a:lnTo>
                  <a:lnTo>
                    <a:pt x="671884" y="628998"/>
                  </a:lnTo>
                  <a:lnTo>
                    <a:pt x="652824" y="624232"/>
                  </a:lnTo>
                  <a:lnTo>
                    <a:pt x="648056" y="609936"/>
                  </a:lnTo>
                  <a:lnTo>
                    <a:pt x="643292" y="609936"/>
                  </a:lnTo>
                  <a:lnTo>
                    <a:pt x="638528" y="609936"/>
                  </a:lnTo>
                  <a:lnTo>
                    <a:pt x="628996" y="624232"/>
                  </a:lnTo>
                  <a:lnTo>
                    <a:pt x="619468" y="624232"/>
                  </a:lnTo>
                  <a:lnTo>
                    <a:pt x="614700" y="624232"/>
                  </a:lnTo>
                  <a:lnTo>
                    <a:pt x="605172" y="619466"/>
                  </a:lnTo>
                  <a:lnTo>
                    <a:pt x="605172" y="614702"/>
                  </a:lnTo>
                  <a:lnTo>
                    <a:pt x="614700" y="614702"/>
                  </a:lnTo>
                  <a:lnTo>
                    <a:pt x="614700" y="609936"/>
                  </a:lnTo>
                  <a:lnTo>
                    <a:pt x="609936" y="605172"/>
                  </a:lnTo>
                  <a:lnTo>
                    <a:pt x="590876" y="605172"/>
                  </a:lnTo>
                  <a:lnTo>
                    <a:pt x="590876" y="600406"/>
                  </a:lnTo>
                  <a:lnTo>
                    <a:pt x="595640" y="586110"/>
                  </a:lnTo>
                  <a:lnTo>
                    <a:pt x="586112" y="586110"/>
                  </a:lnTo>
                  <a:lnTo>
                    <a:pt x="581344" y="586110"/>
                  </a:lnTo>
                  <a:lnTo>
                    <a:pt x="576580" y="586110"/>
                  </a:lnTo>
                  <a:lnTo>
                    <a:pt x="567052" y="590876"/>
                  </a:lnTo>
                  <a:lnTo>
                    <a:pt x="567052" y="595642"/>
                  </a:lnTo>
                  <a:lnTo>
                    <a:pt x="557520" y="619466"/>
                  </a:lnTo>
                  <a:lnTo>
                    <a:pt x="547988" y="619466"/>
                  </a:lnTo>
                  <a:lnTo>
                    <a:pt x="547988" y="628998"/>
                  </a:lnTo>
                  <a:lnTo>
                    <a:pt x="538460" y="633762"/>
                  </a:lnTo>
                  <a:lnTo>
                    <a:pt x="528928" y="643292"/>
                  </a:lnTo>
                  <a:lnTo>
                    <a:pt x="524164" y="643292"/>
                  </a:lnTo>
                  <a:lnTo>
                    <a:pt x="519400" y="643292"/>
                  </a:lnTo>
                  <a:lnTo>
                    <a:pt x="519400" y="633762"/>
                  </a:lnTo>
                  <a:lnTo>
                    <a:pt x="514632" y="633762"/>
                  </a:lnTo>
                  <a:lnTo>
                    <a:pt x="505104" y="638528"/>
                  </a:lnTo>
                  <a:lnTo>
                    <a:pt x="495572" y="643292"/>
                  </a:lnTo>
                  <a:lnTo>
                    <a:pt x="490808" y="643292"/>
                  </a:lnTo>
                  <a:lnTo>
                    <a:pt x="486044" y="638528"/>
                  </a:lnTo>
                  <a:lnTo>
                    <a:pt x="490808" y="628998"/>
                  </a:lnTo>
                  <a:lnTo>
                    <a:pt x="486044" y="628998"/>
                  </a:lnTo>
                  <a:lnTo>
                    <a:pt x="481280" y="619466"/>
                  </a:lnTo>
                  <a:lnTo>
                    <a:pt x="476512" y="624232"/>
                  </a:lnTo>
                  <a:lnTo>
                    <a:pt x="471748" y="628998"/>
                  </a:lnTo>
                  <a:lnTo>
                    <a:pt x="466984" y="643292"/>
                  </a:lnTo>
                  <a:lnTo>
                    <a:pt x="462216" y="648058"/>
                  </a:lnTo>
                  <a:lnTo>
                    <a:pt x="457452" y="652822"/>
                  </a:lnTo>
                  <a:lnTo>
                    <a:pt x="452688" y="648058"/>
                  </a:lnTo>
                  <a:lnTo>
                    <a:pt x="447924" y="643292"/>
                  </a:lnTo>
                  <a:lnTo>
                    <a:pt x="443156" y="648058"/>
                  </a:lnTo>
                  <a:lnTo>
                    <a:pt x="433628" y="657588"/>
                  </a:lnTo>
                  <a:lnTo>
                    <a:pt x="424096" y="657588"/>
                  </a:lnTo>
                  <a:lnTo>
                    <a:pt x="419332" y="657588"/>
                  </a:lnTo>
                  <a:lnTo>
                    <a:pt x="414568" y="657588"/>
                  </a:lnTo>
                  <a:lnTo>
                    <a:pt x="405036" y="667118"/>
                  </a:lnTo>
                  <a:lnTo>
                    <a:pt x="390740" y="667118"/>
                  </a:lnTo>
                  <a:lnTo>
                    <a:pt x="385976" y="671884"/>
                  </a:lnTo>
                  <a:lnTo>
                    <a:pt x="371680" y="681414"/>
                  </a:lnTo>
                  <a:lnTo>
                    <a:pt x="371680" y="686178"/>
                  </a:lnTo>
                  <a:lnTo>
                    <a:pt x="376444" y="690944"/>
                  </a:lnTo>
                  <a:lnTo>
                    <a:pt x="381212" y="700474"/>
                  </a:lnTo>
                  <a:lnTo>
                    <a:pt x="381212" y="710004"/>
                  </a:lnTo>
                  <a:lnTo>
                    <a:pt x="362148" y="733830"/>
                  </a:lnTo>
                  <a:lnTo>
                    <a:pt x="352620" y="748126"/>
                  </a:lnTo>
                  <a:lnTo>
                    <a:pt x="338324" y="781482"/>
                  </a:lnTo>
                  <a:lnTo>
                    <a:pt x="338324" y="791012"/>
                  </a:lnTo>
                  <a:lnTo>
                    <a:pt x="343088" y="795776"/>
                  </a:lnTo>
                  <a:lnTo>
                    <a:pt x="343088" y="805306"/>
                  </a:lnTo>
                  <a:lnTo>
                    <a:pt x="347856" y="814838"/>
                  </a:lnTo>
                  <a:lnTo>
                    <a:pt x="200136" y="814838"/>
                  </a:lnTo>
                  <a:lnTo>
                    <a:pt x="195370" y="814838"/>
                  </a:lnTo>
                  <a:lnTo>
                    <a:pt x="185840" y="814838"/>
                  </a:lnTo>
                  <a:lnTo>
                    <a:pt x="171544" y="824368"/>
                  </a:lnTo>
                  <a:lnTo>
                    <a:pt x="162014" y="824368"/>
                  </a:lnTo>
                  <a:lnTo>
                    <a:pt x="147720" y="824368"/>
                  </a:lnTo>
                  <a:lnTo>
                    <a:pt x="142954" y="824368"/>
                  </a:lnTo>
                  <a:lnTo>
                    <a:pt x="133424" y="824368"/>
                  </a:lnTo>
                  <a:lnTo>
                    <a:pt x="123894" y="824368"/>
                  </a:lnTo>
                  <a:lnTo>
                    <a:pt x="119128" y="833898"/>
                  </a:lnTo>
                  <a:lnTo>
                    <a:pt x="114364" y="843428"/>
                  </a:lnTo>
                  <a:lnTo>
                    <a:pt x="100068" y="852958"/>
                  </a:lnTo>
                  <a:lnTo>
                    <a:pt x="90538" y="867254"/>
                  </a:lnTo>
                  <a:lnTo>
                    <a:pt x="85772" y="872018"/>
                  </a:lnTo>
                  <a:lnTo>
                    <a:pt x="66712" y="886314"/>
                  </a:lnTo>
                  <a:lnTo>
                    <a:pt x="57182" y="886314"/>
                  </a:lnTo>
                  <a:lnTo>
                    <a:pt x="52416" y="886314"/>
                  </a:lnTo>
                  <a:lnTo>
                    <a:pt x="42886" y="872018"/>
                  </a:lnTo>
                  <a:lnTo>
                    <a:pt x="42886" y="867254"/>
                  </a:lnTo>
                  <a:lnTo>
                    <a:pt x="9530" y="876784"/>
                  </a:lnTo>
                  <a:lnTo>
                    <a:pt x="4766" y="876784"/>
                  </a:lnTo>
                  <a:lnTo>
                    <a:pt x="4766" y="872018"/>
                  </a:lnTo>
                  <a:lnTo>
                    <a:pt x="0" y="833898"/>
                  </a:lnTo>
                  <a:lnTo>
                    <a:pt x="0" y="810072"/>
                  </a:lnTo>
                  <a:lnTo>
                    <a:pt x="4766" y="795776"/>
                  </a:lnTo>
                  <a:lnTo>
                    <a:pt x="9530" y="781482"/>
                  </a:lnTo>
                  <a:lnTo>
                    <a:pt x="9530" y="767186"/>
                  </a:lnTo>
                  <a:lnTo>
                    <a:pt x="14296" y="743360"/>
                  </a:lnTo>
                  <a:lnTo>
                    <a:pt x="14296" y="738594"/>
                  </a:lnTo>
                  <a:lnTo>
                    <a:pt x="47652" y="705240"/>
                  </a:lnTo>
                  <a:lnTo>
                    <a:pt x="52416" y="686178"/>
                  </a:lnTo>
                  <a:lnTo>
                    <a:pt x="33356" y="676648"/>
                  </a:lnTo>
                  <a:lnTo>
                    <a:pt x="19060" y="676648"/>
                  </a:lnTo>
                  <a:lnTo>
                    <a:pt x="19060" y="667118"/>
                  </a:lnTo>
                  <a:lnTo>
                    <a:pt x="23826" y="643292"/>
                  </a:lnTo>
                  <a:lnTo>
                    <a:pt x="28590" y="633762"/>
                  </a:lnTo>
                  <a:lnTo>
                    <a:pt x="33356" y="633762"/>
                  </a:lnTo>
                  <a:lnTo>
                    <a:pt x="38122" y="619466"/>
                  </a:lnTo>
                  <a:lnTo>
                    <a:pt x="52416" y="590876"/>
                  </a:lnTo>
                  <a:lnTo>
                    <a:pt x="57182" y="581346"/>
                  </a:lnTo>
                  <a:lnTo>
                    <a:pt x="57182" y="552754"/>
                  </a:lnTo>
                  <a:lnTo>
                    <a:pt x="57182" y="533694"/>
                  </a:lnTo>
                  <a:lnTo>
                    <a:pt x="61946" y="528930"/>
                  </a:lnTo>
                  <a:lnTo>
                    <a:pt x="76242" y="524164"/>
                  </a:lnTo>
                  <a:lnTo>
                    <a:pt x="95302" y="505104"/>
                  </a:lnTo>
                  <a:lnTo>
                    <a:pt x="104832" y="486044"/>
                  </a:lnTo>
                  <a:lnTo>
                    <a:pt x="119128" y="471748"/>
                  </a:lnTo>
                  <a:lnTo>
                    <a:pt x="142954" y="466982"/>
                  </a:lnTo>
                  <a:lnTo>
                    <a:pt x="147720" y="466982"/>
                  </a:lnTo>
                  <a:lnTo>
                    <a:pt x="147720" y="471748"/>
                  </a:lnTo>
                  <a:lnTo>
                    <a:pt x="142954" y="471748"/>
                  </a:lnTo>
                  <a:lnTo>
                    <a:pt x="142954" y="476512"/>
                  </a:lnTo>
                  <a:lnTo>
                    <a:pt x="147720" y="486044"/>
                  </a:lnTo>
                  <a:lnTo>
                    <a:pt x="147720" y="495574"/>
                  </a:lnTo>
                  <a:lnTo>
                    <a:pt x="152484" y="500338"/>
                  </a:lnTo>
                  <a:lnTo>
                    <a:pt x="162014" y="495574"/>
                  </a:lnTo>
                  <a:lnTo>
                    <a:pt x="181074" y="471748"/>
                  </a:lnTo>
                  <a:lnTo>
                    <a:pt x="181074" y="466982"/>
                  </a:lnTo>
                  <a:lnTo>
                    <a:pt x="190606" y="452688"/>
                  </a:lnTo>
                  <a:lnTo>
                    <a:pt x="209666" y="433626"/>
                  </a:lnTo>
                  <a:lnTo>
                    <a:pt x="219196" y="419332"/>
                  </a:lnTo>
                  <a:lnTo>
                    <a:pt x="228726" y="419332"/>
                  </a:lnTo>
                  <a:lnTo>
                    <a:pt x="233492" y="414566"/>
                  </a:lnTo>
                  <a:lnTo>
                    <a:pt x="243022" y="409802"/>
                  </a:lnTo>
                  <a:lnTo>
                    <a:pt x="252552" y="409802"/>
                  </a:lnTo>
                  <a:lnTo>
                    <a:pt x="266848" y="395506"/>
                  </a:lnTo>
                  <a:lnTo>
                    <a:pt x="271612" y="385976"/>
                  </a:lnTo>
                  <a:lnTo>
                    <a:pt x="276378" y="376446"/>
                  </a:lnTo>
                  <a:lnTo>
                    <a:pt x="276378" y="371680"/>
                  </a:lnTo>
                  <a:lnTo>
                    <a:pt x="281142" y="371680"/>
                  </a:lnTo>
                  <a:lnTo>
                    <a:pt x="285908" y="366914"/>
                  </a:lnTo>
                  <a:lnTo>
                    <a:pt x="285908" y="362150"/>
                  </a:lnTo>
                  <a:lnTo>
                    <a:pt x="285908" y="314498"/>
                  </a:lnTo>
                  <a:lnTo>
                    <a:pt x="285908" y="304968"/>
                  </a:lnTo>
                  <a:lnTo>
                    <a:pt x="300204" y="285908"/>
                  </a:lnTo>
                  <a:lnTo>
                    <a:pt x="300204" y="281142"/>
                  </a:lnTo>
                  <a:lnTo>
                    <a:pt x="290672" y="285908"/>
                  </a:lnTo>
                  <a:lnTo>
                    <a:pt x="276378" y="300204"/>
                  </a:lnTo>
                  <a:lnTo>
                    <a:pt x="271612" y="309734"/>
                  </a:lnTo>
                  <a:lnTo>
                    <a:pt x="266848" y="319264"/>
                  </a:lnTo>
                  <a:lnTo>
                    <a:pt x="262082" y="314498"/>
                  </a:lnTo>
                  <a:lnTo>
                    <a:pt x="252552" y="309734"/>
                  </a:lnTo>
                  <a:lnTo>
                    <a:pt x="252552" y="304968"/>
                  </a:lnTo>
                  <a:lnTo>
                    <a:pt x="247786" y="300204"/>
                  </a:lnTo>
                  <a:lnTo>
                    <a:pt x="238256" y="300204"/>
                  </a:lnTo>
                  <a:lnTo>
                    <a:pt x="233492" y="295438"/>
                  </a:lnTo>
                  <a:lnTo>
                    <a:pt x="223962" y="290672"/>
                  </a:lnTo>
                  <a:lnTo>
                    <a:pt x="219196" y="281142"/>
                  </a:lnTo>
                  <a:lnTo>
                    <a:pt x="200136" y="281142"/>
                  </a:lnTo>
                  <a:lnTo>
                    <a:pt x="181074" y="276378"/>
                  </a:lnTo>
                  <a:lnTo>
                    <a:pt x="181074" y="262082"/>
                  </a:lnTo>
                  <a:lnTo>
                    <a:pt x="190606" y="238256"/>
                  </a:lnTo>
                  <a:lnTo>
                    <a:pt x="200136" y="214430"/>
                  </a:lnTo>
                  <a:lnTo>
                    <a:pt x="200136" y="204900"/>
                  </a:lnTo>
                  <a:lnTo>
                    <a:pt x="200136" y="200136"/>
                  </a:lnTo>
                  <a:lnTo>
                    <a:pt x="195370" y="195370"/>
                  </a:lnTo>
                  <a:lnTo>
                    <a:pt x="190606" y="190606"/>
                  </a:lnTo>
                  <a:lnTo>
                    <a:pt x="185840" y="181074"/>
                  </a:lnTo>
                  <a:lnTo>
                    <a:pt x="190606" y="162014"/>
                  </a:lnTo>
                  <a:lnTo>
                    <a:pt x="200136" y="147718"/>
                  </a:lnTo>
                  <a:lnTo>
                    <a:pt x="204900" y="138188"/>
                  </a:lnTo>
                  <a:lnTo>
                    <a:pt x="209666" y="123894"/>
                  </a:lnTo>
                  <a:lnTo>
                    <a:pt x="209666" y="119128"/>
                  </a:lnTo>
                  <a:lnTo>
                    <a:pt x="200136" y="114364"/>
                  </a:lnTo>
                  <a:lnTo>
                    <a:pt x="204900" y="104832"/>
                  </a:lnTo>
                  <a:lnTo>
                    <a:pt x="214430" y="90538"/>
                  </a:lnTo>
                  <a:lnTo>
                    <a:pt x="233492" y="76242"/>
                  </a:lnTo>
                  <a:lnTo>
                    <a:pt x="247786" y="66712"/>
                  </a:lnTo>
                  <a:lnTo>
                    <a:pt x="257316" y="66712"/>
                  </a:lnTo>
                  <a:lnTo>
                    <a:pt x="281142" y="76242"/>
                  </a:lnTo>
                  <a:lnTo>
                    <a:pt x="300204" y="85772"/>
                  </a:lnTo>
                  <a:lnTo>
                    <a:pt x="309734" y="85772"/>
                  </a:lnTo>
                  <a:lnTo>
                    <a:pt x="324028" y="81008"/>
                  </a:lnTo>
                  <a:lnTo>
                    <a:pt x="347856" y="61946"/>
                  </a:lnTo>
                  <a:lnTo>
                    <a:pt x="357384" y="71476"/>
                  </a:lnTo>
                  <a:lnTo>
                    <a:pt x="362148" y="81008"/>
                  </a:lnTo>
                  <a:lnTo>
                    <a:pt x="371680" y="95302"/>
                  </a:lnTo>
                  <a:lnTo>
                    <a:pt x="390740" y="100068"/>
                  </a:lnTo>
                  <a:lnTo>
                    <a:pt x="395504" y="104832"/>
                  </a:lnTo>
                  <a:lnTo>
                    <a:pt x="400272" y="109598"/>
                  </a:lnTo>
                  <a:lnTo>
                    <a:pt x="405036" y="104832"/>
                  </a:lnTo>
                  <a:lnTo>
                    <a:pt x="409800" y="95302"/>
                  </a:lnTo>
                  <a:lnTo>
                    <a:pt x="419332" y="85772"/>
                  </a:lnTo>
                  <a:lnTo>
                    <a:pt x="433628" y="81008"/>
                  </a:lnTo>
                  <a:lnTo>
                    <a:pt x="466984" y="71476"/>
                  </a:lnTo>
                  <a:lnTo>
                    <a:pt x="486044" y="71476"/>
                  </a:lnTo>
                  <a:lnTo>
                    <a:pt x="495572" y="71476"/>
                  </a:lnTo>
                  <a:lnTo>
                    <a:pt x="509868" y="66712"/>
                  </a:lnTo>
                  <a:lnTo>
                    <a:pt x="538460" y="52416"/>
                  </a:lnTo>
                  <a:lnTo>
                    <a:pt x="562284" y="71476"/>
                  </a:lnTo>
                  <a:lnTo>
                    <a:pt x="586112" y="71476"/>
                  </a:lnTo>
                  <a:lnTo>
                    <a:pt x="614700" y="71476"/>
                  </a:lnTo>
                  <a:lnTo>
                    <a:pt x="619468" y="66712"/>
                  </a:lnTo>
                  <a:lnTo>
                    <a:pt x="624232" y="6194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30" name="Google Shape;4897;p64">
              <a:extLst>
                <a:ext uri="{FF2B5EF4-FFF2-40B4-BE49-F238E27FC236}">
                  <a16:creationId xmlns:a16="http://schemas.microsoft.com/office/drawing/2014/main" id="{8B9F5BC0-8534-EC0E-9D62-6F6618DEB9BA}"/>
                </a:ext>
              </a:extLst>
            </p:cNvPr>
            <p:cNvCxnSpPr/>
            <p:nvPr/>
          </p:nvCxnSpPr>
          <p:spPr>
            <a:xfrm>
              <a:off x="5244943" y="3663695"/>
              <a:ext cx="0" cy="0"/>
            </a:xfrm>
            <a:prstGeom prst="straightConnector1">
              <a:avLst/>
            </a:prstGeom>
            <a:grpFill/>
            <a:ln w="9525" cap="flat" cmpd="sng">
              <a:solidFill>
                <a:schemeClr val="bg2"/>
              </a:solidFill>
              <a:prstDash val="solid"/>
              <a:round/>
              <a:headEnd type="none" w="med" len="med"/>
              <a:tailEnd type="none" w="med" len="med"/>
            </a:ln>
          </p:spPr>
        </p:cxnSp>
        <p:sp>
          <p:nvSpPr>
            <p:cNvPr id="431" name="Google Shape;4898;p64">
              <a:extLst>
                <a:ext uri="{FF2B5EF4-FFF2-40B4-BE49-F238E27FC236}">
                  <a16:creationId xmlns:a16="http://schemas.microsoft.com/office/drawing/2014/main" id="{537E2AD9-EBBE-0300-453E-6171DABBF50B}"/>
                </a:ext>
              </a:extLst>
            </p:cNvPr>
            <p:cNvSpPr/>
            <p:nvPr/>
          </p:nvSpPr>
          <p:spPr>
            <a:xfrm>
              <a:off x="5001451" y="3663039"/>
              <a:ext cx="386570" cy="258587"/>
            </a:xfrm>
            <a:custGeom>
              <a:avLst/>
              <a:gdLst/>
              <a:ahLst/>
              <a:cxnLst/>
              <a:rect l="l" t="t" r="r" b="b"/>
              <a:pathLst>
                <a:path w="2806662" h="1877460" extrusionOk="0">
                  <a:moveTo>
                    <a:pt x="1462894" y="1439068"/>
                  </a:moveTo>
                  <a:lnTo>
                    <a:pt x="1472426" y="1453364"/>
                  </a:lnTo>
                  <a:lnTo>
                    <a:pt x="1481954" y="1458128"/>
                  </a:lnTo>
                  <a:lnTo>
                    <a:pt x="1539138" y="1477188"/>
                  </a:lnTo>
                  <a:lnTo>
                    <a:pt x="1562962" y="1486720"/>
                  </a:lnTo>
                  <a:lnTo>
                    <a:pt x="1539138" y="1481954"/>
                  </a:lnTo>
                  <a:lnTo>
                    <a:pt x="1491486" y="1472424"/>
                  </a:lnTo>
                  <a:lnTo>
                    <a:pt x="1472426" y="1462894"/>
                  </a:lnTo>
                  <a:lnTo>
                    <a:pt x="1467660" y="1453364"/>
                  </a:lnTo>
                  <a:close/>
                  <a:moveTo>
                    <a:pt x="1739270" y="0"/>
                  </a:moveTo>
                  <a:lnTo>
                    <a:pt x="1767862" y="4766"/>
                  </a:lnTo>
                  <a:lnTo>
                    <a:pt x="1791686" y="4766"/>
                  </a:lnTo>
                  <a:lnTo>
                    <a:pt x="1810750" y="0"/>
                  </a:lnTo>
                  <a:lnTo>
                    <a:pt x="1825042" y="9530"/>
                  </a:lnTo>
                  <a:lnTo>
                    <a:pt x="1839338" y="28590"/>
                  </a:lnTo>
                  <a:lnTo>
                    <a:pt x="1853634" y="52416"/>
                  </a:lnTo>
                  <a:lnTo>
                    <a:pt x="1867930" y="95302"/>
                  </a:lnTo>
                  <a:lnTo>
                    <a:pt x="1915582" y="147718"/>
                  </a:lnTo>
                  <a:lnTo>
                    <a:pt x="1915582" y="157250"/>
                  </a:lnTo>
                  <a:lnTo>
                    <a:pt x="1910814" y="162014"/>
                  </a:lnTo>
                  <a:lnTo>
                    <a:pt x="1886990" y="166780"/>
                  </a:lnTo>
                  <a:lnTo>
                    <a:pt x="1867930" y="171544"/>
                  </a:lnTo>
                  <a:lnTo>
                    <a:pt x="1867930" y="181074"/>
                  </a:lnTo>
                  <a:lnTo>
                    <a:pt x="1872694" y="190606"/>
                  </a:lnTo>
                  <a:lnTo>
                    <a:pt x="1882226" y="204900"/>
                  </a:lnTo>
                  <a:lnTo>
                    <a:pt x="1882226" y="219196"/>
                  </a:lnTo>
                  <a:lnTo>
                    <a:pt x="1882226" y="238256"/>
                  </a:lnTo>
                  <a:lnTo>
                    <a:pt x="1886990" y="252552"/>
                  </a:lnTo>
                  <a:lnTo>
                    <a:pt x="1896522" y="257316"/>
                  </a:lnTo>
                  <a:lnTo>
                    <a:pt x="1896522" y="262082"/>
                  </a:lnTo>
                  <a:lnTo>
                    <a:pt x="1886990" y="271612"/>
                  </a:lnTo>
                  <a:lnTo>
                    <a:pt x="1886990" y="276378"/>
                  </a:lnTo>
                  <a:lnTo>
                    <a:pt x="1886990" y="281142"/>
                  </a:lnTo>
                  <a:lnTo>
                    <a:pt x="1929878" y="281142"/>
                  </a:lnTo>
                  <a:lnTo>
                    <a:pt x="1948938" y="290672"/>
                  </a:lnTo>
                  <a:lnTo>
                    <a:pt x="1963234" y="300204"/>
                  </a:lnTo>
                  <a:lnTo>
                    <a:pt x="1972762" y="300204"/>
                  </a:lnTo>
                  <a:lnTo>
                    <a:pt x="1987058" y="295438"/>
                  </a:lnTo>
                  <a:lnTo>
                    <a:pt x="2006118" y="290672"/>
                  </a:lnTo>
                  <a:lnTo>
                    <a:pt x="2015650" y="290672"/>
                  </a:lnTo>
                  <a:lnTo>
                    <a:pt x="2020414" y="295438"/>
                  </a:lnTo>
                  <a:lnTo>
                    <a:pt x="2025178" y="309734"/>
                  </a:lnTo>
                  <a:lnTo>
                    <a:pt x="2034710" y="324028"/>
                  </a:lnTo>
                  <a:lnTo>
                    <a:pt x="2039474" y="328794"/>
                  </a:lnTo>
                  <a:lnTo>
                    <a:pt x="2049006" y="328794"/>
                  </a:lnTo>
                  <a:lnTo>
                    <a:pt x="2058534" y="328794"/>
                  </a:lnTo>
                  <a:lnTo>
                    <a:pt x="2058534" y="338324"/>
                  </a:lnTo>
                  <a:lnTo>
                    <a:pt x="2053770" y="343090"/>
                  </a:lnTo>
                  <a:lnTo>
                    <a:pt x="2058534" y="352620"/>
                  </a:lnTo>
                  <a:lnTo>
                    <a:pt x="2063302" y="366914"/>
                  </a:lnTo>
                  <a:lnTo>
                    <a:pt x="2068066" y="390740"/>
                  </a:lnTo>
                  <a:lnTo>
                    <a:pt x="2072830" y="400270"/>
                  </a:lnTo>
                  <a:lnTo>
                    <a:pt x="2077594" y="409800"/>
                  </a:lnTo>
                  <a:lnTo>
                    <a:pt x="2077594" y="419332"/>
                  </a:lnTo>
                  <a:lnTo>
                    <a:pt x="2072830" y="428862"/>
                  </a:lnTo>
                  <a:lnTo>
                    <a:pt x="2068066" y="438392"/>
                  </a:lnTo>
                  <a:lnTo>
                    <a:pt x="2072830" y="457452"/>
                  </a:lnTo>
                  <a:lnTo>
                    <a:pt x="2082362" y="471748"/>
                  </a:lnTo>
                  <a:lnTo>
                    <a:pt x="2091890" y="481278"/>
                  </a:lnTo>
                  <a:lnTo>
                    <a:pt x="2101422" y="495574"/>
                  </a:lnTo>
                  <a:lnTo>
                    <a:pt x="2110950" y="500338"/>
                  </a:lnTo>
                  <a:lnTo>
                    <a:pt x="2130014" y="486042"/>
                  </a:lnTo>
                  <a:lnTo>
                    <a:pt x="2149074" y="481278"/>
                  </a:lnTo>
                  <a:lnTo>
                    <a:pt x="2163366" y="486042"/>
                  </a:lnTo>
                  <a:lnTo>
                    <a:pt x="2182430" y="486042"/>
                  </a:lnTo>
                  <a:lnTo>
                    <a:pt x="2191958" y="495574"/>
                  </a:lnTo>
                  <a:lnTo>
                    <a:pt x="2201490" y="509868"/>
                  </a:lnTo>
                  <a:lnTo>
                    <a:pt x="2211018" y="519398"/>
                  </a:lnTo>
                  <a:lnTo>
                    <a:pt x="2220550" y="514634"/>
                  </a:lnTo>
                  <a:lnTo>
                    <a:pt x="2239610" y="519398"/>
                  </a:lnTo>
                  <a:lnTo>
                    <a:pt x="2249142" y="528930"/>
                  </a:lnTo>
                  <a:lnTo>
                    <a:pt x="2258670" y="533694"/>
                  </a:lnTo>
                  <a:lnTo>
                    <a:pt x="2272966" y="528930"/>
                  </a:lnTo>
                  <a:lnTo>
                    <a:pt x="2282494" y="514634"/>
                  </a:lnTo>
                  <a:lnTo>
                    <a:pt x="2315854" y="505104"/>
                  </a:lnTo>
                  <a:lnTo>
                    <a:pt x="2339678" y="500338"/>
                  </a:lnTo>
                  <a:lnTo>
                    <a:pt x="2344442" y="500338"/>
                  </a:lnTo>
                  <a:lnTo>
                    <a:pt x="2358738" y="490808"/>
                  </a:lnTo>
                  <a:lnTo>
                    <a:pt x="2373034" y="486042"/>
                  </a:lnTo>
                  <a:lnTo>
                    <a:pt x="2387330" y="486042"/>
                  </a:lnTo>
                  <a:lnTo>
                    <a:pt x="2396858" y="505104"/>
                  </a:lnTo>
                  <a:lnTo>
                    <a:pt x="2411154" y="514634"/>
                  </a:lnTo>
                  <a:lnTo>
                    <a:pt x="2415918" y="533694"/>
                  </a:lnTo>
                  <a:lnTo>
                    <a:pt x="2430214" y="562284"/>
                  </a:lnTo>
                  <a:lnTo>
                    <a:pt x="2468334" y="595640"/>
                  </a:lnTo>
                  <a:lnTo>
                    <a:pt x="2482630" y="605172"/>
                  </a:lnTo>
                  <a:lnTo>
                    <a:pt x="2492162" y="605172"/>
                  </a:lnTo>
                  <a:lnTo>
                    <a:pt x="2501690" y="600406"/>
                  </a:lnTo>
                  <a:lnTo>
                    <a:pt x="2501690" y="595640"/>
                  </a:lnTo>
                  <a:lnTo>
                    <a:pt x="2501690" y="581346"/>
                  </a:lnTo>
                  <a:lnTo>
                    <a:pt x="2506458" y="576580"/>
                  </a:lnTo>
                  <a:lnTo>
                    <a:pt x="2515986" y="576580"/>
                  </a:lnTo>
                  <a:lnTo>
                    <a:pt x="2544578" y="595640"/>
                  </a:lnTo>
                  <a:lnTo>
                    <a:pt x="2563638" y="595640"/>
                  </a:lnTo>
                  <a:lnTo>
                    <a:pt x="2577934" y="600406"/>
                  </a:lnTo>
                  <a:lnTo>
                    <a:pt x="2596994" y="614702"/>
                  </a:lnTo>
                  <a:lnTo>
                    <a:pt x="2620822" y="628996"/>
                  </a:lnTo>
                  <a:lnTo>
                    <a:pt x="2635114" y="628996"/>
                  </a:lnTo>
                  <a:lnTo>
                    <a:pt x="2649410" y="624232"/>
                  </a:lnTo>
                  <a:lnTo>
                    <a:pt x="2658942" y="619466"/>
                  </a:lnTo>
                  <a:lnTo>
                    <a:pt x="2663706" y="628996"/>
                  </a:lnTo>
                  <a:lnTo>
                    <a:pt x="2668470" y="638528"/>
                  </a:lnTo>
                  <a:lnTo>
                    <a:pt x="2678002" y="648058"/>
                  </a:lnTo>
                  <a:lnTo>
                    <a:pt x="2687530" y="652822"/>
                  </a:lnTo>
                  <a:lnTo>
                    <a:pt x="2706594" y="652822"/>
                  </a:lnTo>
                  <a:lnTo>
                    <a:pt x="2730418" y="671882"/>
                  </a:lnTo>
                  <a:lnTo>
                    <a:pt x="2754242" y="690944"/>
                  </a:lnTo>
                  <a:lnTo>
                    <a:pt x="2768538" y="690944"/>
                  </a:lnTo>
                  <a:lnTo>
                    <a:pt x="2782834" y="686178"/>
                  </a:lnTo>
                  <a:lnTo>
                    <a:pt x="2792366" y="686178"/>
                  </a:lnTo>
                  <a:lnTo>
                    <a:pt x="2801894" y="690944"/>
                  </a:lnTo>
                  <a:lnTo>
                    <a:pt x="2801894" y="695708"/>
                  </a:lnTo>
                  <a:lnTo>
                    <a:pt x="2797130" y="710004"/>
                  </a:lnTo>
                  <a:lnTo>
                    <a:pt x="2797130" y="724300"/>
                  </a:lnTo>
                  <a:lnTo>
                    <a:pt x="2806662" y="738594"/>
                  </a:lnTo>
                  <a:lnTo>
                    <a:pt x="2806662" y="752890"/>
                  </a:lnTo>
                  <a:lnTo>
                    <a:pt x="2806662" y="767186"/>
                  </a:lnTo>
                  <a:lnTo>
                    <a:pt x="2797130" y="781480"/>
                  </a:lnTo>
                  <a:lnTo>
                    <a:pt x="2782834" y="795776"/>
                  </a:lnTo>
                  <a:lnTo>
                    <a:pt x="2773302" y="810072"/>
                  </a:lnTo>
                  <a:lnTo>
                    <a:pt x="2749478" y="819602"/>
                  </a:lnTo>
                  <a:lnTo>
                    <a:pt x="2739950" y="824366"/>
                  </a:lnTo>
                  <a:lnTo>
                    <a:pt x="2744714" y="838662"/>
                  </a:lnTo>
                  <a:lnTo>
                    <a:pt x="2749478" y="848192"/>
                  </a:lnTo>
                  <a:lnTo>
                    <a:pt x="2768538" y="857722"/>
                  </a:lnTo>
                  <a:lnTo>
                    <a:pt x="2787598" y="862488"/>
                  </a:lnTo>
                  <a:lnTo>
                    <a:pt x="2787598" y="872018"/>
                  </a:lnTo>
                  <a:lnTo>
                    <a:pt x="2773302" y="876784"/>
                  </a:lnTo>
                  <a:lnTo>
                    <a:pt x="2754242" y="872018"/>
                  </a:lnTo>
                  <a:lnTo>
                    <a:pt x="2749478" y="876784"/>
                  </a:lnTo>
                  <a:lnTo>
                    <a:pt x="2744714" y="891078"/>
                  </a:lnTo>
                  <a:lnTo>
                    <a:pt x="2735182" y="905374"/>
                  </a:lnTo>
                  <a:lnTo>
                    <a:pt x="2730418" y="924434"/>
                  </a:lnTo>
                  <a:lnTo>
                    <a:pt x="2754242" y="929200"/>
                  </a:lnTo>
                  <a:lnTo>
                    <a:pt x="2763774" y="933964"/>
                  </a:lnTo>
                  <a:lnTo>
                    <a:pt x="2763774" y="948260"/>
                  </a:lnTo>
                  <a:lnTo>
                    <a:pt x="2768538" y="967320"/>
                  </a:lnTo>
                  <a:lnTo>
                    <a:pt x="2773302" y="976852"/>
                  </a:lnTo>
                  <a:lnTo>
                    <a:pt x="2763774" y="986382"/>
                  </a:lnTo>
                  <a:lnTo>
                    <a:pt x="2763774" y="991146"/>
                  </a:lnTo>
                  <a:lnTo>
                    <a:pt x="2768538" y="995912"/>
                  </a:lnTo>
                  <a:lnTo>
                    <a:pt x="2778070" y="995912"/>
                  </a:lnTo>
                  <a:lnTo>
                    <a:pt x="2782834" y="1000676"/>
                  </a:lnTo>
                  <a:lnTo>
                    <a:pt x="2782834" y="1005442"/>
                  </a:lnTo>
                  <a:lnTo>
                    <a:pt x="2768538" y="1024502"/>
                  </a:lnTo>
                  <a:lnTo>
                    <a:pt x="2759010" y="1053092"/>
                  </a:lnTo>
                  <a:lnTo>
                    <a:pt x="2754242" y="1072154"/>
                  </a:lnTo>
                  <a:lnTo>
                    <a:pt x="2754242" y="1091214"/>
                  </a:lnTo>
                  <a:lnTo>
                    <a:pt x="2744714" y="1100744"/>
                  </a:lnTo>
                  <a:lnTo>
                    <a:pt x="2735182" y="1100744"/>
                  </a:lnTo>
                  <a:lnTo>
                    <a:pt x="2692298" y="1100744"/>
                  </a:lnTo>
                  <a:lnTo>
                    <a:pt x="2658942" y="1100744"/>
                  </a:lnTo>
                  <a:lnTo>
                    <a:pt x="2639882" y="1095980"/>
                  </a:lnTo>
                  <a:lnTo>
                    <a:pt x="2616054" y="1095980"/>
                  </a:lnTo>
                  <a:lnTo>
                    <a:pt x="2606526" y="1100744"/>
                  </a:lnTo>
                  <a:lnTo>
                    <a:pt x="2587466" y="1129336"/>
                  </a:lnTo>
                  <a:lnTo>
                    <a:pt x="2577934" y="1138866"/>
                  </a:lnTo>
                  <a:lnTo>
                    <a:pt x="2554110" y="1148396"/>
                  </a:lnTo>
                  <a:lnTo>
                    <a:pt x="2535046" y="1153160"/>
                  </a:lnTo>
                  <a:lnTo>
                    <a:pt x="2520754" y="1167456"/>
                  </a:lnTo>
                  <a:lnTo>
                    <a:pt x="2515986" y="1181752"/>
                  </a:lnTo>
                  <a:lnTo>
                    <a:pt x="2515986" y="1200812"/>
                  </a:lnTo>
                  <a:lnTo>
                    <a:pt x="2515986" y="1210342"/>
                  </a:lnTo>
                  <a:lnTo>
                    <a:pt x="2511222" y="1215108"/>
                  </a:lnTo>
                  <a:lnTo>
                    <a:pt x="2506458" y="1219872"/>
                  </a:lnTo>
                  <a:lnTo>
                    <a:pt x="2506458" y="1224638"/>
                  </a:lnTo>
                  <a:lnTo>
                    <a:pt x="2511222" y="1229402"/>
                  </a:lnTo>
                  <a:lnTo>
                    <a:pt x="2520754" y="1229402"/>
                  </a:lnTo>
                  <a:lnTo>
                    <a:pt x="2520754" y="1234168"/>
                  </a:lnTo>
                  <a:lnTo>
                    <a:pt x="2515986" y="1238932"/>
                  </a:lnTo>
                  <a:lnTo>
                    <a:pt x="2511222" y="1243698"/>
                  </a:lnTo>
                  <a:lnTo>
                    <a:pt x="2506458" y="1253228"/>
                  </a:lnTo>
                  <a:lnTo>
                    <a:pt x="2506458" y="1262758"/>
                  </a:lnTo>
                  <a:lnTo>
                    <a:pt x="2511222" y="1272288"/>
                  </a:lnTo>
                  <a:lnTo>
                    <a:pt x="2506458" y="1277054"/>
                  </a:lnTo>
                  <a:lnTo>
                    <a:pt x="2449274" y="1272288"/>
                  </a:lnTo>
                  <a:lnTo>
                    <a:pt x="2406390" y="1277054"/>
                  </a:lnTo>
                  <a:lnTo>
                    <a:pt x="2373034" y="1315176"/>
                  </a:lnTo>
                  <a:lnTo>
                    <a:pt x="2353974" y="1310410"/>
                  </a:lnTo>
                  <a:lnTo>
                    <a:pt x="2325382" y="1324706"/>
                  </a:lnTo>
                  <a:lnTo>
                    <a:pt x="2311086" y="1334236"/>
                  </a:lnTo>
                  <a:lnTo>
                    <a:pt x="2287262" y="1358062"/>
                  </a:lnTo>
                  <a:lnTo>
                    <a:pt x="2272966" y="1348530"/>
                  </a:lnTo>
                  <a:lnTo>
                    <a:pt x="2249142" y="1348530"/>
                  </a:lnTo>
                  <a:lnTo>
                    <a:pt x="2230078" y="1353296"/>
                  </a:lnTo>
                  <a:lnTo>
                    <a:pt x="2206254" y="1372356"/>
                  </a:lnTo>
                  <a:lnTo>
                    <a:pt x="2191958" y="1377122"/>
                  </a:lnTo>
                  <a:lnTo>
                    <a:pt x="2168134" y="1372356"/>
                  </a:lnTo>
                  <a:lnTo>
                    <a:pt x="2134778" y="1381886"/>
                  </a:lnTo>
                  <a:lnTo>
                    <a:pt x="2068066" y="1434304"/>
                  </a:lnTo>
                  <a:lnTo>
                    <a:pt x="2049006" y="1477190"/>
                  </a:lnTo>
                  <a:lnTo>
                    <a:pt x="2039474" y="1481954"/>
                  </a:lnTo>
                  <a:lnTo>
                    <a:pt x="2029946" y="1491484"/>
                  </a:lnTo>
                  <a:lnTo>
                    <a:pt x="2015650" y="1496250"/>
                  </a:lnTo>
                  <a:lnTo>
                    <a:pt x="2010882" y="1496250"/>
                  </a:lnTo>
                  <a:lnTo>
                    <a:pt x="2039474" y="1467660"/>
                  </a:lnTo>
                  <a:lnTo>
                    <a:pt x="2053770" y="1458128"/>
                  </a:lnTo>
                  <a:lnTo>
                    <a:pt x="2053770" y="1448598"/>
                  </a:lnTo>
                  <a:lnTo>
                    <a:pt x="2053770" y="1439068"/>
                  </a:lnTo>
                  <a:lnTo>
                    <a:pt x="2044238" y="1420008"/>
                  </a:lnTo>
                  <a:lnTo>
                    <a:pt x="2015650" y="1462894"/>
                  </a:lnTo>
                  <a:lnTo>
                    <a:pt x="2001354" y="1467660"/>
                  </a:lnTo>
                  <a:lnTo>
                    <a:pt x="1982294" y="1477190"/>
                  </a:lnTo>
                  <a:lnTo>
                    <a:pt x="1982294" y="1505780"/>
                  </a:lnTo>
                  <a:lnTo>
                    <a:pt x="1987058" y="1524840"/>
                  </a:lnTo>
                  <a:lnTo>
                    <a:pt x="1991822" y="1548666"/>
                  </a:lnTo>
                  <a:lnTo>
                    <a:pt x="2010882" y="1586788"/>
                  </a:lnTo>
                  <a:lnTo>
                    <a:pt x="2049006" y="1643968"/>
                  </a:lnTo>
                  <a:lnTo>
                    <a:pt x="2063302" y="1663030"/>
                  </a:lnTo>
                  <a:lnTo>
                    <a:pt x="2077594" y="1672560"/>
                  </a:lnTo>
                  <a:lnTo>
                    <a:pt x="2096654" y="1677324"/>
                  </a:lnTo>
                  <a:lnTo>
                    <a:pt x="2125246" y="1658264"/>
                  </a:lnTo>
                  <a:lnTo>
                    <a:pt x="2139542" y="1653500"/>
                  </a:lnTo>
                  <a:lnTo>
                    <a:pt x="2168134" y="1663030"/>
                  </a:lnTo>
                  <a:lnTo>
                    <a:pt x="2177662" y="1648734"/>
                  </a:lnTo>
                  <a:lnTo>
                    <a:pt x="2191958" y="1643968"/>
                  </a:lnTo>
                  <a:lnTo>
                    <a:pt x="2211018" y="1643968"/>
                  </a:lnTo>
                  <a:lnTo>
                    <a:pt x="2230078" y="1648734"/>
                  </a:lnTo>
                  <a:lnTo>
                    <a:pt x="2253906" y="1658264"/>
                  </a:lnTo>
                  <a:lnTo>
                    <a:pt x="2244374" y="1677324"/>
                  </a:lnTo>
                  <a:lnTo>
                    <a:pt x="2234846" y="1691620"/>
                  </a:lnTo>
                  <a:lnTo>
                    <a:pt x="2230078" y="1710680"/>
                  </a:lnTo>
                  <a:lnTo>
                    <a:pt x="2225314" y="1729742"/>
                  </a:lnTo>
                  <a:lnTo>
                    <a:pt x="2201490" y="1739272"/>
                  </a:lnTo>
                  <a:lnTo>
                    <a:pt x="2172898" y="1739272"/>
                  </a:lnTo>
                  <a:lnTo>
                    <a:pt x="2144306" y="1744036"/>
                  </a:lnTo>
                  <a:lnTo>
                    <a:pt x="2134778" y="1734506"/>
                  </a:lnTo>
                  <a:lnTo>
                    <a:pt x="2125246" y="1729742"/>
                  </a:lnTo>
                  <a:lnTo>
                    <a:pt x="2115718" y="1720210"/>
                  </a:lnTo>
                  <a:lnTo>
                    <a:pt x="2096654" y="1715446"/>
                  </a:lnTo>
                  <a:lnTo>
                    <a:pt x="2082362" y="1720210"/>
                  </a:lnTo>
                  <a:lnTo>
                    <a:pt x="2063302" y="1748802"/>
                  </a:lnTo>
                  <a:lnTo>
                    <a:pt x="2029946" y="1767862"/>
                  </a:lnTo>
                  <a:lnTo>
                    <a:pt x="2020414" y="1786922"/>
                  </a:lnTo>
                  <a:lnTo>
                    <a:pt x="1991822" y="1782158"/>
                  </a:lnTo>
                  <a:lnTo>
                    <a:pt x="1963234" y="1786922"/>
                  </a:lnTo>
                  <a:lnTo>
                    <a:pt x="1925110" y="1805984"/>
                  </a:lnTo>
                  <a:lnTo>
                    <a:pt x="1896522" y="1844104"/>
                  </a:lnTo>
                  <a:lnTo>
                    <a:pt x="1863166" y="1872694"/>
                  </a:lnTo>
                  <a:lnTo>
                    <a:pt x="1839338" y="1877460"/>
                  </a:lnTo>
                  <a:lnTo>
                    <a:pt x="1810750" y="1877460"/>
                  </a:lnTo>
                  <a:lnTo>
                    <a:pt x="1796454" y="1867930"/>
                  </a:lnTo>
                  <a:lnTo>
                    <a:pt x="1763098" y="1844104"/>
                  </a:lnTo>
                  <a:lnTo>
                    <a:pt x="1767862" y="1834574"/>
                  </a:lnTo>
                  <a:lnTo>
                    <a:pt x="1772626" y="1829808"/>
                  </a:lnTo>
                  <a:lnTo>
                    <a:pt x="1777394" y="1815514"/>
                  </a:lnTo>
                  <a:lnTo>
                    <a:pt x="1791686" y="1763096"/>
                  </a:lnTo>
                  <a:lnTo>
                    <a:pt x="1786922" y="1748802"/>
                  </a:lnTo>
                  <a:lnTo>
                    <a:pt x="1782158" y="1720210"/>
                  </a:lnTo>
                  <a:lnTo>
                    <a:pt x="1758334" y="1701150"/>
                  </a:lnTo>
                  <a:lnTo>
                    <a:pt x="1734506" y="1705916"/>
                  </a:lnTo>
                  <a:lnTo>
                    <a:pt x="1724978" y="1701150"/>
                  </a:lnTo>
                  <a:lnTo>
                    <a:pt x="1682090" y="1667794"/>
                  </a:lnTo>
                  <a:lnTo>
                    <a:pt x="1658266" y="1663030"/>
                  </a:lnTo>
                  <a:lnTo>
                    <a:pt x="1634438" y="1672560"/>
                  </a:lnTo>
                  <a:lnTo>
                    <a:pt x="1624910" y="1667794"/>
                  </a:lnTo>
                  <a:lnTo>
                    <a:pt x="1620142" y="1653500"/>
                  </a:lnTo>
                  <a:lnTo>
                    <a:pt x="1667794" y="1610612"/>
                  </a:lnTo>
                  <a:lnTo>
                    <a:pt x="1715446" y="1577256"/>
                  </a:lnTo>
                  <a:lnTo>
                    <a:pt x="1739270" y="1572492"/>
                  </a:lnTo>
                  <a:lnTo>
                    <a:pt x="1767862" y="1558196"/>
                  </a:lnTo>
                  <a:lnTo>
                    <a:pt x="1801218" y="1534370"/>
                  </a:lnTo>
                  <a:lnTo>
                    <a:pt x="1796454" y="1515310"/>
                  </a:lnTo>
                  <a:lnTo>
                    <a:pt x="1786922" y="1501016"/>
                  </a:lnTo>
                  <a:lnTo>
                    <a:pt x="1772626" y="1501016"/>
                  </a:lnTo>
                  <a:lnTo>
                    <a:pt x="1763098" y="1505780"/>
                  </a:lnTo>
                  <a:lnTo>
                    <a:pt x="1734506" y="1491484"/>
                  </a:lnTo>
                  <a:lnTo>
                    <a:pt x="1724978" y="1481954"/>
                  </a:lnTo>
                  <a:lnTo>
                    <a:pt x="1686854" y="1491484"/>
                  </a:lnTo>
                  <a:lnTo>
                    <a:pt x="1663030" y="1491484"/>
                  </a:lnTo>
                  <a:lnTo>
                    <a:pt x="1615378" y="1501016"/>
                  </a:lnTo>
                  <a:lnTo>
                    <a:pt x="1591554" y="1491484"/>
                  </a:lnTo>
                  <a:lnTo>
                    <a:pt x="1543902" y="1462894"/>
                  </a:lnTo>
                  <a:lnTo>
                    <a:pt x="1529606" y="1458128"/>
                  </a:lnTo>
                  <a:lnTo>
                    <a:pt x="1510546" y="1458128"/>
                  </a:lnTo>
                  <a:lnTo>
                    <a:pt x="1505782" y="1448598"/>
                  </a:lnTo>
                  <a:lnTo>
                    <a:pt x="1515310" y="1443834"/>
                  </a:lnTo>
                  <a:lnTo>
                    <a:pt x="1524842" y="1443834"/>
                  </a:lnTo>
                  <a:lnTo>
                    <a:pt x="1539138" y="1439068"/>
                  </a:lnTo>
                  <a:lnTo>
                    <a:pt x="1539138" y="1434304"/>
                  </a:lnTo>
                  <a:lnTo>
                    <a:pt x="1539138" y="1424772"/>
                  </a:lnTo>
                  <a:lnTo>
                    <a:pt x="1515310" y="1415242"/>
                  </a:lnTo>
                  <a:lnTo>
                    <a:pt x="1496250" y="1415242"/>
                  </a:lnTo>
                  <a:lnTo>
                    <a:pt x="1481954" y="1405712"/>
                  </a:lnTo>
                  <a:lnTo>
                    <a:pt x="1467660" y="1396182"/>
                  </a:lnTo>
                  <a:lnTo>
                    <a:pt x="1496250" y="1396182"/>
                  </a:lnTo>
                  <a:lnTo>
                    <a:pt x="1520074" y="1400948"/>
                  </a:lnTo>
                  <a:lnTo>
                    <a:pt x="1558198" y="1405712"/>
                  </a:lnTo>
                  <a:lnTo>
                    <a:pt x="1596318" y="1415242"/>
                  </a:lnTo>
                  <a:lnTo>
                    <a:pt x="1605846" y="1405712"/>
                  </a:lnTo>
                  <a:lnTo>
                    <a:pt x="1624910" y="1386652"/>
                  </a:lnTo>
                  <a:lnTo>
                    <a:pt x="1629674" y="1381886"/>
                  </a:lnTo>
                  <a:lnTo>
                    <a:pt x="1596318" y="1391416"/>
                  </a:lnTo>
                  <a:lnTo>
                    <a:pt x="1558198" y="1386652"/>
                  </a:lnTo>
                  <a:lnTo>
                    <a:pt x="1543902" y="1377122"/>
                  </a:lnTo>
                  <a:lnTo>
                    <a:pt x="1534370" y="1362826"/>
                  </a:lnTo>
                  <a:lnTo>
                    <a:pt x="1529606" y="1343766"/>
                  </a:lnTo>
                  <a:lnTo>
                    <a:pt x="1534370" y="1329470"/>
                  </a:lnTo>
                  <a:lnTo>
                    <a:pt x="1529606" y="1300880"/>
                  </a:lnTo>
                  <a:lnTo>
                    <a:pt x="1515310" y="1272288"/>
                  </a:lnTo>
                  <a:lnTo>
                    <a:pt x="1515310" y="1257994"/>
                  </a:lnTo>
                  <a:lnTo>
                    <a:pt x="1501014" y="1243698"/>
                  </a:lnTo>
                  <a:lnTo>
                    <a:pt x="1515310" y="1272288"/>
                  </a:lnTo>
                  <a:lnTo>
                    <a:pt x="1520074" y="1291350"/>
                  </a:lnTo>
                  <a:lnTo>
                    <a:pt x="1524842" y="1310410"/>
                  </a:lnTo>
                  <a:lnTo>
                    <a:pt x="1524842" y="1358062"/>
                  </a:lnTo>
                  <a:lnTo>
                    <a:pt x="1520074" y="1372356"/>
                  </a:lnTo>
                  <a:lnTo>
                    <a:pt x="1505782" y="1377122"/>
                  </a:lnTo>
                  <a:lnTo>
                    <a:pt x="1486718" y="1377122"/>
                  </a:lnTo>
                  <a:lnTo>
                    <a:pt x="1467660" y="1372356"/>
                  </a:lnTo>
                  <a:lnTo>
                    <a:pt x="1472426" y="1343766"/>
                  </a:lnTo>
                  <a:lnTo>
                    <a:pt x="1458130" y="1353296"/>
                  </a:lnTo>
                  <a:lnTo>
                    <a:pt x="1443834" y="1377122"/>
                  </a:lnTo>
                  <a:lnTo>
                    <a:pt x="1434304" y="1381886"/>
                  </a:lnTo>
                  <a:lnTo>
                    <a:pt x="1405712" y="1381886"/>
                  </a:lnTo>
                  <a:lnTo>
                    <a:pt x="1353296" y="1396182"/>
                  </a:lnTo>
                  <a:lnTo>
                    <a:pt x="1348530" y="1415242"/>
                  </a:lnTo>
                  <a:lnTo>
                    <a:pt x="1339000" y="1439068"/>
                  </a:lnTo>
                  <a:lnTo>
                    <a:pt x="1329470" y="1453364"/>
                  </a:lnTo>
                  <a:lnTo>
                    <a:pt x="1329470" y="1462894"/>
                  </a:lnTo>
                  <a:lnTo>
                    <a:pt x="1305644" y="1496250"/>
                  </a:lnTo>
                  <a:lnTo>
                    <a:pt x="1300880" y="1501016"/>
                  </a:lnTo>
                  <a:lnTo>
                    <a:pt x="1262758" y="1553432"/>
                  </a:lnTo>
                  <a:lnTo>
                    <a:pt x="1253228" y="1553432"/>
                  </a:lnTo>
                  <a:lnTo>
                    <a:pt x="1229402" y="1567726"/>
                  </a:lnTo>
                  <a:lnTo>
                    <a:pt x="1210342" y="1577256"/>
                  </a:lnTo>
                  <a:lnTo>
                    <a:pt x="1200812" y="1582022"/>
                  </a:lnTo>
                  <a:lnTo>
                    <a:pt x="1176986" y="1577256"/>
                  </a:lnTo>
                  <a:lnTo>
                    <a:pt x="1167456" y="1582022"/>
                  </a:lnTo>
                  <a:lnTo>
                    <a:pt x="1162692" y="1591552"/>
                  </a:lnTo>
                  <a:lnTo>
                    <a:pt x="1162692" y="1610612"/>
                  </a:lnTo>
                  <a:lnTo>
                    <a:pt x="1176986" y="1624908"/>
                  </a:lnTo>
                  <a:lnTo>
                    <a:pt x="1181752" y="1667794"/>
                  </a:lnTo>
                  <a:lnTo>
                    <a:pt x="1181752" y="1686854"/>
                  </a:lnTo>
                  <a:lnTo>
                    <a:pt x="1172222" y="1672560"/>
                  </a:lnTo>
                  <a:lnTo>
                    <a:pt x="1157926" y="1663030"/>
                  </a:lnTo>
                  <a:lnTo>
                    <a:pt x="1134100" y="1648734"/>
                  </a:lnTo>
                  <a:lnTo>
                    <a:pt x="1105510" y="1653500"/>
                  </a:lnTo>
                  <a:lnTo>
                    <a:pt x="1076918" y="1672560"/>
                  </a:lnTo>
                  <a:lnTo>
                    <a:pt x="1053094" y="1677324"/>
                  </a:lnTo>
                  <a:lnTo>
                    <a:pt x="1043562" y="1677324"/>
                  </a:lnTo>
                  <a:lnTo>
                    <a:pt x="1034032" y="1677324"/>
                  </a:lnTo>
                  <a:lnTo>
                    <a:pt x="1034032" y="1682090"/>
                  </a:lnTo>
                  <a:lnTo>
                    <a:pt x="1034032" y="1686854"/>
                  </a:lnTo>
                  <a:lnTo>
                    <a:pt x="1038798" y="1686854"/>
                  </a:lnTo>
                  <a:lnTo>
                    <a:pt x="1038798" y="1691620"/>
                  </a:lnTo>
                  <a:lnTo>
                    <a:pt x="1034032" y="1691620"/>
                  </a:lnTo>
                  <a:lnTo>
                    <a:pt x="986382" y="1677324"/>
                  </a:lnTo>
                  <a:lnTo>
                    <a:pt x="962556" y="1667794"/>
                  </a:lnTo>
                  <a:lnTo>
                    <a:pt x="948260" y="1643968"/>
                  </a:lnTo>
                  <a:lnTo>
                    <a:pt x="957790" y="1634438"/>
                  </a:lnTo>
                  <a:lnTo>
                    <a:pt x="962556" y="1634438"/>
                  </a:lnTo>
                  <a:lnTo>
                    <a:pt x="986382" y="1629674"/>
                  </a:lnTo>
                  <a:lnTo>
                    <a:pt x="991146" y="1629674"/>
                  </a:lnTo>
                  <a:lnTo>
                    <a:pt x="991146" y="1624908"/>
                  </a:lnTo>
                  <a:lnTo>
                    <a:pt x="995912" y="1615378"/>
                  </a:lnTo>
                  <a:lnTo>
                    <a:pt x="995912" y="1605848"/>
                  </a:lnTo>
                  <a:lnTo>
                    <a:pt x="991146" y="1596318"/>
                  </a:lnTo>
                  <a:lnTo>
                    <a:pt x="1000676" y="1582022"/>
                  </a:lnTo>
                  <a:lnTo>
                    <a:pt x="1019738" y="1567726"/>
                  </a:lnTo>
                  <a:lnTo>
                    <a:pt x="1029268" y="1553432"/>
                  </a:lnTo>
                  <a:lnTo>
                    <a:pt x="1029268" y="1534370"/>
                  </a:lnTo>
                  <a:lnTo>
                    <a:pt x="1048328" y="1524840"/>
                  </a:lnTo>
                  <a:lnTo>
                    <a:pt x="1062624" y="1510546"/>
                  </a:lnTo>
                  <a:lnTo>
                    <a:pt x="1067388" y="1491484"/>
                  </a:lnTo>
                  <a:lnTo>
                    <a:pt x="1072154" y="1481954"/>
                  </a:lnTo>
                  <a:lnTo>
                    <a:pt x="1062624" y="1458128"/>
                  </a:lnTo>
                  <a:lnTo>
                    <a:pt x="1057858" y="1439068"/>
                  </a:lnTo>
                  <a:lnTo>
                    <a:pt x="1057858" y="1424772"/>
                  </a:lnTo>
                  <a:lnTo>
                    <a:pt x="1062624" y="1420008"/>
                  </a:lnTo>
                  <a:lnTo>
                    <a:pt x="1076918" y="1410478"/>
                  </a:lnTo>
                  <a:lnTo>
                    <a:pt x="1091214" y="1400948"/>
                  </a:lnTo>
                  <a:lnTo>
                    <a:pt x="1100744" y="1400948"/>
                  </a:lnTo>
                  <a:lnTo>
                    <a:pt x="1100744" y="1405712"/>
                  </a:lnTo>
                  <a:lnTo>
                    <a:pt x="1100744" y="1434304"/>
                  </a:lnTo>
                  <a:lnTo>
                    <a:pt x="1105510" y="1434304"/>
                  </a:lnTo>
                  <a:lnTo>
                    <a:pt x="1110274" y="1434304"/>
                  </a:lnTo>
                  <a:lnTo>
                    <a:pt x="1119804" y="1415242"/>
                  </a:lnTo>
                  <a:lnTo>
                    <a:pt x="1124570" y="1420008"/>
                  </a:lnTo>
                  <a:lnTo>
                    <a:pt x="1134100" y="1424772"/>
                  </a:lnTo>
                  <a:lnTo>
                    <a:pt x="1138866" y="1420008"/>
                  </a:lnTo>
                  <a:lnTo>
                    <a:pt x="1143630" y="1420008"/>
                  </a:lnTo>
                  <a:lnTo>
                    <a:pt x="1148396" y="1424772"/>
                  </a:lnTo>
                  <a:lnTo>
                    <a:pt x="1157926" y="1429538"/>
                  </a:lnTo>
                  <a:lnTo>
                    <a:pt x="1167456" y="1429538"/>
                  </a:lnTo>
                  <a:lnTo>
                    <a:pt x="1172222" y="1424772"/>
                  </a:lnTo>
                  <a:lnTo>
                    <a:pt x="1181752" y="1420008"/>
                  </a:lnTo>
                  <a:lnTo>
                    <a:pt x="1186516" y="1420008"/>
                  </a:lnTo>
                  <a:lnTo>
                    <a:pt x="1200812" y="1443834"/>
                  </a:lnTo>
                  <a:lnTo>
                    <a:pt x="1205578" y="1439068"/>
                  </a:lnTo>
                  <a:lnTo>
                    <a:pt x="1238934" y="1434304"/>
                  </a:lnTo>
                  <a:lnTo>
                    <a:pt x="1243698" y="1429538"/>
                  </a:lnTo>
                  <a:lnTo>
                    <a:pt x="1248464" y="1424772"/>
                  </a:lnTo>
                  <a:lnTo>
                    <a:pt x="1215108" y="1400948"/>
                  </a:lnTo>
                  <a:lnTo>
                    <a:pt x="1215108" y="1381886"/>
                  </a:lnTo>
                  <a:lnTo>
                    <a:pt x="1219872" y="1358062"/>
                  </a:lnTo>
                  <a:lnTo>
                    <a:pt x="1215108" y="1343766"/>
                  </a:lnTo>
                  <a:lnTo>
                    <a:pt x="1205578" y="1334236"/>
                  </a:lnTo>
                  <a:lnTo>
                    <a:pt x="1181752" y="1319940"/>
                  </a:lnTo>
                  <a:lnTo>
                    <a:pt x="1162692" y="1310410"/>
                  </a:lnTo>
                  <a:lnTo>
                    <a:pt x="1157926" y="1300880"/>
                  </a:lnTo>
                  <a:lnTo>
                    <a:pt x="1157926" y="1296114"/>
                  </a:lnTo>
                  <a:lnTo>
                    <a:pt x="1157926" y="1281820"/>
                  </a:lnTo>
                  <a:lnTo>
                    <a:pt x="1153160" y="1272288"/>
                  </a:lnTo>
                  <a:lnTo>
                    <a:pt x="1148396" y="1262758"/>
                  </a:lnTo>
                  <a:lnTo>
                    <a:pt x="1153160" y="1253228"/>
                  </a:lnTo>
                  <a:lnTo>
                    <a:pt x="1157926" y="1238932"/>
                  </a:lnTo>
                  <a:lnTo>
                    <a:pt x="1153160" y="1229402"/>
                  </a:lnTo>
                  <a:lnTo>
                    <a:pt x="1148396" y="1229402"/>
                  </a:lnTo>
                  <a:lnTo>
                    <a:pt x="1143630" y="1224638"/>
                  </a:lnTo>
                  <a:lnTo>
                    <a:pt x="1129336" y="1219872"/>
                  </a:lnTo>
                  <a:lnTo>
                    <a:pt x="1124570" y="1205578"/>
                  </a:lnTo>
                  <a:lnTo>
                    <a:pt x="1100744" y="1191282"/>
                  </a:lnTo>
                  <a:lnTo>
                    <a:pt x="1095980" y="1191282"/>
                  </a:lnTo>
                  <a:lnTo>
                    <a:pt x="1091214" y="1181752"/>
                  </a:lnTo>
                  <a:lnTo>
                    <a:pt x="1091214" y="1172222"/>
                  </a:lnTo>
                  <a:lnTo>
                    <a:pt x="1095980" y="1162692"/>
                  </a:lnTo>
                  <a:lnTo>
                    <a:pt x="1100744" y="1143630"/>
                  </a:lnTo>
                  <a:lnTo>
                    <a:pt x="1100744" y="1124570"/>
                  </a:lnTo>
                  <a:lnTo>
                    <a:pt x="1105510" y="1115040"/>
                  </a:lnTo>
                  <a:lnTo>
                    <a:pt x="1100744" y="1091214"/>
                  </a:lnTo>
                  <a:lnTo>
                    <a:pt x="1091214" y="1072154"/>
                  </a:lnTo>
                  <a:lnTo>
                    <a:pt x="1086450" y="1067388"/>
                  </a:lnTo>
                  <a:lnTo>
                    <a:pt x="1076918" y="1072154"/>
                  </a:lnTo>
                  <a:lnTo>
                    <a:pt x="1067388" y="1076918"/>
                  </a:lnTo>
                  <a:lnTo>
                    <a:pt x="1057858" y="1072154"/>
                  </a:lnTo>
                  <a:lnTo>
                    <a:pt x="1048328" y="1062624"/>
                  </a:lnTo>
                  <a:lnTo>
                    <a:pt x="1034032" y="1034032"/>
                  </a:lnTo>
                  <a:lnTo>
                    <a:pt x="1010206" y="1029268"/>
                  </a:lnTo>
                  <a:lnTo>
                    <a:pt x="995912" y="1029268"/>
                  </a:lnTo>
                  <a:lnTo>
                    <a:pt x="986382" y="1043562"/>
                  </a:lnTo>
                  <a:lnTo>
                    <a:pt x="981616" y="1038798"/>
                  </a:lnTo>
                  <a:lnTo>
                    <a:pt x="981616" y="1029268"/>
                  </a:lnTo>
                  <a:lnTo>
                    <a:pt x="976852" y="1024502"/>
                  </a:lnTo>
                  <a:lnTo>
                    <a:pt x="967320" y="1029268"/>
                  </a:lnTo>
                  <a:lnTo>
                    <a:pt x="967320" y="1024502"/>
                  </a:lnTo>
                  <a:lnTo>
                    <a:pt x="967320" y="1014972"/>
                  </a:lnTo>
                  <a:lnTo>
                    <a:pt x="957790" y="1005442"/>
                  </a:lnTo>
                  <a:lnTo>
                    <a:pt x="938730" y="1005442"/>
                  </a:lnTo>
                  <a:lnTo>
                    <a:pt x="929200" y="1005442"/>
                  </a:lnTo>
                  <a:lnTo>
                    <a:pt x="924434" y="995912"/>
                  </a:lnTo>
                  <a:lnTo>
                    <a:pt x="919670" y="986382"/>
                  </a:lnTo>
                  <a:lnTo>
                    <a:pt x="910140" y="986382"/>
                  </a:lnTo>
                  <a:lnTo>
                    <a:pt x="895844" y="976852"/>
                  </a:lnTo>
                  <a:lnTo>
                    <a:pt x="886314" y="967320"/>
                  </a:lnTo>
                  <a:lnTo>
                    <a:pt x="867254" y="957790"/>
                  </a:lnTo>
                  <a:lnTo>
                    <a:pt x="848192" y="953026"/>
                  </a:lnTo>
                  <a:lnTo>
                    <a:pt x="843428" y="953026"/>
                  </a:lnTo>
                  <a:lnTo>
                    <a:pt x="829132" y="957790"/>
                  </a:lnTo>
                  <a:lnTo>
                    <a:pt x="819602" y="967320"/>
                  </a:lnTo>
                  <a:lnTo>
                    <a:pt x="810072" y="962556"/>
                  </a:lnTo>
                  <a:lnTo>
                    <a:pt x="791012" y="976852"/>
                  </a:lnTo>
                  <a:lnTo>
                    <a:pt x="757656" y="976852"/>
                  </a:lnTo>
                  <a:lnTo>
                    <a:pt x="743360" y="976852"/>
                  </a:lnTo>
                  <a:lnTo>
                    <a:pt x="733830" y="972086"/>
                  </a:lnTo>
                  <a:lnTo>
                    <a:pt x="700474" y="995912"/>
                  </a:lnTo>
                  <a:lnTo>
                    <a:pt x="700474" y="1000676"/>
                  </a:lnTo>
                  <a:lnTo>
                    <a:pt x="690944" y="1005442"/>
                  </a:lnTo>
                  <a:lnTo>
                    <a:pt x="671882" y="1010206"/>
                  </a:lnTo>
                  <a:lnTo>
                    <a:pt x="648058" y="1014972"/>
                  </a:lnTo>
                  <a:lnTo>
                    <a:pt x="643292" y="1034032"/>
                  </a:lnTo>
                  <a:lnTo>
                    <a:pt x="638528" y="1048328"/>
                  </a:lnTo>
                  <a:lnTo>
                    <a:pt x="628996" y="1062624"/>
                  </a:lnTo>
                  <a:lnTo>
                    <a:pt x="586110" y="1072154"/>
                  </a:lnTo>
                  <a:lnTo>
                    <a:pt x="552754" y="1076918"/>
                  </a:lnTo>
                  <a:lnTo>
                    <a:pt x="519398" y="1081684"/>
                  </a:lnTo>
                  <a:lnTo>
                    <a:pt x="471748" y="1105510"/>
                  </a:lnTo>
                  <a:lnTo>
                    <a:pt x="457452" y="1124570"/>
                  </a:lnTo>
                  <a:lnTo>
                    <a:pt x="443156" y="1129336"/>
                  </a:lnTo>
                  <a:lnTo>
                    <a:pt x="428862" y="1129336"/>
                  </a:lnTo>
                  <a:lnTo>
                    <a:pt x="419332" y="1119804"/>
                  </a:lnTo>
                  <a:lnTo>
                    <a:pt x="390740" y="1091214"/>
                  </a:lnTo>
                  <a:lnTo>
                    <a:pt x="381210" y="1076918"/>
                  </a:lnTo>
                  <a:lnTo>
                    <a:pt x="366914" y="1076918"/>
                  </a:lnTo>
                  <a:lnTo>
                    <a:pt x="347854" y="1076918"/>
                  </a:lnTo>
                  <a:lnTo>
                    <a:pt x="333558" y="1081684"/>
                  </a:lnTo>
                  <a:lnTo>
                    <a:pt x="319264" y="1086448"/>
                  </a:lnTo>
                  <a:lnTo>
                    <a:pt x="300204" y="1076918"/>
                  </a:lnTo>
                  <a:lnTo>
                    <a:pt x="295438" y="1076918"/>
                  </a:lnTo>
                  <a:lnTo>
                    <a:pt x="290672" y="1076918"/>
                  </a:lnTo>
                  <a:lnTo>
                    <a:pt x="243022" y="1067388"/>
                  </a:lnTo>
                  <a:lnTo>
                    <a:pt x="238256" y="1067388"/>
                  </a:lnTo>
                  <a:lnTo>
                    <a:pt x="238256" y="1062624"/>
                  </a:lnTo>
                  <a:lnTo>
                    <a:pt x="233492" y="1062624"/>
                  </a:lnTo>
                  <a:lnTo>
                    <a:pt x="195370" y="1067388"/>
                  </a:lnTo>
                  <a:lnTo>
                    <a:pt x="166780" y="1043562"/>
                  </a:lnTo>
                  <a:lnTo>
                    <a:pt x="157250" y="1043562"/>
                  </a:lnTo>
                  <a:lnTo>
                    <a:pt x="147718" y="1053092"/>
                  </a:lnTo>
                  <a:lnTo>
                    <a:pt x="142954" y="1062624"/>
                  </a:lnTo>
                  <a:lnTo>
                    <a:pt x="119128" y="1072154"/>
                  </a:lnTo>
                  <a:lnTo>
                    <a:pt x="114364" y="1076918"/>
                  </a:lnTo>
                  <a:lnTo>
                    <a:pt x="109598" y="1072154"/>
                  </a:lnTo>
                  <a:lnTo>
                    <a:pt x="109598" y="1062624"/>
                  </a:lnTo>
                  <a:lnTo>
                    <a:pt x="109598" y="1057858"/>
                  </a:lnTo>
                  <a:lnTo>
                    <a:pt x="109598" y="1048328"/>
                  </a:lnTo>
                  <a:lnTo>
                    <a:pt x="100068" y="1038798"/>
                  </a:lnTo>
                  <a:lnTo>
                    <a:pt x="95302" y="1038798"/>
                  </a:lnTo>
                  <a:lnTo>
                    <a:pt x="85772" y="1038798"/>
                  </a:lnTo>
                  <a:lnTo>
                    <a:pt x="66712" y="1029268"/>
                  </a:lnTo>
                  <a:lnTo>
                    <a:pt x="57182" y="1014972"/>
                  </a:lnTo>
                  <a:lnTo>
                    <a:pt x="42886" y="1005442"/>
                  </a:lnTo>
                  <a:lnTo>
                    <a:pt x="33356" y="1005442"/>
                  </a:lnTo>
                  <a:lnTo>
                    <a:pt x="28590" y="995912"/>
                  </a:lnTo>
                  <a:lnTo>
                    <a:pt x="23826" y="986382"/>
                  </a:lnTo>
                  <a:lnTo>
                    <a:pt x="19060" y="976852"/>
                  </a:lnTo>
                  <a:lnTo>
                    <a:pt x="19060" y="967320"/>
                  </a:lnTo>
                  <a:lnTo>
                    <a:pt x="14296" y="967320"/>
                  </a:lnTo>
                  <a:lnTo>
                    <a:pt x="0" y="967320"/>
                  </a:lnTo>
                  <a:lnTo>
                    <a:pt x="0" y="929200"/>
                  </a:lnTo>
                  <a:lnTo>
                    <a:pt x="23826" y="900608"/>
                  </a:lnTo>
                  <a:lnTo>
                    <a:pt x="28590" y="886314"/>
                  </a:lnTo>
                  <a:lnTo>
                    <a:pt x="38122" y="857722"/>
                  </a:lnTo>
                  <a:lnTo>
                    <a:pt x="42886" y="843428"/>
                  </a:lnTo>
                  <a:lnTo>
                    <a:pt x="52416" y="829132"/>
                  </a:lnTo>
                  <a:lnTo>
                    <a:pt x="57182" y="819602"/>
                  </a:lnTo>
                  <a:lnTo>
                    <a:pt x="61946" y="810072"/>
                  </a:lnTo>
                  <a:lnTo>
                    <a:pt x="66712" y="810072"/>
                  </a:lnTo>
                  <a:lnTo>
                    <a:pt x="85772" y="819602"/>
                  </a:lnTo>
                  <a:lnTo>
                    <a:pt x="104832" y="824366"/>
                  </a:lnTo>
                  <a:lnTo>
                    <a:pt x="109598" y="819602"/>
                  </a:lnTo>
                  <a:lnTo>
                    <a:pt x="109598" y="810072"/>
                  </a:lnTo>
                  <a:lnTo>
                    <a:pt x="95302" y="795776"/>
                  </a:lnTo>
                  <a:lnTo>
                    <a:pt x="85772" y="786246"/>
                  </a:lnTo>
                  <a:lnTo>
                    <a:pt x="85772" y="781480"/>
                  </a:lnTo>
                  <a:lnTo>
                    <a:pt x="90538" y="771950"/>
                  </a:lnTo>
                  <a:lnTo>
                    <a:pt x="90538" y="757656"/>
                  </a:lnTo>
                  <a:lnTo>
                    <a:pt x="90538" y="743360"/>
                  </a:lnTo>
                  <a:lnTo>
                    <a:pt x="81008" y="710004"/>
                  </a:lnTo>
                  <a:lnTo>
                    <a:pt x="76242" y="700474"/>
                  </a:lnTo>
                  <a:lnTo>
                    <a:pt x="85772" y="681414"/>
                  </a:lnTo>
                  <a:lnTo>
                    <a:pt x="114364" y="643292"/>
                  </a:lnTo>
                  <a:lnTo>
                    <a:pt x="123894" y="628996"/>
                  </a:lnTo>
                  <a:lnTo>
                    <a:pt x="138188" y="609936"/>
                  </a:lnTo>
                  <a:lnTo>
                    <a:pt x="176310" y="567050"/>
                  </a:lnTo>
                  <a:lnTo>
                    <a:pt x="195370" y="543224"/>
                  </a:lnTo>
                  <a:lnTo>
                    <a:pt x="214430" y="528930"/>
                  </a:lnTo>
                  <a:lnTo>
                    <a:pt x="233492" y="505104"/>
                  </a:lnTo>
                  <a:lnTo>
                    <a:pt x="243022" y="495574"/>
                  </a:lnTo>
                  <a:lnTo>
                    <a:pt x="285908" y="486042"/>
                  </a:lnTo>
                  <a:lnTo>
                    <a:pt x="290672" y="476512"/>
                  </a:lnTo>
                  <a:lnTo>
                    <a:pt x="295438" y="462218"/>
                  </a:lnTo>
                  <a:lnTo>
                    <a:pt x="304968" y="457452"/>
                  </a:lnTo>
                  <a:lnTo>
                    <a:pt x="304968" y="433626"/>
                  </a:lnTo>
                  <a:lnTo>
                    <a:pt x="295438" y="409800"/>
                  </a:lnTo>
                  <a:lnTo>
                    <a:pt x="290672" y="400270"/>
                  </a:lnTo>
                  <a:lnTo>
                    <a:pt x="285908" y="395506"/>
                  </a:lnTo>
                  <a:lnTo>
                    <a:pt x="290672" y="385976"/>
                  </a:lnTo>
                  <a:lnTo>
                    <a:pt x="295438" y="385976"/>
                  </a:lnTo>
                  <a:lnTo>
                    <a:pt x="300204" y="385976"/>
                  </a:lnTo>
                  <a:lnTo>
                    <a:pt x="304968" y="381210"/>
                  </a:lnTo>
                  <a:lnTo>
                    <a:pt x="304968" y="371680"/>
                  </a:lnTo>
                  <a:lnTo>
                    <a:pt x="285908" y="357384"/>
                  </a:lnTo>
                  <a:lnTo>
                    <a:pt x="281142" y="343090"/>
                  </a:lnTo>
                  <a:lnTo>
                    <a:pt x="266848" y="309734"/>
                  </a:lnTo>
                  <a:lnTo>
                    <a:pt x="243022" y="276378"/>
                  </a:lnTo>
                  <a:lnTo>
                    <a:pt x="238256" y="262082"/>
                  </a:lnTo>
                  <a:lnTo>
                    <a:pt x="238256" y="252552"/>
                  </a:lnTo>
                  <a:lnTo>
                    <a:pt x="238256" y="243022"/>
                  </a:lnTo>
                  <a:lnTo>
                    <a:pt x="238256" y="228726"/>
                  </a:lnTo>
                  <a:lnTo>
                    <a:pt x="228726" y="209666"/>
                  </a:lnTo>
                  <a:lnTo>
                    <a:pt x="228726" y="190606"/>
                  </a:lnTo>
                  <a:lnTo>
                    <a:pt x="233492" y="185840"/>
                  </a:lnTo>
                  <a:lnTo>
                    <a:pt x="243022" y="181074"/>
                  </a:lnTo>
                  <a:lnTo>
                    <a:pt x="257316" y="181074"/>
                  </a:lnTo>
                  <a:lnTo>
                    <a:pt x="266848" y="185840"/>
                  </a:lnTo>
                  <a:lnTo>
                    <a:pt x="281142" y="195370"/>
                  </a:lnTo>
                  <a:lnTo>
                    <a:pt x="285908" y="195370"/>
                  </a:lnTo>
                  <a:lnTo>
                    <a:pt x="309734" y="176310"/>
                  </a:lnTo>
                  <a:lnTo>
                    <a:pt x="333558" y="147718"/>
                  </a:lnTo>
                  <a:lnTo>
                    <a:pt x="338324" y="133424"/>
                  </a:lnTo>
                  <a:lnTo>
                    <a:pt x="347854" y="123894"/>
                  </a:lnTo>
                  <a:lnTo>
                    <a:pt x="366914" y="119128"/>
                  </a:lnTo>
                  <a:lnTo>
                    <a:pt x="385976" y="119128"/>
                  </a:lnTo>
                  <a:lnTo>
                    <a:pt x="395506" y="119128"/>
                  </a:lnTo>
                  <a:lnTo>
                    <a:pt x="424096" y="114364"/>
                  </a:lnTo>
                  <a:lnTo>
                    <a:pt x="443156" y="114364"/>
                  </a:lnTo>
                  <a:lnTo>
                    <a:pt x="457452" y="109598"/>
                  </a:lnTo>
                  <a:lnTo>
                    <a:pt x="486042" y="104832"/>
                  </a:lnTo>
                  <a:lnTo>
                    <a:pt x="533694" y="109598"/>
                  </a:lnTo>
                  <a:lnTo>
                    <a:pt x="567050" y="109598"/>
                  </a:lnTo>
                  <a:lnTo>
                    <a:pt x="590876" y="114364"/>
                  </a:lnTo>
                  <a:lnTo>
                    <a:pt x="643292" y="128658"/>
                  </a:lnTo>
                  <a:lnTo>
                    <a:pt x="662352" y="128658"/>
                  </a:lnTo>
                  <a:lnTo>
                    <a:pt x="671882" y="138188"/>
                  </a:lnTo>
                  <a:lnTo>
                    <a:pt x="690944" y="142954"/>
                  </a:lnTo>
                  <a:lnTo>
                    <a:pt x="724300" y="147718"/>
                  </a:lnTo>
                  <a:lnTo>
                    <a:pt x="748126" y="152484"/>
                  </a:lnTo>
                  <a:lnTo>
                    <a:pt x="767186" y="152484"/>
                  </a:lnTo>
                  <a:lnTo>
                    <a:pt x="781480" y="152484"/>
                  </a:lnTo>
                  <a:lnTo>
                    <a:pt x="800542" y="185840"/>
                  </a:lnTo>
                  <a:lnTo>
                    <a:pt x="805306" y="190606"/>
                  </a:lnTo>
                  <a:lnTo>
                    <a:pt x="810072" y="190606"/>
                  </a:lnTo>
                  <a:lnTo>
                    <a:pt x="829132" y="190606"/>
                  </a:lnTo>
                  <a:lnTo>
                    <a:pt x="852958" y="190606"/>
                  </a:lnTo>
                  <a:lnTo>
                    <a:pt x="867254" y="200136"/>
                  </a:lnTo>
                  <a:lnTo>
                    <a:pt x="862488" y="219196"/>
                  </a:lnTo>
                  <a:lnTo>
                    <a:pt x="867254" y="223960"/>
                  </a:lnTo>
                  <a:lnTo>
                    <a:pt x="872018" y="219196"/>
                  </a:lnTo>
                  <a:lnTo>
                    <a:pt x="881548" y="209666"/>
                  </a:lnTo>
                  <a:lnTo>
                    <a:pt x="886314" y="195370"/>
                  </a:lnTo>
                  <a:lnTo>
                    <a:pt x="891078" y="195370"/>
                  </a:lnTo>
                  <a:lnTo>
                    <a:pt x="914904" y="200136"/>
                  </a:lnTo>
                  <a:lnTo>
                    <a:pt x="924434" y="200136"/>
                  </a:lnTo>
                  <a:lnTo>
                    <a:pt x="938730" y="190606"/>
                  </a:lnTo>
                  <a:lnTo>
                    <a:pt x="943496" y="190606"/>
                  </a:lnTo>
                  <a:lnTo>
                    <a:pt x="957790" y="195370"/>
                  </a:lnTo>
                  <a:lnTo>
                    <a:pt x="981616" y="200136"/>
                  </a:lnTo>
                  <a:lnTo>
                    <a:pt x="995912" y="200136"/>
                  </a:lnTo>
                  <a:lnTo>
                    <a:pt x="1005442" y="204900"/>
                  </a:lnTo>
                  <a:lnTo>
                    <a:pt x="1014972" y="228726"/>
                  </a:lnTo>
                  <a:lnTo>
                    <a:pt x="1019738" y="233492"/>
                  </a:lnTo>
                  <a:lnTo>
                    <a:pt x="1029268" y="233492"/>
                  </a:lnTo>
                  <a:lnTo>
                    <a:pt x="1038798" y="214430"/>
                  </a:lnTo>
                  <a:lnTo>
                    <a:pt x="1048328" y="204900"/>
                  </a:lnTo>
                  <a:lnTo>
                    <a:pt x="1057858" y="200136"/>
                  </a:lnTo>
                  <a:lnTo>
                    <a:pt x="1067388" y="200136"/>
                  </a:lnTo>
                  <a:lnTo>
                    <a:pt x="1072154" y="190606"/>
                  </a:lnTo>
                  <a:lnTo>
                    <a:pt x="1081684" y="185840"/>
                  </a:lnTo>
                  <a:lnTo>
                    <a:pt x="1086450" y="185840"/>
                  </a:lnTo>
                  <a:lnTo>
                    <a:pt x="1091214" y="185840"/>
                  </a:lnTo>
                  <a:lnTo>
                    <a:pt x="1095980" y="195370"/>
                  </a:lnTo>
                  <a:lnTo>
                    <a:pt x="1105510" y="219196"/>
                  </a:lnTo>
                  <a:lnTo>
                    <a:pt x="1115040" y="238256"/>
                  </a:lnTo>
                  <a:lnTo>
                    <a:pt x="1124570" y="247786"/>
                  </a:lnTo>
                  <a:lnTo>
                    <a:pt x="1143630" y="238256"/>
                  </a:lnTo>
                  <a:lnTo>
                    <a:pt x="1157926" y="233492"/>
                  </a:lnTo>
                  <a:lnTo>
                    <a:pt x="1181752" y="233492"/>
                  </a:lnTo>
                  <a:lnTo>
                    <a:pt x="1210342" y="228726"/>
                  </a:lnTo>
                  <a:lnTo>
                    <a:pt x="1234168" y="219196"/>
                  </a:lnTo>
                  <a:lnTo>
                    <a:pt x="1253228" y="223960"/>
                  </a:lnTo>
                  <a:lnTo>
                    <a:pt x="1262758" y="228726"/>
                  </a:lnTo>
                  <a:lnTo>
                    <a:pt x="1277054" y="243022"/>
                  </a:lnTo>
                  <a:lnTo>
                    <a:pt x="1277054" y="262082"/>
                  </a:lnTo>
                  <a:lnTo>
                    <a:pt x="1296114" y="271612"/>
                  </a:lnTo>
                  <a:lnTo>
                    <a:pt x="1310410" y="276378"/>
                  </a:lnTo>
                  <a:lnTo>
                    <a:pt x="1315176" y="262082"/>
                  </a:lnTo>
                  <a:lnTo>
                    <a:pt x="1324706" y="252552"/>
                  </a:lnTo>
                  <a:lnTo>
                    <a:pt x="1324706" y="238256"/>
                  </a:lnTo>
                  <a:lnTo>
                    <a:pt x="1319940" y="223960"/>
                  </a:lnTo>
                  <a:lnTo>
                    <a:pt x="1315176" y="209666"/>
                  </a:lnTo>
                  <a:lnTo>
                    <a:pt x="1310410" y="190606"/>
                  </a:lnTo>
                  <a:lnTo>
                    <a:pt x="1319940" y="166780"/>
                  </a:lnTo>
                  <a:lnTo>
                    <a:pt x="1324706" y="147718"/>
                  </a:lnTo>
                  <a:lnTo>
                    <a:pt x="1329470" y="138188"/>
                  </a:lnTo>
                  <a:lnTo>
                    <a:pt x="1343766" y="114364"/>
                  </a:lnTo>
                  <a:lnTo>
                    <a:pt x="1358062" y="100068"/>
                  </a:lnTo>
                  <a:lnTo>
                    <a:pt x="1377122" y="76242"/>
                  </a:lnTo>
                  <a:lnTo>
                    <a:pt x="1396182" y="71476"/>
                  </a:lnTo>
                  <a:lnTo>
                    <a:pt x="1410478" y="76242"/>
                  </a:lnTo>
                  <a:lnTo>
                    <a:pt x="1415242" y="76242"/>
                  </a:lnTo>
                  <a:lnTo>
                    <a:pt x="1434304" y="61946"/>
                  </a:lnTo>
                  <a:lnTo>
                    <a:pt x="1472426" y="61946"/>
                  </a:lnTo>
                  <a:lnTo>
                    <a:pt x="1501014" y="66712"/>
                  </a:lnTo>
                  <a:lnTo>
                    <a:pt x="1505782" y="66712"/>
                  </a:lnTo>
                  <a:lnTo>
                    <a:pt x="1520074" y="71476"/>
                  </a:lnTo>
                  <a:lnTo>
                    <a:pt x="1534370" y="76242"/>
                  </a:lnTo>
                  <a:lnTo>
                    <a:pt x="1543902" y="76242"/>
                  </a:lnTo>
                  <a:lnTo>
                    <a:pt x="1558198" y="76242"/>
                  </a:lnTo>
                  <a:lnTo>
                    <a:pt x="1572494" y="71476"/>
                  </a:lnTo>
                  <a:lnTo>
                    <a:pt x="1582022" y="61946"/>
                  </a:lnTo>
                  <a:lnTo>
                    <a:pt x="1596318" y="19060"/>
                  </a:lnTo>
                  <a:lnTo>
                    <a:pt x="1601082" y="14296"/>
                  </a:lnTo>
                  <a:lnTo>
                    <a:pt x="1605846" y="14296"/>
                  </a:lnTo>
                  <a:lnTo>
                    <a:pt x="1620142" y="9530"/>
                  </a:lnTo>
                  <a:lnTo>
                    <a:pt x="1639202" y="19060"/>
                  </a:lnTo>
                  <a:lnTo>
                    <a:pt x="1663030" y="23826"/>
                  </a:lnTo>
                  <a:lnTo>
                    <a:pt x="1677326" y="23826"/>
                  </a:lnTo>
                  <a:lnTo>
                    <a:pt x="1720210"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32" name="Google Shape;4899;p64">
              <a:extLst>
                <a:ext uri="{FF2B5EF4-FFF2-40B4-BE49-F238E27FC236}">
                  <a16:creationId xmlns:a16="http://schemas.microsoft.com/office/drawing/2014/main" id="{C6E6693C-D9D9-AB6D-0A83-110CC93D9824}"/>
                </a:ext>
              </a:extLst>
            </p:cNvPr>
            <p:cNvCxnSpPr/>
            <p:nvPr/>
          </p:nvCxnSpPr>
          <p:spPr>
            <a:xfrm>
              <a:off x="5244943" y="3663695"/>
              <a:ext cx="0" cy="0"/>
            </a:xfrm>
            <a:prstGeom prst="straightConnector1">
              <a:avLst/>
            </a:prstGeom>
            <a:grpFill/>
            <a:ln w="9525" cap="flat" cmpd="sng">
              <a:solidFill>
                <a:schemeClr val="bg2"/>
              </a:solidFill>
              <a:prstDash val="solid"/>
              <a:round/>
              <a:headEnd type="none" w="med" len="med"/>
              <a:tailEnd type="none" w="med" len="med"/>
            </a:ln>
          </p:spPr>
        </p:cxnSp>
        <p:sp>
          <p:nvSpPr>
            <p:cNvPr id="433" name="Google Shape;4900;p64">
              <a:extLst>
                <a:ext uri="{FF2B5EF4-FFF2-40B4-BE49-F238E27FC236}">
                  <a16:creationId xmlns:a16="http://schemas.microsoft.com/office/drawing/2014/main" id="{C6DFF149-5ADD-AFFE-1672-E5FBE9A87F7E}"/>
                </a:ext>
              </a:extLst>
            </p:cNvPr>
            <p:cNvSpPr/>
            <p:nvPr/>
          </p:nvSpPr>
          <p:spPr>
            <a:xfrm>
              <a:off x="3268124" y="5669063"/>
              <a:ext cx="112886" cy="123387"/>
            </a:xfrm>
            <a:custGeom>
              <a:avLst/>
              <a:gdLst/>
              <a:ahLst/>
              <a:cxnLst/>
              <a:rect l="l" t="t" r="r" b="b"/>
              <a:pathLst>
                <a:path w="344" h="376" extrusionOk="0">
                  <a:moveTo>
                    <a:pt x="344" y="196"/>
                  </a:moveTo>
                  <a:lnTo>
                    <a:pt x="340" y="194"/>
                  </a:lnTo>
                  <a:lnTo>
                    <a:pt x="332" y="190"/>
                  </a:lnTo>
                  <a:lnTo>
                    <a:pt x="324" y="184"/>
                  </a:lnTo>
                  <a:lnTo>
                    <a:pt x="316" y="176"/>
                  </a:lnTo>
                  <a:lnTo>
                    <a:pt x="312" y="168"/>
                  </a:lnTo>
                  <a:lnTo>
                    <a:pt x="310" y="160"/>
                  </a:lnTo>
                  <a:lnTo>
                    <a:pt x="306" y="152"/>
                  </a:lnTo>
                  <a:lnTo>
                    <a:pt x="306" y="150"/>
                  </a:lnTo>
                  <a:lnTo>
                    <a:pt x="302" y="148"/>
                  </a:lnTo>
                  <a:lnTo>
                    <a:pt x="298" y="144"/>
                  </a:lnTo>
                  <a:lnTo>
                    <a:pt x="296" y="142"/>
                  </a:lnTo>
                  <a:lnTo>
                    <a:pt x="290" y="140"/>
                  </a:lnTo>
                  <a:lnTo>
                    <a:pt x="284" y="138"/>
                  </a:lnTo>
                  <a:lnTo>
                    <a:pt x="276" y="134"/>
                  </a:lnTo>
                  <a:lnTo>
                    <a:pt x="266" y="126"/>
                  </a:lnTo>
                  <a:lnTo>
                    <a:pt x="258" y="116"/>
                  </a:lnTo>
                  <a:lnTo>
                    <a:pt x="256" y="110"/>
                  </a:lnTo>
                  <a:lnTo>
                    <a:pt x="252" y="106"/>
                  </a:lnTo>
                  <a:lnTo>
                    <a:pt x="232" y="98"/>
                  </a:lnTo>
                  <a:lnTo>
                    <a:pt x="222" y="90"/>
                  </a:lnTo>
                  <a:lnTo>
                    <a:pt x="218" y="92"/>
                  </a:lnTo>
                  <a:lnTo>
                    <a:pt x="214" y="90"/>
                  </a:lnTo>
                  <a:lnTo>
                    <a:pt x="208" y="86"/>
                  </a:lnTo>
                  <a:lnTo>
                    <a:pt x="206" y="82"/>
                  </a:lnTo>
                  <a:lnTo>
                    <a:pt x="204" y="78"/>
                  </a:lnTo>
                  <a:lnTo>
                    <a:pt x="202" y="74"/>
                  </a:lnTo>
                  <a:lnTo>
                    <a:pt x="200" y="72"/>
                  </a:lnTo>
                  <a:lnTo>
                    <a:pt x="194" y="66"/>
                  </a:lnTo>
                  <a:lnTo>
                    <a:pt x="188" y="58"/>
                  </a:lnTo>
                  <a:lnTo>
                    <a:pt x="184" y="56"/>
                  </a:lnTo>
                  <a:lnTo>
                    <a:pt x="184" y="58"/>
                  </a:lnTo>
                  <a:lnTo>
                    <a:pt x="182" y="60"/>
                  </a:lnTo>
                  <a:lnTo>
                    <a:pt x="180" y="62"/>
                  </a:lnTo>
                  <a:lnTo>
                    <a:pt x="178" y="64"/>
                  </a:lnTo>
                  <a:lnTo>
                    <a:pt x="174" y="66"/>
                  </a:lnTo>
                  <a:lnTo>
                    <a:pt x="172" y="70"/>
                  </a:lnTo>
                  <a:lnTo>
                    <a:pt x="168" y="74"/>
                  </a:lnTo>
                  <a:lnTo>
                    <a:pt x="162" y="74"/>
                  </a:lnTo>
                  <a:lnTo>
                    <a:pt x="158" y="74"/>
                  </a:lnTo>
                  <a:lnTo>
                    <a:pt x="158" y="72"/>
                  </a:lnTo>
                  <a:lnTo>
                    <a:pt x="158" y="68"/>
                  </a:lnTo>
                  <a:lnTo>
                    <a:pt x="158" y="56"/>
                  </a:lnTo>
                  <a:lnTo>
                    <a:pt x="156" y="50"/>
                  </a:lnTo>
                  <a:lnTo>
                    <a:pt x="152" y="46"/>
                  </a:lnTo>
                  <a:lnTo>
                    <a:pt x="148" y="40"/>
                  </a:lnTo>
                  <a:lnTo>
                    <a:pt x="132" y="26"/>
                  </a:lnTo>
                  <a:lnTo>
                    <a:pt x="112" y="6"/>
                  </a:lnTo>
                  <a:lnTo>
                    <a:pt x="104" y="0"/>
                  </a:lnTo>
                  <a:lnTo>
                    <a:pt x="98" y="0"/>
                  </a:lnTo>
                  <a:lnTo>
                    <a:pt x="92" y="0"/>
                  </a:lnTo>
                  <a:lnTo>
                    <a:pt x="86" y="2"/>
                  </a:lnTo>
                  <a:lnTo>
                    <a:pt x="82" y="12"/>
                  </a:lnTo>
                  <a:lnTo>
                    <a:pt x="80" y="14"/>
                  </a:lnTo>
                  <a:lnTo>
                    <a:pt x="68" y="12"/>
                  </a:lnTo>
                  <a:lnTo>
                    <a:pt x="56" y="12"/>
                  </a:lnTo>
                  <a:lnTo>
                    <a:pt x="54" y="6"/>
                  </a:lnTo>
                  <a:lnTo>
                    <a:pt x="52" y="10"/>
                  </a:lnTo>
                  <a:lnTo>
                    <a:pt x="50" y="14"/>
                  </a:lnTo>
                  <a:lnTo>
                    <a:pt x="46" y="20"/>
                  </a:lnTo>
                  <a:lnTo>
                    <a:pt x="38" y="30"/>
                  </a:lnTo>
                  <a:lnTo>
                    <a:pt x="36" y="36"/>
                  </a:lnTo>
                  <a:lnTo>
                    <a:pt x="40" y="46"/>
                  </a:lnTo>
                  <a:lnTo>
                    <a:pt x="40" y="58"/>
                  </a:lnTo>
                  <a:lnTo>
                    <a:pt x="38" y="62"/>
                  </a:lnTo>
                  <a:lnTo>
                    <a:pt x="36" y="64"/>
                  </a:lnTo>
                  <a:lnTo>
                    <a:pt x="34" y="66"/>
                  </a:lnTo>
                  <a:lnTo>
                    <a:pt x="36" y="70"/>
                  </a:lnTo>
                  <a:lnTo>
                    <a:pt x="36" y="76"/>
                  </a:lnTo>
                  <a:lnTo>
                    <a:pt x="34" y="82"/>
                  </a:lnTo>
                  <a:lnTo>
                    <a:pt x="32" y="90"/>
                  </a:lnTo>
                  <a:lnTo>
                    <a:pt x="26" y="100"/>
                  </a:lnTo>
                  <a:lnTo>
                    <a:pt x="24" y="106"/>
                  </a:lnTo>
                  <a:lnTo>
                    <a:pt x="28" y="108"/>
                  </a:lnTo>
                  <a:lnTo>
                    <a:pt x="28" y="112"/>
                  </a:lnTo>
                  <a:lnTo>
                    <a:pt x="28" y="116"/>
                  </a:lnTo>
                  <a:lnTo>
                    <a:pt x="28" y="120"/>
                  </a:lnTo>
                  <a:lnTo>
                    <a:pt x="26" y="126"/>
                  </a:lnTo>
                  <a:lnTo>
                    <a:pt x="22" y="132"/>
                  </a:lnTo>
                  <a:lnTo>
                    <a:pt x="16" y="134"/>
                  </a:lnTo>
                  <a:lnTo>
                    <a:pt x="16" y="138"/>
                  </a:lnTo>
                  <a:lnTo>
                    <a:pt x="18" y="144"/>
                  </a:lnTo>
                  <a:lnTo>
                    <a:pt x="18" y="148"/>
                  </a:lnTo>
                  <a:lnTo>
                    <a:pt x="16" y="154"/>
                  </a:lnTo>
                  <a:lnTo>
                    <a:pt x="18" y="160"/>
                  </a:lnTo>
                  <a:lnTo>
                    <a:pt x="20" y="164"/>
                  </a:lnTo>
                  <a:lnTo>
                    <a:pt x="20" y="170"/>
                  </a:lnTo>
                  <a:lnTo>
                    <a:pt x="14" y="182"/>
                  </a:lnTo>
                  <a:lnTo>
                    <a:pt x="18" y="188"/>
                  </a:lnTo>
                  <a:lnTo>
                    <a:pt x="20" y="204"/>
                  </a:lnTo>
                  <a:lnTo>
                    <a:pt x="22" y="214"/>
                  </a:lnTo>
                  <a:lnTo>
                    <a:pt x="22" y="220"/>
                  </a:lnTo>
                  <a:lnTo>
                    <a:pt x="18" y="228"/>
                  </a:lnTo>
                  <a:lnTo>
                    <a:pt x="14" y="232"/>
                  </a:lnTo>
                  <a:lnTo>
                    <a:pt x="8" y="234"/>
                  </a:lnTo>
                  <a:lnTo>
                    <a:pt x="4" y="236"/>
                  </a:lnTo>
                  <a:lnTo>
                    <a:pt x="4" y="242"/>
                  </a:lnTo>
                  <a:lnTo>
                    <a:pt x="0" y="262"/>
                  </a:lnTo>
                  <a:lnTo>
                    <a:pt x="0" y="278"/>
                  </a:lnTo>
                  <a:lnTo>
                    <a:pt x="2" y="294"/>
                  </a:lnTo>
                  <a:lnTo>
                    <a:pt x="14" y="310"/>
                  </a:lnTo>
                  <a:lnTo>
                    <a:pt x="30" y="326"/>
                  </a:lnTo>
                  <a:lnTo>
                    <a:pt x="34" y="332"/>
                  </a:lnTo>
                  <a:lnTo>
                    <a:pt x="36" y="336"/>
                  </a:lnTo>
                  <a:lnTo>
                    <a:pt x="38" y="338"/>
                  </a:lnTo>
                  <a:lnTo>
                    <a:pt x="58" y="336"/>
                  </a:lnTo>
                  <a:lnTo>
                    <a:pt x="82" y="338"/>
                  </a:lnTo>
                  <a:lnTo>
                    <a:pt x="102" y="354"/>
                  </a:lnTo>
                  <a:lnTo>
                    <a:pt x="128" y="362"/>
                  </a:lnTo>
                  <a:lnTo>
                    <a:pt x="134" y="370"/>
                  </a:lnTo>
                  <a:lnTo>
                    <a:pt x="142" y="372"/>
                  </a:lnTo>
                  <a:lnTo>
                    <a:pt x="146" y="374"/>
                  </a:lnTo>
                  <a:lnTo>
                    <a:pt x="152" y="374"/>
                  </a:lnTo>
                  <a:lnTo>
                    <a:pt x="168" y="366"/>
                  </a:lnTo>
                  <a:lnTo>
                    <a:pt x="180" y="362"/>
                  </a:lnTo>
                  <a:lnTo>
                    <a:pt x="200" y="366"/>
                  </a:lnTo>
                  <a:lnTo>
                    <a:pt x="208" y="372"/>
                  </a:lnTo>
                  <a:lnTo>
                    <a:pt x="218" y="372"/>
                  </a:lnTo>
                  <a:lnTo>
                    <a:pt x="230" y="376"/>
                  </a:lnTo>
                  <a:lnTo>
                    <a:pt x="266" y="360"/>
                  </a:lnTo>
                  <a:lnTo>
                    <a:pt x="272" y="354"/>
                  </a:lnTo>
                  <a:lnTo>
                    <a:pt x="280" y="354"/>
                  </a:lnTo>
                  <a:lnTo>
                    <a:pt x="290" y="342"/>
                  </a:lnTo>
                  <a:lnTo>
                    <a:pt x="304" y="332"/>
                  </a:lnTo>
                  <a:lnTo>
                    <a:pt x="306" y="320"/>
                  </a:lnTo>
                  <a:lnTo>
                    <a:pt x="320" y="302"/>
                  </a:lnTo>
                  <a:lnTo>
                    <a:pt x="324" y="290"/>
                  </a:lnTo>
                  <a:lnTo>
                    <a:pt x="328" y="284"/>
                  </a:lnTo>
                  <a:lnTo>
                    <a:pt x="332" y="280"/>
                  </a:lnTo>
                  <a:lnTo>
                    <a:pt x="330" y="280"/>
                  </a:lnTo>
                  <a:lnTo>
                    <a:pt x="326" y="278"/>
                  </a:lnTo>
                  <a:lnTo>
                    <a:pt x="322" y="276"/>
                  </a:lnTo>
                  <a:lnTo>
                    <a:pt x="320" y="274"/>
                  </a:lnTo>
                  <a:lnTo>
                    <a:pt x="320" y="272"/>
                  </a:lnTo>
                  <a:lnTo>
                    <a:pt x="320" y="266"/>
                  </a:lnTo>
                  <a:lnTo>
                    <a:pt x="320" y="264"/>
                  </a:lnTo>
                  <a:lnTo>
                    <a:pt x="318" y="262"/>
                  </a:lnTo>
                  <a:lnTo>
                    <a:pt x="318" y="260"/>
                  </a:lnTo>
                  <a:lnTo>
                    <a:pt x="318" y="256"/>
                  </a:lnTo>
                  <a:lnTo>
                    <a:pt x="318" y="252"/>
                  </a:lnTo>
                  <a:lnTo>
                    <a:pt x="318" y="246"/>
                  </a:lnTo>
                  <a:lnTo>
                    <a:pt x="316" y="242"/>
                  </a:lnTo>
                  <a:lnTo>
                    <a:pt x="314" y="238"/>
                  </a:lnTo>
                  <a:lnTo>
                    <a:pt x="314" y="234"/>
                  </a:lnTo>
                  <a:lnTo>
                    <a:pt x="316" y="228"/>
                  </a:lnTo>
                  <a:lnTo>
                    <a:pt x="320" y="224"/>
                  </a:lnTo>
                  <a:lnTo>
                    <a:pt x="324" y="220"/>
                  </a:lnTo>
                  <a:lnTo>
                    <a:pt x="330" y="220"/>
                  </a:lnTo>
                  <a:lnTo>
                    <a:pt x="332" y="216"/>
                  </a:lnTo>
                  <a:lnTo>
                    <a:pt x="334" y="214"/>
                  </a:lnTo>
                  <a:lnTo>
                    <a:pt x="334" y="210"/>
                  </a:lnTo>
                  <a:lnTo>
                    <a:pt x="334" y="206"/>
                  </a:lnTo>
                  <a:lnTo>
                    <a:pt x="336" y="204"/>
                  </a:lnTo>
                  <a:lnTo>
                    <a:pt x="338" y="202"/>
                  </a:lnTo>
                  <a:lnTo>
                    <a:pt x="342" y="200"/>
                  </a:lnTo>
                  <a:lnTo>
                    <a:pt x="344" y="19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34" name="Google Shape;4901;p64">
              <a:extLst>
                <a:ext uri="{FF2B5EF4-FFF2-40B4-BE49-F238E27FC236}">
                  <a16:creationId xmlns:a16="http://schemas.microsoft.com/office/drawing/2014/main" id="{FE08DCBA-75A9-0234-CCBD-D9495F475E8D}"/>
                </a:ext>
              </a:extLst>
            </p:cNvPr>
            <p:cNvSpPr/>
            <p:nvPr/>
          </p:nvSpPr>
          <p:spPr>
            <a:xfrm>
              <a:off x="2932747" y="4876564"/>
              <a:ext cx="843364" cy="884383"/>
            </a:xfrm>
            <a:custGeom>
              <a:avLst/>
              <a:gdLst/>
              <a:ahLst/>
              <a:cxnLst/>
              <a:rect l="l" t="t" r="r" b="b"/>
              <a:pathLst>
                <a:path w="6123188" h="6421008" extrusionOk="0">
                  <a:moveTo>
                    <a:pt x="3997942" y="5272612"/>
                  </a:moveTo>
                  <a:lnTo>
                    <a:pt x="4002708" y="5282144"/>
                  </a:lnTo>
                  <a:lnTo>
                    <a:pt x="3997942" y="5301204"/>
                  </a:lnTo>
                  <a:lnTo>
                    <a:pt x="3983648" y="5325030"/>
                  </a:lnTo>
                  <a:lnTo>
                    <a:pt x="3988412" y="5334560"/>
                  </a:lnTo>
                  <a:lnTo>
                    <a:pt x="3974116" y="5344090"/>
                  </a:lnTo>
                  <a:lnTo>
                    <a:pt x="3978882" y="5301204"/>
                  </a:lnTo>
                  <a:lnTo>
                    <a:pt x="3983648" y="5286908"/>
                  </a:lnTo>
                  <a:lnTo>
                    <a:pt x="3988412" y="5277378"/>
                  </a:lnTo>
                  <a:close/>
                  <a:moveTo>
                    <a:pt x="3978882" y="5058182"/>
                  </a:moveTo>
                  <a:lnTo>
                    <a:pt x="3983648" y="5062948"/>
                  </a:lnTo>
                  <a:lnTo>
                    <a:pt x="3978882" y="5082008"/>
                  </a:lnTo>
                  <a:lnTo>
                    <a:pt x="3974116" y="5091538"/>
                  </a:lnTo>
                  <a:lnTo>
                    <a:pt x="3969352" y="5096304"/>
                  </a:lnTo>
                  <a:lnTo>
                    <a:pt x="3959820" y="5077242"/>
                  </a:lnTo>
                  <a:close/>
                  <a:moveTo>
                    <a:pt x="4483986" y="4634086"/>
                  </a:moveTo>
                  <a:lnTo>
                    <a:pt x="4488750" y="4638852"/>
                  </a:lnTo>
                  <a:lnTo>
                    <a:pt x="4493516" y="4643616"/>
                  </a:lnTo>
                  <a:lnTo>
                    <a:pt x="4493516" y="4653146"/>
                  </a:lnTo>
                  <a:lnTo>
                    <a:pt x="4493516" y="4657912"/>
                  </a:lnTo>
                  <a:lnTo>
                    <a:pt x="4493516" y="4662676"/>
                  </a:lnTo>
                  <a:lnTo>
                    <a:pt x="4493516" y="4672208"/>
                  </a:lnTo>
                  <a:lnTo>
                    <a:pt x="4483986" y="4667442"/>
                  </a:lnTo>
                  <a:lnTo>
                    <a:pt x="4464926" y="4672208"/>
                  </a:lnTo>
                  <a:lnTo>
                    <a:pt x="4460160" y="4662676"/>
                  </a:lnTo>
                  <a:close/>
                  <a:moveTo>
                    <a:pt x="4650764" y="4524488"/>
                  </a:moveTo>
                  <a:lnTo>
                    <a:pt x="4655530" y="4524488"/>
                  </a:lnTo>
                  <a:lnTo>
                    <a:pt x="4655530" y="4529254"/>
                  </a:lnTo>
                  <a:lnTo>
                    <a:pt x="4669824" y="4534018"/>
                  </a:lnTo>
                  <a:lnTo>
                    <a:pt x="4674590" y="4538784"/>
                  </a:lnTo>
                  <a:lnTo>
                    <a:pt x="4665060" y="4538784"/>
                  </a:lnTo>
                  <a:lnTo>
                    <a:pt x="4655530" y="4543548"/>
                  </a:lnTo>
                  <a:lnTo>
                    <a:pt x="4636470" y="4548314"/>
                  </a:lnTo>
                  <a:lnTo>
                    <a:pt x="4631704" y="4538784"/>
                  </a:lnTo>
                  <a:lnTo>
                    <a:pt x="4646000" y="4529254"/>
                  </a:lnTo>
                  <a:close/>
                  <a:moveTo>
                    <a:pt x="5470368" y="2928172"/>
                  </a:moveTo>
                  <a:lnTo>
                    <a:pt x="5484664" y="2932936"/>
                  </a:lnTo>
                  <a:lnTo>
                    <a:pt x="5484664" y="2942466"/>
                  </a:lnTo>
                  <a:lnTo>
                    <a:pt x="5479898" y="2951996"/>
                  </a:lnTo>
                  <a:lnTo>
                    <a:pt x="5470368" y="2951996"/>
                  </a:lnTo>
                  <a:lnTo>
                    <a:pt x="5470368" y="2942466"/>
                  </a:lnTo>
                  <a:lnTo>
                    <a:pt x="5465602" y="2937702"/>
                  </a:lnTo>
                  <a:lnTo>
                    <a:pt x="5470368" y="2932936"/>
                  </a:lnTo>
                  <a:close/>
                  <a:moveTo>
                    <a:pt x="5522784" y="2849544"/>
                  </a:moveTo>
                  <a:lnTo>
                    <a:pt x="5527548" y="2859076"/>
                  </a:lnTo>
                  <a:lnTo>
                    <a:pt x="5532314" y="2863840"/>
                  </a:lnTo>
                  <a:lnTo>
                    <a:pt x="5532314" y="2866224"/>
                  </a:lnTo>
                  <a:lnTo>
                    <a:pt x="5508488" y="2880518"/>
                  </a:lnTo>
                  <a:lnTo>
                    <a:pt x="5503724" y="2885284"/>
                  </a:lnTo>
                  <a:lnTo>
                    <a:pt x="5503724" y="2875754"/>
                  </a:lnTo>
                  <a:lnTo>
                    <a:pt x="5518018" y="2863840"/>
                  </a:lnTo>
                  <a:close/>
                  <a:moveTo>
                    <a:pt x="4612644" y="1243698"/>
                  </a:moveTo>
                  <a:lnTo>
                    <a:pt x="4612644" y="1257994"/>
                  </a:lnTo>
                  <a:lnTo>
                    <a:pt x="4607878" y="1281818"/>
                  </a:lnTo>
                  <a:lnTo>
                    <a:pt x="4593584" y="1296114"/>
                  </a:lnTo>
                  <a:lnTo>
                    <a:pt x="4598348" y="1277054"/>
                  </a:lnTo>
                  <a:lnTo>
                    <a:pt x="4598348" y="1267524"/>
                  </a:lnTo>
                  <a:lnTo>
                    <a:pt x="4598348" y="1257994"/>
                  </a:lnTo>
                  <a:lnTo>
                    <a:pt x="4607878" y="1248464"/>
                  </a:lnTo>
                  <a:close/>
                  <a:moveTo>
                    <a:pt x="4536402" y="1019736"/>
                  </a:moveTo>
                  <a:lnTo>
                    <a:pt x="4550698" y="1019736"/>
                  </a:lnTo>
                  <a:lnTo>
                    <a:pt x="4550698" y="1024502"/>
                  </a:lnTo>
                  <a:lnTo>
                    <a:pt x="4541168" y="1034032"/>
                  </a:lnTo>
                  <a:lnTo>
                    <a:pt x="4536402" y="1038798"/>
                  </a:lnTo>
                  <a:lnTo>
                    <a:pt x="4526872" y="1034032"/>
                  </a:lnTo>
                  <a:lnTo>
                    <a:pt x="4531638" y="1029268"/>
                  </a:lnTo>
                  <a:close/>
                  <a:moveTo>
                    <a:pt x="3554786" y="905374"/>
                  </a:moveTo>
                  <a:lnTo>
                    <a:pt x="3569080" y="924434"/>
                  </a:lnTo>
                  <a:lnTo>
                    <a:pt x="3550020" y="981616"/>
                  </a:lnTo>
                  <a:lnTo>
                    <a:pt x="3545256" y="981616"/>
                  </a:lnTo>
                  <a:lnTo>
                    <a:pt x="3521430" y="1010206"/>
                  </a:lnTo>
                  <a:lnTo>
                    <a:pt x="3492840" y="1029268"/>
                  </a:lnTo>
                  <a:lnTo>
                    <a:pt x="3464248" y="1043562"/>
                  </a:lnTo>
                  <a:lnTo>
                    <a:pt x="3449952" y="1048328"/>
                  </a:lnTo>
                  <a:lnTo>
                    <a:pt x="3469014" y="1010206"/>
                  </a:lnTo>
                  <a:lnTo>
                    <a:pt x="3488074" y="991146"/>
                  </a:lnTo>
                  <a:lnTo>
                    <a:pt x="3488074" y="953026"/>
                  </a:lnTo>
                  <a:lnTo>
                    <a:pt x="3507134" y="924434"/>
                  </a:lnTo>
                  <a:lnTo>
                    <a:pt x="3530960" y="910140"/>
                  </a:lnTo>
                  <a:close/>
                  <a:moveTo>
                    <a:pt x="3712034" y="838662"/>
                  </a:moveTo>
                  <a:lnTo>
                    <a:pt x="3807336" y="857722"/>
                  </a:lnTo>
                  <a:lnTo>
                    <a:pt x="3821632" y="857722"/>
                  </a:lnTo>
                  <a:lnTo>
                    <a:pt x="3845458" y="852958"/>
                  </a:lnTo>
                  <a:lnTo>
                    <a:pt x="3859754" y="848192"/>
                  </a:lnTo>
                  <a:lnTo>
                    <a:pt x="3874048" y="843428"/>
                  </a:lnTo>
                  <a:lnTo>
                    <a:pt x="3888344" y="848192"/>
                  </a:lnTo>
                  <a:lnTo>
                    <a:pt x="3940760" y="852958"/>
                  </a:lnTo>
                  <a:lnTo>
                    <a:pt x="3969352" y="857722"/>
                  </a:lnTo>
                  <a:lnTo>
                    <a:pt x="3983646" y="857722"/>
                  </a:lnTo>
                  <a:lnTo>
                    <a:pt x="3993176" y="862488"/>
                  </a:lnTo>
                  <a:lnTo>
                    <a:pt x="4002708" y="867252"/>
                  </a:lnTo>
                  <a:lnTo>
                    <a:pt x="4002708" y="876784"/>
                  </a:lnTo>
                  <a:lnTo>
                    <a:pt x="3997942" y="891078"/>
                  </a:lnTo>
                  <a:lnTo>
                    <a:pt x="3988412" y="905374"/>
                  </a:lnTo>
                  <a:lnTo>
                    <a:pt x="3983646" y="924434"/>
                  </a:lnTo>
                  <a:lnTo>
                    <a:pt x="3983646" y="929200"/>
                  </a:lnTo>
                  <a:lnTo>
                    <a:pt x="3974116" y="929200"/>
                  </a:lnTo>
                  <a:lnTo>
                    <a:pt x="3978882" y="948260"/>
                  </a:lnTo>
                  <a:lnTo>
                    <a:pt x="3978882" y="953026"/>
                  </a:lnTo>
                  <a:lnTo>
                    <a:pt x="3974116" y="962556"/>
                  </a:lnTo>
                  <a:lnTo>
                    <a:pt x="3964586" y="976850"/>
                  </a:lnTo>
                  <a:lnTo>
                    <a:pt x="3955056" y="991146"/>
                  </a:lnTo>
                  <a:lnTo>
                    <a:pt x="3950290" y="995912"/>
                  </a:lnTo>
                  <a:lnTo>
                    <a:pt x="3940760" y="1005442"/>
                  </a:lnTo>
                  <a:lnTo>
                    <a:pt x="3931230" y="1014972"/>
                  </a:lnTo>
                  <a:lnTo>
                    <a:pt x="3931230" y="1019736"/>
                  </a:lnTo>
                  <a:lnTo>
                    <a:pt x="3935996" y="1029268"/>
                  </a:lnTo>
                  <a:lnTo>
                    <a:pt x="3931230" y="1038798"/>
                  </a:lnTo>
                  <a:lnTo>
                    <a:pt x="3916934" y="1053092"/>
                  </a:lnTo>
                  <a:lnTo>
                    <a:pt x="3907404" y="1057858"/>
                  </a:lnTo>
                  <a:lnTo>
                    <a:pt x="3902640" y="1057858"/>
                  </a:lnTo>
                  <a:lnTo>
                    <a:pt x="3893110" y="1057858"/>
                  </a:lnTo>
                  <a:lnTo>
                    <a:pt x="3878814" y="1043562"/>
                  </a:lnTo>
                  <a:lnTo>
                    <a:pt x="3878814" y="1053092"/>
                  </a:lnTo>
                  <a:lnTo>
                    <a:pt x="3874048" y="1062622"/>
                  </a:lnTo>
                  <a:lnTo>
                    <a:pt x="3869284" y="1072154"/>
                  </a:lnTo>
                  <a:lnTo>
                    <a:pt x="3854988" y="1072154"/>
                  </a:lnTo>
                  <a:lnTo>
                    <a:pt x="3845458" y="1062622"/>
                  </a:lnTo>
                  <a:lnTo>
                    <a:pt x="3826398" y="1057858"/>
                  </a:lnTo>
                  <a:lnTo>
                    <a:pt x="3826398" y="1076918"/>
                  </a:lnTo>
                  <a:lnTo>
                    <a:pt x="3816868" y="1086448"/>
                  </a:lnTo>
                  <a:lnTo>
                    <a:pt x="3807336" y="1091214"/>
                  </a:lnTo>
                  <a:lnTo>
                    <a:pt x="3788276" y="1095978"/>
                  </a:lnTo>
                  <a:lnTo>
                    <a:pt x="3778746" y="1100744"/>
                  </a:lnTo>
                  <a:lnTo>
                    <a:pt x="3764450" y="1095978"/>
                  </a:lnTo>
                  <a:lnTo>
                    <a:pt x="3750156" y="1086448"/>
                  </a:lnTo>
                  <a:lnTo>
                    <a:pt x="3740626" y="1086448"/>
                  </a:lnTo>
                  <a:lnTo>
                    <a:pt x="3735860" y="1095978"/>
                  </a:lnTo>
                  <a:lnTo>
                    <a:pt x="3697738" y="1095978"/>
                  </a:lnTo>
                  <a:lnTo>
                    <a:pt x="3683444" y="1100744"/>
                  </a:lnTo>
                  <a:lnTo>
                    <a:pt x="3673914" y="1100744"/>
                  </a:lnTo>
                  <a:lnTo>
                    <a:pt x="3654852" y="1086448"/>
                  </a:lnTo>
                  <a:lnTo>
                    <a:pt x="3654852" y="1076918"/>
                  </a:lnTo>
                  <a:lnTo>
                    <a:pt x="3645322" y="1057858"/>
                  </a:lnTo>
                  <a:lnTo>
                    <a:pt x="3635792" y="1034032"/>
                  </a:lnTo>
                  <a:lnTo>
                    <a:pt x="3631028" y="1014972"/>
                  </a:lnTo>
                  <a:lnTo>
                    <a:pt x="3635792" y="995912"/>
                  </a:lnTo>
                  <a:lnTo>
                    <a:pt x="3645322" y="995912"/>
                  </a:lnTo>
                  <a:lnTo>
                    <a:pt x="3659618" y="1000676"/>
                  </a:lnTo>
                  <a:lnTo>
                    <a:pt x="3659618" y="991146"/>
                  </a:lnTo>
                  <a:lnTo>
                    <a:pt x="3659618" y="986380"/>
                  </a:lnTo>
                  <a:lnTo>
                    <a:pt x="3640558" y="991146"/>
                  </a:lnTo>
                  <a:lnTo>
                    <a:pt x="3631028" y="976850"/>
                  </a:lnTo>
                  <a:lnTo>
                    <a:pt x="3626262" y="962556"/>
                  </a:lnTo>
                  <a:lnTo>
                    <a:pt x="3631028" y="929200"/>
                  </a:lnTo>
                  <a:lnTo>
                    <a:pt x="3631028" y="919670"/>
                  </a:lnTo>
                  <a:lnTo>
                    <a:pt x="3640558" y="910138"/>
                  </a:lnTo>
                  <a:lnTo>
                    <a:pt x="3640558" y="905374"/>
                  </a:lnTo>
                  <a:lnTo>
                    <a:pt x="3640558" y="895844"/>
                  </a:lnTo>
                  <a:lnTo>
                    <a:pt x="3640558" y="876784"/>
                  </a:lnTo>
                  <a:lnTo>
                    <a:pt x="3650088" y="862488"/>
                  </a:lnTo>
                  <a:lnTo>
                    <a:pt x="3678678" y="843428"/>
                  </a:lnTo>
                  <a:close/>
                  <a:moveTo>
                    <a:pt x="3616732" y="829132"/>
                  </a:moveTo>
                  <a:lnTo>
                    <a:pt x="3631028" y="829132"/>
                  </a:lnTo>
                  <a:lnTo>
                    <a:pt x="3645322" y="829132"/>
                  </a:lnTo>
                  <a:lnTo>
                    <a:pt x="3650088" y="838662"/>
                  </a:lnTo>
                  <a:lnTo>
                    <a:pt x="3650088" y="843428"/>
                  </a:lnTo>
                  <a:lnTo>
                    <a:pt x="3607202" y="872018"/>
                  </a:lnTo>
                  <a:lnTo>
                    <a:pt x="3592906" y="862488"/>
                  </a:lnTo>
                  <a:lnTo>
                    <a:pt x="3588140" y="857722"/>
                  </a:lnTo>
                  <a:lnTo>
                    <a:pt x="3592906" y="848192"/>
                  </a:lnTo>
                  <a:lnTo>
                    <a:pt x="3597672" y="838662"/>
                  </a:lnTo>
                  <a:close/>
                  <a:moveTo>
                    <a:pt x="3812102" y="810072"/>
                  </a:moveTo>
                  <a:lnTo>
                    <a:pt x="3826398" y="810072"/>
                  </a:lnTo>
                  <a:lnTo>
                    <a:pt x="3845458" y="810072"/>
                  </a:lnTo>
                  <a:lnTo>
                    <a:pt x="3850224" y="819602"/>
                  </a:lnTo>
                  <a:lnTo>
                    <a:pt x="3845458" y="829132"/>
                  </a:lnTo>
                  <a:lnTo>
                    <a:pt x="3835928" y="838662"/>
                  </a:lnTo>
                  <a:lnTo>
                    <a:pt x="3797808" y="843428"/>
                  </a:lnTo>
                  <a:lnTo>
                    <a:pt x="3778748" y="833896"/>
                  </a:lnTo>
                  <a:lnTo>
                    <a:pt x="3783512" y="829132"/>
                  </a:lnTo>
                  <a:lnTo>
                    <a:pt x="3797808" y="819602"/>
                  </a:lnTo>
                  <a:close/>
                  <a:moveTo>
                    <a:pt x="3769216" y="771950"/>
                  </a:moveTo>
                  <a:lnTo>
                    <a:pt x="3793042" y="781480"/>
                  </a:lnTo>
                  <a:lnTo>
                    <a:pt x="3797808" y="786246"/>
                  </a:lnTo>
                  <a:lnTo>
                    <a:pt x="3773982" y="819600"/>
                  </a:lnTo>
                  <a:lnTo>
                    <a:pt x="3764452" y="824366"/>
                  </a:lnTo>
                  <a:lnTo>
                    <a:pt x="3750156" y="824366"/>
                  </a:lnTo>
                  <a:lnTo>
                    <a:pt x="3731096" y="814836"/>
                  </a:lnTo>
                  <a:lnTo>
                    <a:pt x="3707270" y="814836"/>
                  </a:lnTo>
                  <a:lnTo>
                    <a:pt x="3697740" y="814836"/>
                  </a:lnTo>
                  <a:lnTo>
                    <a:pt x="3697740" y="800540"/>
                  </a:lnTo>
                  <a:lnTo>
                    <a:pt x="3707270" y="786246"/>
                  </a:lnTo>
                  <a:lnTo>
                    <a:pt x="3731096" y="786246"/>
                  </a:lnTo>
                  <a:close/>
                  <a:moveTo>
                    <a:pt x="3688208" y="729064"/>
                  </a:moveTo>
                  <a:lnTo>
                    <a:pt x="3692974" y="729064"/>
                  </a:lnTo>
                  <a:lnTo>
                    <a:pt x="3697740" y="729064"/>
                  </a:lnTo>
                  <a:lnTo>
                    <a:pt x="3697740" y="762420"/>
                  </a:lnTo>
                  <a:lnTo>
                    <a:pt x="3697740" y="781480"/>
                  </a:lnTo>
                  <a:lnTo>
                    <a:pt x="3683444" y="800542"/>
                  </a:lnTo>
                  <a:lnTo>
                    <a:pt x="3683444" y="824368"/>
                  </a:lnTo>
                  <a:lnTo>
                    <a:pt x="3654852" y="810072"/>
                  </a:lnTo>
                  <a:lnTo>
                    <a:pt x="3654852" y="791010"/>
                  </a:lnTo>
                  <a:lnTo>
                    <a:pt x="3669148" y="781480"/>
                  </a:lnTo>
                  <a:lnTo>
                    <a:pt x="3678678" y="771950"/>
                  </a:lnTo>
                  <a:lnTo>
                    <a:pt x="3683444" y="752890"/>
                  </a:lnTo>
                  <a:lnTo>
                    <a:pt x="3683444" y="733830"/>
                  </a:lnTo>
                  <a:close/>
                  <a:moveTo>
                    <a:pt x="3740626" y="719534"/>
                  </a:moveTo>
                  <a:lnTo>
                    <a:pt x="3745392" y="729064"/>
                  </a:lnTo>
                  <a:lnTo>
                    <a:pt x="3745392" y="738594"/>
                  </a:lnTo>
                  <a:lnTo>
                    <a:pt x="3726330" y="757654"/>
                  </a:lnTo>
                  <a:lnTo>
                    <a:pt x="3712036" y="767184"/>
                  </a:lnTo>
                  <a:lnTo>
                    <a:pt x="3707270" y="757654"/>
                  </a:lnTo>
                  <a:lnTo>
                    <a:pt x="3707270" y="738594"/>
                  </a:lnTo>
                  <a:lnTo>
                    <a:pt x="3712036" y="729064"/>
                  </a:lnTo>
                  <a:lnTo>
                    <a:pt x="3731096" y="724300"/>
                  </a:lnTo>
                  <a:lnTo>
                    <a:pt x="3735860" y="724300"/>
                  </a:lnTo>
                  <a:close/>
                  <a:moveTo>
                    <a:pt x="3683444" y="481276"/>
                  </a:moveTo>
                  <a:lnTo>
                    <a:pt x="3692974" y="486042"/>
                  </a:lnTo>
                  <a:lnTo>
                    <a:pt x="3697740" y="486042"/>
                  </a:lnTo>
                  <a:lnTo>
                    <a:pt x="3707270" y="509868"/>
                  </a:lnTo>
                  <a:lnTo>
                    <a:pt x="3702504" y="519398"/>
                  </a:lnTo>
                  <a:lnTo>
                    <a:pt x="3688210" y="524164"/>
                  </a:lnTo>
                  <a:lnTo>
                    <a:pt x="3678680" y="524164"/>
                  </a:lnTo>
                  <a:lnTo>
                    <a:pt x="3669148" y="505102"/>
                  </a:lnTo>
                  <a:lnTo>
                    <a:pt x="3673914" y="490808"/>
                  </a:lnTo>
                  <a:close/>
                  <a:moveTo>
                    <a:pt x="2149074" y="0"/>
                  </a:moveTo>
                  <a:lnTo>
                    <a:pt x="2158604" y="0"/>
                  </a:lnTo>
                  <a:lnTo>
                    <a:pt x="2168134" y="0"/>
                  </a:lnTo>
                  <a:lnTo>
                    <a:pt x="2172898" y="9530"/>
                  </a:lnTo>
                  <a:lnTo>
                    <a:pt x="2177664" y="14294"/>
                  </a:lnTo>
                  <a:lnTo>
                    <a:pt x="2191960" y="23824"/>
                  </a:lnTo>
                  <a:lnTo>
                    <a:pt x="2187194" y="42886"/>
                  </a:lnTo>
                  <a:lnTo>
                    <a:pt x="2187194" y="52416"/>
                  </a:lnTo>
                  <a:lnTo>
                    <a:pt x="2182428" y="66710"/>
                  </a:lnTo>
                  <a:lnTo>
                    <a:pt x="2182428" y="81006"/>
                  </a:lnTo>
                  <a:lnTo>
                    <a:pt x="2177664" y="90536"/>
                  </a:lnTo>
                  <a:lnTo>
                    <a:pt x="2168134" y="100066"/>
                  </a:lnTo>
                  <a:lnTo>
                    <a:pt x="2168134" y="104832"/>
                  </a:lnTo>
                  <a:lnTo>
                    <a:pt x="2163368" y="109596"/>
                  </a:lnTo>
                  <a:lnTo>
                    <a:pt x="2172898" y="114362"/>
                  </a:lnTo>
                  <a:lnTo>
                    <a:pt x="2182428" y="119128"/>
                  </a:lnTo>
                  <a:lnTo>
                    <a:pt x="2196724" y="119128"/>
                  </a:lnTo>
                  <a:lnTo>
                    <a:pt x="2201490" y="119128"/>
                  </a:lnTo>
                  <a:lnTo>
                    <a:pt x="2215784" y="119128"/>
                  </a:lnTo>
                  <a:lnTo>
                    <a:pt x="2230080" y="128658"/>
                  </a:lnTo>
                  <a:lnTo>
                    <a:pt x="2234846" y="138188"/>
                  </a:lnTo>
                  <a:lnTo>
                    <a:pt x="2230080" y="152484"/>
                  </a:lnTo>
                  <a:lnTo>
                    <a:pt x="2230080" y="162014"/>
                  </a:lnTo>
                  <a:lnTo>
                    <a:pt x="2234846" y="166778"/>
                  </a:lnTo>
                  <a:lnTo>
                    <a:pt x="2239610" y="171544"/>
                  </a:lnTo>
                  <a:lnTo>
                    <a:pt x="2249140" y="190604"/>
                  </a:lnTo>
                  <a:lnTo>
                    <a:pt x="2253906" y="200134"/>
                  </a:lnTo>
                  <a:lnTo>
                    <a:pt x="2258672" y="200134"/>
                  </a:lnTo>
                  <a:lnTo>
                    <a:pt x="2258672" y="204900"/>
                  </a:lnTo>
                  <a:lnTo>
                    <a:pt x="2253906" y="214430"/>
                  </a:lnTo>
                  <a:lnTo>
                    <a:pt x="2249140" y="223960"/>
                  </a:lnTo>
                  <a:lnTo>
                    <a:pt x="2239610" y="233490"/>
                  </a:lnTo>
                  <a:lnTo>
                    <a:pt x="2239610" y="243020"/>
                  </a:lnTo>
                  <a:lnTo>
                    <a:pt x="2230080" y="247786"/>
                  </a:lnTo>
                  <a:lnTo>
                    <a:pt x="2211020" y="262080"/>
                  </a:lnTo>
                  <a:lnTo>
                    <a:pt x="2215784" y="281142"/>
                  </a:lnTo>
                  <a:lnTo>
                    <a:pt x="2215784" y="290672"/>
                  </a:lnTo>
                  <a:lnTo>
                    <a:pt x="2215784" y="295436"/>
                  </a:lnTo>
                  <a:lnTo>
                    <a:pt x="2206254" y="309732"/>
                  </a:lnTo>
                  <a:lnTo>
                    <a:pt x="2196724" y="338324"/>
                  </a:lnTo>
                  <a:lnTo>
                    <a:pt x="2191960" y="352618"/>
                  </a:lnTo>
                  <a:lnTo>
                    <a:pt x="2187194" y="390740"/>
                  </a:lnTo>
                  <a:lnTo>
                    <a:pt x="2191960" y="400270"/>
                  </a:lnTo>
                  <a:lnTo>
                    <a:pt x="2196724" y="414566"/>
                  </a:lnTo>
                  <a:lnTo>
                    <a:pt x="2206254" y="452686"/>
                  </a:lnTo>
                  <a:lnTo>
                    <a:pt x="2211020" y="457452"/>
                  </a:lnTo>
                  <a:lnTo>
                    <a:pt x="2225316" y="466982"/>
                  </a:lnTo>
                  <a:lnTo>
                    <a:pt x="2230080" y="490808"/>
                  </a:lnTo>
                  <a:lnTo>
                    <a:pt x="2225316" y="514632"/>
                  </a:lnTo>
                  <a:lnTo>
                    <a:pt x="2225316" y="524164"/>
                  </a:lnTo>
                  <a:lnTo>
                    <a:pt x="2230080" y="528928"/>
                  </a:lnTo>
                  <a:lnTo>
                    <a:pt x="2234846" y="528928"/>
                  </a:lnTo>
                  <a:lnTo>
                    <a:pt x="2239610" y="533694"/>
                  </a:lnTo>
                  <a:lnTo>
                    <a:pt x="2239610" y="538458"/>
                  </a:lnTo>
                  <a:lnTo>
                    <a:pt x="2239610" y="547988"/>
                  </a:lnTo>
                  <a:lnTo>
                    <a:pt x="2253906" y="552754"/>
                  </a:lnTo>
                  <a:lnTo>
                    <a:pt x="2263436" y="557518"/>
                  </a:lnTo>
                  <a:lnTo>
                    <a:pt x="2268202" y="567050"/>
                  </a:lnTo>
                  <a:lnTo>
                    <a:pt x="2287262" y="581344"/>
                  </a:lnTo>
                  <a:lnTo>
                    <a:pt x="2292028" y="586110"/>
                  </a:lnTo>
                  <a:lnTo>
                    <a:pt x="2296792" y="590874"/>
                  </a:lnTo>
                  <a:lnTo>
                    <a:pt x="2311088" y="605170"/>
                  </a:lnTo>
                  <a:lnTo>
                    <a:pt x="2349208" y="614700"/>
                  </a:lnTo>
                  <a:lnTo>
                    <a:pt x="2358738" y="624230"/>
                  </a:lnTo>
                  <a:lnTo>
                    <a:pt x="2368268" y="633760"/>
                  </a:lnTo>
                  <a:lnTo>
                    <a:pt x="2373034" y="633760"/>
                  </a:lnTo>
                  <a:lnTo>
                    <a:pt x="2377800" y="633760"/>
                  </a:lnTo>
                  <a:lnTo>
                    <a:pt x="2387330" y="624230"/>
                  </a:lnTo>
                  <a:lnTo>
                    <a:pt x="2396860" y="619466"/>
                  </a:lnTo>
                  <a:lnTo>
                    <a:pt x="2406390" y="619466"/>
                  </a:lnTo>
                  <a:lnTo>
                    <a:pt x="2420686" y="619466"/>
                  </a:lnTo>
                  <a:lnTo>
                    <a:pt x="2425450" y="614700"/>
                  </a:lnTo>
                  <a:lnTo>
                    <a:pt x="2425450" y="609936"/>
                  </a:lnTo>
                  <a:lnTo>
                    <a:pt x="2420686" y="595640"/>
                  </a:lnTo>
                  <a:lnTo>
                    <a:pt x="2425450" y="590874"/>
                  </a:lnTo>
                  <a:lnTo>
                    <a:pt x="2439746" y="590874"/>
                  </a:lnTo>
                  <a:lnTo>
                    <a:pt x="2439746" y="581344"/>
                  </a:lnTo>
                  <a:lnTo>
                    <a:pt x="2444512" y="576580"/>
                  </a:lnTo>
                  <a:lnTo>
                    <a:pt x="2449276" y="571814"/>
                  </a:lnTo>
                  <a:lnTo>
                    <a:pt x="2454042" y="571814"/>
                  </a:lnTo>
                  <a:lnTo>
                    <a:pt x="2458806" y="576580"/>
                  </a:lnTo>
                  <a:lnTo>
                    <a:pt x="2463572" y="576580"/>
                  </a:lnTo>
                  <a:lnTo>
                    <a:pt x="2473102" y="576580"/>
                  </a:lnTo>
                  <a:lnTo>
                    <a:pt x="2477868" y="586110"/>
                  </a:lnTo>
                  <a:lnTo>
                    <a:pt x="2487398" y="586110"/>
                  </a:lnTo>
                  <a:lnTo>
                    <a:pt x="2496928" y="581344"/>
                  </a:lnTo>
                  <a:lnTo>
                    <a:pt x="2501692" y="581344"/>
                  </a:lnTo>
                  <a:lnTo>
                    <a:pt x="2501692" y="576580"/>
                  </a:lnTo>
                  <a:lnTo>
                    <a:pt x="2501692" y="562284"/>
                  </a:lnTo>
                  <a:lnTo>
                    <a:pt x="2511222" y="562284"/>
                  </a:lnTo>
                  <a:lnTo>
                    <a:pt x="2520752" y="562284"/>
                  </a:lnTo>
                  <a:lnTo>
                    <a:pt x="2535048" y="557518"/>
                  </a:lnTo>
                  <a:lnTo>
                    <a:pt x="2549344" y="552754"/>
                  </a:lnTo>
                  <a:lnTo>
                    <a:pt x="2563640" y="552754"/>
                  </a:lnTo>
                  <a:lnTo>
                    <a:pt x="2573170" y="552754"/>
                  </a:lnTo>
                  <a:lnTo>
                    <a:pt x="2577934" y="543224"/>
                  </a:lnTo>
                  <a:lnTo>
                    <a:pt x="2592230" y="524164"/>
                  </a:lnTo>
                  <a:lnTo>
                    <a:pt x="2601760" y="519398"/>
                  </a:lnTo>
                  <a:lnTo>
                    <a:pt x="2606526" y="514632"/>
                  </a:lnTo>
                  <a:lnTo>
                    <a:pt x="2616056" y="514632"/>
                  </a:lnTo>
                  <a:lnTo>
                    <a:pt x="2630352" y="509868"/>
                  </a:lnTo>
                  <a:lnTo>
                    <a:pt x="2639882" y="505102"/>
                  </a:lnTo>
                  <a:lnTo>
                    <a:pt x="2644646" y="509868"/>
                  </a:lnTo>
                  <a:lnTo>
                    <a:pt x="2649412" y="519398"/>
                  </a:lnTo>
                  <a:lnTo>
                    <a:pt x="2654176" y="519398"/>
                  </a:lnTo>
                  <a:lnTo>
                    <a:pt x="2663708" y="519398"/>
                  </a:lnTo>
                  <a:lnTo>
                    <a:pt x="2682768" y="528928"/>
                  </a:lnTo>
                  <a:lnTo>
                    <a:pt x="2692298" y="524164"/>
                  </a:lnTo>
                  <a:lnTo>
                    <a:pt x="2706592" y="519398"/>
                  </a:lnTo>
                  <a:lnTo>
                    <a:pt x="2716124" y="519398"/>
                  </a:lnTo>
                  <a:lnTo>
                    <a:pt x="2725654" y="524164"/>
                  </a:lnTo>
                  <a:lnTo>
                    <a:pt x="2730418" y="519398"/>
                  </a:lnTo>
                  <a:lnTo>
                    <a:pt x="2739948" y="519398"/>
                  </a:lnTo>
                  <a:lnTo>
                    <a:pt x="2744714" y="519398"/>
                  </a:lnTo>
                  <a:lnTo>
                    <a:pt x="2754244" y="519398"/>
                  </a:lnTo>
                  <a:lnTo>
                    <a:pt x="2778070" y="528928"/>
                  </a:lnTo>
                  <a:lnTo>
                    <a:pt x="2811426" y="533694"/>
                  </a:lnTo>
                  <a:lnTo>
                    <a:pt x="2820956" y="528928"/>
                  </a:lnTo>
                  <a:lnTo>
                    <a:pt x="2825722" y="524164"/>
                  </a:lnTo>
                  <a:lnTo>
                    <a:pt x="2825722" y="509868"/>
                  </a:lnTo>
                  <a:lnTo>
                    <a:pt x="2825722" y="500338"/>
                  </a:lnTo>
                  <a:lnTo>
                    <a:pt x="2820956" y="495572"/>
                  </a:lnTo>
                  <a:lnTo>
                    <a:pt x="2811426" y="481276"/>
                  </a:lnTo>
                  <a:lnTo>
                    <a:pt x="2801896" y="471746"/>
                  </a:lnTo>
                  <a:lnTo>
                    <a:pt x="2792366" y="466982"/>
                  </a:lnTo>
                  <a:lnTo>
                    <a:pt x="2792366" y="462216"/>
                  </a:lnTo>
                  <a:lnTo>
                    <a:pt x="2801896" y="457452"/>
                  </a:lnTo>
                  <a:lnTo>
                    <a:pt x="2806660" y="452686"/>
                  </a:lnTo>
                  <a:lnTo>
                    <a:pt x="2811426" y="447920"/>
                  </a:lnTo>
                  <a:lnTo>
                    <a:pt x="2816192" y="428860"/>
                  </a:lnTo>
                  <a:lnTo>
                    <a:pt x="2820956" y="428860"/>
                  </a:lnTo>
                  <a:lnTo>
                    <a:pt x="2825722" y="428860"/>
                  </a:lnTo>
                  <a:lnTo>
                    <a:pt x="2830486" y="433626"/>
                  </a:lnTo>
                  <a:lnTo>
                    <a:pt x="2854312" y="443156"/>
                  </a:lnTo>
                  <a:lnTo>
                    <a:pt x="2868608" y="443156"/>
                  </a:lnTo>
                  <a:lnTo>
                    <a:pt x="2911494" y="438390"/>
                  </a:lnTo>
                  <a:lnTo>
                    <a:pt x="2916258" y="433626"/>
                  </a:lnTo>
                  <a:lnTo>
                    <a:pt x="2925788" y="428860"/>
                  </a:lnTo>
                  <a:lnTo>
                    <a:pt x="2940084" y="424096"/>
                  </a:lnTo>
                  <a:lnTo>
                    <a:pt x="2944850" y="424096"/>
                  </a:lnTo>
                  <a:lnTo>
                    <a:pt x="2949614" y="424096"/>
                  </a:lnTo>
                  <a:lnTo>
                    <a:pt x="2959144" y="424096"/>
                  </a:lnTo>
                  <a:lnTo>
                    <a:pt x="2968676" y="414566"/>
                  </a:lnTo>
                  <a:lnTo>
                    <a:pt x="2973440" y="414566"/>
                  </a:lnTo>
                  <a:lnTo>
                    <a:pt x="2973440" y="424096"/>
                  </a:lnTo>
                  <a:lnTo>
                    <a:pt x="2982970" y="428860"/>
                  </a:lnTo>
                  <a:lnTo>
                    <a:pt x="2987736" y="438390"/>
                  </a:lnTo>
                  <a:lnTo>
                    <a:pt x="2992500" y="438390"/>
                  </a:lnTo>
                  <a:lnTo>
                    <a:pt x="3006796" y="438390"/>
                  </a:lnTo>
                  <a:lnTo>
                    <a:pt x="3011562" y="438390"/>
                  </a:lnTo>
                  <a:lnTo>
                    <a:pt x="3016326" y="447920"/>
                  </a:lnTo>
                  <a:lnTo>
                    <a:pt x="3016326" y="452686"/>
                  </a:lnTo>
                  <a:lnTo>
                    <a:pt x="3021092" y="457452"/>
                  </a:lnTo>
                  <a:lnTo>
                    <a:pt x="3030622" y="457452"/>
                  </a:lnTo>
                  <a:lnTo>
                    <a:pt x="3035386" y="457452"/>
                  </a:lnTo>
                  <a:lnTo>
                    <a:pt x="3040152" y="462216"/>
                  </a:lnTo>
                  <a:lnTo>
                    <a:pt x="3044916" y="471746"/>
                  </a:lnTo>
                  <a:lnTo>
                    <a:pt x="3059212" y="476512"/>
                  </a:lnTo>
                  <a:lnTo>
                    <a:pt x="3078272" y="486042"/>
                  </a:lnTo>
                  <a:lnTo>
                    <a:pt x="3092568" y="486042"/>
                  </a:lnTo>
                  <a:lnTo>
                    <a:pt x="3102098" y="486042"/>
                  </a:lnTo>
                  <a:lnTo>
                    <a:pt x="3106864" y="490808"/>
                  </a:lnTo>
                  <a:lnTo>
                    <a:pt x="3111628" y="486042"/>
                  </a:lnTo>
                  <a:lnTo>
                    <a:pt x="3135454" y="471746"/>
                  </a:lnTo>
                  <a:lnTo>
                    <a:pt x="3144984" y="466982"/>
                  </a:lnTo>
                  <a:lnTo>
                    <a:pt x="3154516" y="457452"/>
                  </a:lnTo>
                  <a:lnTo>
                    <a:pt x="3159280" y="452686"/>
                  </a:lnTo>
                  <a:lnTo>
                    <a:pt x="3164046" y="452686"/>
                  </a:lnTo>
                  <a:lnTo>
                    <a:pt x="3164046" y="457452"/>
                  </a:lnTo>
                  <a:lnTo>
                    <a:pt x="3168810" y="462216"/>
                  </a:lnTo>
                  <a:lnTo>
                    <a:pt x="3173576" y="462216"/>
                  </a:lnTo>
                  <a:lnTo>
                    <a:pt x="3192636" y="466982"/>
                  </a:lnTo>
                  <a:lnTo>
                    <a:pt x="3202166" y="466982"/>
                  </a:lnTo>
                  <a:lnTo>
                    <a:pt x="3216462" y="466982"/>
                  </a:lnTo>
                  <a:lnTo>
                    <a:pt x="3225992" y="457452"/>
                  </a:lnTo>
                  <a:lnTo>
                    <a:pt x="3230756" y="457452"/>
                  </a:lnTo>
                  <a:lnTo>
                    <a:pt x="3235522" y="462216"/>
                  </a:lnTo>
                  <a:lnTo>
                    <a:pt x="3245052" y="471746"/>
                  </a:lnTo>
                  <a:lnTo>
                    <a:pt x="3245052" y="476512"/>
                  </a:lnTo>
                  <a:lnTo>
                    <a:pt x="3254582" y="476512"/>
                  </a:lnTo>
                  <a:lnTo>
                    <a:pt x="3268878" y="476512"/>
                  </a:lnTo>
                  <a:lnTo>
                    <a:pt x="3278408" y="481276"/>
                  </a:lnTo>
                  <a:lnTo>
                    <a:pt x="3287938" y="481276"/>
                  </a:lnTo>
                  <a:lnTo>
                    <a:pt x="3297468" y="476512"/>
                  </a:lnTo>
                  <a:lnTo>
                    <a:pt x="3302234" y="466982"/>
                  </a:lnTo>
                  <a:lnTo>
                    <a:pt x="3316530" y="457452"/>
                  </a:lnTo>
                  <a:lnTo>
                    <a:pt x="3330824" y="452686"/>
                  </a:lnTo>
                  <a:lnTo>
                    <a:pt x="3335590" y="443156"/>
                  </a:lnTo>
                  <a:lnTo>
                    <a:pt x="3345120" y="424096"/>
                  </a:lnTo>
                  <a:lnTo>
                    <a:pt x="3349886" y="419330"/>
                  </a:lnTo>
                  <a:lnTo>
                    <a:pt x="3349886" y="405034"/>
                  </a:lnTo>
                  <a:lnTo>
                    <a:pt x="3368946" y="371678"/>
                  </a:lnTo>
                  <a:lnTo>
                    <a:pt x="3373710" y="366914"/>
                  </a:lnTo>
                  <a:lnTo>
                    <a:pt x="3378476" y="357384"/>
                  </a:lnTo>
                  <a:lnTo>
                    <a:pt x="3383240" y="343088"/>
                  </a:lnTo>
                  <a:lnTo>
                    <a:pt x="3383240" y="333558"/>
                  </a:lnTo>
                  <a:lnTo>
                    <a:pt x="3388006" y="324028"/>
                  </a:lnTo>
                  <a:lnTo>
                    <a:pt x="3397536" y="314498"/>
                  </a:lnTo>
                  <a:lnTo>
                    <a:pt x="3402302" y="309732"/>
                  </a:lnTo>
                  <a:lnTo>
                    <a:pt x="3411832" y="295436"/>
                  </a:lnTo>
                  <a:lnTo>
                    <a:pt x="3421362" y="281142"/>
                  </a:lnTo>
                  <a:lnTo>
                    <a:pt x="3440422" y="252550"/>
                  </a:lnTo>
                  <a:lnTo>
                    <a:pt x="3440422" y="243020"/>
                  </a:lnTo>
                  <a:lnTo>
                    <a:pt x="3445188" y="238256"/>
                  </a:lnTo>
                  <a:lnTo>
                    <a:pt x="3449952" y="228726"/>
                  </a:lnTo>
                  <a:lnTo>
                    <a:pt x="3459484" y="223960"/>
                  </a:lnTo>
                  <a:lnTo>
                    <a:pt x="3464248" y="214430"/>
                  </a:lnTo>
                  <a:lnTo>
                    <a:pt x="3469014" y="204900"/>
                  </a:lnTo>
                  <a:lnTo>
                    <a:pt x="3473778" y="195370"/>
                  </a:lnTo>
                  <a:lnTo>
                    <a:pt x="3488074" y="190604"/>
                  </a:lnTo>
                  <a:lnTo>
                    <a:pt x="3492840" y="185838"/>
                  </a:lnTo>
                  <a:lnTo>
                    <a:pt x="3507134" y="157248"/>
                  </a:lnTo>
                  <a:lnTo>
                    <a:pt x="3507134" y="147718"/>
                  </a:lnTo>
                  <a:lnTo>
                    <a:pt x="3521430" y="147718"/>
                  </a:lnTo>
                  <a:lnTo>
                    <a:pt x="3545256" y="162014"/>
                  </a:lnTo>
                  <a:lnTo>
                    <a:pt x="3559550" y="181074"/>
                  </a:lnTo>
                  <a:lnTo>
                    <a:pt x="3583376" y="247786"/>
                  </a:lnTo>
                  <a:lnTo>
                    <a:pt x="3588142" y="309732"/>
                  </a:lnTo>
                  <a:lnTo>
                    <a:pt x="3597672" y="338324"/>
                  </a:lnTo>
                  <a:lnTo>
                    <a:pt x="3621498" y="405034"/>
                  </a:lnTo>
                  <a:lnTo>
                    <a:pt x="3621498" y="419330"/>
                  </a:lnTo>
                  <a:lnTo>
                    <a:pt x="3626262" y="433626"/>
                  </a:lnTo>
                  <a:lnTo>
                    <a:pt x="3635792" y="447920"/>
                  </a:lnTo>
                  <a:lnTo>
                    <a:pt x="3645324" y="476512"/>
                  </a:lnTo>
                  <a:lnTo>
                    <a:pt x="3645324" y="481276"/>
                  </a:lnTo>
                  <a:lnTo>
                    <a:pt x="3640558" y="486042"/>
                  </a:lnTo>
                  <a:lnTo>
                    <a:pt x="3650088" y="486042"/>
                  </a:lnTo>
                  <a:lnTo>
                    <a:pt x="3654854" y="490808"/>
                  </a:lnTo>
                  <a:lnTo>
                    <a:pt x="3659618" y="509868"/>
                  </a:lnTo>
                  <a:lnTo>
                    <a:pt x="3669148" y="519398"/>
                  </a:lnTo>
                  <a:lnTo>
                    <a:pt x="3678680" y="533694"/>
                  </a:lnTo>
                  <a:lnTo>
                    <a:pt x="3702504" y="538458"/>
                  </a:lnTo>
                  <a:lnTo>
                    <a:pt x="3721564" y="543224"/>
                  </a:lnTo>
                  <a:lnTo>
                    <a:pt x="3740626" y="552754"/>
                  </a:lnTo>
                  <a:lnTo>
                    <a:pt x="3754920" y="562284"/>
                  </a:lnTo>
                  <a:lnTo>
                    <a:pt x="3769216" y="600406"/>
                  </a:lnTo>
                  <a:lnTo>
                    <a:pt x="3764452" y="624230"/>
                  </a:lnTo>
                  <a:lnTo>
                    <a:pt x="3764452" y="638526"/>
                  </a:lnTo>
                  <a:lnTo>
                    <a:pt x="3759686" y="648056"/>
                  </a:lnTo>
                  <a:lnTo>
                    <a:pt x="3745390" y="657586"/>
                  </a:lnTo>
                  <a:lnTo>
                    <a:pt x="3740626" y="662352"/>
                  </a:lnTo>
                  <a:lnTo>
                    <a:pt x="3707270" y="690942"/>
                  </a:lnTo>
                  <a:lnTo>
                    <a:pt x="3697740" y="705238"/>
                  </a:lnTo>
                  <a:lnTo>
                    <a:pt x="3678680" y="719534"/>
                  </a:lnTo>
                  <a:lnTo>
                    <a:pt x="3659618" y="752890"/>
                  </a:lnTo>
                  <a:lnTo>
                    <a:pt x="3631028" y="786244"/>
                  </a:lnTo>
                  <a:lnTo>
                    <a:pt x="3621498" y="795776"/>
                  </a:lnTo>
                  <a:lnTo>
                    <a:pt x="3607202" y="795776"/>
                  </a:lnTo>
                  <a:lnTo>
                    <a:pt x="3597672" y="800540"/>
                  </a:lnTo>
                  <a:lnTo>
                    <a:pt x="3578612" y="824366"/>
                  </a:lnTo>
                  <a:lnTo>
                    <a:pt x="3550020" y="833896"/>
                  </a:lnTo>
                  <a:lnTo>
                    <a:pt x="3545256" y="848192"/>
                  </a:lnTo>
                  <a:lnTo>
                    <a:pt x="3530960" y="881548"/>
                  </a:lnTo>
                  <a:lnTo>
                    <a:pt x="3516664" y="900608"/>
                  </a:lnTo>
                  <a:lnTo>
                    <a:pt x="3507134" y="905374"/>
                  </a:lnTo>
                  <a:lnTo>
                    <a:pt x="3483308" y="938730"/>
                  </a:lnTo>
                  <a:lnTo>
                    <a:pt x="3483308" y="953024"/>
                  </a:lnTo>
                  <a:lnTo>
                    <a:pt x="3483308" y="981616"/>
                  </a:lnTo>
                  <a:lnTo>
                    <a:pt x="3464248" y="995910"/>
                  </a:lnTo>
                  <a:lnTo>
                    <a:pt x="3449952" y="1005440"/>
                  </a:lnTo>
                  <a:lnTo>
                    <a:pt x="3449952" y="1029266"/>
                  </a:lnTo>
                  <a:lnTo>
                    <a:pt x="3440422" y="1034032"/>
                  </a:lnTo>
                  <a:lnTo>
                    <a:pt x="3435658" y="1038796"/>
                  </a:lnTo>
                  <a:lnTo>
                    <a:pt x="3402302" y="1034032"/>
                  </a:lnTo>
                  <a:lnTo>
                    <a:pt x="3349886" y="1057858"/>
                  </a:lnTo>
                  <a:lnTo>
                    <a:pt x="3335590" y="1062622"/>
                  </a:lnTo>
                  <a:lnTo>
                    <a:pt x="3388006" y="1062622"/>
                  </a:lnTo>
                  <a:lnTo>
                    <a:pt x="3407066" y="1076918"/>
                  </a:lnTo>
                  <a:lnTo>
                    <a:pt x="3445188" y="1067388"/>
                  </a:lnTo>
                  <a:lnTo>
                    <a:pt x="3492840" y="1038796"/>
                  </a:lnTo>
                  <a:lnTo>
                    <a:pt x="3511900" y="1034032"/>
                  </a:lnTo>
                  <a:lnTo>
                    <a:pt x="3550020" y="1010206"/>
                  </a:lnTo>
                  <a:lnTo>
                    <a:pt x="3564316" y="1000676"/>
                  </a:lnTo>
                  <a:lnTo>
                    <a:pt x="3588142" y="981616"/>
                  </a:lnTo>
                  <a:lnTo>
                    <a:pt x="3597672" y="976850"/>
                  </a:lnTo>
                  <a:lnTo>
                    <a:pt x="3611968" y="967320"/>
                  </a:lnTo>
                  <a:lnTo>
                    <a:pt x="3616732" y="976850"/>
                  </a:lnTo>
                  <a:lnTo>
                    <a:pt x="3621498" y="981616"/>
                  </a:lnTo>
                  <a:lnTo>
                    <a:pt x="3607202" y="995910"/>
                  </a:lnTo>
                  <a:lnTo>
                    <a:pt x="3611968" y="1000676"/>
                  </a:lnTo>
                  <a:lnTo>
                    <a:pt x="3616732" y="1014972"/>
                  </a:lnTo>
                  <a:lnTo>
                    <a:pt x="3621498" y="1024502"/>
                  </a:lnTo>
                  <a:lnTo>
                    <a:pt x="3621498" y="1034032"/>
                  </a:lnTo>
                  <a:lnTo>
                    <a:pt x="3626262" y="1053092"/>
                  </a:lnTo>
                  <a:lnTo>
                    <a:pt x="3645324" y="1076918"/>
                  </a:lnTo>
                  <a:lnTo>
                    <a:pt x="3645324" y="1086448"/>
                  </a:lnTo>
                  <a:lnTo>
                    <a:pt x="3640558" y="1095978"/>
                  </a:lnTo>
                  <a:lnTo>
                    <a:pt x="3650088" y="1105508"/>
                  </a:lnTo>
                  <a:lnTo>
                    <a:pt x="3659618" y="1110274"/>
                  </a:lnTo>
                  <a:lnTo>
                    <a:pt x="3688210" y="1134100"/>
                  </a:lnTo>
                  <a:lnTo>
                    <a:pt x="3712034" y="1119804"/>
                  </a:lnTo>
                  <a:lnTo>
                    <a:pt x="3721564" y="1115038"/>
                  </a:lnTo>
                  <a:lnTo>
                    <a:pt x="3731096" y="1110274"/>
                  </a:lnTo>
                  <a:lnTo>
                    <a:pt x="3750156" y="1105508"/>
                  </a:lnTo>
                  <a:lnTo>
                    <a:pt x="3764452" y="1115038"/>
                  </a:lnTo>
                  <a:lnTo>
                    <a:pt x="3793042" y="1119804"/>
                  </a:lnTo>
                  <a:lnTo>
                    <a:pt x="3816868" y="1110274"/>
                  </a:lnTo>
                  <a:lnTo>
                    <a:pt x="3859754" y="1091214"/>
                  </a:lnTo>
                  <a:lnTo>
                    <a:pt x="3845458" y="1129334"/>
                  </a:lnTo>
                  <a:lnTo>
                    <a:pt x="3835928" y="1162690"/>
                  </a:lnTo>
                  <a:lnTo>
                    <a:pt x="3826398" y="1176986"/>
                  </a:lnTo>
                  <a:lnTo>
                    <a:pt x="3821632" y="1215106"/>
                  </a:lnTo>
                  <a:lnTo>
                    <a:pt x="3812102" y="1224636"/>
                  </a:lnTo>
                  <a:lnTo>
                    <a:pt x="3807338" y="1234168"/>
                  </a:lnTo>
                  <a:lnTo>
                    <a:pt x="3816868" y="1234168"/>
                  </a:lnTo>
                  <a:lnTo>
                    <a:pt x="3826398" y="1224636"/>
                  </a:lnTo>
                  <a:lnTo>
                    <a:pt x="3835928" y="1210342"/>
                  </a:lnTo>
                  <a:lnTo>
                    <a:pt x="3845458" y="1186516"/>
                  </a:lnTo>
                  <a:lnTo>
                    <a:pt x="3874050" y="1119804"/>
                  </a:lnTo>
                  <a:lnTo>
                    <a:pt x="3883580" y="1115038"/>
                  </a:lnTo>
                  <a:lnTo>
                    <a:pt x="3907404" y="1105508"/>
                  </a:lnTo>
                  <a:lnTo>
                    <a:pt x="3950292" y="1053092"/>
                  </a:lnTo>
                  <a:lnTo>
                    <a:pt x="3969352" y="1053092"/>
                  </a:lnTo>
                  <a:lnTo>
                    <a:pt x="3978882" y="1067388"/>
                  </a:lnTo>
                  <a:lnTo>
                    <a:pt x="3988412" y="1072152"/>
                  </a:lnTo>
                  <a:lnTo>
                    <a:pt x="3993178" y="1057858"/>
                  </a:lnTo>
                  <a:lnTo>
                    <a:pt x="4007472" y="1053092"/>
                  </a:lnTo>
                  <a:lnTo>
                    <a:pt x="3993178" y="1043562"/>
                  </a:lnTo>
                  <a:lnTo>
                    <a:pt x="3988412" y="1038796"/>
                  </a:lnTo>
                  <a:lnTo>
                    <a:pt x="3988412" y="1029266"/>
                  </a:lnTo>
                  <a:lnTo>
                    <a:pt x="3997942" y="1014972"/>
                  </a:lnTo>
                  <a:lnTo>
                    <a:pt x="3993178" y="1000676"/>
                  </a:lnTo>
                  <a:lnTo>
                    <a:pt x="4017004" y="981616"/>
                  </a:lnTo>
                  <a:lnTo>
                    <a:pt x="4012238" y="972084"/>
                  </a:lnTo>
                  <a:lnTo>
                    <a:pt x="4021768" y="962554"/>
                  </a:lnTo>
                  <a:lnTo>
                    <a:pt x="4031298" y="948260"/>
                  </a:lnTo>
                  <a:lnTo>
                    <a:pt x="4040828" y="943494"/>
                  </a:lnTo>
                  <a:lnTo>
                    <a:pt x="4045594" y="938730"/>
                  </a:lnTo>
                  <a:lnTo>
                    <a:pt x="4050358" y="933964"/>
                  </a:lnTo>
                  <a:lnTo>
                    <a:pt x="4059888" y="929198"/>
                  </a:lnTo>
                  <a:lnTo>
                    <a:pt x="4069420" y="943494"/>
                  </a:lnTo>
                  <a:lnTo>
                    <a:pt x="4083714" y="929198"/>
                  </a:lnTo>
                  <a:lnTo>
                    <a:pt x="4093244" y="924434"/>
                  </a:lnTo>
                  <a:lnTo>
                    <a:pt x="4098010" y="924434"/>
                  </a:lnTo>
                  <a:lnTo>
                    <a:pt x="4102776" y="933964"/>
                  </a:lnTo>
                  <a:lnTo>
                    <a:pt x="4112306" y="933964"/>
                  </a:lnTo>
                  <a:lnTo>
                    <a:pt x="4117070" y="933964"/>
                  </a:lnTo>
                  <a:lnTo>
                    <a:pt x="4131366" y="924434"/>
                  </a:lnTo>
                  <a:lnTo>
                    <a:pt x="4145662" y="938730"/>
                  </a:lnTo>
                  <a:lnTo>
                    <a:pt x="4155192" y="938730"/>
                  </a:lnTo>
                  <a:lnTo>
                    <a:pt x="4150426" y="933964"/>
                  </a:lnTo>
                  <a:lnTo>
                    <a:pt x="4145662" y="929198"/>
                  </a:lnTo>
                  <a:lnTo>
                    <a:pt x="4150426" y="924434"/>
                  </a:lnTo>
                  <a:lnTo>
                    <a:pt x="4155192" y="919668"/>
                  </a:lnTo>
                  <a:lnTo>
                    <a:pt x="4179018" y="919668"/>
                  </a:lnTo>
                  <a:lnTo>
                    <a:pt x="4188548" y="929198"/>
                  </a:lnTo>
                  <a:lnTo>
                    <a:pt x="4198078" y="938730"/>
                  </a:lnTo>
                  <a:lnTo>
                    <a:pt x="4217138" y="938730"/>
                  </a:lnTo>
                  <a:lnTo>
                    <a:pt x="4226668" y="938730"/>
                  </a:lnTo>
                  <a:lnTo>
                    <a:pt x="4236200" y="943494"/>
                  </a:lnTo>
                  <a:lnTo>
                    <a:pt x="4250494" y="943494"/>
                  </a:lnTo>
                  <a:lnTo>
                    <a:pt x="4255260" y="953024"/>
                  </a:lnTo>
                  <a:lnTo>
                    <a:pt x="4274320" y="962554"/>
                  </a:lnTo>
                  <a:lnTo>
                    <a:pt x="4279084" y="972084"/>
                  </a:lnTo>
                  <a:lnTo>
                    <a:pt x="4293380" y="976850"/>
                  </a:lnTo>
                  <a:lnTo>
                    <a:pt x="4307676" y="981616"/>
                  </a:lnTo>
                  <a:lnTo>
                    <a:pt x="4326736" y="981616"/>
                  </a:lnTo>
                  <a:lnTo>
                    <a:pt x="4341032" y="981616"/>
                  </a:lnTo>
                  <a:lnTo>
                    <a:pt x="4341032" y="991146"/>
                  </a:lnTo>
                  <a:lnTo>
                    <a:pt x="4355328" y="995910"/>
                  </a:lnTo>
                  <a:lnTo>
                    <a:pt x="4369622" y="991146"/>
                  </a:lnTo>
                  <a:lnTo>
                    <a:pt x="4379152" y="1005440"/>
                  </a:lnTo>
                  <a:lnTo>
                    <a:pt x="4412508" y="1014972"/>
                  </a:lnTo>
                  <a:lnTo>
                    <a:pt x="4431568" y="1029266"/>
                  </a:lnTo>
                  <a:lnTo>
                    <a:pt x="4445864" y="1029266"/>
                  </a:lnTo>
                  <a:lnTo>
                    <a:pt x="4460160" y="1034032"/>
                  </a:lnTo>
                  <a:lnTo>
                    <a:pt x="4474456" y="1067388"/>
                  </a:lnTo>
                  <a:lnTo>
                    <a:pt x="4479220" y="1091214"/>
                  </a:lnTo>
                  <a:lnTo>
                    <a:pt x="4488750" y="1086448"/>
                  </a:lnTo>
                  <a:lnTo>
                    <a:pt x="4493516" y="1076918"/>
                  </a:lnTo>
                  <a:lnTo>
                    <a:pt x="4503046" y="1057858"/>
                  </a:lnTo>
                  <a:lnTo>
                    <a:pt x="4517342" y="1048328"/>
                  </a:lnTo>
                  <a:lnTo>
                    <a:pt x="4526872" y="1057858"/>
                  </a:lnTo>
                  <a:lnTo>
                    <a:pt x="4545932" y="1067388"/>
                  </a:lnTo>
                  <a:lnTo>
                    <a:pt x="4560228" y="1081682"/>
                  </a:lnTo>
                  <a:lnTo>
                    <a:pt x="4564992" y="1091214"/>
                  </a:lnTo>
                  <a:lnTo>
                    <a:pt x="4574524" y="1091214"/>
                  </a:lnTo>
                  <a:lnTo>
                    <a:pt x="4564992" y="1100744"/>
                  </a:lnTo>
                  <a:lnTo>
                    <a:pt x="4574524" y="1100744"/>
                  </a:lnTo>
                  <a:lnTo>
                    <a:pt x="4584052" y="1095978"/>
                  </a:lnTo>
                  <a:lnTo>
                    <a:pt x="4593584" y="1110274"/>
                  </a:lnTo>
                  <a:lnTo>
                    <a:pt x="4603114" y="1124568"/>
                  </a:lnTo>
                  <a:lnTo>
                    <a:pt x="4603114" y="1143630"/>
                  </a:lnTo>
                  <a:lnTo>
                    <a:pt x="4598348" y="1148394"/>
                  </a:lnTo>
                  <a:lnTo>
                    <a:pt x="4593584" y="1157924"/>
                  </a:lnTo>
                  <a:lnTo>
                    <a:pt x="4584052" y="1167456"/>
                  </a:lnTo>
                  <a:lnTo>
                    <a:pt x="4579288" y="1172220"/>
                  </a:lnTo>
                  <a:lnTo>
                    <a:pt x="4569758" y="1176986"/>
                  </a:lnTo>
                  <a:lnTo>
                    <a:pt x="4579288" y="1181750"/>
                  </a:lnTo>
                  <a:lnTo>
                    <a:pt x="4584052" y="1191280"/>
                  </a:lnTo>
                  <a:lnTo>
                    <a:pt x="4598348" y="1167456"/>
                  </a:lnTo>
                  <a:lnTo>
                    <a:pt x="4607878" y="1162690"/>
                  </a:lnTo>
                  <a:lnTo>
                    <a:pt x="4617408" y="1157924"/>
                  </a:lnTo>
                  <a:lnTo>
                    <a:pt x="4626940" y="1176986"/>
                  </a:lnTo>
                  <a:lnTo>
                    <a:pt x="4626940" y="1191280"/>
                  </a:lnTo>
                  <a:lnTo>
                    <a:pt x="4607878" y="1196046"/>
                  </a:lnTo>
                  <a:lnTo>
                    <a:pt x="4607878" y="1210342"/>
                  </a:lnTo>
                  <a:lnTo>
                    <a:pt x="4598348" y="1215106"/>
                  </a:lnTo>
                  <a:lnTo>
                    <a:pt x="4593584" y="1224636"/>
                  </a:lnTo>
                  <a:lnTo>
                    <a:pt x="4593584" y="1238932"/>
                  </a:lnTo>
                  <a:lnTo>
                    <a:pt x="4588818" y="1253228"/>
                  </a:lnTo>
                  <a:lnTo>
                    <a:pt x="4574524" y="1310408"/>
                  </a:lnTo>
                  <a:lnTo>
                    <a:pt x="4574524" y="1319940"/>
                  </a:lnTo>
                  <a:lnTo>
                    <a:pt x="4588818" y="1310408"/>
                  </a:lnTo>
                  <a:lnTo>
                    <a:pt x="4617408" y="1281818"/>
                  </a:lnTo>
                  <a:lnTo>
                    <a:pt x="4626940" y="1248462"/>
                  </a:lnTo>
                  <a:lnTo>
                    <a:pt x="4641234" y="1215106"/>
                  </a:lnTo>
                  <a:lnTo>
                    <a:pt x="4650764" y="1205576"/>
                  </a:lnTo>
                  <a:lnTo>
                    <a:pt x="4660296" y="1205576"/>
                  </a:lnTo>
                  <a:lnTo>
                    <a:pt x="4669826" y="1210342"/>
                  </a:lnTo>
                  <a:lnTo>
                    <a:pt x="4669826" y="1219872"/>
                  </a:lnTo>
                  <a:lnTo>
                    <a:pt x="4669826" y="1224636"/>
                  </a:lnTo>
                  <a:lnTo>
                    <a:pt x="4655530" y="1243698"/>
                  </a:lnTo>
                  <a:lnTo>
                    <a:pt x="4650764" y="1253228"/>
                  </a:lnTo>
                  <a:lnTo>
                    <a:pt x="4655530" y="1257992"/>
                  </a:lnTo>
                  <a:lnTo>
                    <a:pt x="4684120" y="1234168"/>
                  </a:lnTo>
                  <a:lnTo>
                    <a:pt x="4698416" y="1224636"/>
                  </a:lnTo>
                  <a:lnTo>
                    <a:pt x="4707946" y="1224636"/>
                  </a:lnTo>
                  <a:lnTo>
                    <a:pt x="4731772" y="1215106"/>
                  </a:lnTo>
                  <a:lnTo>
                    <a:pt x="4774658" y="1210342"/>
                  </a:lnTo>
                  <a:lnTo>
                    <a:pt x="4774658" y="1196046"/>
                  </a:lnTo>
                  <a:lnTo>
                    <a:pt x="4784188" y="1191280"/>
                  </a:lnTo>
                  <a:lnTo>
                    <a:pt x="4808014" y="1196046"/>
                  </a:lnTo>
                  <a:lnTo>
                    <a:pt x="4855666" y="1205576"/>
                  </a:lnTo>
                  <a:lnTo>
                    <a:pt x="4869960" y="1215106"/>
                  </a:lnTo>
                  <a:lnTo>
                    <a:pt x="4893786" y="1224636"/>
                  </a:lnTo>
                  <a:lnTo>
                    <a:pt x="4908082" y="1238932"/>
                  </a:lnTo>
                  <a:lnTo>
                    <a:pt x="4960498" y="1257992"/>
                  </a:lnTo>
                  <a:lnTo>
                    <a:pt x="4998620" y="1257992"/>
                  </a:lnTo>
                  <a:lnTo>
                    <a:pt x="5017680" y="1248462"/>
                  </a:lnTo>
                  <a:lnTo>
                    <a:pt x="5041504" y="1257992"/>
                  </a:lnTo>
                  <a:lnTo>
                    <a:pt x="5055800" y="1272288"/>
                  </a:lnTo>
                  <a:lnTo>
                    <a:pt x="5079626" y="1277054"/>
                  </a:lnTo>
                  <a:lnTo>
                    <a:pt x="5108216" y="1281818"/>
                  </a:lnTo>
                  <a:lnTo>
                    <a:pt x="5127278" y="1272288"/>
                  </a:lnTo>
                  <a:lnTo>
                    <a:pt x="5174928" y="1267522"/>
                  </a:lnTo>
                  <a:lnTo>
                    <a:pt x="5236876" y="1257992"/>
                  </a:lnTo>
                  <a:lnTo>
                    <a:pt x="5274996" y="1257992"/>
                  </a:lnTo>
                  <a:lnTo>
                    <a:pt x="5317882" y="1267522"/>
                  </a:lnTo>
                  <a:lnTo>
                    <a:pt x="5346474" y="1286584"/>
                  </a:lnTo>
                  <a:lnTo>
                    <a:pt x="5375064" y="1296114"/>
                  </a:lnTo>
                  <a:lnTo>
                    <a:pt x="5389360" y="1310408"/>
                  </a:lnTo>
                  <a:lnTo>
                    <a:pt x="5413184" y="1319940"/>
                  </a:lnTo>
                  <a:lnTo>
                    <a:pt x="5465602" y="1348530"/>
                  </a:lnTo>
                  <a:lnTo>
                    <a:pt x="5484662" y="1367590"/>
                  </a:lnTo>
                  <a:lnTo>
                    <a:pt x="5518018" y="1391416"/>
                  </a:lnTo>
                  <a:lnTo>
                    <a:pt x="5551374" y="1400946"/>
                  </a:lnTo>
                  <a:lnTo>
                    <a:pt x="5570434" y="1424772"/>
                  </a:lnTo>
                  <a:lnTo>
                    <a:pt x="5579964" y="1439068"/>
                  </a:lnTo>
                  <a:lnTo>
                    <a:pt x="5618086" y="1481954"/>
                  </a:lnTo>
                  <a:lnTo>
                    <a:pt x="5656206" y="1510544"/>
                  </a:lnTo>
                  <a:lnTo>
                    <a:pt x="5684798" y="1539136"/>
                  </a:lnTo>
                  <a:lnTo>
                    <a:pt x="5732448" y="1558196"/>
                  </a:lnTo>
                  <a:lnTo>
                    <a:pt x="5751508" y="1586786"/>
                  </a:lnTo>
                  <a:lnTo>
                    <a:pt x="5789630" y="1591552"/>
                  </a:lnTo>
                  <a:lnTo>
                    <a:pt x="5803926" y="1596316"/>
                  </a:lnTo>
                  <a:lnTo>
                    <a:pt x="5822986" y="1610612"/>
                  </a:lnTo>
                  <a:lnTo>
                    <a:pt x="5846812" y="1620142"/>
                  </a:lnTo>
                  <a:lnTo>
                    <a:pt x="5875402" y="1615378"/>
                  </a:lnTo>
                  <a:lnTo>
                    <a:pt x="5913524" y="1615378"/>
                  </a:lnTo>
                  <a:lnTo>
                    <a:pt x="5942114" y="1610612"/>
                  </a:lnTo>
                  <a:lnTo>
                    <a:pt x="6008826" y="1624908"/>
                  </a:lnTo>
                  <a:lnTo>
                    <a:pt x="6018356" y="1629672"/>
                  </a:lnTo>
                  <a:lnTo>
                    <a:pt x="6032652" y="1643968"/>
                  </a:lnTo>
                  <a:lnTo>
                    <a:pt x="6056476" y="1691620"/>
                  </a:lnTo>
                  <a:lnTo>
                    <a:pt x="6070772" y="1748800"/>
                  </a:lnTo>
                  <a:lnTo>
                    <a:pt x="6080304" y="1786922"/>
                  </a:lnTo>
                  <a:lnTo>
                    <a:pt x="6094598" y="1820278"/>
                  </a:lnTo>
                  <a:lnTo>
                    <a:pt x="6104128" y="1882224"/>
                  </a:lnTo>
                  <a:lnTo>
                    <a:pt x="6113658" y="1901284"/>
                  </a:lnTo>
                  <a:lnTo>
                    <a:pt x="6113658" y="1915580"/>
                  </a:lnTo>
                  <a:lnTo>
                    <a:pt x="6118424" y="1920346"/>
                  </a:lnTo>
                  <a:lnTo>
                    <a:pt x="6123188" y="1963232"/>
                  </a:lnTo>
                  <a:lnTo>
                    <a:pt x="6123188" y="1977526"/>
                  </a:lnTo>
                  <a:lnTo>
                    <a:pt x="6113658" y="2001352"/>
                  </a:lnTo>
                  <a:lnTo>
                    <a:pt x="6113658" y="2010882"/>
                  </a:lnTo>
                  <a:lnTo>
                    <a:pt x="6118424" y="2015648"/>
                  </a:lnTo>
                  <a:lnTo>
                    <a:pt x="6113658" y="2025178"/>
                  </a:lnTo>
                  <a:lnTo>
                    <a:pt x="6113658" y="2034708"/>
                  </a:lnTo>
                  <a:lnTo>
                    <a:pt x="6118424" y="2053768"/>
                  </a:lnTo>
                  <a:lnTo>
                    <a:pt x="6118424" y="2068064"/>
                  </a:lnTo>
                  <a:lnTo>
                    <a:pt x="6108894" y="2087124"/>
                  </a:lnTo>
                  <a:lnTo>
                    <a:pt x="6099364" y="2139542"/>
                  </a:lnTo>
                  <a:lnTo>
                    <a:pt x="6070772" y="2220548"/>
                  </a:lnTo>
                  <a:lnTo>
                    <a:pt x="6042182" y="2268200"/>
                  </a:lnTo>
                  <a:lnTo>
                    <a:pt x="5999296" y="2315850"/>
                  </a:lnTo>
                  <a:lnTo>
                    <a:pt x="5975470" y="2344442"/>
                  </a:lnTo>
                  <a:lnTo>
                    <a:pt x="5965940" y="2344442"/>
                  </a:lnTo>
                  <a:lnTo>
                    <a:pt x="5956410" y="2339676"/>
                  </a:lnTo>
                  <a:lnTo>
                    <a:pt x="5961174" y="2353972"/>
                  </a:lnTo>
                  <a:lnTo>
                    <a:pt x="5956410" y="2368268"/>
                  </a:lnTo>
                  <a:lnTo>
                    <a:pt x="5927820" y="2401624"/>
                  </a:lnTo>
                  <a:lnTo>
                    <a:pt x="5903992" y="2425448"/>
                  </a:lnTo>
                  <a:lnTo>
                    <a:pt x="5875402" y="2468336"/>
                  </a:lnTo>
                  <a:lnTo>
                    <a:pt x="5870638" y="2468336"/>
                  </a:lnTo>
                  <a:lnTo>
                    <a:pt x="5837282" y="2482630"/>
                  </a:lnTo>
                  <a:lnTo>
                    <a:pt x="5818220" y="2496926"/>
                  </a:lnTo>
                  <a:lnTo>
                    <a:pt x="5789630" y="2520752"/>
                  </a:lnTo>
                  <a:lnTo>
                    <a:pt x="5765804" y="2558872"/>
                  </a:lnTo>
                  <a:lnTo>
                    <a:pt x="5761040" y="2563638"/>
                  </a:lnTo>
                  <a:lnTo>
                    <a:pt x="5751508" y="2558872"/>
                  </a:lnTo>
                  <a:lnTo>
                    <a:pt x="5751508" y="2577932"/>
                  </a:lnTo>
                  <a:lnTo>
                    <a:pt x="5732448" y="2611288"/>
                  </a:lnTo>
                  <a:lnTo>
                    <a:pt x="5727684" y="2616054"/>
                  </a:lnTo>
                  <a:lnTo>
                    <a:pt x="5727684" y="2606524"/>
                  </a:lnTo>
                  <a:lnTo>
                    <a:pt x="5727684" y="2596994"/>
                  </a:lnTo>
                  <a:lnTo>
                    <a:pt x="5732448" y="2592228"/>
                  </a:lnTo>
                  <a:lnTo>
                    <a:pt x="5732448" y="2582698"/>
                  </a:lnTo>
                  <a:lnTo>
                    <a:pt x="5722918" y="2587464"/>
                  </a:lnTo>
                  <a:lnTo>
                    <a:pt x="5713388" y="2611288"/>
                  </a:lnTo>
                  <a:lnTo>
                    <a:pt x="5718152" y="2630350"/>
                  </a:lnTo>
                  <a:lnTo>
                    <a:pt x="5708624" y="2654176"/>
                  </a:lnTo>
                  <a:lnTo>
                    <a:pt x="5675268" y="2725652"/>
                  </a:lnTo>
                  <a:lnTo>
                    <a:pt x="5632380" y="2782834"/>
                  </a:lnTo>
                  <a:lnTo>
                    <a:pt x="5622850" y="2801894"/>
                  </a:lnTo>
                  <a:lnTo>
                    <a:pt x="5589496" y="2844780"/>
                  </a:lnTo>
                  <a:lnTo>
                    <a:pt x="5560904" y="2863840"/>
                  </a:lnTo>
                  <a:lnTo>
                    <a:pt x="5556140" y="2863840"/>
                  </a:lnTo>
                  <a:lnTo>
                    <a:pt x="5546608" y="2863840"/>
                  </a:lnTo>
                  <a:lnTo>
                    <a:pt x="5541844" y="2830484"/>
                  </a:lnTo>
                  <a:lnTo>
                    <a:pt x="5522784" y="2811424"/>
                  </a:lnTo>
                  <a:lnTo>
                    <a:pt x="5518018" y="2806660"/>
                  </a:lnTo>
                  <a:lnTo>
                    <a:pt x="5508488" y="2830484"/>
                  </a:lnTo>
                  <a:lnTo>
                    <a:pt x="5503722" y="2835250"/>
                  </a:lnTo>
                  <a:lnTo>
                    <a:pt x="5494192" y="2835250"/>
                  </a:lnTo>
                  <a:lnTo>
                    <a:pt x="5503722" y="2844780"/>
                  </a:lnTo>
                  <a:lnTo>
                    <a:pt x="5503722" y="2854310"/>
                  </a:lnTo>
                  <a:lnTo>
                    <a:pt x="5494192" y="2870988"/>
                  </a:lnTo>
                  <a:lnTo>
                    <a:pt x="5494192" y="2890048"/>
                  </a:lnTo>
                  <a:lnTo>
                    <a:pt x="5475132" y="2909110"/>
                  </a:lnTo>
                  <a:lnTo>
                    <a:pt x="5465602" y="2923404"/>
                  </a:lnTo>
                  <a:lnTo>
                    <a:pt x="5456072" y="2942464"/>
                  </a:lnTo>
                  <a:lnTo>
                    <a:pt x="5456072" y="2961526"/>
                  </a:lnTo>
                  <a:lnTo>
                    <a:pt x="5460836" y="2956760"/>
                  </a:lnTo>
                  <a:lnTo>
                    <a:pt x="5465602" y="2961526"/>
                  </a:lnTo>
                  <a:lnTo>
                    <a:pt x="5470366" y="2966290"/>
                  </a:lnTo>
                  <a:lnTo>
                    <a:pt x="5470366" y="2975820"/>
                  </a:lnTo>
                  <a:lnTo>
                    <a:pt x="5460836" y="2990116"/>
                  </a:lnTo>
                  <a:lnTo>
                    <a:pt x="5460836" y="3028238"/>
                  </a:lnTo>
                  <a:lnTo>
                    <a:pt x="5460836" y="3033002"/>
                  </a:lnTo>
                  <a:lnTo>
                    <a:pt x="5465602" y="3042532"/>
                  </a:lnTo>
                  <a:lnTo>
                    <a:pt x="5475132" y="3028238"/>
                  </a:lnTo>
                  <a:lnTo>
                    <a:pt x="5479896" y="3033002"/>
                  </a:lnTo>
                  <a:lnTo>
                    <a:pt x="5460836" y="3133070"/>
                  </a:lnTo>
                  <a:lnTo>
                    <a:pt x="5465602" y="3175956"/>
                  </a:lnTo>
                  <a:lnTo>
                    <a:pt x="5470366" y="3228372"/>
                  </a:lnTo>
                  <a:lnTo>
                    <a:pt x="5479896" y="3280790"/>
                  </a:lnTo>
                  <a:lnTo>
                    <a:pt x="5489428" y="3323676"/>
                  </a:lnTo>
                  <a:lnTo>
                    <a:pt x="5489428" y="3328440"/>
                  </a:lnTo>
                  <a:lnTo>
                    <a:pt x="5475132" y="3380856"/>
                  </a:lnTo>
                  <a:lnTo>
                    <a:pt x="5460836" y="3433274"/>
                  </a:lnTo>
                  <a:lnTo>
                    <a:pt x="5451306" y="3476160"/>
                  </a:lnTo>
                  <a:lnTo>
                    <a:pt x="5441776" y="3519046"/>
                  </a:lnTo>
                  <a:lnTo>
                    <a:pt x="5437010" y="3542872"/>
                  </a:lnTo>
                  <a:lnTo>
                    <a:pt x="5437010" y="3566696"/>
                  </a:lnTo>
                  <a:lnTo>
                    <a:pt x="5441776" y="3619114"/>
                  </a:lnTo>
                  <a:lnTo>
                    <a:pt x="5446540" y="3628644"/>
                  </a:lnTo>
                  <a:lnTo>
                    <a:pt x="5422716" y="3652468"/>
                  </a:lnTo>
                  <a:lnTo>
                    <a:pt x="5403656" y="3662000"/>
                  </a:lnTo>
                  <a:lnTo>
                    <a:pt x="5394124" y="3676294"/>
                  </a:lnTo>
                  <a:lnTo>
                    <a:pt x="5365534" y="3719180"/>
                  </a:lnTo>
                  <a:lnTo>
                    <a:pt x="5351238" y="3781128"/>
                  </a:lnTo>
                  <a:lnTo>
                    <a:pt x="5351238" y="3814484"/>
                  </a:lnTo>
                  <a:lnTo>
                    <a:pt x="5360768" y="3890726"/>
                  </a:lnTo>
                  <a:lnTo>
                    <a:pt x="5356004" y="3919316"/>
                  </a:lnTo>
                  <a:lnTo>
                    <a:pt x="5346474" y="3938376"/>
                  </a:lnTo>
                  <a:lnTo>
                    <a:pt x="5336944" y="3947908"/>
                  </a:lnTo>
                  <a:lnTo>
                    <a:pt x="5313118" y="3966968"/>
                  </a:lnTo>
                  <a:lnTo>
                    <a:pt x="5289292" y="4000324"/>
                  </a:lnTo>
                  <a:lnTo>
                    <a:pt x="5279762" y="4043210"/>
                  </a:lnTo>
                  <a:lnTo>
                    <a:pt x="5265466" y="4057504"/>
                  </a:lnTo>
                  <a:lnTo>
                    <a:pt x="5260700" y="4076566"/>
                  </a:lnTo>
                  <a:lnTo>
                    <a:pt x="5251172" y="4105156"/>
                  </a:lnTo>
                  <a:lnTo>
                    <a:pt x="5217816" y="4138512"/>
                  </a:lnTo>
                  <a:lnTo>
                    <a:pt x="5198754" y="4148042"/>
                  </a:lnTo>
                  <a:lnTo>
                    <a:pt x="5189224" y="4157572"/>
                  </a:lnTo>
                  <a:lnTo>
                    <a:pt x="5184460" y="4181398"/>
                  </a:lnTo>
                  <a:lnTo>
                    <a:pt x="5165398" y="4214754"/>
                  </a:lnTo>
                  <a:lnTo>
                    <a:pt x="5151104" y="4257640"/>
                  </a:lnTo>
                  <a:lnTo>
                    <a:pt x="5151104" y="4276700"/>
                  </a:lnTo>
                  <a:lnTo>
                    <a:pt x="5160634" y="4329116"/>
                  </a:lnTo>
                  <a:lnTo>
                    <a:pt x="5155868" y="4343412"/>
                  </a:lnTo>
                  <a:lnTo>
                    <a:pt x="5136808" y="4357708"/>
                  </a:lnTo>
                  <a:lnTo>
                    <a:pt x="5065332" y="4381534"/>
                  </a:lnTo>
                  <a:lnTo>
                    <a:pt x="5046270" y="4395828"/>
                  </a:lnTo>
                  <a:lnTo>
                    <a:pt x="5003384" y="4438716"/>
                  </a:lnTo>
                  <a:lnTo>
                    <a:pt x="4998620" y="4453010"/>
                  </a:lnTo>
                  <a:lnTo>
                    <a:pt x="5003384" y="4467306"/>
                  </a:lnTo>
                  <a:lnTo>
                    <a:pt x="5008150" y="4476836"/>
                  </a:lnTo>
                  <a:lnTo>
                    <a:pt x="5003384" y="4486366"/>
                  </a:lnTo>
                  <a:lnTo>
                    <a:pt x="4993854" y="4500662"/>
                  </a:lnTo>
                  <a:lnTo>
                    <a:pt x="4979558" y="4500662"/>
                  </a:lnTo>
                  <a:lnTo>
                    <a:pt x="4908082" y="4500662"/>
                  </a:lnTo>
                  <a:lnTo>
                    <a:pt x="4869960" y="4505428"/>
                  </a:lnTo>
                  <a:lnTo>
                    <a:pt x="4850900" y="4505428"/>
                  </a:lnTo>
                  <a:lnTo>
                    <a:pt x="4841370" y="4500662"/>
                  </a:lnTo>
                  <a:lnTo>
                    <a:pt x="4831840" y="4495896"/>
                  </a:lnTo>
                  <a:lnTo>
                    <a:pt x="4827074" y="4486366"/>
                  </a:lnTo>
                  <a:lnTo>
                    <a:pt x="4831840" y="4472072"/>
                  </a:lnTo>
                  <a:lnTo>
                    <a:pt x="4831840" y="4462540"/>
                  </a:lnTo>
                  <a:lnTo>
                    <a:pt x="4817544" y="4462540"/>
                  </a:lnTo>
                  <a:lnTo>
                    <a:pt x="4808014" y="4467306"/>
                  </a:lnTo>
                  <a:lnTo>
                    <a:pt x="4808014" y="4476836"/>
                  </a:lnTo>
                  <a:lnTo>
                    <a:pt x="4808014" y="4481600"/>
                  </a:lnTo>
                  <a:lnTo>
                    <a:pt x="4812780" y="4491132"/>
                  </a:lnTo>
                  <a:lnTo>
                    <a:pt x="4812780" y="4500662"/>
                  </a:lnTo>
                  <a:lnTo>
                    <a:pt x="4808014" y="4510192"/>
                  </a:lnTo>
                  <a:lnTo>
                    <a:pt x="4784188" y="4510192"/>
                  </a:lnTo>
                  <a:lnTo>
                    <a:pt x="4760362" y="4519722"/>
                  </a:lnTo>
                  <a:lnTo>
                    <a:pt x="4727008" y="4524488"/>
                  </a:lnTo>
                  <a:lnTo>
                    <a:pt x="4703180" y="4529252"/>
                  </a:lnTo>
                  <a:lnTo>
                    <a:pt x="4693652" y="4519722"/>
                  </a:lnTo>
                  <a:lnTo>
                    <a:pt x="4703180" y="4519722"/>
                  </a:lnTo>
                  <a:lnTo>
                    <a:pt x="4722242" y="4519722"/>
                  </a:lnTo>
                  <a:lnTo>
                    <a:pt x="4736536" y="4514956"/>
                  </a:lnTo>
                  <a:lnTo>
                    <a:pt x="4736536" y="4505428"/>
                  </a:lnTo>
                  <a:lnTo>
                    <a:pt x="4707946" y="4495896"/>
                  </a:lnTo>
                  <a:lnTo>
                    <a:pt x="4679356" y="4500662"/>
                  </a:lnTo>
                  <a:lnTo>
                    <a:pt x="4665060" y="4514956"/>
                  </a:lnTo>
                  <a:lnTo>
                    <a:pt x="4631704" y="4510192"/>
                  </a:lnTo>
                  <a:lnTo>
                    <a:pt x="4588818" y="4519722"/>
                  </a:lnTo>
                  <a:lnTo>
                    <a:pt x="4579288" y="4529252"/>
                  </a:lnTo>
                  <a:lnTo>
                    <a:pt x="4584052" y="4548312"/>
                  </a:lnTo>
                  <a:lnTo>
                    <a:pt x="4588818" y="4548312"/>
                  </a:lnTo>
                  <a:lnTo>
                    <a:pt x="4598348" y="4557844"/>
                  </a:lnTo>
                  <a:lnTo>
                    <a:pt x="4593584" y="4567374"/>
                  </a:lnTo>
                  <a:lnTo>
                    <a:pt x="4584052" y="4567374"/>
                  </a:lnTo>
                  <a:lnTo>
                    <a:pt x="4541168" y="4576904"/>
                  </a:lnTo>
                  <a:lnTo>
                    <a:pt x="4498280" y="4610260"/>
                  </a:lnTo>
                  <a:lnTo>
                    <a:pt x="4479220" y="4615024"/>
                  </a:lnTo>
                  <a:lnTo>
                    <a:pt x="4464924" y="4629320"/>
                  </a:lnTo>
                  <a:lnTo>
                    <a:pt x="4464924" y="4638850"/>
                  </a:lnTo>
                  <a:lnTo>
                    <a:pt x="4460160" y="4648380"/>
                  </a:lnTo>
                  <a:lnTo>
                    <a:pt x="4450630" y="4648380"/>
                  </a:lnTo>
                  <a:lnTo>
                    <a:pt x="4426804" y="4643616"/>
                  </a:lnTo>
                  <a:lnTo>
                    <a:pt x="4398212" y="4643616"/>
                  </a:lnTo>
                  <a:lnTo>
                    <a:pt x="4379152" y="4648380"/>
                  </a:lnTo>
                  <a:lnTo>
                    <a:pt x="4279084" y="4700796"/>
                  </a:lnTo>
                  <a:lnTo>
                    <a:pt x="4240964" y="4719858"/>
                  </a:lnTo>
                  <a:lnTo>
                    <a:pt x="4198078" y="4767508"/>
                  </a:lnTo>
                  <a:lnTo>
                    <a:pt x="4126600" y="4815160"/>
                  </a:lnTo>
                  <a:lnTo>
                    <a:pt x="4088480" y="4843752"/>
                  </a:lnTo>
                  <a:lnTo>
                    <a:pt x="4083714" y="4853280"/>
                  </a:lnTo>
                  <a:lnTo>
                    <a:pt x="4074184" y="4853280"/>
                  </a:lnTo>
                  <a:lnTo>
                    <a:pt x="4064654" y="4858046"/>
                  </a:lnTo>
                  <a:lnTo>
                    <a:pt x="4069420" y="4862812"/>
                  </a:lnTo>
                  <a:lnTo>
                    <a:pt x="4078950" y="4862812"/>
                  </a:lnTo>
                  <a:lnTo>
                    <a:pt x="4074184" y="4881872"/>
                  </a:lnTo>
                  <a:lnTo>
                    <a:pt x="4059888" y="4896168"/>
                  </a:lnTo>
                  <a:lnTo>
                    <a:pt x="4031298" y="4924758"/>
                  </a:lnTo>
                  <a:lnTo>
                    <a:pt x="4026534" y="4924758"/>
                  </a:lnTo>
                  <a:lnTo>
                    <a:pt x="4036064" y="4905698"/>
                  </a:lnTo>
                  <a:lnTo>
                    <a:pt x="4021768" y="4905698"/>
                  </a:lnTo>
                  <a:lnTo>
                    <a:pt x="4002708" y="4900932"/>
                  </a:lnTo>
                  <a:lnTo>
                    <a:pt x="3993178" y="4905698"/>
                  </a:lnTo>
                  <a:lnTo>
                    <a:pt x="3997942" y="4924758"/>
                  </a:lnTo>
                  <a:lnTo>
                    <a:pt x="3988412" y="4929524"/>
                  </a:lnTo>
                  <a:lnTo>
                    <a:pt x="3974116" y="4929524"/>
                  </a:lnTo>
                  <a:lnTo>
                    <a:pt x="3964586" y="4929524"/>
                  </a:lnTo>
                  <a:lnTo>
                    <a:pt x="3950292" y="4915228"/>
                  </a:lnTo>
                  <a:lnTo>
                    <a:pt x="3955056" y="4939054"/>
                  </a:lnTo>
                  <a:lnTo>
                    <a:pt x="3983648" y="4943818"/>
                  </a:lnTo>
                  <a:lnTo>
                    <a:pt x="3997942" y="4948584"/>
                  </a:lnTo>
                  <a:lnTo>
                    <a:pt x="4002708" y="4958114"/>
                  </a:lnTo>
                  <a:lnTo>
                    <a:pt x="3978882" y="4996236"/>
                  </a:lnTo>
                  <a:lnTo>
                    <a:pt x="3959822" y="5001000"/>
                  </a:lnTo>
                  <a:lnTo>
                    <a:pt x="3955056" y="5005764"/>
                  </a:lnTo>
                  <a:lnTo>
                    <a:pt x="3969352" y="5005764"/>
                  </a:lnTo>
                  <a:lnTo>
                    <a:pt x="3974116" y="5015296"/>
                  </a:lnTo>
                  <a:lnTo>
                    <a:pt x="3964586" y="5058182"/>
                  </a:lnTo>
                  <a:lnTo>
                    <a:pt x="3955056" y="5067712"/>
                  </a:lnTo>
                  <a:lnTo>
                    <a:pt x="3950292" y="5067712"/>
                  </a:lnTo>
                  <a:lnTo>
                    <a:pt x="3945526" y="5072476"/>
                  </a:lnTo>
                  <a:lnTo>
                    <a:pt x="3955056" y="5086772"/>
                  </a:lnTo>
                  <a:lnTo>
                    <a:pt x="3959822" y="5096302"/>
                  </a:lnTo>
                  <a:lnTo>
                    <a:pt x="3959822" y="5115364"/>
                  </a:lnTo>
                  <a:lnTo>
                    <a:pt x="3955056" y="5134424"/>
                  </a:lnTo>
                  <a:lnTo>
                    <a:pt x="3955056" y="5148720"/>
                  </a:lnTo>
                  <a:lnTo>
                    <a:pt x="3969352" y="5177310"/>
                  </a:lnTo>
                  <a:lnTo>
                    <a:pt x="3969352" y="5210666"/>
                  </a:lnTo>
                  <a:lnTo>
                    <a:pt x="3974116" y="5224960"/>
                  </a:lnTo>
                  <a:lnTo>
                    <a:pt x="3974116" y="5234492"/>
                  </a:lnTo>
                  <a:lnTo>
                    <a:pt x="3969352" y="5248786"/>
                  </a:lnTo>
                  <a:lnTo>
                    <a:pt x="3974116" y="5267848"/>
                  </a:lnTo>
                  <a:lnTo>
                    <a:pt x="3964586" y="5301204"/>
                  </a:lnTo>
                  <a:lnTo>
                    <a:pt x="3969352" y="5344088"/>
                  </a:lnTo>
                  <a:lnTo>
                    <a:pt x="3964586" y="5391740"/>
                  </a:lnTo>
                  <a:lnTo>
                    <a:pt x="3959822" y="5415566"/>
                  </a:lnTo>
                  <a:lnTo>
                    <a:pt x="3955056" y="5429862"/>
                  </a:lnTo>
                  <a:lnTo>
                    <a:pt x="3935996" y="5453688"/>
                  </a:lnTo>
                  <a:lnTo>
                    <a:pt x="3935996" y="5477512"/>
                  </a:lnTo>
                  <a:lnTo>
                    <a:pt x="3902640" y="5501338"/>
                  </a:lnTo>
                  <a:lnTo>
                    <a:pt x="3864518" y="5529928"/>
                  </a:lnTo>
                  <a:lnTo>
                    <a:pt x="3831164" y="5568050"/>
                  </a:lnTo>
                  <a:lnTo>
                    <a:pt x="3788276" y="5620466"/>
                  </a:lnTo>
                  <a:lnTo>
                    <a:pt x="3745390" y="5696708"/>
                  </a:lnTo>
                  <a:lnTo>
                    <a:pt x="3702504" y="5811072"/>
                  </a:lnTo>
                  <a:lnTo>
                    <a:pt x="3654854" y="5896844"/>
                  </a:lnTo>
                  <a:lnTo>
                    <a:pt x="3635792" y="5930200"/>
                  </a:lnTo>
                  <a:lnTo>
                    <a:pt x="3607202" y="5963556"/>
                  </a:lnTo>
                  <a:lnTo>
                    <a:pt x="3569080" y="6001676"/>
                  </a:lnTo>
                  <a:lnTo>
                    <a:pt x="3521430" y="6044564"/>
                  </a:lnTo>
                  <a:lnTo>
                    <a:pt x="3469014" y="6082684"/>
                  </a:lnTo>
                  <a:lnTo>
                    <a:pt x="3449952" y="6096980"/>
                  </a:lnTo>
                  <a:lnTo>
                    <a:pt x="3430892" y="6120804"/>
                  </a:lnTo>
                  <a:lnTo>
                    <a:pt x="3426128" y="6111274"/>
                  </a:lnTo>
                  <a:lnTo>
                    <a:pt x="3430892" y="6092214"/>
                  </a:lnTo>
                  <a:lnTo>
                    <a:pt x="3430892" y="6082684"/>
                  </a:lnTo>
                  <a:lnTo>
                    <a:pt x="3426128" y="6068388"/>
                  </a:lnTo>
                  <a:lnTo>
                    <a:pt x="3440422" y="6063624"/>
                  </a:lnTo>
                  <a:lnTo>
                    <a:pt x="3454718" y="6073154"/>
                  </a:lnTo>
                  <a:lnTo>
                    <a:pt x="3464248" y="6068388"/>
                  </a:lnTo>
                  <a:lnTo>
                    <a:pt x="3469014" y="6063624"/>
                  </a:lnTo>
                  <a:lnTo>
                    <a:pt x="3488074" y="6058858"/>
                  </a:lnTo>
                  <a:lnTo>
                    <a:pt x="3526194" y="6015972"/>
                  </a:lnTo>
                  <a:lnTo>
                    <a:pt x="3550020" y="6001676"/>
                  </a:lnTo>
                  <a:lnTo>
                    <a:pt x="3569080" y="5977852"/>
                  </a:lnTo>
                  <a:lnTo>
                    <a:pt x="3569080" y="5963556"/>
                  </a:lnTo>
                  <a:lnTo>
                    <a:pt x="3569080" y="5934964"/>
                  </a:lnTo>
                  <a:lnTo>
                    <a:pt x="3578612" y="5930200"/>
                  </a:lnTo>
                  <a:lnTo>
                    <a:pt x="3597672" y="5934964"/>
                  </a:lnTo>
                  <a:lnTo>
                    <a:pt x="3602436" y="5925436"/>
                  </a:lnTo>
                  <a:lnTo>
                    <a:pt x="3597672" y="5915904"/>
                  </a:lnTo>
                  <a:lnTo>
                    <a:pt x="3602436" y="5896844"/>
                  </a:lnTo>
                  <a:lnTo>
                    <a:pt x="3631028" y="5882548"/>
                  </a:lnTo>
                  <a:lnTo>
                    <a:pt x="3640558" y="5863488"/>
                  </a:lnTo>
                  <a:lnTo>
                    <a:pt x="3640558" y="5811072"/>
                  </a:lnTo>
                  <a:lnTo>
                    <a:pt x="3645324" y="5811072"/>
                  </a:lnTo>
                  <a:lnTo>
                    <a:pt x="3654854" y="5815836"/>
                  </a:lnTo>
                  <a:lnTo>
                    <a:pt x="3659618" y="5815836"/>
                  </a:lnTo>
                  <a:lnTo>
                    <a:pt x="3664384" y="5792012"/>
                  </a:lnTo>
                  <a:lnTo>
                    <a:pt x="3664384" y="5777716"/>
                  </a:lnTo>
                  <a:lnTo>
                    <a:pt x="3650088" y="5777716"/>
                  </a:lnTo>
                  <a:lnTo>
                    <a:pt x="3607202" y="5801542"/>
                  </a:lnTo>
                  <a:lnTo>
                    <a:pt x="3592906" y="5801542"/>
                  </a:lnTo>
                  <a:lnTo>
                    <a:pt x="3588142" y="5782480"/>
                  </a:lnTo>
                  <a:lnTo>
                    <a:pt x="3564316" y="5772950"/>
                  </a:lnTo>
                  <a:lnTo>
                    <a:pt x="3559550" y="5753890"/>
                  </a:lnTo>
                  <a:lnTo>
                    <a:pt x="3554786" y="5744360"/>
                  </a:lnTo>
                  <a:lnTo>
                    <a:pt x="3550020" y="5739596"/>
                  </a:lnTo>
                  <a:lnTo>
                    <a:pt x="3550020" y="5758656"/>
                  </a:lnTo>
                  <a:lnTo>
                    <a:pt x="3550020" y="5777716"/>
                  </a:lnTo>
                  <a:lnTo>
                    <a:pt x="3569080" y="5801542"/>
                  </a:lnTo>
                  <a:lnTo>
                    <a:pt x="3564316" y="5811072"/>
                  </a:lnTo>
                  <a:lnTo>
                    <a:pt x="3554786" y="5820602"/>
                  </a:lnTo>
                  <a:lnTo>
                    <a:pt x="3550020" y="5839662"/>
                  </a:lnTo>
                  <a:lnTo>
                    <a:pt x="3550020" y="5868252"/>
                  </a:lnTo>
                  <a:lnTo>
                    <a:pt x="3545256" y="5863488"/>
                  </a:lnTo>
                  <a:lnTo>
                    <a:pt x="3540490" y="5853958"/>
                  </a:lnTo>
                  <a:lnTo>
                    <a:pt x="3535724" y="5887314"/>
                  </a:lnTo>
                  <a:lnTo>
                    <a:pt x="3521430" y="5901608"/>
                  </a:lnTo>
                  <a:lnTo>
                    <a:pt x="3516664" y="5911140"/>
                  </a:lnTo>
                  <a:lnTo>
                    <a:pt x="3521430" y="5925436"/>
                  </a:lnTo>
                  <a:lnTo>
                    <a:pt x="3516664" y="5934964"/>
                  </a:lnTo>
                  <a:lnTo>
                    <a:pt x="3483308" y="5958790"/>
                  </a:lnTo>
                  <a:lnTo>
                    <a:pt x="3449952" y="5977852"/>
                  </a:lnTo>
                  <a:lnTo>
                    <a:pt x="3440422" y="5987382"/>
                  </a:lnTo>
                  <a:lnTo>
                    <a:pt x="3440422" y="6006442"/>
                  </a:lnTo>
                  <a:lnTo>
                    <a:pt x="3435658" y="6025502"/>
                  </a:lnTo>
                  <a:lnTo>
                    <a:pt x="3421362" y="6044564"/>
                  </a:lnTo>
                  <a:lnTo>
                    <a:pt x="3407066" y="6077920"/>
                  </a:lnTo>
                  <a:lnTo>
                    <a:pt x="3407066" y="6092214"/>
                  </a:lnTo>
                  <a:lnTo>
                    <a:pt x="3411832" y="6116040"/>
                  </a:lnTo>
                  <a:lnTo>
                    <a:pt x="3416596" y="6130336"/>
                  </a:lnTo>
                  <a:lnTo>
                    <a:pt x="3407066" y="6139866"/>
                  </a:lnTo>
                  <a:lnTo>
                    <a:pt x="3397536" y="6158926"/>
                  </a:lnTo>
                  <a:lnTo>
                    <a:pt x="3383240" y="6177986"/>
                  </a:lnTo>
                  <a:lnTo>
                    <a:pt x="3359416" y="6258994"/>
                  </a:lnTo>
                  <a:lnTo>
                    <a:pt x="3335590" y="6311410"/>
                  </a:lnTo>
                  <a:lnTo>
                    <a:pt x="3321294" y="6335236"/>
                  </a:lnTo>
                  <a:lnTo>
                    <a:pt x="3292704" y="6359062"/>
                  </a:lnTo>
                  <a:lnTo>
                    <a:pt x="3225992" y="6421008"/>
                  </a:lnTo>
                  <a:lnTo>
                    <a:pt x="3221226" y="6421008"/>
                  </a:lnTo>
                  <a:lnTo>
                    <a:pt x="3211696" y="6416244"/>
                  </a:lnTo>
                  <a:lnTo>
                    <a:pt x="3202166" y="6411478"/>
                  </a:lnTo>
                  <a:lnTo>
                    <a:pt x="3197400" y="6406712"/>
                  </a:lnTo>
                  <a:lnTo>
                    <a:pt x="3197400" y="6401948"/>
                  </a:lnTo>
                  <a:lnTo>
                    <a:pt x="3197400" y="6387652"/>
                  </a:lnTo>
                  <a:lnTo>
                    <a:pt x="3202166" y="6387652"/>
                  </a:lnTo>
                  <a:lnTo>
                    <a:pt x="3211696" y="6382888"/>
                  </a:lnTo>
                  <a:lnTo>
                    <a:pt x="3211696" y="6373356"/>
                  </a:lnTo>
                  <a:lnTo>
                    <a:pt x="3211696" y="6349532"/>
                  </a:lnTo>
                  <a:lnTo>
                    <a:pt x="3211696" y="6325706"/>
                  </a:lnTo>
                  <a:lnTo>
                    <a:pt x="3216462" y="6316176"/>
                  </a:lnTo>
                  <a:lnTo>
                    <a:pt x="3221226" y="6306644"/>
                  </a:lnTo>
                  <a:lnTo>
                    <a:pt x="3225992" y="6301880"/>
                  </a:lnTo>
                  <a:lnTo>
                    <a:pt x="3230756" y="6301880"/>
                  </a:lnTo>
                  <a:lnTo>
                    <a:pt x="3235522" y="6297114"/>
                  </a:lnTo>
                  <a:lnTo>
                    <a:pt x="3245052" y="6292350"/>
                  </a:lnTo>
                  <a:lnTo>
                    <a:pt x="3254582" y="6278054"/>
                  </a:lnTo>
                  <a:lnTo>
                    <a:pt x="3264112" y="6254228"/>
                  </a:lnTo>
                  <a:lnTo>
                    <a:pt x="3273644" y="6249464"/>
                  </a:lnTo>
                  <a:lnTo>
                    <a:pt x="3278408" y="6244698"/>
                  </a:lnTo>
                  <a:lnTo>
                    <a:pt x="3287938" y="6249464"/>
                  </a:lnTo>
                  <a:lnTo>
                    <a:pt x="3292704" y="6258994"/>
                  </a:lnTo>
                  <a:lnTo>
                    <a:pt x="3297468" y="6268524"/>
                  </a:lnTo>
                  <a:lnTo>
                    <a:pt x="3307000" y="6268524"/>
                  </a:lnTo>
                  <a:lnTo>
                    <a:pt x="3311764" y="6268524"/>
                  </a:lnTo>
                  <a:lnTo>
                    <a:pt x="3316530" y="6258994"/>
                  </a:lnTo>
                  <a:lnTo>
                    <a:pt x="3326060" y="6249464"/>
                  </a:lnTo>
                  <a:lnTo>
                    <a:pt x="3330824" y="6239932"/>
                  </a:lnTo>
                  <a:lnTo>
                    <a:pt x="3335590" y="6225638"/>
                  </a:lnTo>
                  <a:lnTo>
                    <a:pt x="3340356" y="6216108"/>
                  </a:lnTo>
                  <a:lnTo>
                    <a:pt x="3345120" y="6206578"/>
                  </a:lnTo>
                  <a:lnTo>
                    <a:pt x="3345120" y="6197048"/>
                  </a:lnTo>
                  <a:lnTo>
                    <a:pt x="3345120" y="6192282"/>
                  </a:lnTo>
                  <a:lnTo>
                    <a:pt x="3340356" y="6182752"/>
                  </a:lnTo>
                  <a:lnTo>
                    <a:pt x="3335590" y="6173222"/>
                  </a:lnTo>
                  <a:lnTo>
                    <a:pt x="3330824" y="6163692"/>
                  </a:lnTo>
                  <a:lnTo>
                    <a:pt x="3330824" y="6144630"/>
                  </a:lnTo>
                  <a:lnTo>
                    <a:pt x="3330824" y="6135100"/>
                  </a:lnTo>
                  <a:lnTo>
                    <a:pt x="3326060" y="6135100"/>
                  </a:lnTo>
                  <a:lnTo>
                    <a:pt x="3321294" y="6139866"/>
                  </a:lnTo>
                  <a:lnTo>
                    <a:pt x="3316530" y="6149396"/>
                  </a:lnTo>
                  <a:lnTo>
                    <a:pt x="3316530" y="6154160"/>
                  </a:lnTo>
                  <a:lnTo>
                    <a:pt x="3311764" y="6163692"/>
                  </a:lnTo>
                  <a:lnTo>
                    <a:pt x="3311764" y="6168456"/>
                  </a:lnTo>
                  <a:lnTo>
                    <a:pt x="3302234" y="6177986"/>
                  </a:lnTo>
                  <a:lnTo>
                    <a:pt x="3287938" y="6187516"/>
                  </a:lnTo>
                  <a:lnTo>
                    <a:pt x="3283174" y="6197048"/>
                  </a:lnTo>
                  <a:lnTo>
                    <a:pt x="3278408" y="6211342"/>
                  </a:lnTo>
                  <a:lnTo>
                    <a:pt x="3268878" y="6211342"/>
                  </a:lnTo>
                  <a:lnTo>
                    <a:pt x="3259348" y="6220872"/>
                  </a:lnTo>
                  <a:lnTo>
                    <a:pt x="3254582" y="6220872"/>
                  </a:lnTo>
                  <a:lnTo>
                    <a:pt x="3245052" y="6216108"/>
                  </a:lnTo>
                  <a:lnTo>
                    <a:pt x="3225992" y="6206578"/>
                  </a:lnTo>
                  <a:lnTo>
                    <a:pt x="3206932" y="6192282"/>
                  </a:lnTo>
                  <a:lnTo>
                    <a:pt x="3187870" y="6173222"/>
                  </a:lnTo>
                  <a:lnTo>
                    <a:pt x="3178340" y="6154160"/>
                  </a:lnTo>
                  <a:lnTo>
                    <a:pt x="3173576" y="6135100"/>
                  </a:lnTo>
                  <a:lnTo>
                    <a:pt x="3164046" y="6116040"/>
                  </a:lnTo>
                  <a:lnTo>
                    <a:pt x="3164046" y="6111274"/>
                  </a:lnTo>
                  <a:lnTo>
                    <a:pt x="3154516" y="6106510"/>
                  </a:lnTo>
                  <a:lnTo>
                    <a:pt x="3144984" y="6096980"/>
                  </a:lnTo>
                  <a:lnTo>
                    <a:pt x="3140220" y="6092214"/>
                  </a:lnTo>
                  <a:lnTo>
                    <a:pt x="3125924" y="6087448"/>
                  </a:lnTo>
                  <a:lnTo>
                    <a:pt x="3111628" y="6082684"/>
                  </a:lnTo>
                  <a:lnTo>
                    <a:pt x="3092568" y="6073154"/>
                  </a:lnTo>
                  <a:lnTo>
                    <a:pt x="3068742" y="6054092"/>
                  </a:lnTo>
                  <a:lnTo>
                    <a:pt x="3049682" y="6030268"/>
                  </a:lnTo>
                  <a:lnTo>
                    <a:pt x="3044916" y="6015972"/>
                  </a:lnTo>
                  <a:lnTo>
                    <a:pt x="3035386" y="6006442"/>
                  </a:lnTo>
                  <a:lnTo>
                    <a:pt x="2987736" y="5987382"/>
                  </a:lnTo>
                  <a:lnTo>
                    <a:pt x="2963910" y="5968320"/>
                  </a:lnTo>
                  <a:lnTo>
                    <a:pt x="2954380" y="5973086"/>
                  </a:lnTo>
                  <a:lnTo>
                    <a:pt x="2944850" y="5968320"/>
                  </a:lnTo>
                  <a:lnTo>
                    <a:pt x="2930554" y="5958790"/>
                  </a:lnTo>
                  <a:lnTo>
                    <a:pt x="2925788" y="5949260"/>
                  </a:lnTo>
                  <a:lnTo>
                    <a:pt x="2921024" y="5939730"/>
                  </a:lnTo>
                  <a:lnTo>
                    <a:pt x="2916258" y="5930200"/>
                  </a:lnTo>
                  <a:lnTo>
                    <a:pt x="2911494" y="5925436"/>
                  </a:lnTo>
                  <a:lnTo>
                    <a:pt x="2897198" y="5911140"/>
                  </a:lnTo>
                  <a:lnTo>
                    <a:pt x="2882902" y="5892080"/>
                  </a:lnTo>
                  <a:lnTo>
                    <a:pt x="2873372" y="5887314"/>
                  </a:lnTo>
                  <a:lnTo>
                    <a:pt x="2873372" y="5892080"/>
                  </a:lnTo>
                  <a:lnTo>
                    <a:pt x="2868608" y="5896844"/>
                  </a:lnTo>
                  <a:lnTo>
                    <a:pt x="2863842" y="5901608"/>
                  </a:lnTo>
                  <a:lnTo>
                    <a:pt x="2859076" y="5906374"/>
                  </a:lnTo>
                  <a:lnTo>
                    <a:pt x="2849546" y="5911140"/>
                  </a:lnTo>
                  <a:lnTo>
                    <a:pt x="2844782" y="5920670"/>
                  </a:lnTo>
                  <a:lnTo>
                    <a:pt x="2835252" y="5930200"/>
                  </a:lnTo>
                  <a:lnTo>
                    <a:pt x="2820956" y="5930200"/>
                  </a:lnTo>
                  <a:lnTo>
                    <a:pt x="2811426" y="5930200"/>
                  </a:lnTo>
                  <a:lnTo>
                    <a:pt x="2811426" y="5925436"/>
                  </a:lnTo>
                  <a:lnTo>
                    <a:pt x="2811426" y="5915904"/>
                  </a:lnTo>
                  <a:lnTo>
                    <a:pt x="2811426" y="5887314"/>
                  </a:lnTo>
                  <a:lnTo>
                    <a:pt x="2806660" y="5873018"/>
                  </a:lnTo>
                  <a:lnTo>
                    <a:pt x="2797130" y="5863488"/>
                  </a:lnTo>
                  <a:lnTo>
                    <a:pt x="2787600" y="5849192"/>
                  </a:lnTo>
                  <a:lnTo>
                    <a:pt x="2749480" y="5815836"/>
                  </a:lnTo>
                  <a:lnTo>
                    <a:pt x="2701828" y="5768186"/>
                  </a:lnTo>
                  <a:lnTo>
                    <a:pt x="2682768" y="5753890"/>
                  </a:lnTo>
                  <a:lnTo>
                    <a:pt x="2668472" y="5753890"/>
                  </a:lnTo>
                  <a:lnTo>
                    <a:pt x="2654176" y="5753890"/>
                  </a:lnTo>
                  <a:lnTo>
                    <a:pt x="2639882" y="5758656"/>
                  </a:lnTo>
                  <a:lnTo>
                    <a:pt x="2630352" y="5782480"/>
                  </a:lnTo>
                  <a:lnTo>
                    <a:pt x="2625586" y="5787246"/>
                  </a:lnTo>
                  <a:lnTo>
                    <a:pt x="2596996" y="5782480"/>
                  </a:lnTo>
                  <a:lnTo>
                    <a:pt x="2568404" y="5782480"/>
                  </a:lnTo>
                  <a:lnTo>
                    <a:pt x="2563640" y="5768186"/>
                  </a:lnTo>
                  <a:lnTo>
                    <a:pt x="2568404" y="5758656"/>
                  </a:lnTo>
                  <a:lnTo>
                    <a:pt x="2592230" y="5739596"/>
                  </a:lnTo>
                  <a:lnTo>
                    <a:pt x="2606526" y="5725300"/>
                  </a:lnTo>
                  <a:lnTo>
                    <a:pt x="2611290" y="5711004"/>
                  </a:lnTo>
                  <a:lnTo>
                    <a:pt x="2620820" y="5696708"/>
                  </a:lnTo>
                  <a:lnTo>
                    <a:pt x="2644646" y="5682414"/>
                  </a:lnTo>
                  <a:lnTo>
                    <a:pt x="2668472" y="5663352"/>
                  </a:lnTo>
                  <a:lnTo>
                    <a:pt x="2692298" y="5629996"/>
                  </a:lnTo>
                  <a:lnTo>
                    <a:pt x="2706592" y="5606172"/>
                  </a:lnTo>
                  <a:lnTo>
                    <a:pt x="2716124" y="5591876"/>
                  </a:lnTo>
                  <a:lnTo>
                    <a:pt x="2725654" y="5577580"/>
                  </a:lnTo>
                  <a:lnTo>
                    <a:pt x="2739948" y="5572816"/>
                  </a:lnTo>
                  <a:lnTo>
                    <a:pt x="2754244" y="5553756"/>
                  </a:lnTo>
                  <a:lnTo>
                    <a:pt x="2763774" y="5529928"/>
                  </a:lnTo>
                  <a:lnTo>
                    <a:pt x="2778070" y="5506104"/>
                  </a:lnTo>
                  <a:lnTo>
                    <a:pt x="2797130" y="5491808"/>
                  </a:lnTo>
                  <a:lnTo>
                    <a:pt x="2806660" y="5482278"/>
                  </a:lnTo>
                  <a:lnTo>
                    <a:pt x="2811426" y="5467982"/>
                  </a:lnTo>
                  <a:lnTo>
                    <a:pt x="2816192" y="5463218"/>
                  </a:lnTo>
                  <a:lnTo>
                    <a:pt x="2825722" y="5463218"/>
                  </a:lnTo>
                  <a:lnTo>
                    <a:pt x="2830486" y="5453688"/>
                  </a:lnTo>
                  <a:lnTo>
                    <a:pt x="2830486" y="5448922"/>
                  </a:lnTo>
                  <a:lnTo>
                    <a:pt x="2830486" y="5444156"/>
                  </a:lnTo>
                  <a:lnTo>
                    <a:pt x="2835252" y="5439392"/>
                  </a:lnTo>
                  <a:lnTo>
                    <a:pt x="2844782" y="5439392"/>
                  </a:lnTo>
                  <a:lnTo>
                    <a:pt x="2854312" y="5444156"/>
                  </a:lnTo>
                  <a:lnTo>
                    <a:pt x="2863842" y="5444156"/>
                  </a:lnTo>
                  <a:lnTo>
                    <a:pt x="2863842" y="5439392"/>
                  </a:lnTo>
                  <a:lnTo>
                    <a:pt x="2863842" y="5429862"/>
                  </a:lnTo>
                  <a:lnTo>
                    <a:pt x="2854312" y="5420332"/>
                  </a:lnTo>
                  <a:lnTo>
                    <a:pt x="2854312" y="5410800"/>
                  </a:lnTo>
                  <a:lnTo>
                    <a:pt x="2878138" y="5396506"/>
                  </a:lnTo>
                  <a:lnTo>
                    <a:pt x="2897198" y="5391740"/>
                  </a:lnTo>
                  <a:lnTo>
                    <a:pt x="2906728" y="5382210"/>
                  </a:lnTo>
                  <a:lnTo>
                    <a:pt x="2916258" y="5367916"/>
                  </a:lnTo>
                  <a:lnTo>
                    <a:pt x="2930554" y="5358384"/>
                  </a:lnTo>
                  <a:lnTo>
                    <a:pt x="2954380" y="5353620"/>
                  </a:lnTo>
                  <a:lnTo>
                    <a:pt x="2959144" y="5348854"/>
                  </a:lnTo>
                  <a:lnTo>
                    <a:pt x="2959144" y="5339324"/>
                  </a:lnTo>
                  <a:lnTo>
                    <a:pt x="2963910" y="5334560"/>
                  </a:lnTo>
                  <a:lnTo>
                    <a:pt x="2978206" y="5334560"/>
                  </a:lnTo>
                  <a:lnTo>
                    <a:pt x="2982970" y="5325028"/>
                  </a:lnTo>
                  <a:lnTo>
                    <a:pt x="2982970" y="5315498"/>
                  </a:lnTo>
                  <a:lnTo>
                    <a:pt x="2987736" y="5305968"/>
                  </a:lnTo>
                  <a:lnTo>
                    <a:pt x="2997266" y="5296438"/>
                  </a:lnTo>
                  <a:lnTo>
                    <a:pt x="3006796" y="5296438"/>
                  </a:lnTo>
                  <a:lnTo>
                    <a:pt x="3011562" y="5296438"/>
                  </a:lnTo>
                  <a:lnTo>
                    <a:pt x="3021092" y="5291672"/>
                  </a:lnTo>
                  <a:lnTo>
                    <a:pt x="3030622" y="5286908"/>
                  </a:lnTo>
                  <a:lnTo>
                    <a:pt x="3040152" y="5282142"/>
                  </a:lnTo>
                  <a:lnTo>
                    <a:pt x="3049682" y="5282142"/>
                  </a:lnTo>
                  <a:lnTo>
                    <a:pt x="3054448" y="5277378"/>
                  </a:lnTo>
                  <a:lnTo>
                    <a:pt x="3073508" y="5277378"/>
                  </a:lnTo>
                  <a:lnTo>
                    <a:pt x="3087804" y="5267848"/>
                  </a:lnTo>
                  <a:lnTo>
                    <a:pt x="3092568" y="5253552"/>
                  </a:lnTo>
                  <a:lnTo>
                    <a:pt x="3102098" y="5244022"/>
                  </a:lnTo>
                  <a:lnTo>
                    <a:pt x="3106864" y="5248786"/>
                  </a:lnTo>
                  <a:lnTo>
                    <a:pt x="3121160" y="5244022"/>
                  </a:lnTo>
                  <a:lnTo>
                    <a:pt x="3135454" y="5229726"/>
                  </a:lnTo>
                  <a:lnTo>
                    <a:pt x="3140220" y="5229726"/>
                  </a:lnTo>
                  <a:lnTo>
                    <a:pt x="3149750" y="5220196"/>
                  </a:lnTo>
                  <a:lnTo>
                    <a:pt x="3164046" y="5196370"/>
                  </a:lnTo>
                  <a:lnTo>
                    <a:pt x="3168810" y="5182076"/>
                  </a:lnTo>
                  <a:lnTo>
                    <a:pt x="3168810" y="5167780"/>
                  </a:lnTo>
                  <a:lnTo>
                    <a:pt x="3164046" y="5158250"/>
                  </a:lnTo>
                  <a:lnTo>
                    <a:pt x="3164046" y="5143954"/>
                  </a:lnTo>
                  <a:lnTo>
                    <a:pt x="3168810" y="5105832"/>
                  </a:lnTo>
                  <a:lnTo>
                    <a:pt x="3168810" y="5086772"/>
                  </a:lnTo>
                  <a:lnTo>
                    <a:pt x="3178340" y="5077242"/>
                  </a:lnTo>
                  <a:lnTo>
                    <a:pt x="3178340" y="5067712"/>
                  </a:lnTo>
                  <a:lnTo>
                    <a:pt x="3164046" y="5039120"/>
                  </a:lnTo>
                  <a:lnTo>
                    <a:pt x="3154516" y="5020060"/>
                  </a:lnTo>
                  <a:lnTo>
                    <a:pt x="3144984" y="4981940"/>
                  </a:lnTo>
                  <a:lnTo>
                    <a:pt x="3144984" y="4967644"/>
                  </a:lnTo>
                  <a:lnTo>
                    <a:pt x="3130690" y="4967644"/>
                  </a:lnTo>
                  <a:lnTo>
                    <a:pt x="3125924" y="4953348"/>
                  </a:lnTo>
                  <a:lnTo>
                    <a:pt x="3111628" y="4953348"/>
                  </a:lnTo>
                  <a:lnTo>
                    <a:pt x="3106864" y="4948584"/>
                  </a:lnTo>
                  <a:lnTo>
                    <a:pt x="3102098" y="4943818"/>
                  </a:lnTo>
                  <a:lnTo>
                    <a:pt x="3092568" y="4943818"/>
                  </a:lnTo>
                  <a:lnTo>
                    <a:pt x="3087804" y="4953348"/>
                  </a:lnTo>
                  <a:lnTo>
                    <a:pt x="3073508" y="4953348"/>
                  </a:lnTo>
                  <a:lnTo>
                    <a:pt x="3063978" y="4953348"/>
                  </a:lnTo>
                  <a:lnTo>
                    <a:pt x="3054448" y="4962880"/>
                  </a:lnTo>
                  <a:lnTo>
                    <a:pt x="3049682" y="4958114"/>
                  </a:lnTo>
                  <a:lnTo>
                    <a:pt x="3040152" y="4953348"/>
                  </a:lnTo>
                  <a:lnTo>
                    <a:pt x="3030622" y="4953348"/>
                  </a:lnTo>
                  <a:lnTo>
                    <a:pt x="3030622" y="4929524"/>
                  </a:lnTo>
                  <a:lnTo>
                    <a:pt x="3049682" y="4891402"/>
                  </a:lnTo>
                  <a:lnTo>
                    <a:pt x="3059212" y="4872342"/>
                  </a:lnTo>
                  <a:lnTo>
                    <a:pt x="3054448" y="4862812"/>
                  </a:lnTo>
                  <a:lnTo>
                    <a:pt x="3063978" y="4829456"/>
                  </a:lnTo>
                  <a:lnTo>
                    <a:pt x="3078272" y="4772274"/>
                  </a:lnTo>
                  <a:lnTo>
                    <a:pt x="3083038" y="4734152"/>
                  </a:lnTo>
                  <a:lnTo>
                    <a:pt x="3078272" y="4715092"/>
                  </a:lnTo>
                  <a:lnTo>
                    <a:pt x="3078272" y="4705562"/>
                  </a:lnTo>
                  <a:lnTo>
                    <a:pt x="3083038" y="4691268"/>
                  </a:lnTo>
                  <a:lnTo>
                    <a:pt x="3087804" y="4691268"/>
                  </a:lnTo>
                  <a:lnTo>
                    <a:pt x="3068742" y="4676972"/>
                  </a:lnTo>
                  <a:lnTo>
                    <a:pt x="3059212" y="4662676"/>
                  </a:lnTo>
                  <a:lnTo>
                    <a:pt x="3044916" y="4657912"/>
                  </a:lnTo>
                  <a:lnTo>
                    <a:pt x="3030622" y="4648380"/>
                  </a:lnTo>
                  <a:lnTo>
                    <a:pt x="3021092" y="4653146"/>
                  </a:lnTo>
                  <a:lnTo>
                    <a:pt x="3011562" y="4657912"/>
                  </a:lnTo>
                  <a:lnTo>
                    <a:pt x="2997266" y="4662676"/>
                  </a:lnTo>
                  <a:lnTo>
                    <a:pt x="2982970" y="4672206"/>
                  </a:lnTo>
                  <a:lnTo>
                    <a:pt x="2973440" y="4676972"/>
                  </a:lnTo>
                  <a:lnTo>
                    <a:pt x="2959144" y="4681736"/>
                  </a:lnTo>
                  <a:lnTo>
                    <a:pt x="2940084" y="4686502"/>
                  </a:lnTo>
                  <a:lnTo>
                    <a:pt x="2925788" y="4681736"/>
                  </a:lnTo>
                  <a:lnTo>
                    <a:pt x="2911494" y="4681736"/>
                  </a:lnTo>
                  <a:lnTo>
                    <a:pt x="2906728" y="4672206"/>
                  </a:lnTo>
                  <a:lnTo>
                    <a:pt x="2901964" y="4657912"/>
                  </a:lnTo>
                  <a:lnTo>
                    <a:pt x="2901964" y="4648380"/>
                  </a:lnTo>
                  <a:lnTo>
                    <a:pt x="2897198" y="4629320"/>
                  </a:lnTo>
                  <a:lnTo>
                    <a:pt x="2887668" y="4619790"/>
                  </a:lnTo>
                  <a:lnTo>
                    <a:pt x="2882902" y="4610260"/>
                  </a:lnTo>
                  <a:lnTo>
                    <a:pt x="2882902" y="4600730"/>
                  </a:lnTo>
                  <a:lnTo>
                    <a:pt x="2887668" y="4591200"/>
                  </a:lnTo>
                  <a:lnTo>
                    <a:pt x="2887668" y="4581668"/>
                  </a:lnTo>
                  <a:lnTo>
                    <a:pt x="2887668" y="4572138"/>
                  </a:lnTo>
                  <a:lnTo>
                    <a:pt x="2882902" y="4567374"/>
                  </a:lnTo>
                  <a:lnTo>
                    <a:pt x="2882902" y="4553078"/>
                  </a:lnTo>
                  <a:lnTo>
                    <a:pt x="2882902" y="4538782"/>
                  </a:lnTo>
                  <a:lnTo>
                    <a:pt x="2878138" y="4529252"/>
                  </a:lnTo>
                  <a:lnTo>
                    <a:pt x="2873372" y="4514956"/>
                  </a:lnTo>
                  <a:lnTo>
                    <a:pt x="2873372" y="4505428"/>
                  </a:lnTo>
                  <a:lnTo>
                    <a:pt x="2868608" y="4491132"/>
                  </a:lnTo>
                  <a:lnTo>
                    <a:pt x="2868608" y="4481600"/>
                  </a:lnTo>
                  <a:lnTo>
                    <a:pt x="2873372" y="4467306"/>
                  </a:lnTo>
                  <a:lnTo>
                    <a:pt x="2873372" y="4457776"/>
                  </a:lnTo>
                  <a:lnTo>
                    <a:pt x="2868608" y="4448246"/>
                  </a:lnTo>
                  <a:lnTo>
                    <a:pt x="2859076" y="4443480"/>
                  </a:lnTo>
                  <a:lnTo>
                    <a:pt x="2854312" y="4429184"/>
                  </a:lnTo>
                  <a:lnTo>
                    <a:pt x="2854312" y="4410124"/>
                  </a:lnTo>
                  <a:lnTo>
                    <a:pt x="2844782" y="4400594"/>
                  </a:lnTo>
                  <a:lnTo>
                    <a:pt x="2835252" y="4395828"/>
                  </a:lnTo>
                  <a:lnTo>
                    <a:pt x="2830486" y="4395828"/>
                  </a:lnTo>
                  <a:lnTo>
                    <a:pt x="2816192" y="4391064"/>
                  </a:lnTo>
                  <a:lnTo>
                    <a:pt x="2801896" y="4391064"/>
                  </a:lnTo>
                  <a:lnTo>
                    <a:pt x="2782836" y="4391064"/>
                  </a:lnTo>
                  <a:lnTo>
                    <a:pt x="2773304" y="4386298"/>
                  </a:lnTo>
                  <a:lnTo>
                    <a:pt x="2768540" y="4381534"/>
                  </a:lnTo>
                  <a:lnTo>
                    <a:pt x="2759010" y="4372004"/>
                  </a:lnTo>
                  <a:lnTo>
                    <a:pt x="2754244" y="4357708"/>
                  </a:lnTo>
                  <a:lnTo>
                    <a:pt x="2744714" y="4352944"/>
                  </a:lnTo>
                  <a:lnTo>
                    <a:pt x="2730418" y="4357708"/>
                  </a:lnTo>
                  <a:lnTo>
                    <a:pt x="2725654" y="4367238"/>
                  </a:lnTo>
                  <a:lnTo>
                    <a:pt x="2720888" y="4372004"/>
                  </a:lnTo>
                  <a:lnTo>
                    <a:pt x="2716124" y="4381534"/>
                  </a:lnTo>
                  <a:lnTo>
                    <a:pt x="2701828" y="4381534"/>
                  </a:lnTo>
                  <a:lnTo>
                    <a:pt x="2692298" y="4386298"/>
                  </a:lnTo>
                  <a:lnTo>
                    <a:pt x="2682768" y="4386298"/>
                  </a:lnTo>
                  <a:lnTo>
                    <a:pt x="2668472" y="4386298"/>
                  </a:lnTo>
                  <a:lnTo>
                    <a:pt x="2654176" y="4381534"/>
                  </a:lnTo>
                  <a:lnTo>
                    <a:pt x="2635116" y="4376768"/>
                  </a:lnTo>
                  <a:lnTo>
                    <a:pt x="2620820" y="4376768"/>
                  </a:lnTo>
                  <a:lnTo>
                    <a:pt x="2606526" y="4376768"/>
                  </a:lnTo>
                  <a:lnTo>
                    <a:pt x="2596996" y="4376768"/>
                  </a:lnTo>
                  <a:lnTo>
                    <a:pt x="2582700" y="4372004"/>
                  </a:lnTo>
                  <a:lnTo>
                    <a:pt x="2568404" y="4372004"/>
                  </a:lnTo>
                  <a:lnTo>
                    <a:pt x="2558874" y="4362472"/>
                  </a:lnTo>
                  <a:lnTo>
                    <a:pt x="2544578" y="4357708"/>
                  </a:lnTo>
                  <a:lnTo>
                    <a:pt x="2539814" y="4362472"/>
                  </a:lnTo>
                  <a:lnTo>
                    <a:pt x="2530284" y="4367238"/>
                  </a:lnTo>
                  <a:lnTo>
                    <a:pt x="2520752" y="4367238"/>
                  </a:lnTo>
                  <a:lnTo>
                    <a:pt x="2506458" y="4362472"/>
                  </a:lnTo>
                  <a:lnTo>
                    <a:pt x="2501692" y="4348178"/>
                  </a:lnTo>
                  <a:lnTo>
                    <a:pt x="2506458" y="4343412"/>
                  </a:lnTo>
                  <a:lnTo>
                    <a:pt x="2506458" y="4338648"/>
                  </a:lnTo>
                  <a:lnTo>
                    <a:pt x="2511222" y="4329116"/>
                  </a:lnTo>
                  <a:lnTo>
                    <a:pt x="2506458" y="4314822"/>
                  </a:lnTo>
                  <a:lnTo>
                    <a:pt x="2511222" y="4310056"/>
                  </a:lnTo>
                  <a:lnTo>
                    <a:pt x="2511222" y="4300526"/>
                  </a:lnTo>
                  <a:lnTo>
                    <a:pt x="2515988" y="4290996"/>
                  </a:lnTo>
                  <a:lnTo>
                    <a:pt x="2511222" y="4281466"/>
                  </a:lnTo>
                  <a:lnTo>
                    <a:pt x="2511222" y="4276700"/>
                  </a:lnTo>
                  <a:lnTo>
                    <a:pt x="2511222" y="4267170"/>
                  </a:lnTo>
                  <a:lnTo>
                    <a:pt x="2511222" y="4257640"/>
                  </a:lnTo>
                  <a:lnTo>
                    <a:pt x="2515988" y="4243344"/>
                  </a:lnTo>
                  <a:lnTo>
                    <a:pt x="2520752" y="4233814"/>
                  </a:lnTo>
                  <a:lnTo>
                    <a:pt x="2515988" y="4224284"/>
                  </a:lnTo>
                  <a:lnTo>
                    <a:pt x="2520752" y="4219520"/>
                  </a:lnTo>
                  <a:lnTo>
                    <a:pt x="2520752" y="4209988"/>
                  </a:lnTo>
                  <a:lnTo>
                    <a:pt x="2530284" y="4195694"/>
                  </a:lnTo>
                  <a:lnTo>
                    <a:pt x="2525518" y="4171868"/>
                  </a:lnTo>
                  <a:lnTo>
                    <a:pt x="2520752" y="4162338"/>
                  </a:lnTo>
                  <a:lnTo>
                    <a:pt x="2515988" y="4157572"/>
                  </a:lnTo>
                  <a:lnTo>
                    <a:pt x="2515988" y="4152808"/>
                  </a:lnTo>
                  <a:lnTo>
                    <a:pt x="2520752" y="4148042"/>
                  </a:lnTo>
                  <a:lnTo>
                    <a:pt x="2515988" y="4143278"/>
                  </a:lnTo>
                  <a:lnTo>
                    <a:pt x="2515988" y="4138512"/>
                  </a:lnTo>
                  <a:lnTo>
                    <a:pt x="2515988" y="4133748"/>
                  </a:lnTo>
                  <a:lnTo>
                    <a:pt x="2515988" y="4124216"/>
                  </a:lnTo>
                  <a:lnTo>
                    <a:pt x="2506458" y="4119452"/>
                  </a:lnTo>
                  <a:lnTo>
                    <a:pt x="2501692" y="4105156"/>
                  </a:lnTo>
                  <a:lnTo>
                    <a:pt x="2501692" y="4095626"/>
                  </a:lnTo>
                  <a:lnTo>
                    <a:pt x="2501692" y="4086096"/>
                  </a:lnTo>
                  <a:lnTo>
                    <a:pt x="2496928" y="4076566"/>
                  </a:lnTo>
                  <a:lnTo>
                    <a:pt x="2492162" y="4071800"/>
                  </a:lnTo>
                  <a:lnTo>
                    <a:pt x="2487398" y="4062270"/>
                  </a:lnTo>
                  <a:lnTo>
                    <a:pt x="2482632" y="4057504"/>
                  </a:lnTo>
                  <a:lnTo>
                    <a:pt x="2477868" y="4047974"/>
                  </a:lnTo>
                  <a:lnTo>
                    <a:pt x="2477868" y="4033680"/>
                  </a:lnTo>
                  <a:lnTo>
                    <a:pt x="2487398" y="4033680"/>
                  </a:lnTo>
                  <a:lnTo>
                    <a:pt x="2492162" y="4024148"/>
                  </a:lnTo>
                  <a:lnTo>
                    <a:pt x="2496928" y="4014618"/>
                  </a:lnTo>
                  <a:lnTo>
                    <a:pt x="2506458" y="4014618"/>
                  </a:lnTo>
                  <a:lnTo>
                    <a:pt x="2520752" y="4009854"/>
                  </a:lnTo>
                  <a:lnTo>
                    <a:pt x="2520752" y="4005088"/>
                  </a:lnTo>
                  <a:lnTo>
                    <a:pt x="2496928" y="3981262"/>
                  </a:lnTo>
                  <a:lnTo>
                    <a:pt x="2482632" y="3966968"/>
                  </a:lnTo>
                  <a:lnTo>
                    <a:pt x="2487398" y="3943142"/>
                  </a:lnTo>
                  <a:lnTo>
                    <a:pt x="2506458" y="3914552"/>
                  </a:lnTo>
                  <a:lnTo>
                    <a:pt x="2520752" y="3881196"/>
                  </a:lnTo>
                  <a:lnTo>
                    <a:pt x="2530284" y="3857370"/>
                  </a:lnTo>
                  <a:lnTo>
                    <a:pt x="2535048" y="3852604"/>
                  </a:lnTo>
                  <a:lnTo>
                    <a:pt x="2544578" y="3847840"/>
                  </a:lnTo>
                  <a:lnTo>
                    <a:pt x="2544578" y="3838308"/>
                  </a:lnTo>
                  <a:lnTo>
                    <a:pt x="2544578" y="3828778"/>
                  </a:lnTo>
                  <a:lnTo>
                    <a:pt x="2535048" y="3828778"/>
                  </a:lnTo>
                  <a:lnTo>
                    <a:pt x="2544578" y="3800188"/>
                  </a:lnTo>
                  <a:lnTo>
                    <a:pt x="2558874" y="3757302"/>
                  </a:lnTo>
                  <a:lnTo>
                    <a:pt x="2568404" y="3723946"/>
                  </a:lnTo>
                  <a:lnTo>
                    <a:pt x="2568404" y="3719180"/>
                  </a:lnTo>
                  <a:lnTo>
                    <a:pt x="2577934" y="3714416"/>
                  </a:lnTo>
                  <a:lnTo>
                    <a:pt x="2568404" y="3709650"/>
                  </a:lnTo>
                  <a:lnTo>
                    <a:pt x="2563640" y="3695356"/>
                  </a:lnTo>
                  <a:lnTo>
                    <a:pt x="2554108" y="3666764"/>
                  </a:lnTo>
                  <a:lnTo>
                    <a:pt x="2535048" y="3623878"/>
                  </a:lnTo>
                  <a:lnTo>
                    <a:pt x="2535048" y="3609584"/>
                  </a:lnTo>
                  <a:lnTo>
                    <a:pt x="2525518" y="3595288"/>
                  </a:lnTo>
                  <a:lnTo>
                    <a:pt x="2515988" y="3600052"/>
                  </a:lnTo>
                  <a:lnTo>
                    <a:pt x="2501692" y="3600052"/>
                  </a:lnTo>
                  <a:lnTo>
                    <a:pt x="2468336" y="3571462"/>
                  </a:lnTo>
                  <a:lnTo>
                    <a:pt x="2444512" y="3561932"/>
                  </a:lnTo>
                  <a:lnTo>
                    <a:pt x="2439746" y="3552402"/>
                  </a:lnTo>
                  <a:lnTo>
                    <a:pt x="2434980" y="3528576"/>
                  </a:lnTo>
                  <a:lnTo>
                    <a:pt x="2430216" y="3499984"/>
                  </a:lnTo>
                  <a:lnTo>
                    <a:pt x="2425450" y="3466628"/>
                  </a:lnTo>
                  <a:lnTo>
                    <a:pt x="2425450" y="3457098"/>
                  </a:lnTo>
                  <a:lnTo>
                    <a:pt x="2444512" y="3428508"/>
                  </a:lnTo>
                  <a:lnTo>
                    <a:pt x="2444512" y="3418978"/>
                  </a:lnTo>
                  <a:lnTo>
                    <a:pt x="2449276" y="3404682"/>
                  </a:lnTo>
                  <a:lnTo>
                    <a:pt x="2449276" y="3395152"/>
                  </a:lnTo>
                  <a:lnTo>
                    <a:pt x="2444512" y="3395152"/>
                  </a:lnTo>
                  <a:lnTo>
                    <a:pt x="2434980" y="3399918"/>
                  </a:lnTo>
                  <a:lnTo>
                    <a:pt x="2425450" y="3404682"/>
                  </a:lnTo>
                  <a:lnTo>
                    <a:pt x="2415920" y="3404682"/>
                  </a:lnTo>
                  <a:lnTo>
                    <a:pt x="2349208" y="3399918"/>
                  </a:lnTo>
                  <a:lnTo>
                    <a:pt x="2277732" y="3399918"/>
                  </a:lnTo>
                  <a:lnTo>
                    <a:pt x="2215784" y="3395152"/>
                  </a:lnTo>
                  <a:lnTo>
                    <a:pt x="2163368" y="3395152"/>
                  </a:lnTo>
                  <a:lnTo>
                    <a:pt x="2158604" y="3371326"/>
                  </a:lnTo>
                  <a:lnTo>
                    <a:pt x="2158604" y="3333206"/>
                  </a:lnTo>
                  <a:lnTo>
                    <a:pt x="2153838" y="3309380"/>
                  </a:lnTo>
                  <a:lnTo>
                    <a:pt x="2149074" y="3266494"/>
                  </a:lnTo>
                  <a:lnTo>
                    <a:pt x="2130012" y="3237904"/>
                  </a:lnTo>
                  <a:lnTo>
                    <a:pt x="2106188" y="3214078"/>
                  </a:lnTo>
                  <a:lnTo>
                    <a:pt x="2096656" y="3204548"/>
                  </a:lnTo>
                  <a:lnTo>
                    <a:pt x="2125248" y="3204548"/>
                  </a:lnTo>
                  <a:lnTo>
                    <a:pt x="2144308" y="3204548"/>
                  </a:lnTo>
                  <a:lnTo>
                    <a:pt x="2144308" y="3128304"/>
                  </a:lnTo>
                  <a:lnTo>
                    <a:pt x="2134778" y="3118774"/>
                  </a:lnTo>
                  <a:lnTo>
                    <a:pt x="2130012" y="3094950"/>
                  </a:lnTo>
                  <a:lnTo>
                    <a:pt x="2125248" y="3080654"/>
                  </a:lnTo>
                  <a:lnTo>
                    <a:pt x="2115718" y="3071124"/>
                  </a:lnTo>
                  <a:lnTo>
                    <a:pt x="2115718" y="3056828"/>
                  </a:lnTo>
                  <a:lnTo>
                    <a:pt x="2115718" y="3047298"/>
                  </a:lnTo>
                  <a:lnTo>
                    <a:pt x="2120482" y="3042532"/>
                  </a:lnTo>
                  <a:lnTo>
                    <a:pt x="2125248" y="3028238"/>
                  </a:lnTo>
                  <a:lnTo>
                    <a:pt x="2125248" y="3018708"/>
                  </a:lnTo>
                  <a:lnTo>
                    <a:pt x="2115718" y="3004412"/>
                  </a:lnTo>
                  <a:lnTo>
                    <a:pt x="2110952" y="2994882"/>
                  </a:lnTo>
                  <a:lnTo>
                    <a:pt x="2096656" y="2985352"/>
                  </a:lnTo>
                  <a:lnTo>
                    <a:pt x="2077596" y="2975820"/>
                  </a:lnTo>
                  <a:lnTo>
                    <a:pt x="2044240" y="2956760"/>
                  </a:lnTo>
                  <a:lnTo>
                    <a:pt x="2020414" y="2947230"/>
                  </a:lnTo>
                  <a:lnTo>
                    <a:pt x="2010884" y="2947230"/>
                  </a:lnTo>
                  <a:lnTo>
                    <a:pt x="1967998" y="2951996"/>
                  </a:lnTo>
                  <a:lnTo>
                    <a:pt x="1953704" y="2951996"/>
                  </a:lnTo>
                  <a:lnTo>
                    <a:pt x="1944172" y="2951996"/>
                  </a:lnTo>
                  <a:lnTo>
                    <a:pt x="1910816" y="2951996"/>
                  </a:lnTo>
                  <a:lnTo>
                    <a:pt x="1896522" y="2942464"/>
                  </a:lnTo>
                  <a:lnTo>
                    <a:pt x="1886992" y="2932934"/>
                  </a:lnTo>
                  <a:lnTo>
                    <a:pt x="1863166" y="2904344"/>
                  </a:lnTo>
                  <a:lnTo>
                    <a:pt x="1858400" y="2894814"/>
                  </a:lnTo>
                  <a:lnTo>
                    <a:pt x="1848870" y="2890048"/>
                  </a:lnTo>
                  <a:lnTo>
                    <a:pt x="1834574" y="2890048"/>
                  </a:lnTo>
                  <a:lnTo>
                    <a:pt x="1820280" y="2885284"/>
                  </a:lnTo>
                  <a:lnTo>
                    <a:pt x="1796454" y="2875754"/>
                  </a:lnTo>
                  <a:lnTo>
                    <a:pt x="1767864" y="2866224"/>
                  </a:lnTo>
                  <a:lnTo>
                    <a:pt x="1758332" y="2866224"/>
                  </a:lnTo>
                  <a:lnTo>
                    <a:pt x="1744038" y="2863840"/>
                  </a:lnTo>
                  <a:lnTo>
                    <a:pt x="1724976" y="2844780"/>
                  </a:lnTo>
                  <a:lnTo>
                    <a:pt x="1720212" y="2840014"/>
                  </a:lnTo>
                  <a:lnTo>
                    <a:pt x="1715446" y="2830484"/>
                  </a:lnTo>
                  <a:lnTo>
                    <a:pt x="1710682" y="2816190"/>
                  </a:lnTo>
                  <a:lnTo>
                    <a:pt x="1701152" y="2811424"/>
                  </a:lnTo>
                  <a:lnTo>
                    <a:pt x="1691620" y="2816190"/>
                  </a:lnTo>
                  <a:lnTo>
                    <a:pt x="1682090" y="2820954"/>
                  </a:lnTo>
                  <a:lnTo>
                    <a:pt x="1667796" y="2816190"/>
                  </a:lnTo>
                  <a:lnTo>
                    <a:pt x="1648734" y="2806660"/>
                  </a:lnTo>
                  <a:lnTo>
                    <a:pt x="1634440" y="2797128"/>
                  </a:lnTo>
                  <a:lnTo>
                    <a:pt x="1629674" y="2792364"/>
                  </a:lnTo>
                  <a:lnTo>
                    <a:pt x="1610614" y="2787598"/>
                  </a:lnTo>
                  <a:lnTo>
                    <a:pt x="1596318" y="2782834"/>
                  </a:lnTo>
                  <a:lnTo>
                    <a:pt x="1572492" y="2792364"/>
                  </a:lnTo>
                  <a:lnTo>
                    <a:pt x="1553432" y="2787598"/>
                  </a:lnTo>
                  <a:lnTo>
                    <a:pt x="1524842" y="2787598"/>
                  </a:lnTo>
                  <a:lnTo>
                    <a:pt x="1496250" y="2778068"/>
                  </a:lnTo>
                  <a:lnTo>
                    <a:pt x="1486720" y="2759008"/>
                  </a:lnTo>
                  <a:lnTo>
                    <a:pt x="1481956" y="2749478"/>
                  </a:lnTo>
                  <a:lnTo>
                    <a:pt x="1467660" y="2739948"/>
                  </a:lnTo>
                  <a:lnTo>
                    <a:pt x="1458130" y="2730416"/>
                  </a:lnTo>
                  <a:lnTo>
                    <a:pt x="1443834" y="2720886"/>
                  </a:lnTo>
                  <a:lnTo>
                    <a:pt x="1434304" y="2711356"/>
                  </a:lnTo>
                  <a:lnTo>
                    <a:pt x="1420008" y="2711356"/>
                  </a:lnTo>
                  <a:lnTo>
                    <a:pt x="1410478" y="2706592"/>
                  </a:lnTo>
                  <a:lnTo>
                    <a:pt x="1405714" y="2697060"/>
                  </a:lnTo>
                  <a:lnTo>
                    <a:pt x="1400948" y="2682766"/>
                  </a:lnTo>
                  <a:lnTo>
                    <a:pt x="1391418" y="2668470"/>
                  </a:lnTo>
                  <a:lnTo>
                    <a:pt x="1386652" y="2668470"/>
                  </a:lnTo>
                  <a:lnTo>
                    <a:pt x="1381888" y="2673236"/>
                  </a:lnTo>
                  <a:lnTo>
                    <a:pt x="1377122" y="2668470"/>
                  </a:lnTo>
                  <a:lnTo>
                    <a:pt x="1377122" y="2663706"/>
                  </a:lnTo>
                  <a:lnTo>
                    <a:pt x="1381888" y="2654176"/>
                  </a:lnTo>
                  <a:lnTo>
                    <a:pt x="1377122" y="2644644"/>
                  </a:lnTo>
                  <a:lnTo>
                    <a:pt x="1362828" y="2630350"/>
                  </a:lnTo>
                  <a:lnTo>
                    <a:pt x="1358062" y="2620820"/>
                  </a:lnTo>
                  <a:lnTo>
                    <a:pt x="1358062" y="2606524"/>
                  </a:lnTo>
                  <a:lnTo>
                    <a:pt x="1353296" y="2601758"/>
                  </a:lnTo>
                  <a:lnTo>
                    <a:pt x="1348532" y="2596994"/>
                  </a:lnTo>
                  <a:lnTo>
                    <a:pt x="1348532" y="2587464"/>
                  </a:lnTo>
                  <a:lnTo>
                    <a:pt x="1348532" y="2577932"/>
                  </a:lnTo>
                  <a:lnTo>
                    <a:pt x="1348532" y="2568402"/>
                  </a:lnTo>
                  <a:lnTo>
                    <a:pt x="1358062" y="2554108"/>
                  </a:lnTo>
                  <a:lnTo>
                    <a:pt x="1353296" y="2530282"/>
                  </a:lnTo>
                  <a:lnTo>
                    <a:pt x="1343766" y="2506456"/>
                  </a:lnTo>
                  <a:lnTo>
                    <a:pt x="1339002" y="2482630"/>
                  </a:lnTo>
                  <a:lnTo>
                    <a:pt x="1339002" y="2473100"/>
                  </a:lnTo>
                  <a:lnTo>
                    <a:pt x="1339002" y="2463570"/>
                  </a:lnTo>
                  <a:lnTo>
                    <a:pt x="1343766" y="2454040"/>
                  </a:lnTo>
                  <a:lnTo>
                    <a:pt x="1358062" y="2430214"/>
                  </a:lnTo>
                  <a:lnTo>
                    <a:pt x="1362828" y="2415918"/>
                  </a:lnTo>
                  <a:lnTo>
                    <a:pt x="1358062" y="2396858"/>
                  </a:lnTo>
                  <a:lnTo>
                    <a:pt x="1358062" y="2382562"/>
                  </a:lnTo>
                  <a:lnTo>
                    <a:pt x="1358062" y="2373032"/>
                  </a:lnTo>
                  <a:lnTo>
                    <a:pt x="1353296" y="2358736"/>
                  </a:lnTo>
                  <a:lnTo>
                    <a:pt x="1343766" y="2344442"/>
                  </a:lnTo>
                  <a:lnTo>
                    <a:pt x="1339002" y="2344442"/>
                  </a:lnTo>
                  <a:lnTo>
                    <a:pt x="1329472" y="2349206"/>
                  </a:lnTo>
                  <a:lnTo>
                    <a:pt x="1319942" y="2358736"/>
                  </a:lnTo>
                  <a:lnTo>
                    <a:pt x="1310410" y="2358736"/>
                  </a:lnTo>
                  <a:lnTo>
                    <a:pt x="1296116" y="2353972"/>
                  </a:lnTo>
                  <a:lnTo>
                    <a:pt x="1262760" y="2358736"/>
                  </a:lnTo>
                  <a:lnTo>
                    <a:pt x="1210344" y="2363502"/>
                  </a:lnTo>
                  <a:lnTo>
                    <a:pt x="1191282" y="2368268"/>
                  </a:lnTo>
                  <a:lnTo>
                    <a:pt x="1176988" y="2373032"/>
                  </a:lnTo>
                  <a:lnTo>
                    <a:pt x="1162692" y="2373032"/>
                  </a:lnTo>
                  <a:lnTo>
                    <a:pt x="1138866" y="2387328"/>
                  </a:lnTo>
                  <a:lnTo>
                    <a:pt x="1076920" y="2434980"/>
                  </a:lnTo>
                  <a:lnTo>
                    <a:pt x="1067390" y="2439744"/>
                  </a:lnTo>
                  <a:lnTo>
                    <a:pt x="1053094" y="2439744"/>
                  </a:lnTo>
                  <a:lnTo>
                    <a:pt x="1043564" y="2449274"/>
                  </a:lnTo>
                  <a:lnTo>
                    <a:pt x="1029268" y="2454040"/>
                  </a:lnTo>
                  <a:lnTo>
                    <a:pt x="1005442" y="2473100"/>
                  </a:lnTo>
                  <a:lnTo>
                    <a:pt x="991148" y="2487396"/>
                  </a:lnTo>
                  <a:lnTo>
                    <a:pt x="981618" y="2496926"/>
                  </a:lnTo>
                  <a:lnTo>
                    <a:pt x="972086" y="2501690"/>
                  </a:lnTo>
                  <a:lnTo>
                    <a:pt x="967322" y="2496926"/>
                  </a:lnTo>
                  <a:lnTo>
                    <a:pt x="938732" y="2496926"/>
                  </a:lnTo>
                  <a:lnTo>
                    <a:pt x="929200" y="2501690"/>
                  </a:lnTo>
                  <a:lnTo>
                    <a:pt x="914906" y="2515986"/>
                  </a:lnTo>
                  <a:lnTo>
                    <a:pt x="895844" y="2539812"/>
                  </a:lnTo>
                  <a:lnTo>
                    <a:pt x="891080" y="2544576"/>
                  </a:lnTo>
                  <a:lnTo>
                    <a:pt x="876784" y="2554108"/>
                  </a:lnTo>
                  <a:lnTo>
                    <a:pt x="862488" y="2558872"/>
                  </a:lnTo>
                  <a:lnTo>
                    <a:pt x="843428" y="2568402"/>
                  </a:lnTo>
                  <a:lnTo>
                    <a:pt x="833898" y="2568402"/>
                  </a:lnTo>
                  <a:lnTo>
                    <a:pt x="824368" y="2568402"/>
                  </a:lnTo>
                  <a:lnTo>
                    <a:pt x="819602" y="2563638"/>
                  </a:lnTo>
                  <a:lnTo>
                    <a:pt x="814838" y="2558872"/>
                  </a:lnTo>
                  <a:lnTo>
                    <a:pt x="805308" y="2549342"/>
                  </a:lnTo>
                  <a:lnTo>
                    <a:pt x="781482" y="2549342"/>
                  </a:lnTo>
                  <a:lnTo>
                    <a:pt x="748126" y="2544576"/>
                  </a:lnTo>
                  <a:lnTo>
                    <a:pt x="710004" y="2539812"/>
                  </a:lnTo>
                  <a:lnTo>
                    <a:pt x="690944" y="2544576"/>
                  </a:lnTo>
                  <a:lnTo>
                    <a:pt x="676648" y="2544576"/>
                  </a:lnTo>
                  <a:lnTo>
                    <a:pt x="652824" y="2539812"/>
                  </a:lnTo>
                  <a:lnTo>
                    <a:pt x="633762" y="2539812"/>
                  </a:lnTo>
                  <a:lnTo>
                    <a:pt x="614702" y="2544576"/>
                  </a:lnTo>
                  <a:lnTo>
                    <a:pt x="590876" y="2558872"/>
                  </a:lnTo>
                  <a:lnTo>
                    <a:pt x="581346" y="2558872"/>
                  </a:lnTo>
                  <a:lnTo>
                    <a:pt x="571816" y="2558872"/>
                  </a:lnTo>
                  <a:lnTo>
                    <a:pt x="567052" y="2558872"/>
                  </a:lnTo>
                  <a:lnTo>
                    <a:pt x="557520" y="2554108"/>
                  </a:lnTo>
                  <a:lnTo>
                    <a:pt x="543226" y="2539812"/>
                  </a:lnTo>
                  <a:lnTo>
                    <a:pt x="533696" y="2544576"/>
                  </a:lnTo>
                  <a:lnTo>
                    <a:pt x="524164" y="2549342"/>
                  </a:lnTo>
                  <a:lnTo>
                    <a:pt x="528930" y="2525516"/>
                  </a:lnTo>
                  <a:lnTo>
                    <a:pt x="528930" y="2387328"/>
                  </a:lnTo>
                  <a:lnTo>
                    <a:pt x="528930" y="2363502"/>
                  </a:lnTo>
                  <a:lnTo>
                    <a:pt x="533696" y="2353972"/>
                  </a:lnTo>
                  <a:lnTo>
                    <a:pt x="538460" y="2344442"/>
                  </a:lnTo>
                  <a:lnTo>
                    <a:pt x="533696" y="2330146"/>
                  </a:lnTo>
                  <a:lnTo>
                    <a:pt x="533696" y="2320616"/>
                  </a:lnTo>
                  <a:lnTo>
                    <a:pt x="538460" y="2311086"/>
                  </a:lnTo>
                  <a:lnTo>
                    <a:pt x="543226" y="2301556"/>
                  </a:lnTo>
                  <a:lnTo>
                    <a:pt x="533696" y="2306320"/>
                  </a:lnTo>
                  <a:lnTo>
                    <a:pt x="528930" y="2306320"/>
                  </a:lnTo>
                  <a:lnTo>
                    <a:pt x="524164" y="2315850"/>
                  </a:lnTo>
                  <a:lnTo>
                    <a:pt x="509870" y="2320616"/>
                  </a:lnTo>
                  <a:lnTo>
                    <a:pt x="500340" y="2330146"/>
                  </a:lnTo>
                  <a:lnTo>
                    <a:pt x="490810" y="2339676"/>
                  </a:lnTo>
                  <a:lnTo>
                    <a:pt x="476514" y="2353972"/>
                  </a:lnTo>
                  <a:lnTo>
                    <a:pt x="462218" y="2363502"/>
                  </a:lnTo>
                  <a:lnTo>
                    <a:pt x="452688" y="2368268"/>
                  </a:lnTo>
                  <a:lnTo>
                    <a:pt x="433628" y="2387328"/>
                  </a:lnTo>
                  <a:lnTo>
                    <a:pt x="419332" y="2387328"/>
                  </a:lnTo>
                  <a:lnTo>
                    <a:pt x="376446" y="2392092"/>
                  </a:lnTo>
                  <a:lnTo>
                    <a:pt x="333560" y="2392092"/>
                  </a:lnTo>
                  <a:lnTo>
                    <a:pt x="285908" y="2392092"/>
                  </a:lnTo>
                  <a:lnTo>
                    <a:pt x="285908" y="2377798"/>
                  </a:lnTo>
                  <a:lnTo>
                    <a:pt x="285908" y="2368268"/>
                  </a:lnTo>
                  <a:lnTo>
                    <a:pt x="271614" y="2353972"/>
                  </a:lnTo>
                  <a:lnTo>
                    <a:pt x="271614" y="2339676"/>
                  </a:lnTo>
                  <a:lnTo>
                    <a:pt x="271614" y="2330146"/>
                  </a:lnTo>
                  <a:lnTo>
                    <a:pt x="266848" y="2320616"/>
                  </a:lnTo>
                  <a:lnTo>
                    <a:pt x="257318" y="2311086"/>
                  </a:lnTo>
                  <a:lnTo>
                    <a:pt x="243022" y="2311086"/>
                  </a:lnTo>
                  <a:lnTo>
                    <a:pt x="219196" y="2301556"/>
                  </a:lnTo>
                  <a:lnTo>
                    <a:pt x="185840" y="2296790"/>
                  </a:lnTo>
                  <a:lnTo>
                    <a:pt x="157250" y="2296790"/>
                  </a:lnTo>
                  <a:lnTo>
                    <a:pt x="123894" y="2296790"/>
                  </a:lnTo>
                  <a:lnTo>
                    <a:pt x="142954" y="2272964"/>
                  </a:lnTo>
                  <a:lnTo>
                    <a:pt x="162016" y="2253904"/>
                  </a:lnTo>
                  <a:lnTo>
                    <a:pt x="162016" y="2230078"/>
                  </a:lnTo>
                  <a:lnTo>
                    <a:pt x="147720" y="2215784"/>
                  </a:lnTo>
                  <a:lnTo>
                    <a:pt x="138190" y="2201488"/>
                  </a:lnTo>
                  <a:lnTo>
                    <a:pt x="128660" y="2187192"/>
                  </a:lnTo>
                  <a:lnTo>
                    <a:pt x="109598" y="2177662"/>
                  </a:lnTo>
                  <a:lnTo>
                    <a:pt x="100068" y="2163366"/>
                  </a:lnTo>
                  <a:lnTo>
                    <a:pt x="104834" y="2153836"/>
                  </a:lnTo>
                  <a:lnTo>
                    <a:pt x="100068" y="2149072"/>
                  </a:lnTo>
                  <a:lnTo>
                    <a:pt x="95304" y="2144306"/>
                  </a:lnTo>
                  <a:lnTo>
                    <a:pt x="90538" y="2139542"/>
                  </a:lnTo>
                  <a:lnTo>
                    <a:pt x="81008" y="2134776"/>
                  </a:lnTo>
                  <a:lnTo>
                    <a:pt x="71478" y="2130012"/>
                  </a:lnTo>
                  <a:lnTo>
                    <a:pt x="71478" y="2120480"/>
                  </a:lnTo>
                  <a:lnTo>
                    <a:pt x="71478" y="2115716"/>
                  </a:lnTo>
                  <a:lnTo>
                    <a:pt x="61948" y="2106186"/>
                  </a:lnTo>
                  <a:lnTo>
                    <a:pt x="61948" y="2096656"/>
                  </a:lnTo>
                  <a:lnTo>
                    <a:pt x="57182" y="2087124"/>
                  </a:lnTo>
                  <a:lnTo>
                    <a:pt x="52418" y="2077594"/>
                  </a:lnTo>
                  <a:lnTo>
                    <a:pt x="47652" y="2072830"/>
                  </a:lnTo>
                  <a:lnTo>
                    <a:pt x="38122" y="2063300"/>
                  </a:lnTo>
                  <a:lnTo>
                    <a:pt x="38122" y="2058534"/>
                  </a:lnTo>
                  <a:lnTo>
                    <a:pt x="42888" y="2053768"/>
                  </a:lnTo>
                  <a:lnTo>
                    <a:pt x="47652" y="2049004"/>
                  </a:lnTo>
                  <a:lnTo>
                    <a:pt x="47652" y="2039474"/>
                  </a:lnTo>
                  <a:lnTo>
                    <a:pt x="38122" y="2034708"/>
                  </a:lnTo>
                  <a:lnTo>
                    <a:pt x="28592" y="2034708"/>
                  </a:lnTo>
                  <a:lnTo>
                    <a:pt x="19062" y="2020412"/>
                  </a:lnTo>
                  <a:lnTo>
                    <a:pt x="9532" y="2015648"/>
                  </a:lnTo>
                  <a:lnTo>
                    <a:pt x="4766" y="2010882"/>
                  </a:lnTo>
                  <a:lnTo>
                    <a:pt x="0" y="2006118"/>
                  </a:lnTo>
                  <a:lnTo>
                    <a:pt x="4766" y="2001352"/>
                  </a:lnTo>
                  <a:lnTo>
                    <a:pt x="9532" y="1996588"/>
                  </a:lnTo>
                  <a:lnTo>
                    <a:pt x="9532" y="1987058"/>
                  </a:lnTo>
                  <a:lnTo>
                    <a:pt x="9532" y="1982292"/>
                  </a:lnTo>
                  <a:lnTo>
                    <a:pt x="9532" y="1977526"/>
                  </a:lnTo>
                  <a:lnTo>
                    <a:pt x="14296" y="1972762"/>
                  </a:lnTo>
                  <a:lnTo>
                    <a:pt x="19062" y="1977526"/>
                  </a:lnTo>
                  <a:lnTo>
                    <a:pt x="23826" y="1972762"/>
                  </a:lnTo>
                  <a:lnTo>
                    <a:pt x="33356" y="1972762"/>
                  </a:lnTo>
                  <a:lnTo>
                    <a:pt x="42888" y="1967996"/>
                  </a:lnTo>
                  <a:lnTo>
                    <a:pt x="47652" y="1963232"/>
                  </a:lnTo>
                  <a:lnTo>
                    <a:pt x="42888" y="1958466"/>
                  </a:lnTo>
                  <a:lnTo>
                    <a:pt x="38122" y="1944170"/>
                  </a:lnTo>
                  <a:lnTo>
                    <a:pt x="33356" y="1939406"/>
                  </a:lnTo>
                  <a:lnTo>
                    <a:pt x="33356" y="1929876"/>
                  </a:lnTo>
                  <a:lnTo>
                    <a:pt x="38122" y="1910816"/>
                  </a:lnTo>
                  <a:lnTo>
                    <a:pt x="38122" y="1901284"/>
                  </a:lnTo>
                  <a:lnTo>
                    <a:pt x="47652" y="1891754"/>
                  </a:lnTo>
                  <a:lnTo>
                    <a:pt x="81008" y="1867928"/>
                  </a:lnTo>
                  <a:lnTo>
                    <a:pt x="109598" y="1848868"/>
                  </a:lnTo>
                  <a:lnTo>
                    <a:pt x="119130" y="1848868"/>
                  </a:lnTo>
                  <a:lnTo>
                    <a:pt x="128660" y="1844104"/>
                  </a:lnTo>
                  <a:lnTo>
                    <a:pt x="138190" y="1834572"/>
                  </a:lnTo>
                  <a:lnTo>
                    <a:pt x="138190" y="1825042"/>
                  </a:lnTo>
                  <a:lnTo>
                    <a:pt x="138190" y="1815512"/>
                  </a:lnTo>
                  <a:lnTo>
                    <a:pt x="133424" y="1801218"/>
                  </a:lnTo>
                  <a:lnTo>
                    <a:pt x="128660" y="1782156"/>
                  </a:lnTo>
                  <a:lnTo>
                    <a:pt x="119130" y="1772626"/>
                  </a:lnTo>
                  <a:lnTo>
                    <a:pt x="123894" y="1763096"/>
                  </a:lnTo>
                  <a:lnTo>
                    <a:pt x="133424" y="1748800"/>
                  </a:lnTo>
                  <a:lnTo>
                    <a:pt x="147720" y="1724976"/>
                  </a:lnTo>
                  <a:lnTo>
                    <a:pt x="162016" y="1701150"/>
                  </a:lnTo>
                  <a:lnTo>
                    <a:pt x="162016" y="1696384"/>
                  </a:lnTo>
                  <a:lnTo>
                    <a:pt x="166780" y="1682088"/>
                  </a:lnTo>
                  <a:lnTo>
                    <a:pt x="171546" y="1648732"/>
                  </a:lnTo>
                  <a:lnTo>
                    <a:pt x="176310" y="1634438"/>
                  </a:lnTo>
                  <a:lnTo>
                    <a:pt x="171546" y="1629672"/>
                  </a:lnTo>
                  <a:lnTo>
                    <a:pt x="176310" y="1620142"/>
                  </a:lnTo>
                  <a:lnTo>
                    <a:pt x="185840" y="1615378"/>
                  </a:lnTo>
                  <a:lnTo>
                    <a:pt x="204902" y="1615378"/>
                  </a:lnTo>
                  <a:lnTo>
                    <a:pt x="219196" y="1605846"/>
                  </a:lnTo>
                  <a:lnTo>
                    <a:pt x="243022" y="1586786"/>
                  </a:lnTo>
                  <a:lnTo>
                    <a:pt x="257318" y="1567726"/>
                  </a:lnTo>
                  <a:lnTo>
                    <a:pt x="276378" y="1562960"/>
                  </a:lnTo>
                  <a:lnTo>
                    <a:pt x="300204" y="1548666"/>
                  </a:lnTo>
                  <a:lnTo>
                    <a:pt x="319264" y="1534370"/>
                  </a:lnTo>
                  <a:lnTo>
                    <a:pt x="338324" y="1524840"/>
                  </a:lnTo>
                  <a:lnTo>
                    <a:pt x="366916" y="1524840"/>
                  </a:lnTo>
                  <a:lnTo>
                    <a:pt x="390742" y="1520074"/>
                  </a:lnTo>
                  <a:lnTo>
                    <a:pt x="400272" y="1515310"/>
                  </a:lnTo>
                  <a:lnTo>
                    <a:pt x="419332" y="1510544"/>
                  </a:lnTo>
                  <a:lnTo>
                    <a:pt x="433628" y="1505780"/>
                  </a:lnTo>
                  <a:lnTo>
                    <a:pt x="447922" y="1505780"/>
                  </a:lnTo>
                  <a:lnTo>
                    <a:pt x="476514" y="1501014"/>
                  </a:lnTo>
                  <a:lnTo>
                    <a:pt x="486044" y="1491484"/>
                  </a:lnTo>
                  <a:lnTo>
                    <a:pt x="490810" y="1481954"/>
                  </a:lnTo>
                  <a:lnTo>
                    <a:pt x="500340" y="1472424"/>
                  </a:lnTo>
                  <a:lnTo>
                    <a:pt x="514634" y="1472424"/>
                  </a:lnTo>
                  <a:lnTo>
                    <a:pt x="528930" y="1472424"/>
                  </a:lnTo>
                  <a:lnTo>
                    <a:pt x="543226" y="1472424"/>
                  </a:lnTo>
                  <a:lnTo>
                    <a:pt x="562286" y="1467658"/>
                  </a:lnTo>
                  <a:lnTo>
                    <a:pt x="571816" y="1477188"/>
                  </a:lnTo>
                  <a:lnTo>
                    <a:pt x="576582" y="1486718"/>
                  </a:lnTo>
                  <a:lnTo>
                    <a:pt x="590876" y="1491484"/>
                  </a:lnTo>
                  <a:lnTo>
                    <a:pt x="600408" y="1491484"/>
                  </a:lnTo>
                  <a:lnTo>
                    <a:pt x="605172" y="1491484"/>
                  </a:lnTo>
                  <a:lnTo>
                    <a:pt x="619468" y="1496248"/>
                  </a:lnTo>
                  <a:lnTo>
                    <a:pt x="624232" y="1496248"/>
                  </a:lnTo>
                  <a:lnTo>
                    <a:pt x="628998" y="1491484"/>
                  </a:lnTo>
                  <a:lnTo>
                    <a:pt x="633762" y="1481954"/>
                  </a:lnTo>
                  <a:lnTo>
                    <a:pt x="633762" y="1477188"/>
                  </a:lnTo>
                  <a:lnTo>
                    <a:pt x="638528" y="1443832"/>
                  </a:lnTo>
                  <a:lnTo>
                    <a:pt x="648058" y="1391416"/>
                  </a:lnTo>
                  <a:lnTo>
                    <a:pt x="657588" y="1343764"/>
                  </a:lnTo>
                  <a:lnTo>
                    <a:pt x="667118" y="1291348"/>
                  </a:lnTo>
                  <a:lnTo>
                    <a:pt x="686180" y="1181750"/>
                  </a:lnTo>
                  <a:lnTo>
                    <a:pt x="695710" y="1138864"/>
                  </a:lnTo>
                  <a:lnTo>
                    <a:pt x="705240" y="1095978"/>
                  </a:lnTo>
                  <a:lnTo>
                    <a:pt x="710004" y="1072152"/>
                  </a:lnTo>
                  <a:lnTo>
                    <a:pt x="714770" y="1043562"/>
                  </a:lnTo>
                  <a:lnTo>
                    <a:pt x="719536" y="1014972"/>
                  </a:lnTo>
                  <a:lnTo>
                    <a:pt x="719536" y="1005440"/>
                  </a:lnTo>
                  <a:lnTo>
                    <a:pt x="719536" y="1000676"/>
                  </a:lnTo>
                  <a:lnTo>
                    <a:pt x="714770" y="991146"/>
                  </a:lnTo>
                  <a:lnTo>
                    <a:pt x="714770" y="986380"/>
                  </a:lnTo>
                  <a:lnTo>
                    <a:pt x="714770" y="981616"/>
                  </a:lnTo>
                  <a:lnTo>
                    <a:pt x="714770" y="976850"/>
                  </a:lnTo>
                  <a:lnTo>
                    <a:pt x="705240" y="972084"/>
                  </a:lnTo>
                  <a:lnTo>
                    <a:pt x="700474" y="967320"/>
                  </a:lnTo>
                  <a:lnTo>
                    <a:pt x="700474" y="962554"/>
                  </a:lnTo>
                  <a:lnTo>
                    <a:pt x="695710" y="957790"/>
                  </a:lnTo>
                  <a:lnTo>
                    <a:pt x="695710" y="953024"/>
                  </a:lnTo>
                  <a:lnTo>
                    <a:pt x="690944" y="943494"/>
                  </a:lnTo>
                  <a:lnTo>
                    <a:pt x="686180" y="938730"/>
                  </a:lnTo>
                  <a:lnTo>
                    <a:pt x="686180" y="933964"/>
                  </a:lnTo>
                  <a:lnTo>
                    <a:pt x="690944" y="929198"/>
                  </a:lnTo>
                  <a:lnTo>
                    <a:pt x="690944" y="919668"/>
                  </a:lnTo>
                  <a:lnTo>
                    <a:pt x="690944" y="914904"/>
                  </a:lnTo>
                  <a:lnTo>
                    <a:pt x="686180" y="905374"/>
                  </a:lnTo>
                  <a:lnTo>
                    <a:pt x="686180" y="900608"/>
                  </a:lnTo>
                  <a:lnTo>
                    <a:pt x="676648" y="895842"/>
                  </a:lnTo>
                  <a:lnTo>
                    <a:pt x="667118" y="891078"/>
                  </a:lnTo>
                  <a:lnTo>
                    <a:pt x="652824" y="881548"/>
                  </a:lnTo>
                  <a:lnTo>
                    <a:pt x="638528" y="872018"/>
                  </a:lnTo>
                  <a:lnTo>
                    <a:pt x="619468" y="852956"/>
                  </a:lnTo>
                  <a:lnTo>
                    <a:pt x="614702" y="843426"/>
                  </a:lnTo>
                  <a:lnTo>
                    <a:pt x="614702" y="819600"/>
                  </a:lnTo>
                  <a:lnTo>
                    <a:pt x="614702" y="791010"/>
                  </a:lnTo>
                  <a:lnTo>
                    <a:pt x="619468" y="752890"/>
                  </a:lnTo>
                  <a:lnTo>
                    <a:pt x="619468" y="729064"/>
                  </a:lnTo>
                  <a:lnTo>
                    <a:pt x="628998" y="729064"/>
                  </a:lnTo>
                  <a:lnTo>
                    <a:pt x="638528" y="729064"/>
                  </a:lnTo>
                  <a:lnTo>
                    <a:pt x="648058" y="729064"/>
                  </a:lnTo>
                  <a:lnTo>
                    <a:pt x="657588" y="724298"/>
                  </a:lnTo>
                  <a:lnTo>
                    <a:pt x="667118" y="724298"/>
                  </a:lnTo>
                  <a:lnTo>
                    <a:pt x="671884" y="719534"/>
                  </a:lnTo>
                  <a:lnTo>
                    <a:pt x="676648" y="714768"/>
                  </a:lnTo>
                  <a:lnTo>
                    <a:pt x="681414" y="719534"/>
                  </a:lnTo>
                  <a:lnTo>
                    <a:pt x="686180" y="714768"/>
                  </a:lnTo>
                  <a:lnTo>
                    <a:pt x="695710" y="710002"/>
                  </a:lnTo>
                  <a:lnTo>
                    <a:pt x="700474" y="710002"/>
                  </a:lnTo>
                  <a:lnTo>
                    <a:pt x="710004" y="705238"/>
                  </a:lnTo>
                  <a:lnTo>
                    <a:pt x="719536" y="710002"/>
                  </a:lnTo>
                  <a:lnTo>
                    <a:pt x="719536" y="714768"/>
                  </a:lnTo>
                  <a:lnTo>
                    <a:pt x="729066" y="719534"/>
                  </a:lnTo>
                  <a:lnTo>
                    <a:pt x="733830" y="719534"/>
                  </a:lnTo>
                  <a:lnTo>
                    <a:pt x="738596" y="724298"/>
                  </a:lnTo>
                  <a:lnTo>
                    <a:pt x="743360" y="724298"/>
                  </a:lnTo>
                  <a:lnTo>
                    <a:pt x="748126" y="724298"/>
                  </a:lnTo>
                  <a:lnTo>
                    <a:pt x="757656" y="719534"/>
                  </a:lnTo>
                  <a:lnTo>
                    <a:pt x="757656" y="714768"/>
                  </a:lnTo>
                  <a:lnTo>
                    <a:pt x="757656" y="710002"/>
                  </a:lnTo>
                  <a:lnTo>
                    <a:pt x="757656" y="705238"/>
                  </a:lnTo>
                  <a:lnTo>
                    <a:pt x="757656" y="695708"/>
                  </a:lnTo>
                  <a:lnTo>
                    <a:pt x="757656" y="686178"/>
                  </a:lnTo>
                  <a:lnTo>
                    <a:pt x="752892" y="681412"/>
                  </a:lnTo>
                  <a:lnTo>
                    <a:pt x="748126" y="671882"/>
                  </a:lnTo>
                  <a:lnTo>
                    <a:pt x="743360" y="662352"/>
                  </a:lnTo>
                  <a:lnTo>
                    <a:pt x="733830" y="657586"/>
                  </a:lnTo>
                  <a:lnTo>
                    <a:pt x="724300" y="652822"/>
                  </a:lnTo>
                  <a:lnTo>
                    <a:pt x="719536" y="657586"/>
                  </a:lnTo>
                  <a:lnTo>
                    <a:pt x="714770" y="657586"/>
                  </a:lnTo>
                  <a:lnTo>
                    <a:pt x="710004" y="657586"/>
                  </a:lnTo>
                  <a:lnTo>
                    <a:pt x="700474" y="657586"/>
                  </a:lnTo>
                  <a:lnTo>
                    <a:pt x="695710" y="652822"/>
                  </a:lnTo>
                  <a:lnTo>
                    <a:pt x="686180" y="652822"/>
                  </a:lnTo>
                  <a:lnTo>
                    <a:pt x="671884" y="657586"/>
                  </a:lnTo>
                  <a:lnTo>
                    <a:pt x="667118" y="652822"/>
                  </a:lnTo>
                  <a:lnTo>
                    <a:pt x="657588" y="652822"/>
                  </a:lnTo>
                  <a:lnTo>
                    <a:pt x="648058" y="657586"/>
                  </a:lnTo>
                  <a:lnTo>
                    <a:pt x="648058" y="614700"/>
                  </a:lnTo>
                  <a:lnTo>
                    <a:pt x="648058" y="552754"/>
                  </a:lnTo>
                  <a:lnTo>
                    <a:pt x="657588" y="552754"/>
                  </a:lnTo>
                  <a:lnTo>
                    <a:pt x="667118" y="547988"/>
                  </a:lnTo>
                  <a:lnTo>
                    <a:pt x="681414" y="547988"/>
                  </a:lnTo>
                  <a:lnTo>
                    <a:pt x="690944" y="543224"/>
                  </a:lnTo>
                  <a:lnTo>
                    <a:pt x="700474" y="543224"/>
                  </a:lnTo>
                  <a:lnTo>
                    <a:pt x="710004" y="547988"/>
                  </a:lnTo>
                  <a:lnTo>
                    <a:pt x="719536" y="552754"/>
                  </a:lnTo>
                  <a:lnTo>
                    <a:pt x="733830" y="552754"/>
                  </a:lnTo>
                  <a:lnTo>
                    <a:pt x="910140" y="552754"/>
                  </a:lnTo>
                  <a:lnTo>
                    <a:pt x="905376" y="543224"/>
                  </a:lnTo>
                  <a:lnTo>
                    <a:pt x="900610" y="533694"/>
                  </a:lnTo>
                  <a:lnTo>
                    <a:pt x="905376" y="514632"/>
                  </a:lnTo>
                  <a:lnTo>
                    <a:pt x="910140" y="509868"/>
                  </a:lnTo>
                  <a:lnTo>
                    <a:pt x="919670" y="514632"/>
                  </a:lnTo>
                  <a:lnTo>
                    <a:pt x="929200" y="528928"/>
                  </a:lnTo>
                  <a:lnTo>
                    <a:pt x="933966" y="543224"/>
                  </a:lnTo>
                  <a:lnTo>
                    <a:pt x="938732" y="547988"/>
                  </a:lnTo>
                  <a:lnTo>
                    <a:pt x="948262" y="547988"/>
                  </a:lnTo>
                  <a:lnTo>
                    <a:pt x="957792" y="547988"/>
                  </a:lnTo>
                  <a:lnTo>
                    <a:pt x="967322" y="543224"/>
                  </a:lnTo>
                  <a:lnTo>
                    <a:pt x="981618" y="519398"/>
                  </a:lnTo>
                  <a:lnTo>
                    <a:pt x="1000678" y="500338"/>
                  </a:lnTo>
                  <a:lnTo>
                    <a:pt x="1014972" y="490808"/>
                  </a:lnTo>
                  <a:lnTo>
                    <a:pt x="1024504" y="490808"/>
                  </a:lnTo>
                  <a:lnTo>
                    <a:pt x="1034034" y="490808"/>
                  </a:lnTo>
                  <a:lnTo>
                    <a:pt x="1038798" y="495572"/>
                  </a:lnTo>
                  <a:lnTo>
                    <a:pt x="1043564" y="505102"/>
                  </a:lnTo>
                  <a:lnTo>
                    <a:pt x="1062624" y="533694"/>
                  </a:lnTo>
                  <a:lnTo>
                    <a:pt x="1076920" y="552754"/>
                  </a:lnTo>
                  <a:lnTo>
                    <a:pt x="1081684" y="567050"/>
                  </a:lnTo>
                  <a:lnTo>
                    <a:pt x="1081684" y="600406"/>
                  </a:lnTo>
                  <a:lnTo>
                    <a:pt x="1081684" y="633760"/>
                  </a:lnTo>
                  <a:lnTo>
                    <a:pt x="1086450" y="638526"/>
                  </a:lnTo>
                  <a:lnTo>
                    <a:pt x="1115040" y="628996"/>
                  </a:lnTo>
                  <a:lnTo>
                    <a:pt x="1153162" y="667116"/>
                  </a:lnTo>
                  <a:lnTo>
                    <a:pt x="1186518" y="690942"/>
                  </a:lnTo>
                  <a:lnTo>
                    <a:pt x="1196048" y="700472"/>
                  </a:lnTo>
                  <a:lnTo>
                    <a:pt x="1205578" y="705238"/>
                  </a:lnTo>
                  <a:lnTo>
                    <a:pt x="1219874" y="700472"/>
                  </a:lnTo>
                  <a:lnTo>
                    <a:pt x="1243700" y="695708"/>
                  </a:lnTo>
                  <a:lnTo>
                    <a:pt x="1253230" y="695708"/>
                  </a:lnTo>
                  <a:lnTo>
                    <a:pt x="1262760" y="686178"/>
                  </a:lnTo>
                  <a:lnTo>
                    <a:pt x="1281820" y="676648"/>
                  </a:lnTo>
                  <a:lnTo>
                    <a:pt x="1296116" y="667116"/>
                  </a:lnTo>
                  <a:lnTo>
                    <a:pt x="1300880" y="667116"/>
                  </a:lnTo>
                  <a:lnTo>
                    <a:pt x="1305646" y="667116"/>
                  </a:lnTo>
                  <a:lnTo>
                    <a:pt x="1319942" y="676648"/>
                  </a:lnTo>
                  <a:lnTo>
                    <a:pt x="1324706" y="690942"/>
                  </a:lnTo>
                  <a:lnTo>
                    <a:pt x="1319942" y="705238"/>
                  </a:lnTo>
                  <a:lnTo>
                    <a:pt x="1319942" y="714768"/>
                  </a:lnTo>
                  <a:lnTo>
                    <a:pt x="1334236" y="714768"/>
                  </a:lnTo>
                  <a:lnTo>
                    <a:pt x="1343766" y="695708"/>
                  </a:lnTo>
                  <a:lnTo>
                    <a:pt x="1353296" y="686178"/>
                  </a:lnTo>
                  <a:lnTo>
                    <a:pt x="1367592" y="676648"/>
                  </a:lnTo>
                  <a:lnTo>
                    <a:pt x="1381888" y="662352"/>
                  </a:lnTo>
                  <a:lnTo>
                    <a:pt x="1391418" y="648056"/>
                  </a:lnTo>
                  <a:lnTo>
                    <a:pt x="1405714" y="638526"/>
                  </a:lnTo>
                  <a:lnTo>
                    <a:pt x="1420008" y="628996"/>
                  </a:lnTo>
                  <a:lnTo>
                    <a:pt x="1434304" y="624230"/>
                  </a:lnTo>
                  <a:lnTo>
                    <a:pt x="1448600" y="624230"/>
                  </a:lnTo>
                  <a:lnTo>
                    <a:pt x="1458130" y="619466"/>
                  </a:lnTo>
                  <a:lnTo>
                    <a:pt x="1472426" y="605170"/>
                  </a:lnTo>
                  <a:lnTo>
                    <a:pt x="1481956" y="595640"/>
                  </a:lnTo>
                  <a:lnTo>
                    <a:pt x="1486720" y="595640"/>
                  </a:lnTo>
                  <a:lnTo>
                    <a:pt x="1501016" y="595640"/>
                  </a:lnTo>
                  <a:lnTo>
                    <a:pt x="1515312" y="595640"/>
                  </a:lnTo>
                  <a:lnTo>
                    <a:pt x="1529606" y="581344"/>
                  </a:lnTo>
                  <a:lnTo>
                    <a:pt x="1543902" y="567050"/>
                  </a:lnTo>
                  <a:lnTo>
                    <a:pt x="1553432" y="543224"/>
                  </a:lnTo>
                  <a:lnTo>
                    <a:pt x="1558198" y="524164"/>
                  </a:lnTo>
                  <a:lnTo>
                    <a:pt x="1562962" y="519398"/>
                  </a:lnTo>
                  <a:lnTo>
                    <a:pt x="1567728" y="514632"/>
                  </a:lnTo>
                  <a:lnTo>
                    <a:pt x="1572492" y="514632"/>
                  </a:lnTo>
                  <a:lnTo>
                    <a:pt x="1586788" y="509868"/>
                  </a:lnTo>
                  <a:lnTo>
                    <a:pt x="1615380" y="500338"/>
                  </a:lnTo>
                  <a:lnTo>
                    <a:pt x="1629674" y="490808"/>
                  </a:lnTo>
                  <a:lnTo>
                    <a:pt x="1648734" y="486042"/>
                  </a:lnTo>
                  <a:lnTo>
                    <a:pt x="1653500" y="486042"/>
                  </a:lnTo>
                  <a:lnTo>
                    <a:pt x="1658266" y="471746"/>
                  </a:lnTo>
                  <a:lnTo>
                    <a:pt x="1663030" y="457452"/>
                  </a:lnTo>
                  <a:lnTo>
                    <a:pt x="1658266" y="443156"/>
                  </a:lnTo>
                  <a:lnTo>
                    <a:pt x="1629674" y="438390"/>
                  </a:lnTo>
                  <a:lnTo>
                    <a:pt x="1610614" y="438390"/>
                  </a:lnTo>
                  <a:lnTo>
                    <a:pt x="1577258" y="438390"/>
                  </a:lnTo>
                  <a:lnTo>
                    <a:pt x="1558198" y="433626"/>
                  </a:lnTo>
                  <a:lnTo>
                    <a:pt x="1558198" y="428860"/>
                  </a:lnTo>
                  <a:lnTo>
                    <a:pt x="1558198" y="419330"/>
                  </a:lnTo>
                  <a:lnTo>
                    <a:pt x="1562962" y="405034"/>
                  </a:lnTo>
                  <a:lnTo>
                    <a:pt x="1558198" y="381210"/>
                  </a:lnTo>
                  <a:lnTo>
                    <a:pt x="1543902" y="352618"/>
                  </a:lnTo>
                  <a:lnTo>
                    <a:pt x="1529606" y="319262"/>
                  </a:lnTo>
                  <a:lnTo>
                    <a:pt x="1529606" y="300202"/>
                  </a:lnTo>
                  <a:lnTo>
                    <a:pt x="1529606" y="276376"/>
                  </a:lnTo>
                  <a:lnTo>
                    <a:pt x="1529606" y="262080"/>
                  </a:lnTo>
                  <a:lnTo>
                    <a:pt x="1520076" y="247786"/>
                  </a:lnTo>
                  <a:lnTo>
                    <a:pt x="1477190" y="209664"/>
                  </a:lnTo>
                  <a:lnTo>
                    <a:pt x="1458130" y="195370"/>
                  </a:lnTo>
                  <a:lnTo>
                    <a:pt x="1453364" y="181074"/>
                  </a:lnTo>
                  <a:lnTo>
                    <a:pt x="1434304" y="157248"/>
                  </a:lnTo>
                  <a:lnTo>
                    <a:pt x="1439070" y="152484"/>
                  </a:lnTo>
                  <a:lnTo>
                    <a:pt x="1453364" y="152484"/>
                  </a:lnTo>
                  <a:lnTo>
                    <a:pt x="1458130" y="157248"/>
                  </a:lnTo>
                  <a:lnTo>
                    <a:pt x="1467660" y="171544"/>
                  </a:lnTo>
                  <a:lnTo>
                    <a:pt x="1472426" y="176308"/>
                  </a:lnTo>
                  <a:lnTo>
                    <a:pt x="1481956" y="176308"/>
                  </a:lnTo>
                  <a:lnTo>
                    <a:pt x="1524842" y="171544"/>
                  </a:lnTo>
                  <a:lnTo>
                    <a:pt x="1534372" y="176308"/>
                  </a:lnTo>
                  <a:lnTo>
                    <a:pt x="1539136" y="181074"/>
                  </a:lnTo>
                  <a:lnTo>
                    <a:pt x="1543902" y="185838"/>
                  </a:lnTo>
                  <a:lnTo>
                    <a:pt x="1553432" y="200134"/>
                  </a:lnTo>
                  <a:lnTo>
                    <a:pt x="1562962" y="204900"/>
                  </a:lnTo>
                  <a:lnTo>
                    <a:pt x="1601084" y="204900"/>
                  </a:lnTo>
                  <a:lnTo>
                    <a:pt x="1620144" y="204900"/>
                  </a:lnTo>
                  <a:lnTo>
                    <a:pt x="1624910" y="209664"/>
                  </a:lnTo>
                  <a:lnTo>
                    <a:pt x="1639204" y="209664"/>
                  </a:lnTo>
                  <a:lnTo>
                    <a:pt x="1663030" y="204900"/>
                  </a:lnTo>
                  <a:lnTo>
                    <a:pt x="1667796" y="204900"/>
                  </a:lnTo>
                  <a:lnTo>
                    <a:pt x="1672560" y="209664"/>
                  </a:lnTo>
                  <a:lnTo>
                    <a:pt x="1701152" y="233490"/>
                  </a:lnTo>
                  <a:lnTo>
                    <a:pt x="1715446" y="243020"/>
                  </a:lnTo>
                  <a:lnTo>
                    <a:pt x="1724976" y="257316"/>
                  </a:lnTo>
                  <a:lnTo>
                    <a:pt x="1744038" y="257316"/>
                  </a:lnTo>
                  <a:lnTo>
                    <a:pt x="1758332" y="247786"/>
                  </a:lnTo>
                  <a:lnTo>
                    <a:pt x="1763098" y="204900"/>
                  </a:lnTo>
                  <a:lnTo>
                    <a:pt x="1763098" y="195370"/>
                  </a:lnTo>
                  <a:lnTo>
                    <a:pt x="1772628" y="190604"/>
                  </a:lnTo>
                  <a:lnTo>
                    <a:pt x="1782158" y="190604"/>
                  </a:lnTo>
                  <a:lnTo>
                    <a:pt x="1791688" y="181074"/>
                  </a:lnTo>
                  <a:lnTo>
                    <a:pt x="1801220" y="176308"/>
                  </a:lnTo>
                  <a:lnTo>
                    <a:pt x="1810750" y="171544"/>
                  </a:lnTo>
                  <a:lnTo>
                    <a:pt x="1853636" y="181074"/>
                  </a:lnTo>
                  <a:lnTo>
                    <a:pt x="1863166" y="176308"/>
                  </a:lnTo>
                  <a:lnTo>
                    <a:pt x="1906052" y="166778"/>
                  </a:lnTo>
                  <a:lnTo>
                    <a:pt x="1944172" y="152484"/>
                  </a:lnTo>
                  <a:lnTo>
                    <a:pt x="1958468" y="133422"/>
                  </a:lnTo>
                  <a:lnTo>
                    <a:pt x="1972764" y="128658"/>
                  </a:lnTo>
                  <a:lnTo>
                    <a:pt x="1987058" y="114362"/>
                  </a:lnTo>
                  <a:lnTo>
                    <a:pt x="2001354" y="114362"/>
                  </a:lnTo>
                  <a:lnTo>
                    <a:pt x="2015650" y="119128"/>
                  </a:lnTo>
                  <a:lnTo>
                    <a:pt x="2025180" y="114362"/>
                  </a:lnTo>
                  <a:lnTo>
                    <a:pt x="2029944" y="109596"/>
                  </a:lnTo>
                  <a:lnTo>
                    <a:pt x="2039476" y="104832"/>
                  </a:lnTo>
                  <a:lnTo>
                    <a:pt x="2049006" y="85772"/>
                  </a:lnTo>
                  <a:lnTo>
                    <a:pt x="2058536" y="81006"/>
                  </a:lnTo>
                  <a:lnTo>
                    <a:pt x="2072832" y="76242"/>
                  </a:lnTo>
                  <a:lnTo>
                    <a:pt x="2082362" y="66710"/>
                  </a:lnTo>
                  <a:lnTo>
                    <a:pt x="2091892" y="57180"/>
                  </a:lnTo>
                  <a:lnTo>
                    <a:pt x="2096656" y="47650"/>
                  </a:lnTo>
                  <a:lnTo>
                    <a:pt x="2091892" y="38120"/>
                  </a:lnTo>
                  <a:lnTo>
                    <a:pt x="2091892" y="23824"/>
                  </a:lnTo>
                  <a:lnTo>
                    <a:pt x="2082362" y="14294"/>
                  </a:lnTo>
                  <a:lnTo>
                    <a:pt x="2077596" y="9530"/>
                  </a:lnTo>
                  <a:lnTo>
                    <a:pt x="2072832" y="9530"/>
                  </a:lnTo>
                  <a:lnTo>
                    <a:pt x="2087126" y="4764"/>
                  </a:lnTo>
                  <a:lnTo>
                    <a:pt x="2096656" y="9530"/>
                  </a:lnTo>
                  <a:lnTo>
                    <a:pt x="2115718" y="9530"/>
                  </a:lnTo>
                  <a:lnTo>
                    <a:pt x="2125248" y="4764"/>
                  </a:lnTo>
                  <a:lnTo>
                    <a:pt x="2134778"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435" name="Google Shape;4902;p64">
              <a:extLst>
                <a:ext uri="{FF2B5EF4-FFF2-40B4-BE49-F238E27FC236}">
                  <a16:creationId xmlns:a16="http://schemas.microsoft.com/office/drawing/2014/main" id="{735FB789-A254-2226-7E8F-AB35B9307EE7}"/>
                </a:ext>
              </a:extLst>
            </p:cNvPr>
            <p:cNvGrpSpPr/>
            <p:nvPr/>
          </p:nvGrpSpPr>
          <p:grpSpPr>
            <a:xfrm>
              <a:off x="1078330" y="4499183"/>
              <a:ext cx="1097358" cy="1097686"/>
              <a:chOff x="3602805" y="23480723"/>
              <a:chExt cx="7967293" cy="7969675"/>
            </a:xfrm>
            <a:grpFill/>
          </p:grpSpPr>
          <p:sp>
            <p:nvSpPr>
              <p:cNvPr id="436" name="Google Shape;4903;p64">
                <a:extLst>
                  <a:ext uri="{FF2B5EF4-FFF2-40B4-BE49-F238E27FC236}">
                    <a16:creationId xmlns:a16="http://schemas.microsoft.com/office/drawing/2014/main" id="{7DBA5E04-35D5-C8B1-172D-3EE0B167890D}"/>
                  </a:ext>
                </a:extLst>
              </p:cNvPr>
              <p:cNvSpPr/>
              <p:nvPr/>
            </p:nvSpPr>
            <p:spPr>
              <a:xfrm>
                <a:off x="11536742" y="31431338"/>
                <a:ext cx="33356" cy="19061"/>
              </a:xfrm>
              <a:custGeom>
                <a:avLst/>
                <a:gdLst/>
                <a:ahLst/>
                <a:cxnLst/>
                <a:rect l="l" t="t" r="r" b="b"/>
                <a:pathLst>
                  <a:path w="14" h="8" extrusionOk="0">
                    <a:moveTo>
                      <a:pt x="10" y="6"/>
                    </a:moveTo>
                    <a:lnTo>
                      <a:pt x="14" y="4"/>
                    </a:lnTo>
                    <a:lnTo>
                      <a:pt x="10" y="2"/>
                    </a:lnTo>
                    <a:lnTo>
                      <a:pt x="2" y="0"/>
                    </a:lnTo>
                    <a:lnTo>
                      <a:pt x="0" y="4"/>
                    </a:lnTo>
                    <a:lnTo>
                      <a:pt x="0" y="8"/>
                    </a:lnTo>
                    <a:lnTo>
                      <a:pt x="10"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37" name="Google Shape;4904;p64">
                <a:extLst>
                  <a:ext uri="{FF2B5EF4-FFF2-40B4-BE49-F238E27FC236}">
                    <a16:creationId xmlns:a16="http://schemas.microsoft.com/office/drawing/2014/main" id="{85E47D1A-ED92-FB78-59AF-FABB185B64A4}"/>
                  </a:ext>
                </a:extLst>
              </p:cNvPr>
              <p:cNvSpPr/>
              <p:nvPr/>
            </p:nvSpPr>
            <p:spPr>
              <a:xfrm>
                <a:off x="8582363" y="30959588"/>
                <a:ext cx="9530" cy="14295"/>
              </a:xfrm>
              <a:custGeom>
                <a:avLst/>
                <a:gdLst/>
                <a:ahLst/>
                <a:cxnLst/>
                <a:rect l="l" t="t" r="r" b="b"/>
                <a:pathLst>
                  <a:path w="4" h="6" extrusionOk="0">
                    <a:moveTo>
                      <a:pt x="4" y="4"/>
                    </a:moveTo>
                    <a:lnTo>
                      <a:pt x="4" y="2"/>
                    </a:lnTo>
                    <a:lnTo>
                      <a:pt x="2" y="0"/>
                    </a:lnTo>
                    <a:lnTo>
                      <a:pt x="2" y="0"/>
                    </a:lnTo>
                    <a:lnTo>
                      <a:pt x="0" y="0"/>
                    </a:lnTo>
                    <a:lnTo>
                      <a:pt x="0" y="2"/>
                    </a:lnTo>
                    <a:lnTo>
                      <a:pt x="2" y="4"/>
                    </a:lnTo>
                    <a:lnTo>
                      <a:pt x="4" y="6"/>
                    </a:lnTo>
                    <a:lnTo>
                      <a:pt x="4"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38" name="Google Shape;4905;p64">
                <a:extLst>
                  <a:ext uri="{FF2B5EF4-FFF2-40B4-BE49-F238E27FC236}">
                    <a16:creationId xmlns:a16="http://schemas.microsoft.com/office/drawing/2014/main" id="{074CC245-AE04-FD53-8C34-07DCD13BECBB}"/>
                  </a:ext>
                </a:extLst>
              </p:cNvPr>
              <p:cNvCxnSpPr/>
              <p:nvPr/>
            </p:nvCxnSpPr>
            <p:spPr>
              <a:xfrm>
                <a:off x="8591893" y="30969119"/>
                <a:ext cx="0" cy="0"/>
              </a:xfrm>
              <a:prstGeom prst="straightConnector1">
                <a:avLst/>
              </a:prstGeom>
              <a:grpFill/>
              <a:ln w="9525" cap="flat" cmpd="sng">
                <a:solidFill>
                  <a:schemeClr val="bg2"/>
                </a:solidFill>
                <a:prstDash val="solid"/>
                <a:round/>
                <a:headEnd type="none" w="med" len="med"/>
                <a:tailEnd type="none" w="med" len="med"/>
              </a:ln>
            </p:spPr>
          </p:cxnSp>
          <p:cxnSp>
            <p:nvCxnSpPr>
              <p:cNvPr id="439" name="Google Shape;4906;p64">
                <a:extLst>
                  <a:ext uri="{FF2B5EF4-FFF2-40B4-BE49-F238E27FC236}">
                    <a16:creationId xmlns:a16="http://schemas.microsoft.com/office/drawing/2014/main" id="{407DF67D-1249-C301-21D9-170621425C2B}"/>
                  </a:ext>
                </a:extLst>
              </p:cNvPr>
              <p:cNvCxnSpPr/>
              <p:nvPr/>
            </p:nvCxnSpPr>
            <p:spPr>
              <a:xfrm>
                <a:off x="8591893" y="30969119"/>
                <a:ext cx="0" cy="0"/>
              </a:xfrm>
              <a:prstGeom prst="straightConnector1">
                <a:avLst/>
              </a:prstGeom>
              <a:grpFill/>
              <a:ln w="9525" cap="flat" cmpd="sng">
                <a:solidFill>
                  <a:schemeClr val="bg2"/>
                </a:solidFill>
                <a:prstDash val="solid"/>
                <a:round/>
                <a:headEnd type="none" w="med" len="med"/>
                <a:tailEnd type="none" w="med" len="med"/>
              </a:ln>
            </p:spPr>
          </p:cxnSp>
          <p:sp>
            <p:nvSpPr>
              <p:cNvPr id="440" name="Google Shape;4907;p64">
                <a:extLst>
                  <a:ext uri="{FF2B5EF4-FFF2-40B4-BE49-F238E27FC236}">
                    <a16:creationId xmlns:a16="http://schemas.microsoft.com/office/drawing/2014/main" id="{12183A6F-DE64-4F64-B41C-B31B045A4193}"/>
                  </a:ext>
                </a:extLst>
              </p:cNvPr>
              <p:cNvSpPr/>
              <p:nvPr/>
            </p:nvSpPr>
            <p:spPr>
              <a:xfrm>
                <a:off x="6986045" y="30359184"/>
                <a:ext cx="9530" cy="14295"/>
              </a:xfrm>
              <a:custGeom>
                <a:avLst/>
                <a:gdLst/>
                <a:ahLst/>
                <a:cxnLst/>
                <a:rect l="l" t="t" r="r" b="b"/>
                <a:pathLst>
                  <a:path w="4" h="6" extrusionOk="0">
                    <a:moveTo>
                      <a:pt x="4" y="6"/>
                    </a:moveTo>
                    <a:lnTo>
                      <a:pt x="4" y="2"/>
                    </a:lnTo>
                    <a:lnTo>
                      <a:pt x="2" y="0"/>
                    </a:lnTo>
                    <a:lnTo>
                      <a:pt x="0" y="0"/>
                    </a:lnTo>
                    <a:lnTo>
                      <a:pt x="2" y="0"/>
                    </a:lnTo>
                    <a:lnTo>
                      <a:pt x="2" y="4"/>
                    </a:lnTo>
                    <a:lnTo>
                      <a:pt x="2" y="6"/>
                    </a:lnTo>
                    <a:lnTo>
                      <a:pt x="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1" name="Google Shape;4908;p64">
                <a:extLst>
                  <a:ext uri="{FF2B5EF4-FFF2-40B4-BE49-F238E27FC236}">
                    <a16:creationId xmlns:a16="http://schemas.microsoft.com/office/drawing/2014/main" id="{22C44DC1-58AE-AFE6-C5CF-8C60DD76B277}"/>
                  </a:ext>
                </a:extLst>
              </p:cNvPr>
              <p:cNvSpPr/>
              <p:nvPr/>
            </p:nvSpPr>
            <p:spPr>
              <a:xfrm>
                <a:off x="7310074" y="29973209"/>
                <a:ext cx="33356" cy="19061"/>
              </a:xfrm>
              <a:custGeom>
                <a:avLst/>
                <a:gdLst/>
                <a:ahLst/>
                <a:cxnLst/>
                <a:rect l="l" t="t" r="r" b="b"/>
                <a:pathLst>
                  <a:path w="14" h="8" extrusionOk="0">
                    <a:moveTo>
                      <a:pt x="14" y="6"/>
                    </a:moveTo>
                    <a:lnTo>
                      <a:pt x="10" y="4"/>
                    </a:lnTo>
                    <a:lnTo>
                      <a:pt x="8" y="2"/>
                    </a:lnTo>
                    <a:lnTo>
                      <a:pt x="4" y="2"/>
                    </a:lnTo>
                    <a:lnTo>
                      <a:pt x="2" y="0"/>
                    </a:lnTo>
                    <a:lnTo>
                      <a:pt x="0" y="2"/>
                    </a:lnTo>
                    <a:lnTo>
                      <a:pt x="2" y="2"/>
                    </a:lnTo>
                    <a:lnTo>
                      <a:pt x="4" y="2"/>
                    </a:lnTo>
                    <a:lnTo>
                      <a:pt x="8" y="4"/>
                    </a:lnTo>
                    <a:lnTo>
                      <a:pt x="10" y="6"/>
                    </a:lnTo>
                    <a:lnTo>
                      <a:pt x="12" y="6"/>
                    </a:lnTo>
                    <a:lnTo>
                      <a:pt x="12" y="8"/>
                    </a:lnTo>
                    <a:lnTo>
                      <a:pt x="1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2" name="Google Shape;4909;p64">
                <a:extLst>
                  <a:ext uri="{FF2B5EF4-FFF2-40B4-BE49-F238E27FC236}">
                    <a16:creationId xmlns:a16="http://schemas.microsoft.com/office/drawing/2014/main" id="{330D2604-18EE-4DD8-612C-54B397177DAE}"/>
                  </a:ext>
                </a:extLst>
              </p:cNvPr>
              <p:cNvSpPr/>
              <p:nvPr/>
            </p:nvSpPr>
            <p:spPr>
              <a:xfrm>
                <a:off x="6638191" y="29954150"/>
                <a:ext cx="19061" cy="14295"/>
              </a:xfrm>
              <a:custGeom>
                <a:avLst/>
                <a:gdLst/>
                <a:ahLst/>
                <a:cxnLst/>
                <a:rect l="l" t="t" r="r" b="b"/>
                <a:pathLst>
                  <a:path w="8" h="6" extrusionOk="0">
                    <a:moveTo>
                      <a:pt x="8" y="2"/>
                    </a:moveTo>
                    <a:lnTo>
                      <a:pt x="0" y="0"/>
                    </a:lnTo>
                    <a:lnTo>
                      <a:pt x="2" y="2"/>
                    </a:lnTo>
                    <a:lnTo>
                      <a:pt x="6" y="4"/>
                    </a:lnTo>
                    <a:lnTo>
                      <a:pt x="8" y="6"/>
                    </a:lnTo>
                    <a:lnTo>
                      <a:pt x="8"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3" name="Google Shape;4910;p64">
                <a:extLst>
                  <a:ext uri="{FF2B5EF4-FFF2-40B4-BE49-F238E27FC236}">
                    <a16:creationId xmlns:a16="http://schemas.microsoft.com/office/drawing/2014/main" id="{8D9A0EE1-2D3A-5F39-E6B1-7B710E96B25F}"/>
                  </a:ext>
                </a:extLst>
              </p:cNvPr>
              <p:cNvSpPr/>
              <p:nvPr/>
            </p:nvSpPr>
            <p:spPr>
              <a:xfrm>
                <a:off x="7219536" y="29939853"/>
                <a:ext cx="14295" cy="19061"/>
              </a:xfrm>
              <a:custGeom>
                <a:avLst/>
                <a:gdLst/>
                <a:ahLst/>
                <a:cxnLst/>
                <a:rect l="l" t="t" r="r" b="b"/>
                <a:pathLst>
                  <a:path w="6" h="8" extrusionOk="0">
                    <a:moveTo>
                      <a:pt x="6" y="6"/>
                    </a:moveTo>
                    <a:lnTo>
                      <a:pt x="2" y="2"/>
                    </a:lnTo>
                    <a:lnTo>
                      <a:pt x="0" y="0"/>
                    </a:lnTo>
                    <a:lnTo>
                      <a:pt x="6" y="8"/>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4" name="Google Shape;4911;p64">
                <a:extLst>
                  <a:ext uri="{FF2B5EF4-FFF2-40B4-BE49-F238E27FC236}">
                    <a16:creationId xmlns:a16="http://schemas.microsoft.com/office/drawing/2014/main" id="{45E43095-8743-69E2-CE45-117096B482D1}"/>
                  </a:ext>
                </a:extLst>
              </p:cNvPr>
              <p:cNvSpPr/>
              <p:nvPr/>
            </p:nvSpPr>
            <p:spPr>
              <a:xfrm>
                <a:off x="6609600" y="29906497"/>
                <a:ext cx="23826" cy="28591"/>
              </a:xfrm>
              <a:custGeom>
                <a:avLst/>
                <a:gdLst/>
                <a:ahLst/>
                <a:cxnLst/>
                <a:rect l="l" t="t" r="r" b="b"/>
                <a:pathLst>
                  <a:path w="10" h="12" extrusionOk="0">
                    <a:moveTo>
                      <a:pt x="10" y="10"/>
                    </a:moveTo>
                    <a:lnTo>
                      <a:pt x="6" y="4"/>
                    </a:lnTo>
                    <a:lnTo>
                      <a:pt x="4" y="2"/>
                    </a:lnTo>
                    <a:lnTo>
                      <a:pt x="0" y="0"/>
                    </a:lnTo>
                    <a:lnTo>
                      <a:pt x="2" y="2"/>
                    </a:lnTo>
                    <a:lnTo>
                      <a:pt x="6" y="6"/>
                    </a:lnTo>
                    <a:lnTo>
                      <a:pt x="8" y="10"/>
                    </a:lnTo>
                    <a:lnTo>
                      <a:pt x="10" y="12"/>
                    </a:lnTo>
                    <a:lnTo>
                      <a:pt x="10"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5" name="Google Shape;4912;p64">
                <a:extLst>
                  <a:ext uri="{FF2B5EF4-FFF2-40B4-BE49-F238E27FC236}">
                    <a16:creationId xmlns:a16="http://schemas.microsoft.com/office/drawing/2014/main" id="{CF87023D-3A8A-6115-9D55-223785BFC778}"/>
                  </a:ext>
                </a:extLst>
              </p:cNvPr>
              <p:cNvSpPr/>
              <p:nvPr/>
            </p:nvSpPr>
            <p:spPr>
              <a:xfrm>
                <a:off x="6628661" y="29844550"/>
                <a:ext cx="33356" cy="33356"/>
              </a:xfrm>
              <a:custGeom>
                <a:avLst/>
                <a:gdLst/>
                <a:ahLst/>
                <a:cxnLst/>
                <a:rect l="l" t="t" r="r" b="b"/>
                <a:pathLst>
                  <a:path w="14" h="14" extrusionOk="0">
                    <a:moveTo>
                      <a:pt x="4" y="12"/>
                    </a:moveTo>
                    <a:lnTo>
                      <a:pt x="2" y="12"/>
                    </a:lnTo>
                    <a:lnTo>
                      <a:pt x="2" y="12"/>
                    </a:lnTo>
                    <a:lnTo>
                      <a:pt x="2" y="8"/>
                    </a:lnTo>
                    <a:lnTo>
                      <a:pt x="6" y="6"/>
                    </a:lnTo>
                    <a:lnTo>
                      <a:pt x="14" y="0"/>
                    </a:lnTo>
                    <a:lnTo>
                      <a:pt x="14" y="0"/>
                    </a:lnTo>
                    <a:lnTo>
                      <a:pt x="14" y="0"/>
                    </a:lnTo>
                    <a:lnTo>
                      <a:pt x="12" y="0"/>
                    </a:lnTo>
                    <a:lnTo>
                      <a:pt x="6" y="2"/>
                    </a:lnTo>
                    <a:lnTo>
                      <a:pt x="4" y="6"/>
                    </a:lnTo>
                    <a:lnTo>
                      <a:pt x="2" y="8"/>
                    </a:lnTo>
                    <a:lnTo>
                      <a:pt x="0" y="10"/>
                    </a:lnTo>
                    <a:lnTo>
                      <a:pt x="0" y="14"/>
                    </a:lnTo>
                    <a:lnTo>
                      <a:pt x="0" y="14"/>
                    </a:lnTo>
                    <a:lnTo>
                      <a:pt x="4" y="14"/>
                    </a:lnTo>
                    <a:lnTo>
                      <a:pt x="4"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6" name="Google Shape;4913;p64">
                <a:extLst>
                  <a:ext uri="{FF2B5EF4-FFF2-40B4-BE49-F238E27FC236}">
                    <a16:creationId xmlns:a16="http://schemas.microsoft.com/office/drawing/2014/main" id="{9114012C-D813-8FEB-74D0-DCCF65E6E33B}"/>
                  </a:ext>
                </a:extLst>
              </p:cNvPr>
              <p:cNvSpPr/>
              <p:nvPr/>
            </p:nvSpPr>
            <p:spPr>
              <a:xfrm>
                <a:off x="5256304" y="29815959"/>
                <a:ext cx="76242" cy="61947"/>
              </a:xfrm>
              <a:custGeom>
                <a:avLst/>
                <a:gdLst/>
                <a:ahLst/>
                <a:cxnLst/>
                <a:rect l="l" t="t" r="r" b="b"/>
                <a:pathLst>
                  <a:path w="32" h="26" extrusionOk="0">
                    <a:moveTo>
                      <a:pt x="22" y="14"/>
                    </a:moveTo>
                    <a:lnTo>
                      <a:pt x="20" y="6"/>
                    </a:lnTo>
                    <a:lnTo>
                      <a:pt x="18" y="2"/>
                    </a:lnTo>
                    <a:lnTo>
                      <a:pt x="8" y="0"/>
                    </a:lnTo>
                    <a:lnTo>
                      <a:pt x="2" y="2"/>
                    </a:lnTo>
                    <a:lnTo>
                      <a:pt x="0" y="4"/>
                    </a:lnTo>
                    <a:lnTo>
                      <a:pt x="0" y="8"/>
                    </a:lnTo>
                    <a:lnTo>
                      <a:pt x="4" y="16"/>
                    </a:lnTo>
                    <a:lnTo>
                      <a:pt x="10" y="18"/>
                    </a:lnTo>
                    <a:lnTo>
                      <a:pt x="20" y="16"/>
                    </a:lnTo>
                    <a:lnTo>
                      <a:pt x="24" y="22"/>
                    </a:lnTo>
                    <a:lnTo>
                      <a:pt x="26" y="24"/>
                    </a:lnTo>
                    <a:lnTo>
                      <a:pt x="30" y="26"/>
                    </a:lnTo>
                    <a:lnTo>
                      <a:pt x="32" y="22"/>
                    </a:lnTo>
                    <a:lnTo>
                      <a:pt x="30" y="16"/>
                    </a:lnTo>
                    <a:lnTo>
                      <a:pt x="22"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7" name="Google Shape;4914;p64">
                <a:extLst>
                  <a:ext uri="{FF2B5EF4-FFF2-40B4-BE49-F238E27FC236}">
                    <a16:creationId xmlns:a16="http://schemas.microsoft.com/office/drawing/2014/main" id="{0706E01D-0719-E5CB-14A8-FC01FF610708}"/>
                  </a:ext>
                </a:extLst>
              </p:cNvPr>
              <p:cNvSpPr/>
              <p:nvPr/>
            </p:nvSpPr>
            <p:spPr>
              <a:xfrm>
                <a:off x="5213418" y="29811194"/>
                <a:ext cx="19061" cy="14295"/>
              </a:xfrm>
              <a:custGeom>
                <a:avLst/>
                <a:gdLst/>
                <a:ahLst/>
                <a:cxnLst/>
                <a:rect l="l" t="t" r="r" b="b"/>
                <a:pathLst>
                  <a:path w="8" h="6" extrusionOk="0">
                    <a:moveTo>
                      <a:pt x="6" y="6"/>
                    </a:moveTo>
                    <a:lnTo>
                      <a:pt x="8" y="2"/>
                    </a:lnTo>
                    <a:lnTo>
                      <a:pt x="8" y="0"/>
                    </a:lnTo>
                    <a:lnTo>
                      <a:pt x="0" y="0"/>
                    </a:lnTo>
                    <a:lnTo>
                      <a:pt x="0" y="2"/>
                    </a:lnTo>
                    <a:lnTo>
                      <a:pt x="0" y="4"/>
                    </a:lnTo>
                    <a:lnTo>
                      <a:pt x="2" y="6"/>
                    </a:lnTo>
                    <a:lnTo>
                      <a:pt x="4" y="6"/>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8" name="Google Shape;4915;p64">
                <a:extLst>
                  <a:ext uri="{FF2B5EF4-FFF2-40B4-BE49-F238E27FC236}">
                    <a16:creationId xmlns:a16="http://schemas.microsoft.com/office/drawing/2014/main" id="{C2F20943-8DCC-E810-5069-2F269FF991D7}"/>
                  </a:ext>
                </a:extLst>
              </p:cNvPr>
              <p:cNvSpPr/>
              <p:nvPr/>
            </p:nvSpPr>
            <p:spPr>
              <a:xfrm>
                <a:off x="4970396" y="29692066"/>
                <a:ext cx="19061" cy="23826"/>
              </a:xfrm>
              <a:custGeom>
                <a:avLst/>
                <a:gdLst/>
                <a:ahLst/>
                <a:cxnLst/>
                <a:rect l="l" t="t" r="r" b="b"/>
                <a:pathLst>
                  <a:path w="8" h="10" extrusionOk="0">
                    <a:moveTo>
                      <a:pt x="4" y="10"/>
                    </a:moveTo>
                    <a:lnTo>
                      <a:pt x="8" y="8"/>
                    </a:lnTo>
                    <a:lnTo>
                      <a:pt x="4" y="2"/>
                    </a:lnTo>
                    <a:lnTo>
                      <a:pt x="0" y="0"/>
                    </a:lnTo>
                    <a:lnTo>
                      <a:pt x="0" y="2"/>
                    </a:lnTo>
                    <a:lnTo>
                      <a:pt x="0" y="8"/>
                    </a:lnTo>
                    <a:lnTo>
                      <a:pt x="2" y="10"/>
                    </a:lnTo>
                    <a:lnTo>
                      <a:pt x="4"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49" name="Google Shape;4916;p64">
                <a:extLst>
                  <a:ext uri="{FF2B5EF4-FFF2-40B4-BE49-F238E27FC236}">
                    <a16:creationId xmlns:a16="http://schemas.microsoft.com/office/drawing/2014/main" id="{53C4604E-F728-CCDF-3BB9-DACD110E524C}"/>
                  </a:ext>
                </a:extLst>
              </p:cNvPr>
              <p:cNvSpPr/>
              <p:nvPr/>
            </p:nvSpPr>
            <p:spPr>
              <a:xfrm>
                <a:off x="6209330" y="29673006"/>
                <a:ext cx="23826" cy="9530"/>
              </a:xfrm>
              <a:custGeom>
                <a:avLst/>
                <a:gdLst/>
                <a:ahLst/>
                <a:cxnLst/>
                <a:rect l="l" t="t" r="r" b="b"/>
                <a:pathLst>
                  <a:path w="10" h="4" extrusionOk="0">
                    <a:moveTo>
                      <a:pt x="6" y="0"/>
                    </a:moveTo>
                    <a:lnTo>
                      <a:pt x="6" y="0"/>
                    </a:lnTo>
                    <a:lnTo>
                      <a:pt x="2" y="0"/>
                    </a:lnTo>
                    <a:lnTo>
                      <a:pt x="0" y="0"/>
                    </a:lnTo>
                    <a:lnTo>
                      <a:pt x="6" y="0"/>
                    </a:lnTo>
                    <a:lnTo>
                      <a:pt x="10" y="4"/>
                    </a:lnTo>
                    <a:lnTo>
                      <a:pt x="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0" name="Google Shape;4917;p64">
                <a:extLst>
                  <a:ext uri="{FF2B5EF4-FFF2-40B4-BE49-F238E27FC236}">
                    <a16:creationId xmlns:a16="http://schemas.microsoft.com/office/drawing/2014/main" id="{04C07E13-04E5-D1CF-1B96-8ABB30E04C7C}"/>
                  </a:ext>
                </a:extLst>
              </p:cNvPr>
              <p:cNvSpPr/>
              <p:nvPr/>
            </p:nvSpPr>
            <p:spPr>
              <a:xfrm>
                <a:off x="6185504" y="29668241"/>
                <a:ext cx="19061" cy="4765"/>
              </a:xfrm>
              <a:custGeom>
                <a:avLst/>
                <a:gdLst/>
                <a:ahLst/>
                <a:cxnLst/>
                <a:rect l="l" t="t" r="r" b="b"/>
                <a:pathLst>
                  <a:path w="8" h="2" extrusionOk="0">
                    <a:moveTo>
                      <a:pt x="8" y="2"/>
                    </a:moveTo>
                    <a:lnTo>
                      <a:pt x="4" y="2"/>
                    </a:lnTo>
                    <a:lnTo>
                      <a:pt x="2" y="0"/>
                    </a:lnTo>
                    <a:lnTo>
                      <a:pt x="0" y="0"/>
                    </a:lnTo>
                    <a:lnTo>
                      <a:pt x="6" y="2"/>
                    </a:lnTo>
                    <a:lnTo>
                      <a:pt x="8"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1" name="Google Shape;4918;p64">
                <a:extLst>
                  <a:ext uri="{FF2B5EF4-FFF2-40B4-BE49-F238E27FC236}">
                    <a16:creationId xmlns:a16="http://schemas.microsoft.com/office/drawing/2014/main" id="{42722E88-DE42-0B7A-E02E-2E77B9FEAB67}"/>
                  </a:ext>
                </a:extLst>
              </p:cNvPr>
              <p:cNvSpPr/>
              <p:nvPr/>
            </p:nvSpPr>
            <p:spPr>
              <a:xfrm>
                <a:off x="4965631" y="29663475"/>
                <a:ext cx="9530" cy="14295"/>
              </a:xfrm>
              <a:custGeom>
                <a:avLst/>
                <a:gdLst/>
                <a:ahLst/>
                <a:cxnLst/>
                <a:rect l="l" t="t" r="r" b="b"/>
                <a:pathLst>
                  <a:path w="4" h="6" extrusionOk="0">
                    <a:moveTo>
                      <a:pt x="2" y="6"/>
                    </a:moveTo>
                    <a:lnTo>
                      <a:pt x="4" y="4"/>
                    </a:lnTo>
                    <a:lnTo>
                      <a:pt x="4" y="2"/>
                    </a:lnTo>
                    <a:lnTo>
                      <a:pt x="0" y="0"/>
                    </a:lnTo>
                    <a:lnTo>
                      <a:pt x="0" y="4"/>
                    </a:lnTo>
                    <a:lnTo>
                      <a:pt x="0" y="6"/>
                    </a:lnTo>
                    <a:lnTo>
                      <a:pt x="2" y="6"/>
                    </a:lnTo>
                    <a:lnTo>
                      <a:pt x="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2" name="Google Shape;4919;p64">
                <a:extLst>
                  <a:ext uri="{FF2B5EF4-FFF2-40B4-BE49-F238E27FC236}">
                    <a16:creationId xmlns:a16="http://schemas.microsoft.com/office/drawing/2014/main" id="{1E53DBFE-99CD-8F49-A699-123756D52BC4}"/>
                  </a:ext>
                </a:extLst>
              </p:cNvPr>
              <p:cNvSpPr/>
              <p:nvPr/>
            </p:nvSpPr>
            <p:spPr>
              <a:xfrm>
                <a:off x="5885301" y="29582469"/>
                <a:ext cx="19061" cy="47651"/>
              </a:xfrm>
              <a:custGeom>
                <a:avLst/>
                <a:gdLst/>
                <a:ahLst/>
                <a:cxnLst/>
                <a:rect l="l" t="t" r="r" b="b"/>
                <a:pathLst>
                  <a:path w="8" h="20" extrusionOk="0">
                    <a:moveTo>
                      <a:pt x="8" y="18"/>
                    </a:moveTo>
                    <a:lnTo>
                      <a:pt x="6" y="14"/>
                    </a:lnTo>
                    <a:lnTo>
                      <a:pt x="4" y="10"/>
                    </a:lnTo>
                    <a:lnTo>
                      <a:pt x="2" y="6"/>
                    </a:lnTo>
                    <a:lnTo>
                      <a:pt x="0" y="0"/>
                    </a:lnTo>
                    <a:lnTo>
                      <a:pt x="0" y="4"/>
                    </a:lnTo>
                    <a:lnTo>
                      <a:pt x="0" y="6"/>
                    </a:lnTo>
                    <a:lnTo>
                      <a:pt x="2" y="10"/>
                    </a:lnTo>
                    <a:lnTo>
                      <a:pt x="4" y="12"/>
                    </a:lnTo>
                    <a:lnTo>
                      <a:pt x="4" y="16"/>
                    </a:lnTo>
                    <a:lnTo>
                      <a:pt x="8" y="18"/>
                    </a:lnTo>
                    <a:lnTo>
                      <a:pt x="8" y="20"/>
                    </a:lnTo>
                    <a:lnTo>
                      <a:pt x="8"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3" name="Google Shape;4920;p64">
                <a:extLst>
                  <a:ext uri="{FF2B5EF4-FFF2-40B4-BE49-F238E27FC236}">
                    <a16:creationId xmlns:a16="http://schemas.microsoft.com/office/drawing/2014/main" id="{21E57384-645C-2C2C-3F82-8CC47435460F}"/>
                  </a:ext>
                </a:extLst>
              </p:cNvPr>
              <p:cNvSpPr/>
              <p:nvPr/>
            </p:nvSpPr>
            <p:spPr>
              <a:xfrm>
                <a:off x="6366579" y="29572938"/>
                <a:ext cx="9530" cy="14295"/>
              </a:xfrm>
              <a:custGeom>
                <a:avLst/>
                <a:gdLst/>
                <a:ahLst/>
                <a:cxnLst/>
                <a:rect l="l" t="t" r="r" b="b"/>
                <a:pathLst>
                  <a:path w="4" h="6" extrusionOk="0">
                    <a:moveTo>
                      <a:pt x="2" y="6"/>
                    </a:moveTo>
                    <a:lnTo>
                      <a:pt x="4" y="0"/>
                    </a:lnTo>
                    <a:lnTo>
                      <a:pt x="2" y="2"/>
                    </a:lnTo>
                    <a:lnTo>
                      <a:pt x="0" y="6"/>
                    </a:lnTo>
                    <a:lnTo>
                      <a:pt x="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4" name="Google Shape;4921;p64">
                <a:extLst>
                  <a:ext uri="{FF2B5EF4-FFF2-40B4-BE49-F238E27FC236}">
                    <a16:creationId xmlns:a16="http://schemas.microsoft.com/office/drawing/2014/main" id="{3151479E-40BD-EC95-CA8E-685BA5193A88}"/>
                  </a:ext>
                </a:extLst>
              </p:cNvPr>
              <p:cNvSpPr/>
              <p:nvPr/>
            </p:nvSpPr>
            <p:spPr>
              <a:xfrm>
                <a:off x="5956778" y="29530053"/>
                <a:ext cx="14295" cy="23826"/>
              </a:xfrm>
              <a:custGeom>
                <a:avLst/>
                <a:gdLst/>
                <a:ahLst/>
                <a:cxnLst/>
                <a:rect l="l" t="t" r="r" b="b"/>
                <a:pathLst>
                  <a:path w="6" h="10" extrusionOk="0">
                    <a:moveTo>
                      <a:pt x="6" y="8"/>
                    </a:moveTo>
                    <a:lnTo>
                      <a:pt x="2" y="2"/>
                    </a:lnTo>
                    <a:lnTo>
                      <a:pt x="0" y="0"/>
                    </a:lnTo>
                    <a:lnTo>
                      <a:pt x="2" y="2"/>
                    </a:lnTo>
                    <a:lnTo>
                      <a:pt x="6" y="8"/>
                    </a:lnTo>
                    <a:lnTo>
                      <a:pt x="6" y="10"/>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5" name="Google Shape;4922;p64">
                <a:extLst>
                  <a:ext uri="{FF2B5EF4-FFF2-40B4-BE49-F238E27FC236}">
                    <a16:creationId xmlns:a16="http://schemas.microsoft.com/office/drawing/2014/main" id="{12DEA6C9-3119-23EB-5E20-D1ED81415E89}"/>
                  </a:ext>
                </a:extLst>
              </p:cNvPr>
              <p:cNvSpPr/>
              <p:nvPr/>
            </p:nvSpPr>
            <p:spPr>
              <a:xfrm>
                <a:off x="6966985" y="28679478"/>
                <a:ext cx="9530" cy="14295"/>
              </a:xfrm>
              <a:custGeom>
                <a:avLst/>
                <a:gdLst/>
                <a:ahLst/>
                <a:cxnLst/>
                <a:rect l="l" t="t" r="r" b="b"/>
                <a:pathLst>
                  <a:path w="4" h="6" extrusionOk="0">
                    <a:moveTo>
                      <a:pt x="2" y="6"/>
                    </a:moveTo>
                    <a:lnTo>
                      <a:pt x="4" y="4"/>
                    </a:lnTo>
                    <a:lnTo>
                      <a:pt x="4" y="2"/>
                    </a:lnTo>
                    <a:lnTo>
                      <a:pt x="4" y="2"/>
                    </a:lnTo>
                    <a:lnTo>
                      <a:pt x="0" y="0"/>
                    </a:lnTo>
                    <a:lnTo>
                      <a:pt x="0" y="6"/>
                    </a:lnTo>
                    <a:lnTo>
                      <a:pt x="2"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6" name="Google Shape;4923;p64">
                <a:extLst>
                  <a:ext uri="{FF2B5EF4-FFF2-40B4-BE49-F238E27FC236}">
                    <a16:creationId xmlns:a16="http://schemas.microsoft.com/office/drawing/2014/main" id="{CCD80486-EC6B-F446-6230-FCB24D4A5398}"/>
                  </a:ext>
                </a:extLst>
              </p:cNvPr>
              <p:cNvSpPr/>
              <p:nvPr/>
            </p:nvSpPr>
            <p:spPr>
              <a:xfrm>
                <a:off x="6895508" y="28598469"/>
                <a:ext cx="14295" cy="14295"/>
              </a:xfrm>
              <a:custGeom>
                <a:avLst/>
                <a:gdLst/>
                <a:ahLst/>
                <a:cxnLst/>
                <a:rect l="l" t="t" r="r" b="b"/>
                <a:pathLst>
                  <a:path w="6" h="6" extrusionOk="0">
                    <a:moveTo>
                      <a:pt x="6" y="0"/>
                    </a:moveTo>
                    <a:lnTo>
                      <a:pt x="4" y="0"/>
                    </a:lnTo>
                    <a:lnTo>
                      <a:pt x="2" y="0"/>
                    </a:lnTo>
                    <a:lnTo>
                      <a:pt x="0" y="0"/>
                    </a:lnTo>
                    <a:lnTo>
                      <a:pt x="0" y="6"/>
                    </a:lnTo>
                    <a:lnTo>
                      <a:pt x="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7" name="Google Shape;4924;p64">
                <a:extLst>
                  <a:ext uri="{FF2B5EF4-FFF2-40B4-BE49-F238E27FC236}">
                    <a16:creationId xmlns:a16="http://schemas.microsoft.com/office/drawing/2014/main" id="{7EFBE94C-4F67-8DC2-8B3D-01D9787EEDB6}"/>
                  </a:ext>
                </a:extLst>
              </p:cNvPr>
              <p:cNvSpPr/>
              <p:nvPr/>
            </p:nvSpPr>
            <p:spPr>
              <a:xfrm>
                <a:off x="6890743" y="28565113"/>
                <a:ext cx="57182" cy="23826"/>
              </a:xfrm>
              <a:custGeom>
                <a:avLst/>
                <a:gdLst/>
                <a:ahLst/>
                <a:cxnLst/>
                <a:rect l="l" t="t" r="r" b="b"/>
                <a:pathLst>
                  <a:path w="24" h="10" extrusionOk="0">
                    <a:moveTo>
                      <a:pt x="10" y="0"/>
                    </a:moveTo>
                    <a:lnTo>
                      <a:pt x="0" y="4"/>
                    </a:lnTo>
                    <a:lnTo>
                      <a:pt x="2" y="8"/>
                    </a:lnTo>
                    <a:lnTo>
                      <a:pt x="6" y="10"/>
                    </a:lnTo>
                    <a:lnTo>
                      <a:pt x="10" y="8"/>
                    </a:lnTo>
                    <a:lnTo>
                      <a:pt x="20" y="6"/>
                    </a:lnTo>
                    <a:lnTo>
                      <a:pt x="24" y="2"/>
                    </a:lnTo>
                    <a:lnTo>
                      <a:pt x="20" y="2"/>
                    </a:lnTo>
                    <a:lnTo>
                      <a:pt x="10"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8" name="Google Shape;4925;p64">
                <a:extLst>
                  <a:ext uri="{FF2B5EF4-FFF2-40B4-BE49-F238E27FC236}">
                    <a16:creationId xmlns:a16="http://schemas.microsoft.com/office/drawing/2014/main" id="{2F28E790-FA32-8102-96B0-04A2A596D41E}"/>
                  </a:ext>
                </a:extLst>
              </p:cNvPr>
              <p:cNvSpPr/>
              <p:nvPr/>
            </p:nvSpPr>
            <p:spPr>
              <a:xfrm>
                <a:off x="6738259" y="28503166"/>
                <a:ext cx="19061" cy="19061"/>
              </a:xfrm>
              <a:custGeom>
                <a:avLst/>
                <a:gdLst/>
                <a:ahLst/>
                <a:cxnLst/>
                <a:rect l="l" t="t" r="r" b="b"/>
                <a:pathLst>
                  <a:path w="8" h="8" extrusionOk="0">
                    <a:moveTo>
                      <a:pt x="6" y="8"/>
                    </a:moveTo>
                    <a:lnTo>
                      <a:pt x="8" y="2"/>
                    </a:lnTo>
                    <a:lnTo>
                      <a:pt x="6" y="0"/>
                    </a:lnTo>
                    <a:lnTo>
                      <a:pt x="0" y="2"/>
                    </a:lnTo>
                    <a:lnTo>
                      <a:pt x="0" y="4"/>
                    </a:lnTo>
                    <a:lnTo>
                      <a:pt x="4"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59" name="Google Shape;4926;p64">
                <a:extLst>
                  <a:ext uri="{FF2B5EF4-FFF2-40B4-BE49-F238E27FC236}">
                    <a16:creationId xmlns:a16="http://schemas.microsoft.com/office/drawing/2014/main" id="{730831EA-F674-9DCB-D30A-2EEBF2B8D29F}"/>
                  </a:ext>
                </a:extLst>
              </p:cNvPr>
              <p:cNvSpPr/>
              <p:nvPr/>
            </p:nvSpPr>
            <p:spPr>
              <a:xfrm>
                <a:off x="6819266" y="28431691"/>
                <a:ext cx="19061" cy="14295"/>
              </a:xfrm>
              <a:custGeom>
                <a:avLst/>
                <a:gdLst/>
                <a:ahLst/>
                <a:cxnLst/>
                <a:rect l="l" t="t" r="r" b="b"/>
                <a:pathLst>
                  <a:path w="8" h="6" extrusionOk="0">
                    <a:moveTo>
                      <a:pt x="6" y="4"/>
                    </a:moveTo>
                    <a:lnTo>
                      <a:pt x="8" y="4"/>
                    </a:lnTo>
                    <a:lnTo>
                      <a:pt x="8" y="2"/>
                    </a:lnTo>
                    <a:lnTo>
                      <a:pt x="6" y="0"/>
                    </a:lnTo>
                    <a:lnTo>
                      <a:pt x="4" y="0"/>
                    </a:lnTo>
                    <a:lnTo>
                      <a:pt x="2" y="0"/>
                    </a:lnTo>
                    <a:lnTo>
                      <a:pt x="0" y="2"/>
                    </a:lnTo>
                    <a:lnTo>
                      <a:pt x="0" y="6"/>
                    </a:lnTo>
                    <a:lnTo>
                      <a:pt x="6"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0" name="Google Shape;4927;p64">
                <a:extLst>
                  <a:ext uri="{FF2B5EF4-FFF2-40B4-BE49-F238E27FC236}">
                    <a16:creationId xmlns:a16="http://schemas.microsoft.com/office/drawing/2014/main" id="{71C76C65-0E8F-F167-F7D8-85BC3EE9C0D1}"/>
                  </a:ext>
                </a:extLst>
              </p:cNvPr>
              <p:cNvSpPr/>
              <p:nvPr/>
            </p:nvSpPr>
            <p:spPr>
              <a:xfrm>
                <a:off x="6723963" y="28417394"/>
                <a:ext cx="33356" cy="23826"/>
              </a:xfrm>
              <a:custGeom>
                <a:avLst/>
                <a:gdLst/>
                <a:ahLst/>
                <a:cxnLst/>
                <a:rect l="l" t="t" r="r" b="b"/>
                <a:pathLst>
                  <a:path w="14" h="10" extrusionOk="0">
                    <a:moveTo>
                      <a:pt x="12" y="10"/>
                    </a:moveTo>
                    <a:lnTo>
                      <a:pt x="14" y="6"/>
                    </a:lnTo>
                    <a:lnTo>
                      <a:pt x="14" y="4"/>
                    </a:lnTo>
                    <a:lnTo>
                      <a:pt x="12" y="2"/>
                    </a:lnTo>
                    <a:lnTo>
                      <a:pt x="2" y="0"/>
                    </a:lnTo>
                    <a:lnTo>
                      <a:pt x="0" y="2"/>
                    </a:lnTo>
                    <a:lnTo>
                      <a:pt x="0" y="6"/>
                    </a:lnTo>
                    <a:lnTo>
                      <a:pt x="2" y="10"/>
                    </a:lnTo>
                    <a:lnTo>
                      <a:pt x="4" y="10"/>
                    </a:lnTo>
                    <a:lnTo>
                      <a:pt x="1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61" name="Google Shape;4928;p64">
                <a:extLst>
                  <a:ext uri="{FF2B5EF4-FFF2-40B4-BE49-F238E27FC236}">
                    <a16:creationId xmlns:a16="http://schemas.microsoft.com/office/drawing/2014/main" id="{8BA214C9-E3A3-D8B8-D5D3-43C10DC92F36}"/>
                  </a:ext>
                </a:extLst>
              </p:cNvPr>
              <p:cNvCxnSpPr/>
              <p:nvPr/>
            </p:nvCxnSpPr>
            <p:spPr>
              <a:xfrm>
                <a:off x="6752554" y="28441222"/>
                <a:ext cx="0" cy="0"/>
              </a:xfrm>
              <a:prstGeom prst="straightConnector1">
                <a:avLst/>
              </a:prstGeom>
              <a:grpFill/>
              <a:ln w="9525" cap="flat" cmpd="sng">
                <a:solidFill>
                  <a:schemeClr val="bg2"/>
                </a:solidFill>
                <a:prstDash val="solid"/>
                <a:round/>
                <a:headEnd type="none" w="med" len="med"/>
                <a:tailEnd type="none" w="med" len="med"/>
              </a:ln>
            </p:spPr>
          </p:cxnSp>
          <p:cxnSp>
            <p:nvCxnSpPr>
              <p:cNvPr id="462" name="Google Shape;4929;p64">
                <a:extLst>
                  <a:ext uri="{FF2B5EF4-FFF2-40B4-BE49-F238E27FC236}">
                    <a16:creationId xmlns:a16="http://schemas.microsoft.com/office/drawing/2014/main" id="{8FD04724-A5EB-29E5-9825-F585B0A02B60}"/>
                  </a:ext>
                </a:extLst>
              </p:cNvPr>
              <p:cNvCxnSpPr/>
              <p:nvPr/>
            </p:nvCxnSpPr>
            <p:spPr>
              <a:xfrm>
                <a:off x="6752554" y="28441222"/>
                <a:ext cx="0" cy="0"/>
              </a:xfrm>
              <a:prstGeom prst="straightConnector1">
                <a:avLst/>
              </a:prstGeom>
              <a:grpFill/>
              <a:ln w="9525" cap="flat" cmpd="sng">
                <a:solidFill>
                  <a:schemeClr val="bg2"/>
                </a:solidFill>
                <a:prstDash val="solid"/>
                <a:round/>
                <a:headEnd type="none" w="med" len="med"/>
                <a:tailEnd type="none" w="med" len="med"/>
              </a:ln>
            </p:spPr>
          </p:cxnSp>
          <p:sp>
            <p:nvSpPr>
              <p:cNvPr id="463" name="Google Shape;4930;p64">
                <a:extLst>
                  <a:ext uri="{FF2B5EF4-FFF2-40B4-BE49-F238E27FC236}">
                    <a16:creationId xmlns:a16="http://schemas.microsoft.com/office/drawing/2014/main" id="{DBB727AD-955A-3E30-F50A-705026C2584D}"/>
                  </a:ext>
                </a:extLst>
              </p:cNvPr>
              <p:cNvSpPr/>
              <p:nvPr/>
            </p:nvSpPr>
            <p:spPr>
              <a:xfrm>
                <a:off x="4255627" y="23804752"/>
                <a:ext cx="195370" cy="219196"/>
              </a:xfrm>
              <a:custGeom>
                <a:avLst/>
                <a:gdLst/>
                <a:ahLst/>
                <a:cxnLst/>
                <a:rect l="l" t="t" r="r" b="b"/>
                <a:pathLst>
                  <a:path w="82" h="92" extrusionOk="0">
                    <a:moveTo>
                      <a:pt x="30" y="88"/>
                    </a:moveTo>
                    <a:lnTo>
                      <a:pt x="34" y="82"/>
                    </a:lnTo>
                    <a:lnTo>
                      <a:pt x="48" y="72"/>
                    </a:lnTo>
                    <a:lnTo>
                      <a:pt x="66" y="68"/>
                    </a:lnTo>
                    <a:lnTo>
                      <a:pt x="78" y="58"/>
                    </a:lnTo>
                    <a:lnTo>
                      <a:pt x="82" y="54"/>
                    </a:lnTo>
                    <a:lnTo>
                      <a:pt x="80" y="50"/>
                    </a:lnTo>
                    <a:lnTo>
                      <a:pt x="72" y="44"/>
                    </a:lnTo>
                    <a:lnTo>
                      <a:pt x="70" y="38"/>
                    </a:lnTo>
                    <a:lnTo>
                      <a:pt x="64" y="38"/>
                    </a:lnTo>
                    <a:lnTo>
                      <a:pt x="64" y="28"/>
                    </a:lnTo>
                    <a:lnTo>
                      <a:pt x="56" y="20"/>
                    </a:lnTo>
                    <a:lnTo>
                      <a:pt x="28" y="8"/>
                    </a:lnTo>
                    <a:lnTo>
                      <a:pt x="14" y="0"/>
                    </a:lnTo>
                    <a:lnTo>
                      <a:pt x="12" y="2"/>
                    </a:lnTo>
                    <a:lnTo>
                      <a:pt x="10" y="8"/>
                    </a:lnTo>
                    <a:lnTo>
                      <a:pt x="14" y="18"/>
                    </a:lnTo>
                    <a:lnTo>
                      <a:pt x="10" y="28"/>
                    </a:lnTo>
                    <a:lnTo>
                      <a:pt x="4" y="32"/>
                    </a:lnTo>
                    <a:lnTo>
                      <a:pt x="0" y="38"/>
                    </a:lnTo>
                    <a:lnTo>
                      <a:pt x="6" y="48"/>
                    </a:lnTo>
                    <a:lnTo>
                      <a:pt x="10" y="62"/>
                    </a:lnTo>
                    <a:lnTo>
                      <a:pt x="10" y="80"/>
                    </a:lnTo>
                    <a:lnTo>
                      <a:pt x="12" y="84"/>
                    </a:lnTo>
                    <a:lnTo>
                      <a:pt x="24" y="92"/>
                    </a:lnTo>
                    <a:lnTo>
                      <a:pt x="28" y="92"/>
                    </a:lnTo>
                    <a:lnTo>
                      <a:pt x="30" y="8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4" name="Google Shape;4931;p64">
                <a:extLst>
                  <a:ext uri="{FF2B5EF4-FFF2-40B4-BE49-F238E27FC236}">
                    <a16:creationId xmlns:a16="http://schemas.microsoft.com/office/drawing/2014/main" id="{B2D1ABA7-13FE-2D5D-390F-5624E91EE3A7}"/>
                  </a:ext>
                </a:extLst>
              </p:cNvPr>
              <p:cNvSpPr/>
              <p:nvPr/>
            </p:nvSpPr>
            <p:spPr>
              <a:xfrm>
                <a:off x="4098378" y="23695155"/>
                <a:ext cx="38121" cy="33356"/>
              </a:xfrm>
              <a:custGeom>
                <a:avLst/>
                <a:gdLst/>
                <a:ahLst/>
                <a:cxnLst/>
                <a:rect l="l" t="t" r="r" b="b"/>
                <a:pathLst>
                  <a:path w="16" h="14" extrusionOk="0">
                    <a:moveTo>
                      <a:pt x="14" y="12"/>
                    </a:moveTo>
                    <a:lnTo>
                      <a:pt x="16" y="8"/>
                    </a:lnTo>
                    <a:lnTo>
                      <a:pt x="14" y="4"/>
                    </a:lnTo>
                    <a:lnTo>
                      <a:pt x="12" y="2"/>
                    </a:lnTo>
                    <a:lnTo>
                      <a:pt x="8" y="0"/>
                    </a:lnTo>
                    <a:lnTo>
                      <a:pt x="0" y="2"/>
                    </a:lnTo>
                    <a:lnTo>
                      <a:pt x="4" y="8"/>
                    </a:lnTo>
                    <a:lnTo>
                      <a:pt x="6" y="12"/>
                    </a:lnTo>
                    <a:lnTo>
                      <a:pt x="10" y="14"/>
                    </a:lnTo>
                    <a:lnTo>
                      <a:pt x="14"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5" name="Google Shape;4932;p64">
                <a:extLst>
                  <a:ext uri="{FF2B5EF4-FFF2-40B4-BE49-F238E27FC236}">
                    <a16:creationId xmlns:a16="http://schemas.microsoft.com/office/drawing/2014/main" id="{614A5350-90ED-5879-D191-BD82A42A80EF}"/>
                  </a:ext>
                </a:extLst>
              </p:cNvPr>
              <p:cNvSpPr/>
              <p:nvPr/>
            </p:nvSpPr>
            <p:spPr>
              <a:xfrm>
                <a:off x="4155560" y="23680859"/>
                <a:ext cx="109598" cy="71477"/>
              </a:xfrm>
              <a:custGeom>
                <a:avLst/>
                <a:gdLst/>
                <a:ahLst/>
                <a:cxnLst/>
                <a:rect l="l" t="t" r="r" b="b"/>
                <a:pathLst>
                  <a:path w="46" h="30" extrusionOk="0">
                    <a:moveTo>
                      <a:pt x="14" y="6"/>
                    </a:moveTo>
                    <a:lnTo>
                      <a:pt x="10" y="2"/>
                    </a:lnTo>
                    <a:lnTo>
                      <a:pt x="6" y="0"/>
                    </a:lnTo>
                    <a:lnTo>
                      <a:pt x="2" y="0"/>
                    </a:lnTo>
                    <a:lnTo>
                      <a:pt x="0" y="6"/>
                    </a:lnTo>
                    <a:lnTo>
                      <a:pt x="0" y="8"/>
                    </a:lnTo>
                    <a:lnTo>
                      <a:pt x="4" y="14"/>
                    </a:lnTo>
                    <a:lnTo>
                      <a:pt x="10" y="16"/>
                    </a:lnTo>
                    <a:lnTo>
                      <a:pt x="14" y="16"/>
                    </a:lnTo>
                    <a:lnTo>
                      <a:pt x="16" y="22"/>
                    </a:lnTo>
                    <a:lnTo>
                      <a:pt x="16" y="28"/>
                    </a:lnTo>
                    <a:lnTo>
                      <a:pt x="18" y="30"/>
                    </a:lnTo>
                    <a:lnTo>
                      <a:pt x="24" y="30"/>
                    </a:lnTo>
                    <a:lnTo>
                      <a:pt x="30" y="28"/>
                    </a:lnTo>
                    <a:lnTo>
                      <a:pt x="38" y="26"/>
                    </a:lnTo>
                    <a:lnTo>
                      <a:pt x="44" y="22"/>
                    </a:lnTo>
                    <a:lnTo>
                      <a:pt x="46" y="18"/>
                    </a:lnTo>
                    <a:lnTo>
                      <a:pt x="44" y="16"/>
                    </a:lnTo>
                    <a:lnTo>
                      <a:pt x="38" y="14"/>
                    </a:lnTo>
                    <a:lnTo>
                      <a:pt x="36" y="10"/>
                    </a:lnTo>
                    <a:lnTo>
                      <a:pt x="26" y="6"/>
                    </a:lnTo>
                    <a:lnTo>
                      <a:pt x="22" y="6"/>
                    </a:lnTo>
                    <a:lnTo>
                      <a:pt x="16" y="8"/>
                    </a:lnTo>
                    <a:lnTo>
                      <a:pt x="14"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6" name="Google Shape;4933;p64">
                <a:extLst>
                  <a:ext uri="{FF2B5EF4-FFF2-40B4-BE49-F238E27FC236}">
                    <a16:creationId xmlns:a16="http://schemas.microsoft.com/office/drawing/2014/main" id="{BB5F617B-DB64-FC97-25A6-C17F1CA5B18E}"/>
                  </a:ext>
                </a:extLst>
              </p:cNvPr>
              <p:cNvSpPr/>
              <p:nvPr/>
            </p:nvSpPr>
            <p:spPr>
              <a:xfrm>
                <a:off x="4060257" y="23647503"/>
                <a:ext cx="90537" cy="28591"/>
              </a:xfrm>
              <a:custGeom>
                <a:avLst/>
                <a:gdLst/>
                <a:ahLst/>
                <a:cxnLst/>
                <a:rect l="l" t="t" r="r" b="b"/>
                <a:pathLst>
                  <a:path w="38" h="12" extrusionOk="0">
                    <a:moveTo>
                      <a:pt x="6" y="0"/>
                    </a:moveTo>
                    <a:lnTo>
                      <a:pt x="4" y="0"/>
                    </a:lnTo>
                    <a:lnTo>
                      <a:pt x="4" y="4"/>
                    </a:lnTo>
                    <a:lnTo>
                      <a:pt x="2" y="6"/>
                    </a:lnTo>
                    <a:lnTo>
                      <a:pt x="0" y="8"/>
                    </a:lnTo>
                    <a:lnTo>
                      <a:pt x="18" y="8"/>
                    </a:lnTo>
                    <a:lnTo>
                      <a:pt x="28" y="12"/>
                    </a:lnTo>
                    <a:lnTo>
                      <a:pt x="36" y="8"/>
                    </a:lnTo>
                    <a:lnTo>
                      <a:pt x="38" y="6"/>
                    </a:lnTo>
                    <a:lnTo>
                      <a:pt x="36" y="4"/>
                    </a:lnTo>
                    <a:lnTo>
                      <a:pt x="24" y="4"/>
                    </a:lnTo>
                    <a:lnTo>
                      <a:pt x="22" y="2"/>
                    </a:lnTo>
                    <a:lnTo>
                      <a:pt x="20" y="2"/>
                    </a:lnTo>
                    <a:lnTo>
                      <a:pt x="6" y="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7" name="Google Shape;4934;p64">
                <a:extLst>
                  <a:ext uri="{FF2B5EF4-FFF2-40B4-BE49-F238E27FC236}">
                    <a16:creationId xmlns:a16="http://schemas.microsoft.com/office/drawing/2014/main" id="{E6146453-38BA-80C3-93F3-E5F06CA02071}"/>
                  </a:ext>
                </a:extLst>
              </p:cNvPr>
              <p:cNvSpPr/>
              <p:nvPr/>
            </p:nvSpPr>
            <p:spPr>
              <a:xfrm>
                <a:off x="3907773" y="23566495"/>
                <a:ext cx="100068" cy="76242"/>
              </a:xfrm>
              <a:custGeom>
                <a:avLst/>
                <a:gdLst/>
                <a:ahLst/>
                <a:cxnLst/>
                <a:rect l="l" t="t" r="r" b="b"/>
                <a:pathLst>
                  <a:path w="42" h="32" extrusionOk="0">
                    <a:moveTo>
                      <a:pt x="32" y="18"/>
                    </a:moveTo>
                    <a:lnTo>
                      <a:pt x="30" y="16"/>
                    </a:lnTo>
                    <a:lnTo>
                      <a:pt x="28" y="14"/>
                    </a:lnTo>
                    <a:lnTo>
                      <a:pt x="28" y="10"/>
                    </a:lnTo>
                    <a:lnTo>
                      <a:pt x="20" y="0"/>
                    </a:lnTo>
                    <a:lnTo>
                      <a:pt x="16" y="2"/>
                    </a:lnTo>
                    <a:lnTo>
                      <a:pt x="10" y="8"/>
                    </a:lnTo>
                    <a:lnTo>
                      <a:pt x="0" y="8"/>
                    </a:lnTo>
                    <a:lnTo>
                      <a:pt x="2" y="12"/>
                    </a:lnTo>
                    <a:lnTo>
                      <a:pt x="2" y="16"/>
                    </a:lnTo>
                    <a:lnTo>
                      <a:pt x="10" y="24"/>
                    </a:lnTo>
                    <a:lnTo>
                      <a:pt x="10" y="28"/>
                    </a:lnTo>
                    <a:lnTo>
                      <a:pt x="12" y="28"/>
                    </a:lnTo>
                    <a:lnTo>
                      <a:pt x="20" y="28"/>
                    </a:lnTo>
                    <a:lnTo>
                      <a:pt x="16" y="24"/>
                    </a:lnTo>
                    <a:lnTo>
                      <a:pt x="20" y="24"/>
                    </a:lnTo>
                    <a:lnTo>
                      <a:pt x="20" y="24"/>
                    </a:lnTo>
                    <a:lnTo>
                      <a:pt x="20" y="26"/>
                    </a:lnTo>
                    <a:lnTo>
                      <a:pt x="24" y="26"/>
                    </a:lnTo>
                    <a:lnTo>
                      <a:pt x="28" y="30"/>
                    </a:lnTo>
                    <a:lnTo>
                      <a:pt x="32" y="32"/>
                    </a:lnTo>
                    <a:lnTo>
                      <a:pt x="38" y="30"/>
                    </a:lnTo>
                    <a:lnTo>
                      <a:pt x="42" y="28"/>
                    </a:lnTo>
                    <a:lnTo>
                      <a:pt x="40" y="26"/>
                    </a:lnTo>
                    <a:lnTo>
                      <a:pt x="38" y="24"/>
                    </a:lnTo>
                    <a:lnTo>
                      <a:pt x="36" y="18"/>
                    </a:lnTo>
                    <a:lnTo>
                      <a:pt x="34" y="18"/>
                    </a:lnTo>
                    <a:lnTo>
                      <a:pt x="32"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8" name="Google Shape;4935;p64">
                <a:extLst>
                  <a:ext uri="{FF2B5EF4-FFF2-40B4-BE49-F238E27FC236}">
                    <a16:creationId xmlns:a16="http://schemas.microsoft.com/office/drawing/2014/main" id="{1C0B6C67-CEA2-51D2-0AFE-9BB22CBB5A3F}"/>
                  </a:ext>
                </a:extLst>
              </p:cNvPr>
              <p:cNvSpPr/>
              <p:nvPr/>
            </p:nvSpPr>
            <p:spPr>
              <a:xfrm>
                <a:off x="3602805" y="23514080"/>
                <a:ext cx="28591" cy="38121"/>
              </a:xfrm>
              <a:custGeom>
                <a:avLst/>
                <a:gdLst/>
                <a:ahLst/>
                <a:cxnLst/>
                <a:rect l="l" t="t" r="r" b="b"/>
                <a:pathLst>
                  <a:path w="12" h="16" extrusionOk="0">
                    <a:moveTo>
                      <a:pt x="4" y="12"/>
                    </a:moveTo>
                    <a:lnTo>
                      <a:pt x="4" y="10"/>
                    </a:lnTo>
                    <a:lnTo>
                      <a:pt x="10" y="8"/>
                    </a:lnTo>
                    <a:lnTo>
                      <a:pt x="10" y="4"/>
                    </a:lnTo>
                    <a:lnTo>
                      <a:pt x="12" y="2"/>
                    </a:lnTo>
                    <a:lnTo>
                      <a:pt x="8" y="0"/>
                    </a:lnTo>
                    <a:lnTo>
                      <a:pt x="4" y="6"/>
                    </a:lnTo>
                    <a:lnTo>
                      <a:pt x="0" y="8"/>
                    </a:lnTo>
                    <a:lnTo>
                      <a:pt x="0" y="12"/>
                    </a:lnTo>
                    <a:lnTo>
                      <a:pt x="0" y="16"/>
                    </a:lnTo>
                    <a:lnTo>
                      <a:pt x="2" y="16"/>
                    </a:lnTo>
                    <a:lnTo>
                      <a:pt x="4"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69" name="Google Shape;4936;p64">
                <a:extLst>
                  <a:ext uri="{FF2B5EF4-FFF2-40B4-BE49-F238E27FC236}">
                    <a16:creationId xmlns:a16="http://schemas.microsoft.com/office/drawing/2014/main" id="{FF7E923B-DB24-3175-A7FB-A8DB0F83541D}"/>
                  </a:ext>
                </a:extLst>
              </p:cNvPr>
              <p:cNvSpPr/>
              <p:nvPr/>
            </p:nvSpPr>
            <p:spPr>
              <a:xfrm>
                <a:off x="3669517" y="23480723"/>
                <a:ext cx="76242" cy="57182"/>
              </a:xfrm>
              <a:custGeom>
                <a:avLst/>
                <a:gdLst/>
                <a:ahLst/>
                <a:cxnLst/>
                <a:rect l="l" t="t" r="r" b="b"/>
                <a:pathLst>
                  <a:path w="32" h="24" extrusionOk="0">
                    <a:moveTo>
                      <a:pt x="28" y="20"/>
                    </a:moveTo>
                    <a:lnTo>
                      <a:pt x="30" y="18"/>
                    </a:lnTo>
                    <a:lnTo>
                      <a:pt x="30" y="12"/>
                    </a:lnTo>
                    <a:lnTo>
                      <a:pt x="32" y="8"/>
                    </a:lnTo>
                    <a:lnTo>
                      <a:pt x="32" y="4"/>
                    </a:lnTo>
                    <a:lnTo>
                      <a:pt x="30" y="0"/>
                    </a:lnTo>
                    <a:lnTo>
                      <a:pt x="14" y="0"/>
                    </a:lnTo>
                    <a:lnTo>
                      <a:pt x="4" y="6"/>
                    </a:lnTo>
                    <a:lnTo>
                      <a:pt x="0" y="12"/>
                    </a:lnTo>
                    <a:lnTo>
                      <a:pt x="4" y="16"/>
                    </a:lnTo>
                    <a:lnTo>
                      <a:pt x="10" y="18"/>
                    </a:lnTo>
                    <a:lnTo>
                      <a:pt x="12" y="22"/>
                    </a:lnTo>
                    <a:lnTo>
                      <a:pt x="20" y="22"/>
                    </a:lnTo>
                    <a:lnTo>
                      <a:pt x="22" y="24"/>
                    </a:lnTo>
                    <a:lnTo>
                      <a:pt x="28" y="2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470" name="Google Shape;4937;p64">
              <a:extLst>
                <a:ext uri="{FF2B5EF4-FFF2-40B4-BE49-F238E27FC236}">
                  <a16:creationId xmlns:a16="http://schemas.microsoft.com/office/drawing/2014/main" id="{D7E2A3F7-263D-942B-118E-52E01C8D30B8}"/>
                </a:ext>
              </a:extLst>
            </p:cNvPr>
            <p:cNvSpPr/>
            <p:nvPr/>
          </p:nvSpPr>
          <p:spPr>
            <a:xfrm>
              <a:off x="8235441" y="3639410"/>
              <a:ext cx="156860" cy="57756"/>
            </a:xfrm>
            <a:custGeom>
              <a:avLst/>
              <a:gdLst/>
              <a:ahLst/>
              <a:cxnLst/>
              <a:rect l="l" t="t" r="r" b="b"/>
              <a:pathLst>
                <a:path w="1138868" h="419332" extrusionOk="0">
                  <a:moveTo>
                    <a:pt x="967324" y="347854"/>
                  </a:moveTo>
                  <a:lnTo>
                    <a:pt x="1000676" y="357384"/>
                  </a:lnTo>
                  <a:lnTo>
                    <a:pt x="1029268" y="381210"/>
                  </a:lnTo>
                  <a:lnTo>
                    <a:pt x="1043564" y="395506"/>
                  </a:lnTo>
                  <a:lnTo>
                    <a:pt x="1062624" y="409800"/>
                  </a:lnTo>
                  <a:lnTo>
                    <a:pt x="1081684" y="414566"/>
                  </a:lnTo>
                  <a:lnTo>
                    <a:pt x="1086452" y="419332"/>
                  </a:lnTo>
                  <a:lnTo>
                    <a:pt x="1057860" y="419332"/>
                  </a:lnTo>
                  <a:lnTo>
                    <a:pt x="1005444" y="381210"/>
                  </a:lnTo>
                  <a:lnTo>
                    <a:pt x="976852" y="366914"/>
                  </a:lnTo>
                  <a:lnTo>
                    <a:pt x="962556" y="352620"/>
                  </a:lnTo>
                  <a:close/>
                  <a:moveTo>
                    <a:pt x="938732" y="262080"/>
                  </a:moveTo>
                  <a:lnTo>
                    <a:pt x="948260" y="266846"/>
                  </a:lnTo>
                  <a:lnTo>
                    <a:pt x="957792" y="271612"/>
                  </a:lnTo>
                  <a:lnTo>
                    <a:pt x="953028" y="281142"/>
                  </a:lnTo>
                  <a:lnTo>
                    <a:pt x="938732" y="285908"/>
                  </a:lnTo>
                  <a:lnTo>
                    <a:pt x="933964" y="276376"/>
                  </a:lnTo>
                  <a:lnTo>
                    <a:pt x="933964" y="271612"/>
                  </a:lnTo>
                  <a:close/>
                  <a:moveTo>
                    <a:pt x="1115040" y="252552"/>
                  </a:moveTo>
                  <a:lnTo>
                    <a:pt x="1138868" y="271612"/>
                  </a:lnTo>
                  <a:lnTo>
                    <a:pt x="1129336" y="285906"/>
                  </a:lnTo>
                  <a:lnTo>
                    <a:pt x="1119808" y="290672"/>
                  </a:lnTo>
                  <a:lnTo>
                    <a:pt x="1100748" y="290672"/>
                  </a:lnTo>
                  <a:lnTo>
                    <a:pt x="1095980" y="281142"/>
                  </a:lnTo>
                  <a:lnTo>
                    <a:pt x="1095980" y="266846"/>
                  </a:lnTo>
                  <a:close/>
                  <a:moveTo>
                    <a:pt x="791012" y="233492"/>
                  </a:moveTo>
                  <a:lnTo>
                    <a:pt x="805308" y="233492"/>
                  </a:lnTo>
                  <a:lnTo>
                    <a:pt x="810072" y="233492"/>
                  </a:lnTo>
                  <a:lnTo>
                    <a:pt x="805308" y="247786"/>
                  </a:lnTo>
                  <a:lnTo>
                    <a:pt x="795776" y="262082"/>
                  </a:lnTo>
                  <a:lnTo>
                    <a:pt x="795776" y="276378"/>
                  </a:lnTo>
                  <a:lnTo>
                    <a:pt x="771952" y="290672"/>
                  </a:lnTo>
                  <a:lnTo>
                    <a:pt x="757656" y="300204"/>
                  </a:lnTo>
                  <a:lnTo>
                    <a:pt x="743360" y="290672"/>
                  </a:lnTo>
                  <a:lnTo>
                    <a:pt x="743360" y="285908"/>
                  </a:lnTo>
                  <a:lnTo>
                    <a:pt x="762420" y="266848"/>
                  </a:lnTo>
                  <a:lnTo>
                    <a:pt x="781484" y="262082"/>
                  </a:lnTo>
                  <a:lnTo>
                    <a:pt x="786248" y="257316"/>
                  </a:lnTo>
                  <a:close/>
                  <a:moveTo>
                    <a:pt x="181076" y="133424"/>
                  </a:moveTo>
                  <a:lnTo>
                    <a:pt x="200136" y="133424"/>
                  </a:lnTo>
                  <a:lnTo>
                    <a:pt x="195372" y="147718"/>
                  </a:lnTo>
                  <a:lnTo>
                    <a:pt x="190608" y="171544"/>
                  </a:lnTo>
                  <a:lnTo>
                    <a:pt x="181076" y="171544"/>
                  </a:lnTo>
                  <a:lnTo>
                    <a:pt x="176312" y="162014"/>
                  </a:lnTo>
                  <a:lnTo>
                    <a:pt x="142956" y="157248"/>
                  </a:lnTo>
                  <a:lnTo>
                    <a:pt x="147720" y="147718"/>
                  </a:lnTo>
                  <a:lnTo>
                    <a:pt x="162016" y="147718"/>
                  </a:lnTo>
                  <a:close/>
                  <a:moveTo>
                    <a:pt x="52416" y="0"/>
                  </a:moveTo>
                  <a:lnTo>
                    <a:pt x="76244" y="9530"/>
                  </a:lnTo>
                  <a:lnTo>
                    <a:pt x="95304" y="4764"/>
                  </a:lnTo>
                  <a:lnTo>
                    <a:pt x="119128" y="19060"/>
                  </a:lnTo>
                  <a:lnTo>
                    <a:pt x="147720" y="42886"/>
                  </a:lnTo>
                  <a:lnTo>
                    <a:pt x="142956" y="47650"/>
                  </a:lnTo>
                  <a:lnTo>
                    <a:pt x="133424" y="52416"/>
                  </a:lnTo>
                  <a:lnTo>
                    <a:pt x="128660" y="52416"/>
                  </a:lnTo>
                  <a:lnTo>
                    <a:pt x="104832" y="52416"/>
                  </a:lnTo>
                  <a:lnTo>
                    <a:pt x="90540" y="52416"/>
                  </a:lnTo>
                  <a:lnTo>
                    <a:pt x="71476" y="71476"/>
                  </a:lnTo>
                  <a:lnTo>
                    <a:pt x="42888" y="57180"/>
                  </a:lnTo>
                  <a:lnTo>
                    <a:pt x="38124" y="33354"/>
                  </a:lnTo>
                  <a:lnTo>
                    <a:pt x="14296" y="28590"/>
                  </a:lnTo>
                  <a:lnTo>
                    <a:pt x="0" y="23824"/>
                  </a:lnTo>
                  <a:lnTo>
                    <a:pt x="28592"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471" name="Google Shape;4938;p64">
              <a:extLst>
                <a:ext uri="{FF2B5EF4-FFF2-40B4-BE49-F238E27FC236}">
                  <a16:creationId xmlns:a16="http://schemas.microsoft.com/office/drawing/2014/main" id="{CB8C267D-5022-A605-9C62-95FAFD35927B}"/>
                </a:ext>
              </a:extLst>
            </p:cNvPr>
            <p:cNvGrpSpPr/>
            <p:nvPr/>
          </p:nvGrpSpPr>
          <p:grpSpPr>
            <a:xfrm>
              <a:off x="691761" y="2758637"/>
              <a:ext cx="2391939" cy="1686071"/>
              <a:chOff x="796147" y="10843607"/>
              <a:chExt cx="17366505" cy="12241610"/>
            </a:xfrm>
            <a:grpFill/>
          </p:grpSpPr>
          <p:sp>
            <p:nvSpPr>
              <p:cNvPr id="472" name="Google Shape;4939;p64">
                <a:extLst>
                  <a:ext uri="{FF2B5EF4-FFF2-40B4-BE49-F238E27FC236}">
                    <a16:creationId xmlns:a16="http://schemas.microsoft.com/office/drawing/2014/main" id="{4F9F07B7-F725-A5A4-035F-A9E4406C946A}"/>
                  </a:ext>
                </a:extLst>
              </p:cNvPr>
              <p:cNvSpPr/>
              <p:nvPr/>
            </p:nvSpPr>
            <p:spPr>
              <a:xfrm>
                <a:off x="9149416" y="18148547"/>
                <a:ext cx="9013236" cy="4936670"/>
              </a:xfrm>
              <a:custGeom>
                <a:avLst/>
                <a:gdLst/>
                <a:ahLst/>
                <a:cxnLst/>
                <a:rect l="l" t="t" r="r" b="b"/>
                <a:pathLst>
                  <a:path w="9013239" h="4936668" extrusionOk="0">
                    <a:moveTo>
                      <a:pt x="6697387" y="4931904"/>
                    </a:moveTo>
                    <a:lnTo>
                      <a:pt x="6706917" y="4931904"/>
                    </a:lnTo>
                    <a:lnTo>
                      <a:pt x="6711682" y="4931904"/>
                    </a:lnTo>
                    <a:lnTo>
                      <a:pt x="6711682" y="4936668"/>
                    </a:lnTo>
                    <a:lnTo>
                      <a:pt x="6702152" y="4936668"/>
                    </a:lnTo>
                    <a:lnTo>
                      <a:pt x="6697387" y="4936668"/>
                    </a:lnTo>
                    <a:close/>
                    <a:moveTo>
                      <a:pt x="6740274" y="4912844"/>
                    </a:moveTo>
                    <a:lnTo>
                      <a:pt x="6745039" y="4917608"/>
                    </a:lnTo>
                    <a:lnTo>
                      <a:pt x="6745039" y="4922372"/>
                    </a:lnTo>
                    <a:lnTo>
                      <a:pt x="6735509" y="4927140"/>
                    </a:lnTo>
                    <a:lnTo>
                      <a:pt x="6725978" y="4927140"/>
                    </a:lnTo>
                    <a:lnTo>
                      <a:pt x="6735509" y="4922372"/>
                    </a:lnTo>
                    <a:close/>
                    <a:moveTo>
                      <a:pt x="6759334" y="4903312"/>
                    </a:moveTo>
                    <a:lnTo>
                      <a:pt x="6773630" y="4912844"/>
                    </a:lnTo>
                    <a:lnTo>
                      <a:pt x="6778395" y="4912844"/>
                    </a:lnTo>
                    <a:lnTo>
                      <a:pt x="6773630" y="4917608"/>
                    </a:lnTo>
                    <a:lnTo>
                      <a:pt x="6768865" y="4922376"/>
                    </a:lnTo>
                    <a:lnTo>
                      <a:pt x="6768865" y="4912844"/>
                    </a:lnTo>
                    <a:close/>
                    <a:moveTo>
                      <a:pt x="6835576" y="4898548"/>
                    </a:moveTo>
                    <a:lnTo>
                      <a:pt x="6826046" y="4903312"/>
                    </a:lnTo>
                    <a:lnTo>
                      <a:pt x="6821281" y="4908080"/>
                    </a:lnTo>
                    <a:lnTo>
                      <a:pt x="6811750" y="4912844"/>
                    </a:lnTo>
                    <a:lnTo>
                      <a:pt x="6802220" y="4908080"/>
                    </a:lnTo>
                    <a:lnTo>
                      <a:pt x="6811750" y="4903312"/>
                    </a:lnTo>
                    <a:close/>
                    <a:moveTo>
                      <a:pt x="6859401" y="4884252"/>
                    </a:moveTo>
                    <a:lnTo>
                      <a:pt x="6859401" y="4889020"/>
                    </a:lnTo>
                    <a:lnTo>
                      <a:pt x="6854636" y="4893784"/>
                    </a:lnTo>
                    <a:lnTo>
                      <a:pt x="6849871" y="4893784"/>
                    </a:lnTo>
                    <a:lnTo>
                      <a:pt x="6849871" y="4889020"/>
                    </a:lnTo>
                    <a:close/>
                    <a:moveTo>
                      <a:pt x="6883227" y="4869956"/>
                    </a:moveTo>
                    <a:lnTo>
                      <a:pt x="6887992" y="4869956"/>
                    </a:lnTo>
                    <a:lnTo>
                      <a:pt x="6883227" y="4874724"/>
                    </a:lnTo>
                    <a:lnTo>
                      <a:pt x="6878462" y="4874724"/>
                    </a:lnTo>
                    <a:close/>
                    <a:moveTo>
                      <a:pt x="6940408" y="4798480"/>
                    </a:moveTo>
                    <a:lnTo>
                      <a:pt x="6921348" y="4831836"/>
                    </a:lnTo>
                    <a:lnTo>
                      <a:pt x="6892757" y="4865192"/>
                    </a:lnTo>
                    <a:lnTo>
                      <a:pt x="6892757" y="4860428"/>
                    </a:lnTo>
                    <a:lnTo>
                      <a:pt x="6907052" y="4841368"/>
                    </a:lnTo>
                    <a:lnTo>
                      <a:pt x="6911817" y="4831836"/>
                    </a:lnTo>
                    <a:lnTo>
                      <a:pt x="6921348" y="4827072"/>
                    </a:lnTo>
                    <a:lnTo>
                      <a:pt x="6926113" y="4817540"/>
                    </a:lnTo>
                    <a:lnTo>
                      <a:pt x="6926113" y="4808012"/>
                    </a:lnTo>
                    <a:close/>
                    <a:moveTo>
                      <a:pt x="6640206" y="4588816"/>
                    </a:moveTo>
                    <a:lnTo>
                      <a:pt x="6649736" y="4603112"/>
                    </a:lnTo>
                    <a:lnTo>
                      <a:pt x="6664032" y="4607876"/>
                    </a:lnTo>
                    <a:lnTo>
                      <a:pt x="6659267" y="4612640"/>
                    </a:lnTo>
                    <a:lnTo>
                      <a:pt x="6644971" y="4607876"/>
                    </a:lnTo>
                    <a:lnTo>
                      <a:pt x="6640206" y="4603112"/>
                    </a:lnTo>
                    <a:close/>
                    <a:moveTo>
                      <a:pt x="6644971" y="4560224"/>
                    </a:moveTo>
                    <a:lnTo>
                      <a:pt x="6649736" y="4569756"/>
                    </a:lnTo>
                    <a:lnTo>
                      <a:pt x="6659266" y="4588816"/>
                    </a:lnTo>
                    <a:lnTo>
                      <a:pt x="6654501" y="4598344"/>
                    </a:lnTo>
                    <a:lnTo>
                      <a:pt x="6649736" y="4579284"/>
                    </a:lnTo>
                    <a:close/>
                    <a:moveTo>
                      <a:pt x="4269554" y="4474452"/>
                    </a:moveTo>
                    <a:lnTo>
                      <a:pt x="4274319" y="4545928"/>
                    </a:lnTo>
                    <a:lnTo>
                      <a:pt x="4298145" y="4631700"/>
                    </a:lnTo>
                    <a:lnTo>
                      <a:pt x="4302910" y="4655528"/>
                    </a:lnTo>
                    <a:lnTo>
                      <a:pt x="4298145" y="4665056"/>
                    </a:lnTo>
                    <a:lnTo>
                      <a:pt x="4288615" y="4626936"/>
                    </a:lnTo>
                    <a:lnTo>
                      <a:pt x="4264789" y="4541164"/>
                    </a:lnTo>
                    <a:lnTo>
                      <a:pt x="4264789" y="4493512"/>
                    </a:lnTo>
                    <a:close/>
                    <a:moveTo>
                      <a:pt x="4321970" y="4364856"/>
                    </a:moveTo>
                    <a:lnTo>
                      <a:pt x="4288614" y="4417272"/>
                    </a:lnTo>
                    <a:lnTo>
                      <a:pt x="4274319" y="4455392"/>
                    </a:lnTo>
                    <a:lnTo>
                      <a:pt x="4269554" y="4469688"/>
                    </a:lnTo>
                    <a:lnTo>
                      <a:pt x="4269554" y="4450628"/>
                    </a:lnTo>
                    <a:lnTo>
                      <a:pt x="4283849" y="4417272"/>
                    </a:lnTo>
                    <a:lnTo>
                      <a:pt x="4307675" y="4374384"/>
                    </a:lnTo>
                    <a:close/>
                    <a:moveTo>
                      <a:pt x="6911818" y="4360088"/>
                    </a:moveTo>
                    <a:lnTo>
                      <a:pt x="6921348" y="4369620"/>
                    </a:lnTo>
                    <a:lnTo>
                      <a:pt x="6926113" y="4393444"/>
                    </a:lnTo>
                    <a:lnTo>
                      <a:pt x="6954704" y="4460156"/>
                    </a:lnTo>
                    <a:lnTo>
                      <a:pt x="6954704" y="4474452"/>
                    </a:lnTo>
                    <a:lnTo>
                      <a:pt x="6940409" y="4445860"/>
                    </a:lnTo>
                    <a:lnTo>
                      <a:pt x="6921348" y="4398212"/>
                    </a:lnTo>
                    <a:close/>
                    <a:moveTo>
                      <a:pt x="4345796" y="4312436"/>
                    </a:moveTo>
                    <a:lnTo>
                      <a:pt x="4350561" y="4312436"/>
                    </a:lnTo>
                    <a:lnTo>
                      <a:pt x="4355326" y="4317204"/>
                    </a:lnTo>
                    <a:lnTo>
                      <a:pt x="4341031" y="4331496"/>
                    </a:lnTo>
                    <a:lnTo>
                      <a:pt x="4326735" y="4350560"/>
                    </a:lnTo>
                    <a:lnTo>
                      <a:pt x="4321970" y="4350560"/>
                    </a:lnTo>
                    <a:lnTo>
                      <a:pt x="4331500" y="4336264"/>
                    </a:lnTo>
                    <a:lnTo>
                      <a:pt x="4331500" y="4331496"/>
                    </a:lnTo>
                    <a:close/>
                    <a:moveTo>
                      <a:pt x="4422038" y="4269552"/>
                    </a:moveTo>
                    <a:lnTo>
                      <a:pt x="4422038" y="4274316"/>
                    </a:lnTo>
                    <a:lnTo>
                      <a:pt x="4398212" y="4283848"/>
                    </a:lnTo>
                    <a:lnTo>
                      <a:pt x="4364856" y="4307672"/>
                    </a:lnTo>
                    <a:lnTo>
                      <a:pt x="4360091" y="4307672"/>
                    </a:lnTo>
                    <a:lnTo>
                      <a:pt x="4369621" y="4298140"/>
                    </a:lnTo>
                    <a:lnTo>
                      <a:pt x="4379152" y="4293376"/>
                    </a:lnTo>
                    <a:lnTo>
                      <a:pt x="4402977" y="4274316"/>
                    </a:lnTo>
                    <a:lnTo>
                      <a:pt x="4412508" y="4274316"/>
                    </a:lnTo>
                    <a:close/>
                    <a:moveTo>
                      <a:pt x="4669825" y="4093244"/>
                    </a:moveTo>
                    <a:lnTo>
                      <a:pt x="4679355" y="4093244"/>
                    </a:lnTo>
                    <a:lnTo>
                      <a:pt x="4665060" y="4112304"/>
                    </a:lnTo>
                    <a:lnTo>
                      <a:pt x="4636469" y="4131364"/>
                    </a:lnTo>
                    <a:lnTo>
                      <a:pt x="4626939" y="4131364"/>
                    </a:lnTo>
                    <a:lnTo>
                      <a:pt x="4660295" y="4102772"/>
                    </a:lnTo>
                    <a:close/>
                    <a:moveTo>
                      <a:pt x="6192283" y="4040824"/>
                    </a:moveTo>
                    <a:lnTo>
                      <a:pt x="6201814" y="4045592"/>
                    </a:lnTo>
                    <a:lnTo>
                      <a:pt x="6182753" y="4045592"/>
                    </a:lnTo>
                    <a:close/>
                    <a:moveTo>
                      <a:pt x="5122511" y="4040824"/>
                    </a:moveTo>
                    <a:lnTo>
                      <a:pt x="5132042" y="4040824"/>
                    </a:lnTo>
                    <a:lnTo>
                      <a:pt x="5141572" y="4050356"/>
                    </a:lnTo>
                    <a:lnTo>
                      <a:pt x="5146337" y="4050356"/>
                    </a:lnTo>
                    <a:lnTo>
                      <a:pt x="5146337" y="4055120"/>
                    </a:lnTo>
                    <a:lnTo>
                      <a:pt x="5146337" y="4059884"/>
                    </a:lnTo>
                    <a:lnTo>
                      <a:pt x="5141572" y="4064652"/>
                    </a:lnTo>
                    <a:lnTo>
                      <a:pt x="5136807" y="4069416"/>
                    </a:lnTo>
                    <a:lnTo>
                      <a:pt x="5108216" y="4055120"/>
                    </a:lnTo>
                    <a:lnTo>
                      <a:pt x="5108216" y="4045592"/>
                    </a:lnTo>
                    <a:close/>
                    <a:moveTo>
                      <a:pt x="6230405" y="4026532"/>
                    </a:moveTo>
                    <a:lnTo>
                      <a:pt x="6244700" y="4026532"/>
                    </a:lnTo>
                    <a:lnTo>
                      <a:pt x="6216109" y="4040824"/>
                    </a:lnTo>
                    <a:lnTo>
                      <a:pt x="6201814" y="4045592"/>
                    </a:lnTo>
                    <a:lnTo>
                      <a:pt x="6220874" y="4036060"/>
                    </a:lnTo>
                    <a:close/>
                    <a:moveTo>
                      <a:pt x="5594259" y="4026532"/>
                    </a:moveTo>
                    <a:lnTo>
                      <a:pt x="5589494" y="4040828"/>
                    </a:lnTo>
                    <a:lnTo>
                      <a:pt x="5589494" y="4036060"/>
                    </a:lnTo>
                    <a:close/>
                    <a:moveTo>
                      <a:pt x="5599025" y="3969348"/>
                    </a:moveTo>
                    <a:lnTo>
                      <a:pt x="5603790" y="3978880"/>
                    </a:lnTo>
                    <a:lnTo>
                      <a:pt x="5608555" y="3988408"/>
                    </a:lnTo>
                    <a:lnTo>
                      <a:pt x="5603790" y="4012232"/>
                    </a:lnTo>
                    <a:lnTo>
                      <a:pt x="5603790" y="3988408"/>
                    </a:lnTo>
                    <a:close/>
                    <a:moveTo>
                      <a:pt x="5551374" y="3945524"/>
                    </a:moveTo>
                    <a:lnTo>
                      <a:pt x="5546609" y="3955052"/>
                    </a:lnTo>
                    <a:lnTo>
                      <a:pt x="5541844" y="3964584"/>
                    </a:lnTo>
                    <a:lnTo>
                      <a:pt x="5546609" y="3969348"/>
                    </a:lnTo>
                    <a:lnTo>
                      <a:pt x="5537078" y="3964584"/>
                    </a:lnTo>
                    <a:lnTo>
                      <a:pt x="5532313" y="3964584"/>
                    </a:lnTo>
                    <a:lnTo>
                      <a:pt x="5532313" y="3959820"/>
                    </a:lnTo>
                    <a:lnTo>
                      <a:pt x="5537078" y="3955052"/>
                    </a:lnTo>
                    <a:close/>
                    <a:moveTo>
                      <a:pt x="5622850" y="3931228"/>
                    </a:moveTo>
                    <a:lnTo>
                      <a:pt x="5646676" y="3935992"/>
                    </a:lnTo>
                    <a:lnTo>
                      <a:pt x="5646676" y="3940756"/>
                    </a:lnTo>
                    <a:lnTo>
                      <a:pt x="5632380" y="3935992"/>
                    </a:lnTo>
                    <a:close/>
                    <a:moveTo>
                      <a:pt x="5718153" y="3926464"/>
                    </a:moveTo>
                    <a:lnTo>
                      <a:pt x="5722918" y="3931228"/>
                    </a:lnTo>
                    <a:lnTo>
                      <a:pt x="5708623" y="3935992"/>
                    </a:lnTo>
                    <a:lnTo>
                      <a:pt x="5689562" y="3935992"/>
                    </a:lnTo>
                    <a:lnTo>
                      <a:pt x="5684797" y="3931228"/>
                    </a:lnTo>
                    <a:lnTo>
                      <a:pt x="5694327" y="3931228"/>
                    </a:lnTo>
                    <a:close/>
                    <a:moveTo>
                      <a:pt x="6759333" y="3802568"/>
                    </a:moveTo>
                    <a:lnTo>
                      <a:pt x="6754568" y="3845456"/>
                    </a:lnTo>
                    <a:lnTo>
                      <a:pt x="6749803" y="3831160"/>
                    </a:lnTo>
                    <a:lnTo>
                      <a:pt x="6749803" y="3812100"/>
                    </a:lnTo>
                    <a:lnTo>
                      <a:pt x="6754568" y="3807336"/>
                    </a:lnTo>
                    <a:close/>
                    <a:moveTo>
                      <a:pt x="962556" y="3421360"/>
                    </a:moveTo>
                    <a:lnTo>
                      <a:pt x="972086" y="3435656"/>
                    </a:lnTo>
                    <a:lnTo>
                      <a:pt x="991147" y="3454716"/>
                    </a:lnTo>
                    <a:lnTo>
                      <a:pt x="995912" y="3459480"/>
                    </a:lnTo>
                    <a:lnTo>
                      <a:pt x="986382" y="3459480"/>
                    </a:lnTo>
                    <a:lnTo>
                      <a:pt x="976851" y="3459480"/>
                    </a:lnTo>
                    <a:lnTo>
                      <a:pt x="967321" y="3440420"/>
                    </a:lnTo>
                    <a:lnTo>
                      <a:pt x="957791" y="3426126"/>
                    </a:lnTo>
                    <a:close/>
                    <a:moveTo>
                      <a:pt x="800541" y="3373708"/>
                    </a:moveTo>
                    <a:lnTo>
                      <a:pt x="810071" y="3373708"/>
                    </a:lnTo>
                    <a:lnTo>
                      <a:pt x="819602" y="3378472"/>
                    </a:lnTo>
                    <a:lnTo>
                      <a:pt x="824367" y="3383238"/>
                    </a:lnTo>
                    <a:lnTo>
                      <a:pt x="824367" y="3388004"/>
                    </a:lnTo>
                    <a:lnTo>
                      <a:pt x="819602" y="3388004"/>
                    </a:lnTo>
                    <a:lnTo>
                      <a:pt x="810071" y="3383238"/>
                    </a:lnTo>
                    <a:close/>
                    <a:moveTo>
                      <a:pt x="957791" y="3340352"/>
                    </a:moveTo>
                    <a:lnTo>
                      <a:pt x="962556" y="3340352"/>
                    </a:lnTo>
                    <a:lnTo>
                      <a:pt x="986382" y="3349882"/>
                    </a:lnTo>
                    <a:lnTo>
                      <a:pt x="995912" y="3354648"/>
                    </a:lnTo>
                    <a:lnTo>
                      <a:pt x="1000677" y="3368944"/>
                    </a:lnTo>
                    <a:lnTo>
                      <a:pt x="991147" y="3368944"/>
                    </a:lnTo>
                    <a:lnTo>
                      <a:pt x="976851" y="3368944"/>
                    </a:lnTo>
                    <a:lnTo>
                      <a:pt x="976851" y="3359412"/>
                    </a:lnTo>
                    <a:lnTo>
                      <a:pt x="972086" y="3349882"/>
                    </a:lnTo>
                    <a:lnTo>
                      <a:pt x="962556" y="3345118"/>
                    </a:lnTo>
                    <a:close/>
                    <a:moveTo>
                      <a:pt x="695709" y="3235520"/>
                    </a:moveTo>
                    <a:lnTo>
                      <a:pt x="724300" y="3235520"/>
                    </a:lnTo>
                    <a:lnTo>
                      <a:pt x="738595" y="3245050"/>
                    </a:lnTo>
                    <a:lnTo>
                      <a:pt x="729065" y="3254580"/>
                    </a:lnTo>
                    <a:lnTo>
                      <a:pt x="719535" y="3259346"/>
                    </a:lnTo>
                    <a:lnTo>
                      <a:pt x="710004" y="3254580"/>
                    </a:lnTo>
                    <a:close/>
                    <a:moveTo>
                      <a:pt x="748125" y="3225988"/>
                    </a:moveTo>
                    <a:lnTo>
                      <a:pt x="752890" y="3225988"/>
                    </a:lnTo>
                    <a:lnTo>
                      <a:pt x="786246" y="3235520"/>
                    </a:lnTo>
                    <a:lnTo>
                      <a:pt x="805307" y="3230754"/>
                    </a:lnTo>
                    <a:lnTo>
                      <a:pt x="805307" y="3235520"/>
                    </a:lnTo>
                    <a:lnTo>
                      <a:pt x="805307" y="3240284"/>
                    </a:lnTo>
                    <a:lnTo>
                      <a:pt x="767186" y="3245050"/>
                    </a:lnTo>
                    <a:lnTo>
                      <a:pt x="752890" y="3240284"/>
                    </a:lnTo>
                    <a:lnTo>
                      <a:pt x="752890" y="3235520"/>
                    </a:lnTo>
                    <a:close/>
                    <a:moveTo>
                      <a:pt x="681414" y="3225988"/>
                    </a:moveTo>
                    <a:lnTo>
                      <a:pt x="681414" y="3230754"/>
                    </a:lnTo>
                    <a:lnTo>
                      <a:pt x="686179" y="3235520"/>
                    </a:lnTo>
                    <a:lnTo>
                      <a:pt x="681414" y="3235520"/>
                    </a:lnTo>
                    <a:lnTo>
                      <a:pt x="667118" y="3235520"/>
                    </a:lnTo>
                    <a:lnTo>
                      <a:pt x="671883" y="3230754"/>
                    </a:lnTo>
                    <a:close/>
                    <a:moveTo>
                      <a:pt x="7502694" y="3106860"/>
                    </a:moveTo>
                    <a:lnTo>
                      <a:pt x="7507459" y="3106860"/>
                    </a:lnTo>
                    <a:lnTo>
                      <a:pt x="7521755" y="3116392"/>
                    </a:lnTo>
                    <a:lnTo>
                      <a:pt x="7516990" y="3116392"/>
                    </a:lnTo>
                    <a:lnTo>
                      <a:pt x="7512225" y="3116392"/>
                    </a:lnTo>
                    <a:lnTo>
                      <a:pt x="7502694" y="3111624"/>
                    </a:lnTo>
                    <a:close/>
                    <a:moveTo>
                      <a:pt x="7574170" y="3063976"/>
                    </a:moveTo>
                    <a:lnTo>
                      <a:pt x="7550345" y="3087800"/>
                    </a:lnTo>
                    <a:lnTo>
                      <a:pt x="7526519" y="3121156"/>
                    </a:lnTo>
                    <a:lnTo>
                      <a:pt x="7540814" y="3097332"/>
                    </a:lnTo>
                    <a:lnTo>
                      <a:pt x="7564640" y="3068740"/>
                    </a:lnTo>
                    <a:close/>
                    <a:moveTo>
                      <a:pt x="7626587" y="3016324"/>
                    </a:moveTo>
                    <a:lnTo>
                      <a:pt x="7640883" y="3016324"/>
                    </a:lnTo>
                    <a:lnTo>
                      <a:pt x="7612291" y="3025852"/>
                    </a:lnTo>
                    <a:lnTo>
                      <a:pt x="7607526" y="3025852"/>
                    </a:lnTo>
                    <a:close/>
                    <a:moveTo>
                      <a:pt x="7683769" y="2901960"/>
                    </a:moveTo>
                    <a:lnTo>
                      <a:pt x="7688533" y="2911492"/>
                    </a:lnTo>
                    <a:lnTo>
                      <a:pt x="7693299" y="2940080"/>
                    </a:lnTo>
                    <a:lnTo>
                      <a:pt x="7688533" y="2963908"/>
                    </a:lnTo>
                    <a:lnTo>
                      <a:pt x="7683769" y="2997264"/>
                    </a:lnTo>
                    <a:lnTo>
                      <a:pt x="7679003" y="3006792"/>
                    </a:lnTo>
                    <a:lnTo>
                      <a:pt x="7655179" y="3011560"/>
                    </a:lnTo>
                    <a:lnTo>
                      <a:pt x="7655179" y="3006792"/>
                    </a:lnTo>
                    <a:lnTo>
                      <a:pt x="7679003" y="2997264"/>
                    </a:lnTo>
                    <a:lnTo>
                      <a:pt x="7688533" y="2959140"/>
                    </a:lnTo>
                    <a:lnTo>
                      <a:pt x="7688533" y="2940080"/>
                    </a:lnTo>
                    <a:lnTo>
                      <a:pt x="7683769" y="2911492"/>
                    </a:lnTo>
                    <a:close/>
                    <a:moveTo>
                      <a:pt x="7650413" y="2868604"/>
                    </a:moveTo>
                    <a:lnTo>
                      <a:pt x="7659943" y="2878136"/>
                    </a:lnTo>
                    <a:lnTo>
                      <a:pt x="7664707" y="2882900"/>
                    </a:lnTo>
                    <a:lnTo>
                      <a:pt x="7664707" y="2887664"/>
                    </a:lnTo>
                    <a:lnTo>
                      <a:pt x="7659943" y="2892432"/>
                    </a:lnTo>
                    <a:close/>
                    <a:moveTo>
                      <a:pt x="7745715" y="2406388"/>
                    </a:moveTo>
                    <a:lnTo>
                      <a:pt x="7740949" y="2430212"/>
                    </a:lnTo>
                    <a:lnTo>
                      <a:pt x="7731419" y="2454040"/>
                    </a:lnTo>
                    <a:lnTo>
                      <a:pt x="7712359" y="2487392"/>
                    </a:lnTo>
                    <a:lnTo>
                      <a:pt x="7702829" y="2492160"/>
                    </a:lnTo>
                    <a:lnTo>
                      <a:pt x="7726655" y="2454040"/>
                    </a:lnTo>
                    <a:lnTo>
                      <a:pt x="7740949" y="2420684"/>
                    </a:lnTo>
                    <a:close/>
                    <a:moveTo>
                      <a:pt x="7902965" y="2115716"/>
                    </a:moveTo>
                    <a:lnTo>
                      <a:pt x="7898199" y="2130008"/>
                    </a:lnTo>
                    <a:lnTo>
                      <a:pt x="7879139" y="2163364"/>
                    </a:lnTo>
                    <a:lnTo>
                      <a:pt x="7879139" y="2158600"/>
                    </a:lnTo>
                    <a:lnTo>
                      <a:pt x="7879139" y="2153836"/>
                    </a:lnTo>
                    <a:close/>
                    <a:moveTo>
                      <a:pt x="7902965" y="1929876"/>
                    </a:moveTo>
                    <a:lnTo>
                      <a:pt x="7907731" y="1934640"/>
                    </a:lnTo>
                    <a:lnTo>
                      <a:pt x="7907731" y="1939404"/>
                    </a:lnTo>
                    <a:lnTo>
                      <a:pt x="7907731" y="1944168"/>
                    </a:lnTo>
                    <a:lnTo>
                      <a:pt x="7898199" y="1953700"/>
                    </a:lnTo>
                    <a:lnTo>
                      <a:pt x="7888669" y="1958464"/>
                    </a:lnTo>
                    <a:lnTo>
                      <a:pt x="7883903" y="1958464"/>
                    </a:lnTo>
                    <a:lnTo>
                      <a:pt x="7888669" y="1939404"/>
                    </a:lnTo>
                    <a:close/>
                    <a:moveTo>
                      <a:pt x="8188873" y="1829808"/>
                    </a:moveTo>
                    <a:lnTo>
                      <a:pt x="8165047" y="1853632"/>
                    </a:lnTo>
                    <a:lnTo>
                      <a:pt x="8150751" y="1863160"/>
                    </a:lnTo>
                    <a:lnTo>
                      <a:pt x="8141221" y="1877456"/>
                    </a:lnTo>
                    <a:lnTo>
                      <a:pt x="8150751" y="1877456"/>
                    </a:lnTo>
                    <a:lnTo>
                      <a:pt x="8160281" y="1872692"/>
                    </a:lnTo>
                    <a:lnTo>
                      <a:pt x="8169811" y="1867928"/>
                    </a:lnTo>
                    <a:lnTo>
                      <a:pt x="8188873" y="1853632"/>
                    </a:lnTo>
                    <a:lnTo>
                      <a:pt x="8203167" y="1848868"/>
                    </a:lnTo>
                    <a:lnTo>
                      <a:pt x="8207933" y="1848868"/>
                    </a:lnTo>
                    <a:lnTo>
                      <a:pt x="8217463" y="1858396"/>
                    </a:lnTo>
                    <a:lnTo>
                      <a:pt x="8231759" y="1848868"/>
                    </a:lnTo>
                    <a:lnTo>
                      <a:pt x="8246055" y="1848868"/>
                    </a:lnTo>
                    <a:lnTo>
                      <a:pt x="8179343" y="1882224"/>
                    </a:lnTo>
                    <a:lnTo>
                      <a:pt x="8165047" y="1886988"/>
                    </a:lnTo>
                    <a:lnTo>
                      <a:pt x="8145987" y="1896516"/>
                    </a:lnTo>
                    <a:lnTo>
                      <a:pt x="8126925" y="1901284"/>
                    </a:lnTo>
                    <a:lnTo>
                      <a:pt x="8112631" y="1906048"/>
                    </a:lnTo>
                    <a:lnTo>
                      <a:pt x="8045919" y="1929872"/>
                    </a:lnTo>
                    <a:lnTo>
                      <a:pt x="8041153" y="1929872"/>
                    </a:lnTo>
                    <a:lnTo>
                      <a:pt x="8031623" y="1929872"/>
                    </a:lnTo>
                    <a:lnTo>
                      <a:pt x="7979207" y="1944168"/>
                    </a:lnTo>
                    <a:lnTo>
                      <a:pt x="7955381" y="1944168"/>
                    </a:lnTo>
                    <a:lnTo>
                      <a:pt x="7936321" y="1948936"/>
                    </a:lnTo>
                    <a:lnTo>
                      <a:pt x="7950617" y="1939404"/>
                    </a:lnTo>
                    <a:lnTo>
                      <a:pt x="7950617" y="1934640"/>
                    </a:lnTo>
                    <a:lnTo>
                      <a:pt x="7945851" y="1929872"/>
                    </a:lnTo>
                    <a:lnTo>
                      <a:pt x="7936321" y="1929872"/>
                    </a:lnTo>
                    <a:lnTo>
                      <a:pt x="7931555" y="1944168"/>
                    </a:lnTo>
                    <a:lnTo>
                      <a:pt x="7917261" y="1948936"/>
                    </a:lnTo>
                    <a:lnTo>
                      <a:pt x="7912495" y="1934640"/>
                    </a:lnTo>
                    <a:lnTo>
                      <a:pt x="7917261" y="1925108"/>
                    </a:lnTo>
                    <a:lnTo>
                      <a:pt x="7926791" y="1915580"/>
                    </a:lnTo>
                    <a:lnTo>
                      <a:pt x="7936321" y="1901284"/>
                    </a:lnTo>
                    <a:lnTo>
                      <a:pt x="7955381" y="1896516"/>
                    </a:lnTo>
                    <a:lnTo>
                      <a:pt x="7964911" y="1886988"/>
                    </a:lnTo>
                    <a:lnTo>
                      <a:pt x="7974441" y="1891752"/>
                    </a:lnTo>
                    <a:lnTo>
                      <a:pt x="7974441" y="1882224"/>
                    </a:lnTo>
                    <a:lnTo>
                      <a:pt x="7979207" y="1877456"/>
                    </a:lnTo>
                    <a:lnTo>
                      <a:pt x="7983971" y="1877456"/>
                    </a:lnTo>
                    <a:lnTo>
                      <a:pt x="7998267" y="1877456"/>
                    </a:lnTo>
                    <a:lnTo>
                      <a:pt x="8007797" y="1877456"/>
                    </a:lnTo>
                    <a:lnTo>
                      <a:pt x="8012563" y="1872692"/>
                    </a:lnTo>
                    <a:lnTo>
                      <a:pt x="8017327" y="1872692"/>
                    </a:lnTo>
                    <a:lnTo>
                      <a:pt x="8031623" y="1877456"/>
                    </a:lnTo>
                    <a:lnTo>
                      <a:pt x="8045919" y="1872692"/>
                    </a:lnTo>
                    <a:lnTo>
                      <a:pt x="8060213" y="1867928"/>
                    </a:lnTo>
                    <a:lnTo>
                      <a:pt x="8069745" y="1867928"/>
                    </a:lnTo>
                    <a:lnTo>
                      <a:pt x="8103101" y="1867928"/>
                    </a:lnTo>
                    <a:lnTo>
                      <a:pt x="8131691" y="1863160"/>
                    </a:lnTo>
                    <a:lnTo>
                      <a:pt x="8145987" y="1853632"/>
                    </a:lnTo>
                    <a:lnTo>
                      <a:pt x="8174577" y="1834572"/>
                    </a:lnTo>
                    <a:close/>
                    <a:moveTo>
                      <a:pt x="8536725" y="1777392"/>
                    </a:moveTo>
                    <a:lnTo>
                      <a:pt x="8546255" y="1796452"/>
                    </a:lnTo>
                    <a:lnTo>
                      <a:pt x="8546255" y="1805980"/>
                    </a:lnTo>
                    <a:lnTo>
                      <a:pt x="8536725" y="1810748"/>
                    </a:lnTo>
                    <a:lnTo>
                      <a:pt x="8508135" y="1801216"/>
                    </a:lnTo>
                    <a:lnTo>
                      <a:pt x="8531961" y="1796452"/>
                    </a:lnTo>
                    <a:lnTo>
                      <a:pt x="8536725" y="1791684"/>
                    </a:lnTo>
                    <a:lnTo>
                      <a:pt x="8536725" y="1782156"/>
                    </a:lnTo>
                    <a:close/>
                    <a:moveTo>
                      <a:pt x="8446189" y="1763096"/>
                    </a:moveTo>
                    <a:lnTo>
                      <a:pt x="8460483" y="1772624"/>
                    </a:lnTo>
                    <a:lnTo>
                      <a:pt x="8465249" y="1782156"/>
                    </a:lnTo>
                    <a:lnTo>
                      <a:pt x="8422363" y="1791684"/>
                    </a:lnTo>
                    <a:lnTo>
                      <a:pt x="8412833" y="1786920"/>
                    </a:lnTo>
                    <a:lnTo>
                      <a:pt x="8427129" y="1782156"/>
                    </a:lnTo>
                    <a:lnTo>
                      <a:pt x="8436659" y="1767860"/>
                    </a:lnTo>
                    <a:close/>
                    <a:moveTo>
                      <a:pt x="8327061" y="1739268"/>
                    </a:moveTo>
                    <a:lnTo>
                      <a:pt x="8331827" y="1739268"/>
                    </a:lnTo>
                    <a:lnTo>
                      <a:pt x="8331827" y="1748800"/>
                    </a:lnTo>
                    <a:lnTo>
                      <a:pt x="8331827" y="1758328"/>
                    </a:lnTo>
                    <a:lnTo>
                      <a:pt x="8327061" y="1763096"/>
                    </a:lnTo>
                    <a:lnTo>
                      <a:pt x="8327061" y="1753564"/>
                    </a:lnTo>
                    <a:close/>
                    <a:moveTo>
                      <a:pt x="8346121" y="1724972"/>
                    </a:moveTo>
                    <a:lnTo>
                      <a:pt x="8350887" y="1724972"/>
                    </a:lnTo>
                    <a:lnTo>
                      <a:pt x="8350887" y="1758328"/>
                    </a:lnTo>
                    <a:lnTo>
                      <a:pt x="8341355" y="1763096"/>
                    </a:lnTo>
                    <a:lnTo>
                      <a:pt x="8336591" y="1763096"/>
                    </a:lnTo>
                    <a:lnTo>
                      <a:pt x="8336591" y="1753564"/>
                    </a:lnTo>
                    <a:lnTo>
                      <a:pt x="8341355" y="1744032"/>
                    </a:lnTo>
                    <a:lnTo>
                      <a:pt x="8346121" y="1729740"/>
                    </a:lnTo>
                    <a:close/>
                    <a:moveTo>
                      <a:pt x="7140544" y="1424772"/>
                    </a:moveTo>
                    <a:lnTo>
                      <a:pt x="7150074" y="1429536"/>
                    </a:lnTo>
                    <a:lnTo>
                      <a:pt x="7150074" y="1434300"/>
                    </a:lnTo>
                    <a:lnTo>
                      <a:pt x="7145309" y="1443832"/>
                    </a:lnTo>
                    <a:lnTo>
                      <a:pt x="7140544" y="1443832"/>
                    </a:lnTo>
                    <a:lnTo>
                      <a:pt x="7135779" y="1439064"/>
                    </a:lnTo>
                    <a:lnTo>
                      <a:pt x="7135779" y="1434300"/>
                    </a:lnTo>
                    <a:lnTo>
                      <a:pt x="7135779" y="1429536"/>
                    </a:lnTo>
                    <a:close/>
                    <a:moveTo>
                      <a:pt x="7564640" y="1219872"/>
                    </a:moveTo>
                    <a:lnTo>
                      <a:pt x="7569405" y="1219872"/>
                    </a:lnTo>
                    <a:lnTo>
                      <a:pt x="7564640" y="1224636"/>
                    </a:lnTo>
                    <a:close/>
                    <a:moveTo>
                      <a:pt x="8751157" y="1167456"/>
                    </a:moveTo>
                    <a:lnTo>
                      <a:pt x="8755923" y="1172220"/>
                    </a:lnTo>
                    <a:lnTo>
                      <a:pt x="8760687" y="1181748"/>
                    </a:lnTo>
                    <a:lnTo>
                      <a:pt x="8751157" y="1186516"/>
                    </a:lnTo>
                    <a:lnTo>
                      <a:pt x="8746391" y="1186516"/>
                    </a:lnTo>
                    <a:lnTo>
                      <a:pt x="8746391" y="1172220"/>
                    </a:lnTo>
                    <a:lnTo>
                      <a:pt x="8751157" y="1172220"/>
                    </a:lnTo>
                    <a:close/>
                    <a:moveTo>
                      <a:pt x="7588466" y="1157924"/>
                    </a:moveTo>
                    <a:lnTo>
                      <a:pt x="7593231" y="1157924"/>
                    </a:lnTo>
                    <a:lnTo>
                      <a:pt x="7588466" y="1162688"/>
                    </a:lnTo>
                    <a:lnTo>
                      <a:pt x="7583701" y="1167452"/>
                    </a:lnTo>
                    <a:lnTo>
                      <a:pt x="7583701" y="1162688"/>
                    </a:lnTo>
                    <a:close/>
                    <a:moveTo>
                      <a:pt x="8808339" y="1124568"/>
                    </a:moveTo>
                    <a:lnTo>
                      <a:pt x="8817869" y="1129332"/>
                    </a:lnTo>
                    <a:lnTo>
                      <a:pt x="8827399" y="1143628"/>
                    </a:lnTo>
                    <a:lnTo>
                      <a:pt x="8827399" y="1153156"/>
                    </a:lnTo>
                    <a:lnTo>
                      <a:pt x="8817869" y="1157924"/>
                    </a:lnTo>
                    <a:lnTo>
                      <a:pt x="8808339" y="1153156"/>
                    </a:lnTo>
                    <a:lnTo>
                      <a:pt x="8808339" y="1167452"/>
                    </a:lnTo>
                    <a:lnTo>
                      <a:pt x="8808339" y="1172220"/>
                    </a:lnTo>
                    <a:lnTo>
                      <a:pt x="8794043" y="1162688"/>
                    </a:lnTo>
                    <a:lnTo>
                      <a:pt x="8794043" y="1157924"/>
                    </a:lnTo>
                    <a:lnTo>
                      <a:pt x="8794043" y="1143628"/>
                    </a:lnTo>
                    <a:lnTo>
                      <a:pt x="8803573" y="1129332"/>
                    </a:lnTo>
                    <a:close/>
                    <a:moveTo>
                      <a:pt x="6035034" y="972084"/>
                    </a:moveTo>
                    <a:lnTo>
                      <a:pt x="6044564" y="972084"/>
                    </a:lnTo>
                    <a:lnTo>
                      <a:pt x="6049329" y="976848"/>
                    </a:lnTo>
                    <a:lnTo>
                      <a:pt x="6049329" y="981612"/>
                    </a:lnTo>
                    <a:lnTo>
                      <a:pt x="6049329" y="986380"/>
                    </a:lnTo>
                    <a:lnTo>
                      <a:pt x="6044564" y="986380"/>
                    </a:lnTo>
                    <a:lnTo>
                      <a:pt x="6039799" y="981612"/>
                    </a:lnTo>
                    <a:close/>
                    <a:moveTo>
                      <a:pt x="5884933" y="938728"/>
                    </a:moveTo>
                    <a:lnTo>
                      <a:pt x="5889698" y="938728"/>
                    </a:lnTo>
                    <a:lnTo>
                      <a:pt x="5894463" y="943492"/>
                    </a:lnTo>
                    <a:lnTo>
                      <a:pt x="5894463" y="953024"/>
                    </a:lnTo>
                    <a:lnTo>
                      <a:pt x="5889698" y="953024"/>
                    </a:lnTo>
                    <a:lnTo>
                      <a:pt x="5884933" y="953024"/>
                    </a:lnTo>
                    <a:lnTo>
                      <a:pt x="5884933" y="957788"/>
                    </a:lnTo>
                    <a:lnTo>
                      <a:pt x="5884933" y="967320"/>
                    </a:lnTo>
                    <a:lnTo>
                      <a:pt x="5880168" y="972084"/>
                    </a:lnTo>
                    <a:lnTo>
                      <a:pt x="5880168" y="976848"/>
                    </a:lnTo>
                    <a:lnTo>
                      <a:pt x="5880168" y="981616"/>
                    </a:lnTo>
                    <a:lnTo>
                      <a:pt x="5880168" y="986380"/>
                    </a:lnTo>
                    <a:lnTo>
                      <a:pt x="5875402" y="991144"/>
                    </a:lnTo>
                    <a:lnTo>
                      <a:pt x="5870637" y="995908"/>
                    </a:lnTo>
                    <a:lnTo>
                      <a:pt x="5861107" y="1010204"/>
                    </a:lnTo>
                    <a:lnTo>
                      <a:pt x="5861107" y="1014972"/>
                    </a:lnTo>
                    <a:lnTo>
                      <a:pt x="5861107" y="1019736"/>
                    </a:lnTo>
                    <a:lnTo>
                      <a:pt x="5861107" y="1024500"/>
                    </a:lnTo>
                    <a:lnTo>
                      <a:pt x="5846812" y="1043560"/>
                    </a:lnTo>
                    <a:lnTo>
                      <a:pt x="5842046" y="1043560"/>
                    </a:lnTo>
                    <a:lnTo>
                      <a:pt x="5837281" y="1038796"/>
                    </a:lnTo>
                    <a:lnTo>
                      <a:pt x="5832516" y="1034032"/>
                    </a:lnTo>
                    <a:lnTo>
                      <a:pt x="5827751" y="1029264"/>
                    </a:lnTo>
                    <a:lnTo>
                      <a:pt x="5827751" y="1019736"/>
                    </a:lnTo>
                    <a:lnTo>
                      <a:pt x="5827751" y="1014972"/>
                    </a:lnTo>
                    <a:lnTo>
                      <a:pt x="5842046" y="1000676"/>
                    </a:lnTo>
                    <a:lnTo>
                      <a:pt x="5846812" y="986380"/>
                    </a:lnTo>
                    <a:lnTo>
                      <a:pt x="5851577" y="976848"/>
                    </a:lnTo>
                    <a:lnTo>
                      <a:pt x="5856342" y="967320"/>
                    </a:lnTo>
                    <a:lnTo>
                      <a:pt x="5865872" y="962552"/>
                    </a:lnTo>
                    <a:lnTo>
                      <a:pt x="5870637" y="957788"/>
                    </a:lnTo>
                    <a:lnTo>
                      <a:pt x="5875402" y="943492"/>
                    </a:lnTo>
                    <a:close/>
                    <a:moveTo>
                      <a:pt x="5899227" y="910136"/>
                    </a:moveTo>
                    <a:lnTo>
                      <a:pt x="5903993" y="914904"/>
                    </a:lnTo>
                    <a:lnTo>
                      <a:pt x="5908758" y="914904"/>
                    </a:lnTo>
                    <a:lnTo>
                      <a:pt x="5913523" y="914904"/>
                    </a:lnTo>
                    <a:lnTo>
                      <a:pt x="5913523" y="919668"/>
                    </a:lnTo>
                    <a:lnTo>
                      <a:pt x="5913523" y="929200"/>
                    </a:lnTo>
                    <a:lnTo>
                      <a:pt x="5908758" y="929200"/>
                    </a:lnTo>
                    <a:lnTo>
                      <a:pt x="5899227" y="929200"/>
                    </a:lnTo>
                    <a:lnTo>
                      <a:pt x="5894462" y="924432"/>
                    </a:lnTo>
                    <a:close/>
                    <a:moveTo>
                      <a:pt x="6116041" y="833896"/>
                    </a:moveTo>
                    <a:lnTo>
                      <a:pt x="6125572" y="838660"/>
                    </a:lnTo>
                    <a:lnTo>
                      <a:pt x="6120807" y="838660"/>
                    </a:lnTo>
                    <a:lnTo>
                      <a:pt x="6125572" y="857720"/>
                    </a:lnTo>
                    <a:lnTo>
                      <a:pt x="6120807" y="867252"/>
                    </a:lnTo>
                    <a:lnTo>
                      <a:pt x="6116041" y="872016"/>
                    </a:lnTo>
                    <a:lnTo>
                      <a:pt x="6111276" y="872016"/>
                    </a:lnTo>
                    <a:lnTo>
                      <a:pt x="6106511" y="872016"/>
                    </a:lnTo>
                    <a:lnTo>
                      <a:pt x="6106511" y="857720"/>
                    </a:lnTo>
                    <a:lnTo>
                      <a:pt x="6111276" y="843424"/>
                    </a:lnTo>
                    <a:close/>
                    <a:moveTo>
                      <a:pt x="6268526" y="824364"/>
                    </a:moveTo>
                    <a:lnTo>
                      <a:pt x="6292352" y="824364"/>
                    </a:lnTo>
                    <a:lnTo>
                      <a:pt x="6297117" y="829128"/>
                    </a:lnTo>
                    <a:lnTo>
                      <a:pt x="6297117" y="833896"/>
                    </a:lnTo>
                    <a:lnTo>
                      <a:pt x="6297117" y="838660"/>
                    </a:lnTo>
                    <a:lnTo>
                      <a:pt x="6292352" y="843424"/>
                    </a:lnTo>
                    <a:lnTo>
                      <a:pt x="6287587" y="843424"/>
                    </a:lnTo>
                    <a:lnTo>
                      <a:pt x="6282821" y="838660"/>
                    </a:lnTo>
                    <a:close/>
                    <a:moveTo>
                      <a:pt x="6406715" y="757652"/>
                    </a:moveTo>
                    <a:lnTo>
                      <a:pt x="6416245" y="762420"/>
                    </a:lnTo>
                    <a:lnTo>
                      <a:pt x="6421011" y="762420"/>
                    </a:lnTo>
                    <a:lnTo>
                      <a:pt x="6430541" y="776712"/>
                    </a:lnTo>
                    <a:lnTo>
                      <a:pt x="6435306" y="781480"/>
                    </a:lnTo>
                    <a:lnTo>
                      <a:pt x="6435306" y="786244"/>
                    </a:lnTo>
                    <a:lnTo>
                      <a:pt x="6430541" y="791008"/>
                    </a:lnTo>
                    <a:lnTo>
                      <a:pt x="6421011" y="795776"/>
                    </a:lnTo>
                    <a:lnTo>
                      <a:pt x="6401950" y="795776"/>
                    </a:lnTo>
                    <a:lnTo>
                      <a:pt x="6382889" y="791008"/>
                    </a:lnTo>
                    <a:lnTo>
                      <a:pt x="6378124" y="786244"/>
                    </a:lnTo>
                    <a:lnTo>
                      <a:pt x="6378124" y="776712"/>
                    </a:lnTo>
                    <a:lnTo>
                      <a:pt x="6382889" y="776712"/>
                    </a:lnTo>
                    <a:lnTo>
                      <a:pt x="6387654" y="781480"/>
                    </a:lnTo>
                    <a:lnTo>
                      <a:pt x="6392419" y="781480"/>
                    </a:lnTo>
                    <a:lnTo>
                      <a:pt x="6401950" y="771948"/>
                    </a:lnTo>
                    <a:lnTo>
                      <a:pt x="6406715" y="767184"/>
                    </a:lnTo>
                    <a:lnTo>
                      <a:pt x="6406715" y="762420"/>
                    </a:lnTo>
                    <a:close/>
                    <a:moveTo>
                      <a:pt x="6325707" y="710000"/>
                    </a:moveTo>
                    <a:lnTo>
                      <a:pt x="6330472" y="710000"/>
                    </a:lnTo>
                    <a:lnTo>
                      <a:pt x="6335237" y="714768"/>
                    </a:lnTo>
                    <a:lnTo>
                      <a:pt x="6340002" y="719532"/>
                    </a:lnTo>
                    <a:lnTo>
                      <a:pt x="6340002" y="724296"/>
                    </a:lnTo>
                    <a:lnTo>
                      <a:pt x="6340002" y="729064"/>
                    </a:lnTo>
                    <a:lnTo>
                      <a:pt x="6335237" y="729064"/>
                    </a:lnTo>
                    <a:lnTo>
                      <a:pt x="6330472" y="719532"/>
                    </a:lnTo>
                    <a:lnTo>
                      <a:pt x="6325707" y="714768"/>
                    </a:lnTo>
                    <a:close/>
                    <a:moveTo>
                      <a:pt x="6325707" y="662352"/>
                    </a:moveTo>
                    <a:lnTo>
                      <a:pt x="6330473" y="662352"/>
                    </a:lnTo>
                    <a:lnTo>
                      <a:pt x="6335238" y="662352"/>
                    </a:lnTo>
                    <a:lnTo>
                      <a:pt x="6335238" y="667116"/>
                    </a:lnTo>
                    <a:lnTo>
                      <a:pt x="6330473" y="681412"/>
                    </a:lnTo>
                    <a:lnTo>
                      <a:pt x="6330473" y="690940"/>
                    </a:lnTo>
                    <a:lnTo>
                      <a:pt x="6335238" y="700472"/>
                    </a:lnTo>
                    <a:lnTo>
                      <a:pt x="6335238" y="705236"/>
                    </a:lnTo>
                    <a:lnTo>
                      <a:pt x="6330473" y="705236"/>
                    </a:lnTo>
                    <a:lnTo>
                      <a:pt x="6325707" y="700472"/>
                    </a:lnTo>
                    <a:lnTo>
                      <a:pt x="6325707" y="695704"/>
                    </a:lnTo>
                    <a:lnTo>
                      <a:pt x="6320942" y="681412"/>
                    </a:lnTo>
                    <a:lnTo>
                      <a:pt x="6316177" y="671880"/>
                    </a:lnTo>
                    <a:close/>
                    <a:moveTo>
                      <a:pt x="5327413" y="586108"/>
                    </a:moveTo>
                    <a:lnTo>
                      <a:pt x="5332178" y="590874"/>
                    </a:lnTo>
                    <a:lnTo>
                      <a:pt x="5322648" y="595640"/>
                    </a:lnTo>
                    <a:lnTo>
                      <a:pt x="5317883" y="600404"/>
                    </a:lnTo>
                    <a:lnTo>
                      <a:pt x="5313117" y="605170"/>
                    </a:lnTo>
                    <a:lnTo>
                      <a:pt x="5303587" y="609936"/>
                    </a:lnTo>
                    <a:lnTo>
                      <a:pt x="5298822" y="605170"/>
                    </a:lnTo>
                    <a:lnTo>
                      <a:pt x="5303587" y="600404"/>
                    </a:lnTo>
                    <a:close/>
                    <a:moveTo>
                      <a:pt x="5336942" y="562284"/>
                    </a:moveTo>
                    <a:lnTo>
                      <a:pt x="5336942" y="567048"/>
                    </a:lnTo>
                    <a:lnTo>
                      <a:pt x="5336942" y="571814"/>
                    </a:lnTo>
                    <a:lnTo>
                      <a:pt x="5332177" y="576580"/>
                    </a:lnTo>
                    <a:lnTo>
                      <a:pt x="5322647" y="571814"/>
                    </a:lnTo>
                    <a:lnTo>
                      <a:pt x="5332177" y="567048"/>
                    </a:lnTo>
                    <a:close/>
                    <a:moveTo>
                      <a:pt x="5303587" y="562284"/>
                    </a:moveTo>
                    <a:lnTo>
                      <a:pt x="5308352" y="562284"/>
                    </a:lnTo>
                    <a:lnTo>
                      <a:pt x="5313117" y="567048"/>
                    </a:lnTo>
                    <a:lnTo>
                      <a:pt x="5313117" y="571814"/>
                    </a:lnTo>
                    <a:lnTo>
                      <a:pt x="5308352" y="571814"/>
                    </a:lnTo>
                    <a:lnTo>
                      <a:pt x="5303587" y="571814"/>
                    </a:lnTo>
                    <a:lnTo>
                      <a:pt x="5303587" y="567048"/>
                    </a:lnTo>
                    <a:close/>
                    <a:moveTo>
                      <a:pt x="5351238" y="538458"/>
                    </a:moveTo>
                    <a:lnTo>
                      <a:pt x="5356003" y="538458"/>
                    </a:lnTo>
                    <a:lnTo>
                      <a:pt x="5360768" y="543224"/>
                    </a:lnTo>
                    <a:lnTo>
                      <a:pt x="5356003" y="547988"/>
                    </a:lnTo>
                    <a:lnTo>
                      <a:pt x="5351238" y="552752"/>
                    </a:lnTo>
                    <a:lnTo>
                      <a:pt x="5351238" y="543224"/>
                    </a:lnTo>
                    <a:close/>
                    <a:moveTo>
                      <a:pt x="285908" y="490808"/>
                    </a:moveTo>
                    <a:lnTo>
                      <a:pt x="290673" y="505100"/>
                    </a:lnTo>
                    <a:lnTo>
                      <a:pt x="290673" y="509868"/>
                    </a:lnTo>
                    <a:lnTo>
                      <a:pt x="290673" y="514632"/>
                    </a:lnTo>
                    <a:lnTo>
                      <a:pt x="285908" y="514632"/>
                    </a:lnTo>
                    <a:lnTo>
                      <a:pt x="281143" y="505100"/>
                    </a:lnTo>
                    <a:lnTo>
                      <a:pt x="281143" y="495572"/>
                    </a:lnTo>
                    <a:close/>
                    <a:moveTo>
                      <a:pt x="5737214" y="443156"/>
                    </a:moveTo>
                    <a:lnTo>
                      <a:pt x="5751509" y="443156"/>
                    </a:lnTo>
                    <a:lnTo>
                      <a:pt x="5765805" y="447920"/>
                    </a:lnTo>
                    <a:lnTo>
                      <a:pt x="5775335" y="457450"/>
                    </a:lnTo>
                    <a:lnTo>
                      <a:pt x="5765805" y="462216"/>
                    </a:lnTo>
                    <a:lnTo>
                      <a:pt x="5732449" y="466980"/>
                    </a:lnTo>
                    <a:lnTo>
                      <a:pt x="5737214" y="471746"/>
                    </a:lnTo>
                    <a:lnTo>
                      <a:pt x="5732449" y="481276"/>
                    </a:lnTo>
                    <a:lnTo>
                      <a:pt x="5699093" y="505102"/>
                    </a:lnTo>
                    <a:lnTo>
                      <a:pt x="5699093" y="514632"/>
                    </a:lnTo>
                    <a:lnTo>
                      <a:pt x="5699093" y="519398"/>
                    </a:lnTo>
                    <a:lnTo>
                      <a:pt x="5680032" y="538458"/>
                    </a:lnTo>
                    <a:lnTo>
                      <a:pt x="5670502" y="552752"/>
                    </a:lnTo>
                    <a:lnTo>
                      <a:pt x="5665737" y="552752"/>
                    </a:lnTo>
                    <a:lnTo>
                      <a:pt x="5660972" y="543222"/>
                    </a:lnTo>
                    <a:lnTo>
                      <a:pt x="5660972" y="538458"/>
                    </a:lnTo>
                    <a:lnTo>
                      <a:pt x="5665737" y="533692"/>
                    </a:lnTo>
                    <a:lnTo>
                      <a:pt x="5670502" y="524162"/>
                    </a:lnTo>
                    <a:lnTo>
                      <a:pt x="5670502" y="514632"/>
                    </a:lnTo>
                    <a:lnTo>
                      <a:pt x="5670502" y="509866"/>
                    </a:lnTo>
                    <a:lnTo>
                      <a:pt x="5665737" y="519398"/>
                    </a:lnTo>
                    <a:lnTo>
                      <a:pt x="5665737" y="524162"/>
                    </a:lnTo>
                    <a:lnTo>
                      <a:pt x="5670502" y="524162"/>
                    </a:lnTo>
                    <a:lnTo>
                      <a:pt x="5665737" y="528928"/>
                    </a:lnTo>
                    <a:lnTo>
                      <a:pt x="5646676" y="524162"/>
                    </a:lnTo>
                    <a:lnTo>
                      <a:pt x="5637146" y="514632"/>
                    </a:lnTo>
                    <a:lnTo>
                      <a:pt x="5641911" y="505102"/>
                    </a:lnTo>
                    <a:lnTo>
                      <a:pt x="5646676" y="490806"/>
                    </a:lnTo>
                    <a:lnTo>
                      <a:pt x="5675267" y="466980"/>
                    </a:lnTo>
                    <a:lnTo>
                      <a:pt x="5684797" y="457450"/>
                    </a:lnTo>
                    <a:lnTo>
                      <a:pt x="5718153" y="447920"/>
                    </a:lnTo>
                    <a:close/>
                    <a:moveTo>
                      <a:pt x="347854" y="443156"/>
                    </a:moveTo>
                    <a:lnTo>
                      <a:pt x="352619" y="443156"/>
                    </a:lnTo>
                    <a:lnTo>
                      <a:pt x="357385" y="452684"/>
                    </a:lnTo>
                    <a:lnTo>
                      <a:pt x="362150" y="466980"/>
                    </a:lnTo>
                    <a:lnTo>
                      <a:pt x="362150" y="471744"/>
                    </a:lnTo>
                    <a:lnTo>
                      <a:pt x="357385" y="471744"/>
                    </a:lnTo>
                    <a:lnTo>
                      <a:pt x="352619" y="471744"/>
                    </a:lnTo>
                    <a:lnTo>
                      <a:pt x="352619" y="466980"/>
                    </a:lnTo>
                    <a:lnTo>
                      <a:pt x="343089" y="471744"/>
                    </a:lnTo>
                    <a:lnTo>
                      <a:pt x="343089" y="457448"/>
                    </a:lnTo>
                    <a:close/>
                    <a:moveTo>
                      <a:pt x="338324" y="395504"/>
                    </a:moveTo>
                    <a:lnTo>
                      <a:pt x="343089" y="395504"/>
                    </a:lnTo>
                    <a:lnTo>
                      <a:pt x="343089" y="400268"/>
                    </a:lnTo>
                    <a:lnTo>
                      <a:pt x="347854" y="419328"/>
                    </a:lnTo>
                    <a:lnTo>
                      <a:pt x="347854" y="424096"/>
                    </a:lnTo>
                    <a:lnTo>
                      <a:pt x="338324" y="419328"/>
                    </a:lnTo>
                    <a:lnTo>
                      <a:pt x="333559" y="414564"/>
                    </a:lnTo>
                    <a:lnTo>
                      <a:pt x="333559" y="400268"/>
                    </a:lnTo>
                    <a:close/>
                    <a:moveTo>
                      <a:pt x="5641911" y="285906"/>
                    </a:moveTo>
                    <a:lnTo>
                      <a:pt x="5656206" y="285906"/>
                    </a:lnTo>
                    <a:lnTo>
                      <a:pt x="5660971" y="285906"/>
                    </a:lnTo>
                    <a:lnTo>
                      <a:pt x="5646676" y="300202"/>
                    </a:lnTo>
                    <a:lnTo>
                      <a:pt x="5641911" y="304966"/>
                    </a:lnTo>
                    <a:lnTo>
                      <a:pt x="5641911" y="309732"/>
                    </a:lnTo>
                    <a:lnTo>
                      <a:pt x="5637145" y="314496"/>
                    </a:lnTo>
                    <a:lnTo>
                      <a:pt x="5594259" y="338322"/>
                    </a:lnTo>
                    <a:lnTo>
                      <a:pt x="5584729" y="343088"/>
                    </a:lnTo>
                    <a:lnTo>
                      <a:pt x="5584729" y="347852"/>
                    </a:lnTo>
                    <a:lnTo>
                      <a:pt x="5589494" y="347852"/>
                    </a:lnTo>
                    <a:lnTo>
                      <a:pt x="5584729" y="352618"/>
                    </a:lnTo>
                    <a:lnTo>
                      <a:pt x="5565669" y="357382"/>
                    </a:lnTo>
                    <a:lnTo>
                      <a:pt x="5556138" y="362148"/>
                    </a:lnTo>
                    <a:lnTo>
                      <a:pt x="5546608" y="357382"/>
                    </a:lnTo>
                    <a:lnTo>
                      <a:pt x="5546608" y="352618"/>
                    </a:lnTo>
                    <a:lnTo>
                      <a:pt x="5551373" y="347852"/>
                    </a:lnTo>
                    <a:lnTo>
                      <a:pt x="5551373" y="343088"/>
                    </a:lnTo>
                    <a:lnTo>
                      <a:pt x="5546608" y="343088"/>
                    </a:lnTo>
                    <a:lnTo>
                      <a:pt x="5546608" y="338322"/>
                    </a:lnTo>
                    <a:lnTo>
                      <a:pt x="5556138" y="333558"/>
                    </a:lnTo>
                    <a:lnTo>
                      <a:pt x="5618085" y="300202"/>
                    </a:lnTo>
                    <a:close/>
                    <a:moveTo>
                      <a:pt x="324029" y="233488"/>
                    </a:moveTo>
                    <a:lnTo>
                      <a:pt x="328794" y="233488"/>
                    </a:lnTo>
                    <a:lnTo>
                      <a:pt x="333559" y="238256"/>
                    </a:lnTo>
                    <a:lnTo>
                      <a:pt x="343089" y="247784"/>
                    </a:lnTo>
                    <a:lnTo>
                      <a:pt x="338324" y="257316"/>
                    </a:lnTo>
                    <a:lnTo>
                      <a:pt x="314498" y="266844"/>
                    </a:lnTo>
                    <a:lnTo>
                      <a:pt x="314498" y="271612"/>
                    </a:lnTo>
                    <a:lnTo>
                      <a:pt x="328794" y="276376"/>
                    </a:lnTo>
                    <a:lnTo>
                      <a:pt x="333559" y="285904"/>
                    </a:lnTo>
                    <a:lnTo>
                      <a:pt x="343089" y="319260"/>
                    </a:lnTo>
                    <a:lnTo>
                      <a:pt x="347854" y="304964"/>
                    </a:lnTo>
                    <a:lnTo>
                      <a:pt x="366915" y="328792"/>
                    </a:lnTo>
                    <a:lnTo>
                      <a:pt x="366915" y="338320"/>
                    </a:lnTo>
                    <a:lnTo>
                      <a:pt x="366915" y="343088"/>
                    </a:lnTo>
                    <a:lnTo>
                      <a:pt x="362150" y="343088"/>
                    </a:lnTo>
                    <a:lnTo>
                      <a:pt x="357385" y="338320"/>
                    </a:lnTo>
                    <a:lnTo>
                      <a:pt x="352619" y="333556"/>
                    </a:lnTo>
                    <a:lnTo>
                      <a:pt x="347854" y="328792"/>
                    </a:lnTo>
                    <a:lnTo>
                      <a:pt x="338324" y="324028"/>
                    </a:lnTo>
                    <a:lnTo>
                      <a:pt x="333559" y="319260"/>
                    </a:lnTo>
                    <a:lnTo>
                      <a:pt x="328794" y="309732"/>
                    </a:lnTo>
                    <a:lnTo>
                      <a:pt x="328794" y="295436"/>
                    </a:lnTo>
                    <a:lnTo>
                      <a:pt x="328794" y="290672"/>
                    </a:lnTo>
                    <a:lnTo>
                      <a:pt x="324029" y="285904"/>
                    </a:lnTo>
                    <a:lnTo>
                      <a:pt x="319263" y="285904"/>
                    </a:lnTo>
                    <a:lnTo>
                      <a:pt x="309733" y="271612"/>
                    </a:lnTo>
                    <a:lnTo>
                      <a:pt x="309733" y="266844"/>
                    </a:lnTo>
                    <a:lnTo>
                      <a:pt x="309733" y="257316"/>
                    </a:lnTo>
                    <a:lnTo>
                      <a:pt x="319263" y="243020"/>
                    </a:lnTo>
                    <a:close/>
                    <a:moveTo>
                      <a:pt x="285908" y="195368"/>
                    </a:moveTo>
                    <a:lnTo>
                      <a:pt x="290673" y="195368"/>
                    </a:lnTo>
                    <a:lnTo>
                      <a:pt x="290673" y="204900"/>
                    </a:lnTo>
                    <a:lnTo>
                      <a:pt x="295438" y="219192"/>
                    </a:lnTo>
                    <a:lnTo>
                      <a:pt x="295438" y="223960"/>
                    </a:lnTo>
                    <a:lnTo>
                      <a:pt x="285908" y="223960"/>
                    </a:lnTo>
                    <a:lnTo>
                      <a:pt x="281143" y="219192"/>
                    </a:lnTo>
                    <a:lnTo>
                      <a:pt x="281143" y="209664"/>
                    </a:lnTo>
                    <a:lnTo>
                      <a:pt x="281143" y="200132"/>
                    </a:lnTo>
                    <a:close/>
                    <a:moveTo>
                      <a:pt x="243022" y="181072"/>
                    </a:moveTo>
                    <a:lnTo>
                      <a:pt x="252552" y="181072"/>
                    </a:lnTo>
                    <a:lnTo>
                      <a:pt x="266848" y="200132"/>
                    </a:lnTo>
                    <a:lnTo>
                      <a:pt x="266848" y="204896"/>
                    </a:lnTo>
                    <a:lnTo>
                      <a:pt x="271613" y="214428"/>
                    </a:lnTo>
                    <a:lnTo>
                      <a:pt x="252552" y="209664"/>
                    </a:lnTo>
                    <a:lnTo>
                      <a:pt x="247787" y="204896"/>
                    </a:lnTo>
                    <a:lnTo>
                      <a:pt x="243022" y="200132"/>
                    </a:lnTo>
                    <a:lnTo>
                      <a:pt x="243022" y="185836"/>
                    </a:lnTo>
                    <a:close/>
                    <a:moveTo>
                      <a:pt x="281142" y="157248"/>
                    </a:moveTo>
                    <a:lnTo>
                      <a:pt x="285907" y="157248"/>
                    </a:lnTo>
                    <a:lnTo>
                      <a:pt x="300203" y="166776"/>
                    </a:lnTo>
                    <a:lnTo>
                      <a:pt x="304968" y="171544"/>
                    </a:lnTo>
                    <a:lnTo>
                      <a:pt x="300203" y="176308"/>
                    </a:lnTo>
                    <a:lnTo>
                      <a:pt x="295438" y="176308"/>
                    </a:lnTo>
                    <a:lnTo>
                      <a:pt x="285907" y="171544"/>
                    </a:lnTo>
                    <a:lnTo>
                      <a:pt x="281142" y="166776"/>
                    </a:lnTo>
                    <a:lnTo>
                      <a:pt x="285907" y="181072"/>
                    </a:lnTo>
                    <a:lnTo>
                      <a:pt x="285907" y="185840"/>
                    </a:lnTo>
                    <a:lnTo>
                      <a:pt x="271612" y="176308"/>
                    </a:lnTo>
                    <a:lnTo>
                      <a:pt x="266847" y="171544"/>
                    </a:lnTo>
                    <a:lnTo>
                      <a:pt x="271612" y="166776"/>
                    </a:lnTo>
                    <a:close/>
                    <a:moveTo>
                      <a:pt x="4617409" y="0"/>
                    </a:moveTo>
                    <a:lnTo>
                      <a:pt x="4650765" y="4764"/>
                    </a:lnTo>
                    <a:lnTo>
                      <a:pt x="4660295" y="14292"/>
                    </a:lnTo>
                    <a:lnTo>
                      <a:pt x="4665060" y="14292"/>
                    </a:lnTo>
                    <a:lnTo>
                      <a:pt x="4665060" y="28588"/>
                    </a:lnTo>
                    <a:lnTo>
                      <a:pt x="4665060" y="61944"/>
                    </a:lnTo>
                    <a:lnTo>
                      <a:pt x="4674591" y="90536"/>
                    </a:lnTo>
                    <a:lnTo>
                      <a:pt x="4688885" y="119128"/>
                    </a:lnTo>
                    <a:lnTo>
                      <a:pt x="4688885" y="133420"/>
                    </a:lnTo>
                    <a:lnTo>
                      <a:pt x="4693651" y="142952"/>
                    </a:lnTo>
                    <a:lnTo>
                      <a:pt x="4703181" y="147716"/>
                    </a:lnTo>
                    <a:lnTo>
                      <a:pt x="4731772" y="157248"/>
                    </a:lnTo>
                    <a:lnTo>
                      <a:pt x="4788953" y="171544"/>
                    </a:lnTo>
                    <a:lnTo>
                      <a:pt x="4822309" y="181072"/>
                    </a:lnTo>
                    <a:lnTo>
                      <a:pt x="4827075" y="195368"/>
                    </a:lnTo>
                    <a:lnTo>
                      <a:pt x="4841369" y="200132"/>
                    </a:lnTo>
                    <a:lnTo>
                      <a:pt x="4865195" y="200132"/>
                    </a:lnTo>
                    <a:lnTo>
                      <a:pt x="4879491" y="190604"/>
                    </a:lnTo>
                    <a:lnTo>
                      <a:pt x="4893786" y="181072"/>
                    </a:lnTo>
                    <a:lnTo>
                      <a:pt x="4912847" y="176308"/>
                    </a:lnTo>
                    <a:lnTo>
                      <a:pt x="4931907" y="176308"/>
                    </a:lnTo>
                    <a:lnTo>
                      <a:pt x="4946203" y="176308"/>
                    </a:lnTo>
                    <a:lnTo>
                      <a:pt x="4955733" y="181072"/>
                    </a:lnTo>
                    <a:lnTo>
                      <a:pt x="4979559" y="190604"/>
                    </a:lnTo>
                    <a:lnTo>
                      <a:pt x="4993854" y="200132"/>
                    </a:lnTo>
                    <a:lnTo>
                      <a:pt x="5017679" y="214428"/>
                    </a:lnTo>
                    <a:lnTo>
                      <a:pt x="5031975" y="223960"/>
                    </a:lnTo>
                    <a:lnTo>
                      <a:pt x="5036740" y="238256"/>
                    </a:lnTo>
                    <a:lnTo>
                      <a:pt x="5046270" y="257316"/>
                    </a:lnTo>
                    <a:lnTo>
                      <a:pt x="5055801" y="257316"/>
                    </a:lnTo>
                    <a:lnTo>
                      <a:pt x="5065331" y="247784"/>
                    </a:lnTo>
                    <a:lnTo>
                      <a:pt x="5084391" y="243020"/>
                    </a:lnTo>
                    <a:lnTo>
                      <a:pt x="5108217" y="252548"/>
                    </a:lnTo>
                    <a:lnTo>
                      <a:pt x="5132043" y="276376"/>
                    </a:lnTo>
                    <a:lnTo>
                      <a:pt x="5165399" y="300200"/>
                    </a:lnTo>
                    <a:lnTo>
                      <a:pt x="5184459" y="309732"/>
                    </a:lnTo>
                    <a:lnTo>
                      <a:pt x="5203519" y="309732"/>
                    </a:lnTo>
                    <a:lnTo>
                      <a:pt x="5232110" y="300200"/>
                    </a:lnTo>
                    <a:lnTo>
                      <a:pt x="5260701" y="281140"/>
                    </a:lnTo>
                    <a:lnTo>
                      <a:pt x="5279761" y="276376"/>
                    </a:lnTo>
                    <a:lnTo>
                      <a:pt x="5289291" y="276376"/>
                    </a:lnTo>
                    <a:lnTo>
                      <a:pt x="5298822" y="295436"/>
                    </a:lnTo>
                    <a:lnTo>
                      <a:pt x="5303587" y="300200"/>
                    </a:lnTo>
                    <a:lnTo>
                      <a:pt x="5327413" y="300200"/>
                    </a:lnTo>
                    <a:lnTo>
                      <a:pt x="5370299" y="300200"/>
                    </a:lnTo>
                    <a:lnTo>
                      <a:pt x="5408420" y="295436"/>
                    </a:lnTo>
                    <a:lnTo>
                      <a:pt x="5417950" y="304968"/>
                    </a:lnTo>
                    <a:lnTo>
                      <a:pt x="5422715" y="319260"/>
                    </a:lnTo>
                    <a:lnTo>
                      <a:pt x="5437011" y="324028"/>
                    </a:lnTo>
                    <a:lnTo>
                      <a:pt x="5456071" y="319260"/>
                    </a:lnTo>
                    <a:lnTo>
                      <a:pt x="5489427" y="324028"/>
                    </a:lnTo>
                    <a:lnTo>
                      <a:pt x="5484662" y="328792"/>
                    </a:lnTo>
                    <a:lnTo>
                      <a:pt x="5479897" y="324028"/>
                    </a:lnTo>
                    <a:lnTo>
                      <a:pt x="5475131" y="328792"/>
                    </a:lnTo>
                    <a:lnTo>
                      <a:pt x="5465601" y="338324"/>
                    </a:lnTo>
                    <a:lnTo>
                      <a:pt x="5451306" y="347852"/>
                    </a:lnTo>
                    <a:lnTo>
                      <a:pt x="5422715" y="362148"/>
                    </a:lnTo>
                    <a:lnTo>
                      <a:pt x="5394125" y="371676"/>
                    </a:lnTo>
                    <a:lnTo>
                      <a:pt x="5327413" y="395504"/>
                    </a:lnTo>
                    <a:lnTo>
                      <a:pt x="5289291" y="419328"/>
                    </a:lnTo>
                    <a:lnTo>
                      <a:pt x="5274997" y="433624"/>
                    </a:lnTo>
                    <a:lnTo>
                      <a:pt x="5203519" y="505100"/>
                    </a:lnTo>
                    <a:lnTo>
                      <a:pt x="5165399" y="543224"/>
                    </a:lnTo>
                    <a:lnTo>
                      <a:pt x="5098687" y="595640"/>
                    </a:lnTo>
                    <a:lnTo>
                      <a:pt x="5093921" y="605168"/>
                    </a:lnTo>
                    <a:lnTo>
                      <a:pt x="5093921" y="609936"/>
                    </a:lnTo>
                    <a:lnTo>
                      <a:pt x="5098687" y="614700"/>
                    </a:lnTo>
                    <a:lnTo>
                      <a:pt x="5112982" y="624228"/>
                    </a:lnTo>
                    <a:lnTo>
                      <a:pt x="5122513" y="624228"/>
                    </a:lnTo>
                    <a:lnTo>
                      <a:pt x="5136807" y="624228"/>
                    </a:lnTo>
                    <a:lnTo>
                      <a:pt x="5189224" y="609936"/>
                    </a:lnTo>
                    <a:lnTo>
                      <a:pt x="5213049" y="600404"/>
                    </a:lnTo>
                    <a:lnTo>
                      <a:pt x="5232110" y="581344"/>
                    </a:lnTo>
                    <a:lnTo>
                      <a:pt x="5236875" y="581344"/>
                    </a:lnTo>
                    <a:lnTo>
                      <a:pt x="5241641" y="586108"/>
                    </a:lnTo>
                    <a:lnTo>
                      <a:pt x="5246405" y="586108"/>
                    </a:lnTo>
                    <a:lnTo>
                      <a:pt x="5274997" y="567048"/>
                    </a:lnTo>
                    <a:lnTo>
                      <a:pt x="5284527" y="562284"/>
                    </a:lnTo>
                    <a:lnTo>
                      <a:pt x="5289291" y="562284"/>
                    </a:lnTo>
                    <a:lnTo>
                      <a:pt x="5298822" y="571812"/>
                    </a:lnTo>
                    <a:lnTo>
                      <a:pt x="5303587" y="576580"/>
                    </a:lnTo>
                    <a:lnTo>
                      <a:pt x="5298822" y="586108"/>
                    </a:lnTo>
                    <a:lnTo>
                      <a:pt x="5289291" y="600404"/>
                    </a:lnTo>
                    <a:lnTo>
                      <a:pt x="5289291" y="609936"/>
                    </a:lnTo>
                    <a:lnTo>
                      <a:pt x="5289291" y="619464"/>
                    </a:lnTo>
                    <a:lnTo>
                      <a:pt x="5284527" y="628996"/>
                    </a:lnTo>
                    <a:lnTo>
                      <a:pt x="5274997" y="643292"/>
                    </a:lnTo>
                    <a:lnTo>
                      <a:pt x="5279761" y="648056"/>
                    </a:lnTo>
                    <a:lnTo>
                      <a:pt x="5303587" y="638524"/>
                    </a:lnTo>
                    <a:lnTo>
                      <a:pt x="5303587" y="633760"/>
                    </a:lnTo>
                    <a:lnTo>
                      <a:pt x="5303587" y="628996"/>
                    </a:lnTo>
                    <a:lnTo>
                      <a:pt x="5308352" y="624228"/>
                    </a:lnTo>
                    <a:lnTo>
                      <a:pt x="5327413" y="638524"/>
                    </a:lnTo>
                    <a:lnTo>
                      <a:pt x="5336943" y="648056"/>
                    </a:lnTo>
                    <a:lnTo>
                      <a:pt x="5351239" y="648056"/>
                    </a:lnTo>
                    <a:lnTo>
                      <a:pt x="5370299" y="648056"/>
                    </a:lnTo>
                    <a:lnTo>
                      <a:pt x="5398889" y="633760"/>
                    </a:lnTo>
                    <a:lnTo>
                      <a:pt x="5422715" y="619464"/>
                    </a:lnTo>
                    <a:lnTo>
                      <a:pt x="5446541" y="605168"/>
                    </a:lnTo>
                    <a:lnTo>
                      <a:pt x="5470367" y="590872"/>
                    </a:lnTo>
                    <a:lnTo>
                      <a:pt x="5498957" y="590872"/>
                    </a:lnTo>
                    <a:lnTo>
                      <a:pt x="5522783" y="581344"/>
                    </a:lnTo>
                    <a:lnTo>
                      <a:pt x="5537079" y="571812"/>
                    </a:lnTo>
                    <a:lnTo>
                      <a:pt x="5556139" y="557516"/>
                    </a:lnTo>
                    <a:lnTo>
                      <a:pt x="5565669" y="552752"/>
                    </a:lnTo>
                    <a:lnTo>
                      <a:pt x="5575199" y="552752"/>
                    </a:lnTo>
                    <a:lnTo>
                      <a:pt x="5584729" y="547988"/>
                    </a:lnTo>
                    <a:lnTo>
                      <a:pt x="5594260" y="533692"/>
                    </a:lnTo>
                    <a:lnTo>
                      <a:pt x="5603790" y="524160"/>
                    </a:lnTo>
                    <a:lnTo>
                      <a:pt x="5622851" y="509868"/>
                    </a:lnTo>
                    <a:lnTo>
                      <a:pt x="5632381" y="500336"/>
                    </a:lnTo>
                    <a:lnTo>
                      <a:pt x="5637146" y="505100"/>
                    </a:lnTo>
                    <a:lnTo>
                      <a:pt x="5637146" y="509868"/>
                    </a:lnTo>
                    <a:lnTo>
                      <a:pt x="5637146" y="514632"/>
                    </a:lnTo>
                    <a:lnTo>
                      <a:pt x="5637146" y="519396"/>
                    </a:lnTo>
                    <a:lnTo>
                      <a:pt x="5641911" y="524160"/>
                    </a:lnTo>
                    <a:lnTo>
                      <a:pt x="5651441" y="528928"/>
                    </a:lnTo>
                    <a:lnTo>
                      <a:pt x="5656207" y="533692"/>
                    </a:lnTo>
                    <a:lnTo>
                      <a:pt x="5651441" y="543224"/>
                    </a:lnTo>
                    <a:lnTo>
                      <a:pt x="5656207" y="547988"/>
                    </a:lnTo>
                    <a:lnTo>
                      <a:pt x="5660971" y="552752"/>
                    </a:lnTo>
                    <a:lnTo>
                      <a:pt x="5665737" y="562284"/>
                    </a:lnTo>
                    <a:lnTo>
                      <a:pt x="5660971" y="581344"/>
                    </a:lnTo>
                    <a:lnTo>
                      <a:pt x="5660971" y="590872"/>
                    </a:lnTo>
                    <a:lnTo>
                      <a:pt x="5660971" y="600404"/>
                    </a:lnTo>
                    <a:lnTo>
                      <a:pt x="5665737" y="600404"/>
                    </a:lnTo>
                    <a:lnTo>
                      <a:pt x="5670502" y="600404"/>
                    </a:lnTo>
                    <a:lnTo>
                      <a:pt x="5670502" y="590872"/>
                    </a:lnTo>
                    <a:lnTo>
                      <a:pt x="5675267" y="586108"/>
                    </a:lnTo>
                    <a:lnTo>
                      <a:pt x="5699093" y="567048"/>
                    </a:lnTo>
                    <a:lnTo>
                      <a:pt x="5708623" y="567048"/>
                    </a:lnTo>
                    <a:lnTo>
                      <a:pt x="5713388" y="571812"/>
                    </a:lnTo>
                    <a:lnTo>
                      <a:pt x="5751509" y="576580"/>
                    </a:lnTo>
                    <a:lnTo>
                      <a:pt x="5770569" y="581344"/>
                    </a:lnTo>
                    <a:lnTo>
                      <a:pt x="5784865" y="590872"/>
                    </a:lnTo>
                    <a:lnTo>
                      <a:pt x="5789630" y="595640"/>
                    </a:lnTo>
                    <a:lnTo>
                      <a:pt x="5813456" y="628996"/>
                    </a:lnTo>
                    <a:lnTo>
                      <a:pt x="5822986" y="638524"/>
                    </a:lnTo>
                    <a:lnTo>
                      <a:pt x="5827751" y="643292"/>
                    </a:lnTo>
                    <a:lnTo>
                      <a:pt x="5827751" y="648056"/>
                    </a:lnTo>
                    <a:lnTo>
                      <a:pt x="5832517" y="662352"/>
                    </a:lnTo>
                    <a:lnTo>
                      <a:pt x="5837281" y="662352"/>
                    </a:lnTo>
                    <a:lnTo>
                      <a:pt x="5865872" y="667116"/>
                    </a:lnTo>
                    <a:lnTo>
                      <a:pt x="5880167" y="662352"/>
                    </a:lnTo>
                    <a:lnTo>
                      <a:pt x="5884933" y="657584"/>
                    </a:lnTo>
                    <a:lnTo>
                      <a:pt x="5894463" y="662352"/>
                    </a:lnTo>
                    <a:lnTo>
                      <a:pt x="5903993" y="671880"/>
                    </a:lnTo>
                    <a:lnTo>
                      <a:pt x="5913523" y="676648"/>
                    </a:lnTo>
                    <a:lnTo>
                      <a:pt x="5923053" y="671880"/>
                    </a:lnTo>
                    <a:lnTo>
                      <a:pt x="5932584" y="671880"/>
                    </a:lnTo>
                    <a:lnTo>
                      <a:pt x="5942114" y="676648"/>
                    </a:lnTo>
                    <a:lnTo>
                      <a:pt x="5946879" y="681412"/>
                    </a:lnTo>
                    <a:lnTo>
                      <a:pt x="5965940" y="662352"/>
                    </a:lnTo>
                    <a:lnTo>
                      <a:pt x="5985001" y="648056"/>
                    </a:lnTo>
                    <a:lnTo>
                      <a:pt x="6013591" y="633760"/>
                    </a:lnTo>
                    <a:lnTo>
                      <a:pt x="6027887" y="628996"/>
                    </a:lnTo>
                    <a:lnTo>
                      <a:pt x="6030269" y="628996"/>
                    </a:lnTo>
                    <a:lnTo>
                      <a:pt x="6054095" y="624228"/>
                    </a:lnTo>
                    <a:lnTo>
                      <a:pt x="6077921" y="624228"/>
                    </a:lnTo>
                    <a:lnTo>
                      <a:pt x="6106511" y="624228"/>
                    </a:lnTo>
                    <a:lnTo>
                      <a:pt x="6130337" y="624228"/>
                    </a:lnTo>
                    <a:lnTo>
                      <a:pt x="6158927" y="609936"/>
                    </a:lnTo>
                    <a:lnTo>
                      <a:pt x="6177988" y="605168"/>
                    </a:lnTo>
                    <a:lnTo>
                      <a:pt x="6197049" y="605168"/>
                    </a:lnTo>
                    <a:lnTo>
                      <a:pt x="6206579" y="609936"/>
                    </a:lnTo>
                    <a:lnTo>
                      <a:pt x="6201813" y="614700"/>
                    </a:lnTo>
                    <a:lnTo>
                      <a:pt x="6197049" y="628996"/>
                    </a:lnTo>
                    <a:lnTo>
                      <a:pt x="6197049" y="643292"/>
                    </a:lnTo>
                    <a:lnTo>
                      <a:pt x="6197049" y="657584"/>
                    </a:lnTo>
                    <a:lnTo>
                      <a:pt x="6192283" y="657584"/>
                    </a:lnTo>
                    <a:lnTo>
                      <a:pt x="6192283" y="662352"/>
                    </a:lnTo>
                    <a:lnTo>
                      <a:pt x="6197049" y="667116"/>
                    </a:lnTo>
                    <a:lnTo>
                      <a:pt x="6216109" y="671880"/>
                    </a:lnTo>
                    <a:lnTo>
                      <a:pt x="6225639" y="676648"/>
                    </a:lnTo>
                    <a:lnTo>
                      <a:pt x="6235169" y="676648"/>
                    </a:lnTo>
                    <a:lnTo>
                      <a:pt x="6249465" y="671880"/>
                    </a:lnTo>
                    <a:lnTo>
                      <a:pt x="6258995" y="671880"/>
                    </a:lnTo>
                    <a:lnTo>
                      <a:pt x="6263761" y="681412"/>
                    </a:lnTo>
                    <a:lnTo>
                      <a:pt x="6273291" y="686176"/>
                    </a:lnTo>
                    <a:lnTo>
                      <a:pt x="6282821" y="676648"/>
                    </a:lnTo>
                    <a:lnTo>
                      <a:pt x="6292351" y="671880"/>
                    </a:lnTo>
                    <a:lnTo>
                      <a:pt x="6297116" y="667116"/>
                    </a:lnTo>
                    <a:lnTo>
                      <a:pt x="6301881" y="667116"/>
                    </a:lnTo>
                    <a:lnTo>
                      <a:pt x="6306647" y="671880"/>
                    </a:lnTo>
                    <a:lnTo>
                      <a:pt x="6311411" y="676648"/>
                    </a:lnTo>
                    <a:lnTo>
                      <a:pt x="6316177" y="690940"/>
                    </a:lnTo>
                    <a:lnTo>
                      <a:pt x="6320942" y="700472"/>
                    </a:lnTo>
                    <a:lnTo>
                      <a:pt x="6325707" y="714768"/>
                    </a:lnTo>
                    <a:lnTo>
                      <a:pt x="6325707" y="719532"/>
                    </a:lnTo>
                    <a:lnTo>
                      <a:pt x="6325707" y="724296"/>
                    </a:lnTo>
                    <a:lnTo>
                      <a:pt x="6320942" y="733828"/>
                    </a:lnTo>
                    <a:lnTo>
                      <a:pt x="6316177" y="738592"/>
                    </a:lnTo>
                    <a:lnTo>
                      <a:pt x="6320942" y="743356"/>
                    </a:lnTo>
                    <a:lnTo>
                      <a:pt x="6340003" y="743356"/>
                    </a:lnTo>
                    <a:lnTo>
                      <a:pt x="6349533" y="748124"/>
                    </a:lnTo>
                    <a:lnTo>
                      <a:pt x="6349533" y="752888"/>
                    </a:lnTo>
                    <a:lnTo>
                      <a:pt x="6349533" y="757652"/>
                    </a:lnTo>
                    <a:lnTo>
                      <a:pt x="6349533" y="762420"/>
                    </a:lnTo>
                    <a:lnTo>
                      <a:pt x="6354298" y="767184"/>
                    </a:lnTo>
                    <a:lnTo>
                      <a:pt x="6368593" y="776712"/>
                    </a:lnTo>
                    <a:lnTo>
                      <a:pt x="6373359" y="781480"/>
                    </a:lnTo>
                    <a:lnTo>
                      <a:pt x="6373359" y="786244"/>
                    </a:lnTo>
                    <a:lnTo>
                      <a:pt x="6368593" y="791008"/>
                    </a:lnTo>
                    <a:lnTo>
                      <a:pt x="6359063" y="791008"/>
                    </a:lnTo>
                    <a:lnTo>
                      <a:pt x="6306647" y="781480"/>
                    </a:lnTo>
                    <a:lnTo>
                      <a:pt x="6287586" y="781480"/>
                    </a:lnTo>
                    <a:lnTo>
                      <a:pt x="6287586" y="786244"/>
                    </a:lnTo>
                    <a:lnTo>
                      <a:pt x="6282821" y="786244"/>
                    </a:lnTo>
                    <a:lnTo>
                      <a:pt x="6282821" y="781480"/>
                    </a:lnTo>
                    <a:lnTo>
                      <a:pt x="6278055" y="781480"/>
                    </a:lnTo>
                    <a:lnTo>
                      <a:pt x="6273291" y="781480"/>
                    </a:lnTo>
                    <a:lnTo>
                      <a:pt x="6273291" y="776712"/>
                    </a:lnTo>
                    <a:lnTo>
                      <a:pt x="6268525" y="771948"/>
                    </a:lnTo>
                    <a:lnTo>
                      <a:pt x="6258995" y="771948"/>
                    </a:lnTo>
                    <a:lnTo>
                      <a:pt x="6254230" y="776712"/>
                    </a:lnTo>
                    <a:lnTo>
                      <a:pt x="6244700" y="791008"/>
                    </a:lnTo>
                    <a:lnTo>
                      <a:pt x="6244700" y="795776"/>
                    </a:lnTo>
                    <a:lnTo>
                      <a:pt x="6244700" y="805304"/>
                    </a:lnTo>
                    <a:lnTo>
                      <a:pt x="6244700" y="810068"/>
                    </a:lnTo>
                    <a:lnTo>
                      <a:pt x="6244700" y="814836"/>
                    </a:lnTo>
                    <a:lnTo>
                      <a:pt x="6239935" y="814836"/>
                    </a:lnTo>
                    <a:lnTo>
                      <a:pt x="6230405" y="810068"/>
                    </a:lnTo>
                    <a:lnTo>
                      <a:pt x="6206579" y="786244"/>
                    </a:lnTo>
                    <a:lnTo>
                      <a:pt x="6187519" y="771948"/>
                    </a:lnTo>
                    <a:lnTo>
                      <a:pt x="6158927" y="762420"/>
                    </a:lnTo>
                    <a:lnTo>
                      <a:pt x="6139867" y="757652"/>
                    </a:lnTo>
                    <a:lnTo>
                      <a:pt x="6125571" y="757652"/>
                    </a:lnTo>
                    <a:lnTo>
                      <a:pt x="6116041" y="762420"/>
                    </a:lnTo>
                    <a:lnTo>
                      <a:pt x="6106511" y="776712"/>
                    </a:lnTo>
                    <a:lnTo>
                      <a:pt x="6092215" y="786244"/>
                    </a:lnTo>
                    <a:lnTo>
                      <a:pt x="6073155" y="786244"/>
                    </a:lnTo>
                    <a:lnTo>
                      <a:pt x="6058860" y="791008"/>
                    </a:lnTo>
                    <a:lnTo>
                      <a:pt x="6058860" y="795776"/>
                    </a:lnTo>
                    <a:lnTo>
                      <a:pt x="6049329" y="795776"/>
                    </a:lnTo>
                    <a:lnTo>
                      <a:pt x="6039799" y="791008"/>
                    </a:lnTo>
                    <a:lnTo>
                      <a:pt x="6027887" y="791008"/>
                    </a:lnTo>
                    <a:lnTo>
                      <a:pt x="6013591" y="791008"/>
                    </a:lnTo>
                    <a:lnTo>
                      <a:pt x="6004061" y="795776"/>
                    </a:lnTo>
                    <a:lnTo>
                      <a:pt x="5994531" y="814836"/>
                    </a:lnTo>
                    <a:lnTo>
                      <a:pt x="5994531" y="819600"/>
                    </a:lnTo>
                    <a:lnTo>
                      <a:pt x="5985001" y="829132"/>
                    </a:lnTo>
                    <a:lnTo>
                      <a:pt x="5965940" y="838660"/>
                    </a:lnTo>
                    <a:lnTo>
                      <a:pt x="5965940" y="843424"/>
                    </a:lnTo>
                    <a:lnTo>
                      <a:pt x="5951645" y="852956"/>
                    </a:lnTo>
                    <a:lnTo>
                      <a:pt x="5951645" y="862488"/>
                    </a:lnTo>
                    <a:lnTo>
                      <a:pt x="5951645" y="867252"/>
                    </a:lnTo>
                    <a:lnTo>
                      <a:pt x="5946879" y="867252"/>
                    </a:lnTo>
                    <a:lnTo>
                      <a:pt x="5937349" y="857720"/>
                    </a:lnTo>
                    <a:lnTo>
                      <a:pt x="5937349" y="848192"/>
                    </a:lnTo>
                    <a:lnTo>
                      <a:pt x="5946879" y="838660"/>
                    </a:lnTo>
                    <a:lnTo>
                      <a:pt x="5951645" y="829132"/>
                    </a:lnTo>
                    <a:lnTo>
                      <a:pt x="5956409" y="833896"/>
                    </a:lnTo>
                    <a:lnTo>
                      <a:pt x="5961175" y="824364"/>
                    </a:lnTo>
                    <a:lnTo>
                      <a:pt x="5961175" y="814836"/>
                    </a:lnTo>
                    <a:lnTo>
                      <a:pt x="5961175" y="810068"/>
                    </a:lnTo>
                    <a:lnTo>
                      <a:pt x="5946879" y="810068"/>
                    </a:lnTo>
                    <a:lnTo>
                      <a:pt x="5942114" y="814836"/>
                    </a:lnTo>
                    <a:lnTo>
                      <a:pt x="5937349" y="814836"/>
                    </a:lnTo>
                    <a:lnTo>
                      <a:pt x="5927819" y="814836"/>
                    </a:lnTo>
                    <a:lnTo>
                      <a:pt x="5923053" y="819600"/>
                    </a:lnTo>
                    <a:lnTo>
                      <a:pt x="5918289" y="833896"/>
                    </a:lnTo>
                    <a:lnTo>
                      <a:pt x="5908759" y="843424"/>
                    </a:lnTo>
                    <a:lnTo>
                      <a:pt x="5899228" y="848192"/>
                    </a:lnTo>
                    <a:lnTo>
                      <a:pt x="5894463" y="843424"/>
                    </a:lnTo>
                    <a:lnTo>
                      <a:pt x="5894463" y="829132"/>
                    </a:lnTo>
                    <a:lnTo>
                      <a:pt x="5894463" y="819600"/>
                    </a:lnTo>
                    <a:lnTo>
                      <a:pt x="5894463" y="805304"/>
                    </a:lnTo>
                    <a:lnTo>
                      <a:pt x="5894463" y="800540"/>
                    </a:lnTo>
                    <a:lnTo>
                      <a:pt x="5889698" y="805304"/>
                    </a:lnTo>
                    <a:lnTo>
                      <a:pt x="5884933" y="819600"/>
                    </a:lnTo>
                    <a:lnTo>
                      <a:pt x="5880167" y="843424"/>
                    </a:lnTo>
                    <a:lnTo>
                      <a:pt x="5875403" y="852956"/>
                    </a:lnTo>
                    <a:lnTo>
                      <a:pt x="5865872" y="852956"/>
                    </a:lnTo>
                    <a:lnTo>
                      <a:pt x="5856342" y="872016"/>
                    </a:lnTo>
                    <a:lnTo>
                      <a:pt x="5842047" y="895840"/>
                    </a:lnTo>
                    <a:lnTo>
                      <a:pt x="5827751" y="924432"/>
                    </a:lnTo>
                    <a:lnTo>
                      <a:pt x="5813456" y="948260"/>
                    </a:lnTo>
                    <a:lnTo>
                      <a:pt x="5803925" y="962552"/>
                    </a:lnTo>
                    <a:lnTo>
                      <a:pt x="5799161" y="967320"/>
                    </a:lnTo>
                    <a:lnTo>
                      <a:pt x="5799161" y="972084"/>
                    </a:lnTo>
                    <a:lnTo>
                      <a:pt x="5794395" y="986380"/>
                    </a:lnTo>
                    <a:lnTo>
                      <a:pt x="5794395" y="995908"/>
                    </a:lnTo>
                    <a:lnTo>
                      <a:pt x="5784865" y="1005440"/>
                    </a:lnTo>
                    <a:lnTo>
                      <a:pt x="5761039" y="1019736"/>
                    </a:lnTo>
                    <a:lnTo>
                      <a:pt x="5756274" y="1024500"/>
                    </a:lnTo>
                    <a:lnTo>
                      <a:pt x="5756274" y="1034032"/>
                    </a:lnTo>
                    <a:lnTo>
                      <a:pt x="5741979" y="1057856"/>
                    </a:lnTo>
                    <a:lnTo>
                      <a:pt x="5737213" y="1072152"/>
                    </a:lnTo>
                    <a:lnTo>
                      <a:pt x="5732449" y="1091212"/>
                    </a:lnTo>
                    <a:lnTo>
                      <a:pt x="5732449" y="1100744"/>
                    </a:lnTo>
                    <a:lnTo>
                      <a:pt x="5741979" y="1105508"/>
                    </a:lnTo>
                    <a:lnTo>
                      <a:pt x="5746744" y="1100744"/>
                    </a:lnTo>
                    <a:lnTo>
                      <a:pt x="5751509" y="1095976"/>
                    </a:lnTo>
                    <a:lnTo>
                      <a:pt x="5756274" y="1086448"/>
                    </a:lnTo>
                    <a:lnTo>
                      <a:pt x="5765805" y="1081680"/>
                    </a:lnTo>
                    <a:lnTo>
                      <a:pt x="5775335" y="1072152"/>
                    </a:lnTo>
                    <a:lnTo>
                      <a:pt x="5784865" y="1053092"/>
                    </a:lnTo>
                    <a:lnTo>
                      <a:pt x="5799161" y="1038796"/>
                    </a:lnTo>
                    <a:lnTo>
                      <a:pt x="5803925" y="1038796"/>
                    </a:lnTo>
                    <a:lnTo>
                      <a:pt x="5818221" y="1034032"/>
                    </a:lnTo>
                    <a:lnTo>
                      <a:pt x="5827751" y="1034032"/>
                    </a:lnTo>
                    <a:lnTo>
                      <a:pt x="5832517" y="1043560"/>
                    </a:lnTo>
                    <a:lnTo>
                      <a:pt x="5837281" y="1048324"/>
                    </a:lnTo>
                    <a:lnTo>
                      <a:pt x="5837281" y="1053092"/>
                    </a:lnTo>
                    <a:lnTo>
                      <a:pt x="5837281" y="1067388"/>
                    </a:lnTo>
                    <a:lnTo>
                      <a:pt x="5827751" y="1081680"/>
                    </a:lnTo>
                    <a:lnTo>
                      <a:pt x="5822986" y="1091212"/>
                    </a:lnTo>
                    <a:lnTo>
                      <a:pt x="5813456" y="1115036"/>
                    </a:lnTo>
                    <a:lnTo>
                      <a:pt x="5808691" y="1138864"/>
                    </a:lnTo>
                    <a:lnTo>
                      <a:pt x="5808691" y="1157924"/>
                    </a:lnTo>
                    <a:lnTo>
                      <a:pt x="5808691" y="1172220"/>
                    </a:lnTo>
                    <a:lnTo>
                      <a:pt x="5808691" y="1186516"/>
                    </a:lnTo>
                    <a:lnTo>
                      <a:pt x="5799161" y="1196044"/>
                    </a:lnTo>
                    <a:lnTo>
                      <a:pt x="5789630" y="1210340"/>
                    </a:lnTo>
                    <a:lnTo>
                      <a:pt x="5780100" y="1229400"/>
                    </a:lnTo>
                    <a:lnTo>
                      <a:pt x="5780100" y="1243696"/>
                    </a:lnTo>
                    <a:lnTo>
                      <a:pt x="5775335" y="1257992"/>
                    </a:lnTo>
                    <a:lnTo>
                      <a:pt x="5780100" y="1267520"/>
                    </a:lnTo>
                    <a:lnTo>
                      <a:pt x="5780100" y="1277052"/>
                    </a:lnTo>
                    <a:lnTo>
                      <a:pt x="5780100" y="1286584"/>
                    </a:lnTo>
                    <a:lnTo>
                      <a:pt x="5770569" y="1310408"/>
                    </a:lnTo>
                    <a:lnTo>
                      <a:pt x="5765805" y="1324704"/>
                    </a:lnTo>
                    <a:lnTo>
                      <a:pt x="5765805" y="1334232"/>
                    </a:lnTo>
                    <a:lnTo>
                      <a:pt x="5761039" y="1343764"/>
                    </a:lnTo>
                    <a:lnTo>
                      <a:pt x="5751509" y="1367588"/>
                    </a:lnTo>
                    <a:lnTo>
                      <a:pt x="5751509" y="1377120"/>
                    </a:lnTo>
                    <a:lnTo>
                      <a:pt x="5751509" y="1386652"/>
                    </a:lnTo>
                    <a:lnTo>
                      <a:pt x="5751509" y="1405712"/>
                    </a:lnTo>
                    <a:lnTo>
                      <a:pt x="5751509" y="1410476"/>
                    </a:lnTo>
                    <a:lnTo>
                      <a:pt x="5751509" y="1415240"/>
                    </a:lnTo>
                    <a:lnTo>
                      <a:pt x="5751509" y="1420004"/>
                    </a:lnTo>
                    <a:lnTo>
                      <a:pt x="5751509" y="1424772"/>
                    </a:lnTo>
                    <a:lnTo>
                      <a:pt x="5751509" y="1429536"/>
                    </a:lnTo>
                    <a:lnTo>
                      <a:pt x="5751509" y="1434300"/>
                    </a:lnTo>
                    <a:lnTo>
                      <a:pt x="5756274" y="1443832"/>
                    </a:lnTo>
                    <a:lnTo>
                      <a:pt x="5761039" y="1448596"/>
                    </a:lnTo>
                    <a:lnTo>
                      <a:pt x="5761039" y="1462892"/>
                    </a:lnTo>
                    <a:lnTo>
                      <a:pt x="5761039" y="1472424"/>
                    </a:lnTo>
                    <a:lnTo>
                      <a:pt x="5765805" y="1481952"/>
                    </a:lnTo>
                    <a:lnTo>
                      <a:pt x="5770569" y="1491484"/>
                    </a:lnTo>
                    <a:lnTo>
                      <a:pt x="5765805" y="1505780"/>
                    </a:lnTo>
                    <a:lnTo>
                      <a:pt x="5765805" y="1539136"/>
                    </a:lnTo>
                    <a:lnTo>
                      <a:pt x="5765805" y="1582020"/>
                    </a:lnTo>
                    <a:lnTo>
                      <a:pt x="5765805" y="1605844"/>
                    </a:lnTo>
                    <a:lnTo>
                      <a:pt x="5770569" y="1620140"/>
                    </a:lnTo>
                    <a:lnTo>
                      <a:pt x="5775335" y="1629672"/>
                    </a:lnTo>
                    <a:lnTo>
                      <a:pt x="5784865" y="1634436"/>
                    </a:lnTo>
                    <a:lnTo>
                      <a:pt x="5789630" y="1653496"/>
                    </a:lnTo>
                    <a:lnTo>
                      <a:pt x="5799161" y="1682088"/>
                    </a:lnTo>
                    <a:lnTo>
                      <a:pt x="5803925" y="1701148"/>
                    </a:lnTo>
                    <a:lnTo>
                      <a:pt x="5808691" y="1710680"/>
                    </a:lnTo>
                    <a:lnTo>
                      <a:pt x="5818221" y="1715444"/>
                    </a:lnTo>
                    <a:lnTo>
                      <a:pt x="5822986" y="1720208"/>
                    </a:lnTo>
                    <a:lnTo>
                      <a:pt x="5827751" y="1724976"/>
                    </a:lnTo>
                    <a:lnTo>
                      <a:pt x="5837281" y="1724976"/>
                    </a:lnTo>
                    <a:lnTo>
                      <a:pt x="5851577" y="1724976"/>
                    </a:lnTo>
                    <a:lnTo>
                      <a:pt x="5865872" y="1724976"/>
                    </a:lnTo>
                    <a:lnTo>
                      <a:pt x="5880167" y="1720208"/>
                    </a:lnTo>
                    <a:lnTo>
                      <a:pt x="5923053" y="1696384"/>
                    </a:lnTo>
                    <a:lnTo>
                      <a:pt x="5937349" y="1682088"/>
                    </a:lnTo>
                    <a:lnTo>
                      <a:pt x="5946879" y="1667792"/>
                    </a:lnTo>
                    <a:lnTo>
                      <a:pt x="5956409" y="1653496"/>
                    </a:lnTo>
                    <a:lnTo>
                      <a:pt x="5965940" y="1634436"/>
                    </a:lnTo>
                    <a:lnTo>
                      <a:pt x="5985001" y="1605844"/>
                    </a:lnTo>
                    <a:lnTo>
                      <a:pt x="5994531" y="1586784"/>
                    </a:lnTo>
                    <a:lnTo>
                      <a:pt x="5999295" y="1562960"/>
                    </a:lnTo>
                    <a:lnTo>
                      <a:pt x="6008826" y="1539136"/>
                    </a:lnTo>
                    <a:lnTo>
                      <a:pt x="6013591" y="1515308"/>
                    </a:lnTo>
                    <a:lnTo>
                      <a:pt x="6013591" y="1486716"/>
                    </a:lnTo>
                    <a:lnTo>
                      <a:pt x="6013591" y="1462892"/>
                    </a:lnTo>
                    <a:lnTo>
                      <a:pt x="6008826" y="1434300"/>
                    </a:lnTo>
                    <a:lnTo>
                      <a:pt x="5999295" y="1405712"/>
                    </a:lnTo>
                    <a:lnTo>
                      <a:pt x="5994531" y="1391416"/>
                    </a:lnTo>
                    <a:lnTo>
                      <a:pt x="5994531" y="1386652"/>
                    </a:lnTo>
                    <a:lnTo>
                      <a:pt x="5980235" y="1353296"/>
                    </a:lnTo>
                    <a:lnTo>
                      <a:pt x="5961175" y="1300876"/>
                    </a:lnTo>
                    <a:lnTo>
                      <a:pt x="5980235" y="1267520"/>
                    </a:lnTo>
                    <a:lnTo>
                      <a:pt x="5980235" y="1262756"/>
                    </a:lnTo>
                    <a:lnTo>
                      <a:pt x="5975470" y="1238932"/>
                    </a:lnTo>
                    <a:lnTo>
                      <a:pt x="5975470" y="1229400"/>
                    </a:lnTo>
                    <a:lnTo>
                      <a:pt x="5965940" y="1210340"/>
                    </a:lnTo>
                    <a:lnTo>
                      <a:pt x="5980235" y="1186516"/>
                    </a:lnTo>
                    <a:lnTo>
                      <a:pt x="5994531" y="1172220"/>
                    </a:lnTo>
                    <a:lnTo>
                      <a:pt x="5999295" y="1153160"/>
                    </a:lnTo>
                    <a:lnTo>
                      <a:pt x="6008826" y="1129332"/>
                    </a:lnTo>
                    <a:lnTo>
                      <a:pt x="6008826" y="1105508"/>
                    </a:lnTo>
                    <a:lnTo>
                      <a:pt x="6008826" y="1086448"/>
                    </a:lnTo>
                    <a:lnTo>
                      <a:pt x="6004061" y="1076916"/>
                    </a:lnTo>
                    <a:lnTo>
                      <a:pt x="6008826" y="1072152"/>
                    </a:lnTo>
                    <a:lnTo>
                      <a:pt x="6008826" y="1067388"/>
                    </a:lnTo>
                    <a:lnTo>
                      <a:pt x="6027887" y="1062620"/>
                    </a:lnTo>
                    <a:lnTo>
                      <a:pt x="6030269" y="1053092"/>
                    </a:lnTo>
                    <a:lnTo>
                      <a:pt x="6030269" y="1034032"/>
                    </a:lnTo>
                    <a:lnTo>
                      <a:pt x="6035034" y="1024500"/>
                    </a:lnTo>
                    <a:lnTo>
                      <a:pt x="6039799" y="1024500"/>
                    </a:lnTo>
                    <a:lnTo>
                      <a:pt x="6049329" y="1019736"/>
                    </a:lnTo>
                    <a:lnTo>
                      <a:pt x="6054095" y="1014972"/>
                    </a:lnTo>
                    <a:lnTo>
                      <a:pt x="6058860" y="1010204"/>
                    </a:lnTo>
                    <a:lnTo>
                      <a:pt x="6068390" y="1014972"/>
                    </a:lnTo>
                    <a:lnTo>
                      <a:pt x="6077921" y="1000676"/>
                    </a:lnTo>
                    <a:lnTo>
                      <a:pt x="6092215" y="976848"/>
                    </a:lnTo>
                    <a:lnTo>
                      <a:pt x="6106511" y="962552"/>
                    </a:lnTo>
                    <a:lnTo>
                      <a:pt x="6111276" y="957788"/>
                    </a:lnTo>
                    <a:lnTo>
                      <a:pt x="6116041" y="962552"/>
                    </a:lnTo>
                    <a:lnTo>
                      <a:pt x="6111276" y="972084"/>
                    </a:lnTo>
                    <a:lnTo>
                      <a:pt x="6106511" y="976848"/>
                    </a:lnTo>
                    <a:lnTo>
                      <a:pt x="6111276" y="986380"/>
                    </a:lnTo>
                    <a:lnTo>
                      <a:pt x="6106511" y="995908"/>
                    </a:lnTo>
                    <a:lnTo>
                      <a:pt x="6106511" y="1010204"/>
                    </a:lnTo>
                    <a:lnTo>
                      <a:pt x="6101746" y="1029264"/>
                    </a:lnTo>
                    <a:lnTo>
                      <a:pt x="6101746" y="1038796"/>
                    </a:lnTo>
                    <a:lnTo>
                      <a:pt x="6101746" y="1048324"/>
                    </a:lnTo>
                    <a:lnTo>
                      <a:pt x="6106511" y="1043560"/>
                    </a:lnTo>
                    <a:lnTo>
                      <a:pt x="6116041" y="1034032"/>
                    </a:lnTo>
                    <a:lnTo>
                      <a:pt x="6116041" y="1029264"/>
                    </a:lnTo>
                    <a:lnTo>
                      <a:pt x="6111276" y="1024500"/>
                    </a:lnTo>
                    <a:lnTo>
                      <a:pt x="6116041" y="1019736"/>
                    </a:lnTo>
                    <a:lnTo>
                      <a:pt x="6116041" y="1010204"/>
                    </a:lnTo>
                    <a:lnTo>
                      <a:pt x="6120807" y="1005440"/>
                    </a:lnTo>
                    <a:lnTo>
                      <a:pt x="6125571" y="1005440"/>
                    </a:lnTo>
                    <a:lnTo>
                      <a:pt x="6125571" y="1010204"/>
                    </a:lnTo>
                    <a:lnTo>
                      <a:pt x="6125571" y="1019736"/>
                    </a:lnTo>
                    <a:lnTo>
                      <a:pt x="6116041" y="1043560"/>
                    </a:lnTo>
                    <a:lnTo>
                      <a:pt x="6111276" y="1053092"/>
                    </a:lnTo>
                    <a:lnTo>
                      <a:pt x="6116041" y="1057856"/>
                    </a:lnTo>
                    <a:lnTo>
                      <a:pt x="6125571" y="1038796"/>
                    </a:lnTo>
                    <a:lnTo>
                      <a:pt x="6135102" y="1014972"/>
                    </a:lnTo>
                    <a:lnTo>
                      <a:pt x="6139867" y="995908"/>
                    </a:lnTo>
                    <a:lnTo>
                      <a:pt x="6139867" y="986380"/>
                    </a:lnTo>
                    <a:lnTo>
                      <a:pt x="6139867" y="962552"/>
                    </a:lnTo>
                    <a:lnTo>
                      <a:pt x="6139867" y="953024"/>
                    </a:lnTo>
                    <a:lnTo>
                      <a:pt x="6139867" y="943492"/>
                    </a:lnTo>
                    <a:lnTo>
                      <a:pt x="6149397" y="933964"/>
                    </a:lnTo>
                    <a:lnTo>
                      <a:pt x="6168458" y="924432"/>
                    </a:lnTo>
                    <a:lnTo>
                      <a:pt x="6182753" y="919668"/>
                    </a:lnTo>
                    <a:lnTo>
                      <a:pt x="6197049" y="919668"/>
                    </a:lnTo>
                    <a:lnTo>
                      <a:pt x="6206579" y="919668"/>
                    </a:lnTo>
                    <a:lnTo>
                      <a:pt x="6211344" y="914904"/>
                    </a:lnTo>
                    <a:lnTo>
                      <a:pt x="6211344" y="910136"/>
                    </a:lnTo>
                    <a:lnTo>
                      <a:pt x="6201813" y="910136"/>
                    </a:lnTo>
                    <a:lnTo>
                      <a:pt x="6192283" y="900608"/>
                    </a:lnTo>
                    <a:lnTo>
                      <a:pt x="6187519" y="891076"/>
                    </a:lnTo>
                    <a:lnTo>
                      <a:pt x="6187519" y="881548"/>
                    </a:lnTo>
                    <a:lnTo>
                      <a:pt x="6187519" y="872016"/>
                    </a:lnTo>
                    <a:lnTo>
                      <a:pt x="6192283" y="857720"/>
                    </a:lnTo>
                    <a:lnTo>
                      <a:pt x="6206579" y="848192"/>
                    </a:lnTo>
                    <a:lnTo>
                      <a:pt x="6206579" y="838660"/>
                    </a:lnTo>
                    <a:lnTo>
                      <a:pt x="6206579" y="833896"/>
                    </a:lnTo>
                    <a:lnTo>
                      <a:pt x="6220874" y="833896"/>
                    </a:lnTo>
                    <a:lnTo>
                      <a:pt x="6230405" y="833896"/>
                    </a:lnTo>
                    <a:lnTo>
                      <a:pt x="6235169" y="829132"/>
                    </a:lnTo>
                    <a:lnTo>
                      <a:pt x="6249465" y="833896"/>
                    </a:lnTo>
                    <a:lnTo>
                      <a:pt x="6268525" y="848192"/>
                    </a:lnTo>
                    <a:lnTo>
                      <a:pt x="6287586" y="852956"/>
                    </a:lnTo>
                    <a:lnTo>
                      <a:pt x="6306647" y="857720"/>
                    </a:lnTo>
                    <a:lnTo>
                      <a:pt x="6320942" y="862488"/>
                    </a:lnTo>
                    <a:lnTo>
                      <a:pt x="6325707" y="872016"/>
                    </a:lnTo>
                    <a:lnTo>
                      <a:pt x="6335237" y="876780"/>
                    </a:lnTo>
                    <a:lnTo>
                      <a:pt x="6335237" y="886312"/>
                    </a:lnTo>
                    <a:lnTo>
                      <a:pt x="6344767" y="891076"/>
                    </a:lnTo>
                    <a:lnTo>
                      <a:pt x="6359063" y="895840"/>
                    </a:lnTo>
                    <a:lnTo>
                      <a:pt x="6368593" y="895840"/>
                    </a:lnTo>
                    <a:lnTo>
                      <a:pt x="6378123" y="905372"/>
                    </a:lnTo>
                    <a:lnTo>
                      <a:pt x="6421009" y="919668"/>
                    </a:lnTo>
                    <a:lnTo>
                      <a:pt x="6440070" y="929196"/>
                    </a:lnTo>
                    <a:lnTo>
                      <a:pt x="6449601" y="938728"/>
                    </a:lnTo>
                    <a:lnTo>
                      <a:pt x="6449601" y="943492"/>
                    </a:lnTo>
                    <a:lnTo>
                      <a:pt x="6449601" y="948260"/>
                    </a:lnTo>
                    <a:lnTo>
                      <a:pt x="6449601" y="957788"/>
                    </a:lnTo>
                    <a:lnTo>
                      <a:pt x="6459131" y="967320"/>
                    </a:lnTo>
                    <a:lnTo>
                      <a:pt x="6463895" y="967320"/>
                    </a:lnTo>
                    <a:lnTo>
                      <a:pt x="6463895" y="976848"/>
                    </a:lnTo>
                    <a:lnTo>
                      <a:pt x="6463895" y="986380"/>
                    </a:lnTo>
                    <a:lnTo>
                      <a:pt x="6468661" y="991144"/>
                    </a:lnTo>
                    <a:lnTo>
                      <a:pt x="6468661" y="995908"/>
                    </a:lnTo>
                    <a:lnTo>
                      <a:pt x="6454365" y="991144"/>
                    </a:lnTo>
                    <a:lnTo>
                      <a:pt x="6444835" y="991144"/>
                    </a:lnTo>
                    <a:lnTo>
                      <a:pt x="6444835" y="1000676"/>
                    </a:lnTo>
                    <a:lnTo>
                      <a:pt x="6444835" y="1005440"/>
                    </a:lnTo>
                    <a:lnTo>
                      <a:pt x="6444835" y="1014972"/>
                    </a:lnTo>
                    <a:lnTo>
                      <a:pt x="6463895" y="1034032"/>
                    </a:lnTo>
                    <a:lnTo>
                      <a:pt x="6468661" y="1053092"/>
                    </a:lnTo>
                    <a:lnTo>
                      <a:pt x="6468661" y="1076916"/>
                    </a:lnTo>
                    <a:lnTo>
                      <a:pt x="6463895" y="1081680"/>
                    </a:lnTo>
                    <a:lnTo>
                      <a:pt x="6463895" y="1105508"/>
                    </a:lnTo>
                    <a:lnTo>
                      <a:pt x="6463895" y="1134100"/>
                    </a:lnTo>
                    <a:lnTo>
                      <a:pt x="6463895" y="1143628"/>
                    </a:lnTo>
                    <a:lnTo>
                      <a:pt x="6454365" y="1153160"/>
                    </a:lnTo>
                    <a:lnTo>
                      <a:pt x="6440070" y="1167456"/>
                    </a:lnTo>
                    <a:lnTo>
                      <a:pt x="6440070" y="1162688"/>
                    </a:lnTo>
                    <a:lnTo>
                      <a:pt x="6435305" y="1167456"/>
                    </a:lnTo>
                    <a:lnTo>
                      <a:pt x="6425775" y="1176984"/>
                    </a:lnTo>
                    <a:lnTo>
                      <a:pt x="6425775" y="1200812"/>
                    </a:lnTo>
                    <a:lnTo>
                      <a:pt x="6416245" y="1210340"/>
                    </a:lnTo>
                    <a:lnTo>
                      <a:pt x="6411479" y="1215104"/>
                    </a:lnTo>
                    <a:lnTo>
                      <a:pt x="6406714" y="1215104"/>
                    </a:lnTo>
                    <a:lnTo>
                      <a:pt x="6406714" y="1219872"/>
                    </a:lnTo>
                    <a:lnTo>
                      <a:pt x="6397184" y="1224636"/>
                    </a:lnTo>
                    <a:lnTo>
                      <a:pt x="6387653" y="1224636"/>
                    </a:lnTo>
                    <a:lnTo>
                      <a:pt x="6378123" y="1234164"/>
                    </a:lnTo>
                    <a:lnTo>
                      <a:pt x="6368593" y="1253228"/>
                    </a:lnTo>
                    <a:lnTo>
                      <a:pt x="6368593" y="1262756"/>
                    </a:lnTo>
                    <a:lnTo>
                      <a:pt x="6368593" y="1272288"/>
                    </a:lnTo>
                    <a:lnTo>
                      <a:pt x="6368593" y="1281816"/>
                    </a:lnTo>
                    <a:lnTo>
                      <a:pt x="6368593" y="1291348"/>
                    </a:lnTo>
                    <a:lnTo>
                      <a:pt x="6382889" y="1296112"/>
                    </a:lnTo>
                    <a:lnTo>
                      <a:pt x="6397184" y="1305644"/>
                    </a:lnTo>
                    <a:lnTo>
                      <a:pt x="6411479" y="1305644"/>
                    </a:lnTo>
                    <a:lnTo>
                      <a:pt x="6416245" y="1300876"/>
                    </a:lnTo>
                    <a:lnTo>
                      <a:pt x="6425775" y="1291348"/>
                    </a:lnTo>
                    <a:lnTo>
                      <a:pt x="6430540" y="1286584"/>
                    </a:lnTo>
                    <a:lnTo>
                      <a:pt x="6440070" y="1281816"/>
                    </a:lnTo>
                    <a:lnTo>
                      <a:pt x="6444835" y="1277052"/>
                    </a:lnTo>
                    <a:lnTo>
                      <a:pt x="6459131" y="1248460"/>
                    </a:lnTo>
                    <a:lnTo>
                      <a:pt x="6459131" y="1243696"/>
                    </a:lnTo>
                    <a:lnTo>
                      <a:pt x="6454365" y="1243696"/>
                    </a:lnTo>
                    <a:lnTo>
                      <a:pt x="6454365" y="1238932"/>
                    </a:lnTo>
                    <a:lnTo>
                      <a:pt x="6459131" y="1238932"/>
                    </a:lnTo>
                    <a:lnTo>
                      <a:pt x="6468661" y="1234164"/>
                    </a:lnTo>
                    <a:lnTo>
                      <a:pt x="6473426" y="1229400"/>
                    </a:lnTo>
                    <a:lnTo>
                      <a:pt x="6482956" y="1224636"/>
                    </a:lnTo>
                    <a:lnTo>
                      <a:pt x="6502017" y="1219872"/>
                    </a:lnTo>
                    <a:lnTo>
                      <a:pt x="6516312" y="1210340"/>
                    </a:lnTo>
                    <a:lnTo>
                      <a:pt x="6521077" y="1210340"/>
                    </a:lnTo>
                    <a:lnTo>
                      <a:pt x="6530607" y="1215104"/>
                    </a:lnTo>
                    <a:lnTo>
                      <a:pt x="6544903" y="1224636"/>
                    </a:lnTo>
                    <a:lnTo>
                      <a:pt x="6559198" y="1238932"/>
                    </a:lnTo>
                    <a:lnTo>
                      <a:pt x="6563963" y="1257992"/>
                    </a:lnTo>
                    <a:lnTo>
                      <a:pt x="6578259" y="1305644"/>
                    </a:lnTo>
                    <a:lnTo>
                      <a:pt x="6587789" y="1381884"/>
                    </a:lnTo>
                    <a:lnTo>
                      <a:pt x="6597319" y="1424772"/>
                    </a:lnTo>
                    <a:lnTo>
                      <a:pt x="6602085" y="1429536"/>
                    </a:lnTo>
                    <a:lnTo>
                      <a:pt x="6606849" y="1434300"/>
                    </a:lnTo>
                    <a:lnTo>
                      <a:pt x="6592554" y="1496248"/>
                    </a:lnTo>
                    <a:lnTo>
                      <a:pt x="6583024" y="1520072"/>
                    </a:lnTo>
                    <a:lnTo>
                      <a:pt x="6568729" y="1534368"/>
                    </a:lnTo>
                    <a:lnTo>
                      <a:pt x="6568729" y="1529604"/>
                    </a:lnTo>
                    <a:lnTo>
                      <a:pt x="6573493" y="1524840"/>
                    </a:lnTo>
                    <a:lnTo>
                      <a:pt x="6568729" y="1510544"/>
                    </a:lnTo>
                    <a:lnTo>
                      <a:pt x="6568729" y="1505780"/>
                    </a:lnTo>
                    <a:lnTo>
                      <a:pt x="6563963" y="1505780"/>
                    </a:lnTo>
                    <a:lnTo>
                      <a:pt x="6554433" y="1505780"/>
                    </a:lnTo>
                    <a:lnTo>
                      <a:pt x="6544903" y="1510544"/>
                    </a:lnTo>
                    <a:lnTo>
                      <a:pt x="6544903" y="1515308"/>
                    </a:lnTo>
                    <a:lnTo>
                      <a:pt x="6544903" y="1520072"/>
                    </a:lnTo>
                    <a:lnTo>
                      <a:pt x="6544903" y="1524840"/>
                    </a:lnTo>
                    <a:lnTo>
                      <a:pt x="6540137" y="1529604"/>
                    </a:lnTo>
                    <a:lnTo>
                      <a:pt x="6535373" y="1543900"/>
                    </a:lnTo>
                    <a:lnTo>
                      <a:pt x="6530607" y="1558196"/>
                    </a:lnTo>
                    <a:lnTo>
                      <a:pt x="6530607" y="1567724"/>
                    </a:lnTo>
                    <a:lnTo>
                      <a:pt x="6525843" y="1572492"/>
                    </a:lnTo>
                    <a:lnTo>
                      <a:pt x="6511547" y="1577256"/>
                    </a:lnTo>
                    <a:lnTo>
                      <a:pt x="6502017" y="1582020"/>
                    </a:lnTo>
                    <a:lnTo>
                      <a:pt x="6497251" y="1591552"/>
                    </a:lnTo>
                    <a:lnTo>
                      <a:pt x="6492487" y="1605844"/>
                    </a:lnTo>
                    <a:lnTo>
                      <a:pt x="6487721" y="1620140"/>
                    </a:lnTo>
                    <a:lnTo>
                      <a:pt x="6482956" y="1634436"/>
                    </a:lnTo>
                    <a:lnTo>
                      <a:pt x="6487721" y="1639200"/>
                    </a:lnTo>
                    <a:lnTo>
                      <a:pt x="6482956" y="1643968"/>
                    </a:lnTo>
                    <a:lnTo>
                      <a:pt x="6473426" y="1653496"/>
                    </a:lnTo>
                    <a:lnTo>
                      <a:pt x="6473426" y="1658264"/>
                    </a:lnTo>
                    <a:lnTo>
                      <a:pt x="6473426" y="1663028"/>
                    </a:lnTo>
                    <a:lnTo>
                      <a:pt x="6468661" y="1663028"/>
                    </a:lnTo>
                    <a:lnTo>
                      <a:pt x="6463895" y="1667792"/>
                    </a:lnTo>
                    <a:lnTo>
                      <a:pt x="6454365" y="1677324"/>
                    </a:lnTo>
                    <a:lnTo>
                      <a:pt x="6444835" y="1701148"/>
                    </a:lnTo>
                    <a:lnTo>
                      <a:pt x="6444835" y="1705912"/>
                    </a:lnTo>
                    <a:lnTo>
                      <a:pt x="6444835" y="1710680"/>
                    </a:lnTo>
                    <a:lnTo>
                      <a:pt x="6459131" y="1710680"/>
                    </a:lnTo>
                    <a:lnTo>
                      <a:pt x="6468661" y="1715444"/>
                    </a:lnTo>
                    <a:lnTo>
                      <a:pt x="6478191" y="1720208"/>
                    </a:lnTo>
                    <a:lnTo>
                      <a:pt x="6502017" y="1734504"/>
                    </a:lnTo>
                    <a:lnTo>
                      <a:pt x="6511547" y="1744036"/>
                    </a:lnTo>
                    <a:lnTo>
                      <a:pt x="6521077" y="1748800"/>
                    </a:lnTo>
                    <a:lnTo>
                      <a:pt x="6525843" y="1748800"/>
                    </a:lnTo>
                    <a:lnTo>
                      <a:pt x="6530607" y="1744036"/>
                    </a:lnTo>
                    <a:lnTo>
                      <a:pt x="6535373" y="1739268"/>
                    </a:lnTo>
                    <a:lnTo>
                      <a:pt x="6540137" y="1739268"/>
                    </a:lnTo>
                    <a:lnTo>
                      <a:pt x="6544903" y="1744036"/>
                    </a:lnTo>
                    <a:lnTo>
                      <a:pt x="6559198" y="1748800"/>
                    </a:lnTo>
                    <a:lnTo>
                      <a:pt x="6559198" y="1753564"/>
                    </a:lnTo>
                    <a:lnTo>
                      <a:pt x="6516312" y="1763096"/>
                    </a:lnTo>
                    <a:lnTo>
                      <a:pt x="6511547" y="1763096"/>
                    </a:lnTo>
                    <a:lnTo>
                      <a:pt x="6521077" y="1767860"/>
                    </a:lnTo>
                    <a:lnTo>
                      <a:pt x="6530607" y="1767860"/>
                    </a:lnTo>
                    <a:lnTo>
                      <a:pt x="6540137" y="1763096"/>
                    </a:lnTo>
                    <a:lnTo>
                      <a:pt x="6554433" y="1763096"/>
                    </a:lnTo>
                    <a:lnTo>
                      <a:pt x="6563963" y="1767860"/>
                    </a:lnTo>
                    <a:lnTo>
                      <a:pt x="6568729" y="1763096"/>
                    </a:lnTo>
                    <a:lnTo>
                      <a:pt x="6587789" y="1777392"/>
                    </a:lnTo>
                    <a:lnTo>
                      <a:pt x="6597319" y="1777392"/>
                    </a:lnTo>
                    <a:lnTo>
                      <a:pt x="6602085" y="1777392"/>
                    </a:lnTo>
                    <a:lnTo>
                      <a:pt x="6606849" y="1772624"/>
                    </a:lnTo>
                    <a:lnTo>
                      <a:pt x="6625910" y="1763096"/>
                    </a:lnTo>
                    <a:lnTo>
                      <a:pt x="6649735" y="1758328"/>
                    </a:lnTo>
                    <a:lnTo>
                      <a:pt x="6673561" y="1753564"/>
                    </a:lnTo>
                    <a:lnTo>
                      <a:pt x="6697387" y="1758328"/>
                    </a:lnTo>
                    <a:lnTo>
                      <a:pt x="6711683" y="1753564"/>
                    </a:lnTo>
                    <a:lnTo>
                      <a:pt x="6725977" y="1744036"/>
                    </a:lnTo>
                    <a:lnTo>
                      <a:pt x="6754569" y="1720208"/>
                    </a:lnTo>
                    <a:lnTo>
                      <a:pt x="6792689" y="1701148"/>
                    </a:lnTo>
                    <a:lnTo>
                      <a:pt x="6845106" y="1672556"/>
                    </a:lnTo>
                    <a:lnTo>
                      <a:pt x="6930878" y="1643968"/>
                    </a:lnTo>
                    <a:lnTo>
                      <a:pt x="6940409" y="1634436"/>
                    </a:lnTo>
                    <a:lnTo>
                      <a:pt x="6954704" y="1629672"/>
                    </a:lnTo>
                    <a:lnTo>
                      <a:pt x="6964234" y="1624908"/>
                    </a:lnTo>
                    <a:lnTo>
                      <a:pt x="6968999" y="1620140"/>
                    </a:lnTo>
                    <a:lnTo>
                      <a:pt x="7030946" y="1586784"/>
                    </a:lnTo>
                    <a:lnTo>
                      <a:pt x="7059537" y="1567724"/>
                    </a:lnTo>
                    <a:lnTo>
                      <a:pt x="7073832" y="1553428"/>
                    </a:lnTo>
                    <a:lnTo>
                      <a:pt x="7088127" y="1543900"/>
                    </a:lnTo>
                    <a:lnTo>
                      <a:pt x="7107188" y="1534368"/>
                    </a:lnTo>
                    <a:lnTo>
                      <a:pt x="7116718" y="1524840"/>
                    </a:lnTo>
                    <a:lnTo>
                      <a:pt x="7131013" y="1505780"/>
                    </a:lnTo>
                    <a:lnTo>
                      <a:pt x="7140544" y="1496248"/>
                    </a:lnTo>
                    <a:lnTo>
                      <a:pt x="7150074" y="1491484"/>
                    </a:lnTo>
                    <a:lnTo>
                      <a:pt x="7159605" y="1481952"/>
                    </a:lnTo>
                    <a:lnTo>
                      <a:pt x="7159605" y="1472424"/>
                    </a:lnTo>
                    <a:lnTo>
                      <a:pt x="7154839" y="1462892"/>
                    </a:lnTo>
                    <a:lnTo>
                      <a:pt x="7150074" y="1448596"/>
                    </a:lnTo>
                    <a:lnTo>
                      <a:pt x="7150074" y="1439068"/>
                    </a:lnTo>
                    <a:lnTo>
                      <a:pt x="7154839" y="1434300"/>
                    </a:lnTo>
                    <a:lnTo>
                      <a:pt x="7154839" y="1429536"/>
                    </a:lnTo>
                    <a:lnTo>
                      <a:pt x="7154839" y="1424772"/>
                    </a:lnTo>
                    <a:lnTo>
                      <a:pt x="7126249" y="1415240"/>
                    </a:lnTo>
                    <a:lnTo>
                      <a:pt x="7131013" y="1381884"/>
                    </a:lnTo>
                    <a:lnTo>
                      <a:pt x="7131013" y="1377120"/>
                    </a:lnTo>
                    <a:lnTo>
                      <a:pt x="7188195" y="1362824"/>
                    </a:lnTo>
                    <a:lnTo>
                      <a:pt x="7221551" y="1358060"/>
                    </a:lnTo>
                    <a:lnTo>
                      <a:pt x="7269203" y="1353296"/>
                    </a:lnTo>
                    <a:lnTo>
                      <a:pt x="7321619" y="1362824"/>
                    </a:lnTo>
                    <a:lnTo>
                      <a:pt x="7340679" y="1372356"/>
                    </a:lnTo>
                    <a:lnTo>
                      <a:pt x="7354975" y="1381884"/>
                    </a:lnTo>
                    <a:lnTo>
                      <a:pt x="7369270" y="1381884"/>
                    </a:lnTo>
                    <a:lnTo>
                      <a:pt x="7383565" y="1377120"/>
                    </a:lnTo>
                    <a:lnTo>
                      <a:pt x="7407391" y="1377120"/>
                    </a:lnTo>
                    <a:lnTo>
                      <a:pt x="7440747" y="1377120"/>
                    </a:lnTo>
                    <a:lnTo>
                      <a:pt x="7455042" y="1381884"/>
                    </a:lnTo>
                    <a:lnTo>
                      <a:pt x="7459807" y="1381884"/>
                    </a:lnTo>
                    <a:lnTo>
                      <a:pt x="7459807" y="1377120"/>
                    </a:lnTo>
                    <a:lnTo>
                      <a:pt x="7469337" y="1372356"/>
                    </a:lnTo>
                    <a:lnTo>
                      <a:pt x="7493163" y="1362824"/>
                    </a:lnTo>
                    <a:lnTo>
                      <a:pt x="7493163" y="1367588"/>
                    </a:lnTo>
                    <a:lnTo>
                      <a:pt x="7497929" y="1362824"/>
                    </a:lnTo>
                    <a:lnTo>
                      <a:pt x="7502693" y="1353296"/>
                    </a:lnTo>
                    <a:lnTo>
                      <a:pt x="7516989" y="1343764"/>
                    </a:lnTo>
                    <a:lnTo>
                      <a:pt x="7531285" y="1329468"/>
                    </a:lnTo>
                    <a:lnTo>
                      <a:pt x="7550345" y="1324704"/>
                    </a:lnTo>
                    <a:lnTo>
                      <a:pt x="7559875" y="1324704"/>
                    </a:lnTo>
                    <a:lnTo>
                      <a:pt x="7569405" y="1319940"/>
                    </a:lnTo>
                    <a:lnTo>
                      <a:pt x="7574171" y="1315172"/>
                    </a:lnTo>
                    <a:lnTo>
                      <a:pt x="7578935" y="1310408"/>
                    </a:lnTo>
                    <a:lnTo>
                      <a:pt x="7574171" y="1305644"/>
                    </a:lnTo>
                    <a:lnTo>
                      <a:pt x="7578935" y="1300876"/>
                    </a:lnTo>
                    <a:lnTo>
                      <a:pt x="7574171" y="1300876"/>
                    </a:lnTo>
                    <a:lnTo>
                      <a:pt x="7574171" y="1296112"/>
                    </a:lnTo>
                    <a:lnTo>
                      <a:pt x="7574171" y="1277052"/>
                    </a:lnTo>
                    <a:lnTo>
                      <a:pt x="7569405" y="1267520"/>
                    </a:lnTo>
                    <a:lnTo>
                      <a:pt x="7564640" y="1262756"/>
                    </a:lnTo>
                    <a:lnTo>
                      <a:pt x="7559875" y="1257992"/>
                    </a:lnTo>
                    <a:lnTo>
                      <a:pt x="7564640" y="1253228"/>
                    </a:lnTo>
                    <a:lnTo>
                      <a:pt x="7569405" y="1248460"/>
                    </a:lnTo>
                    <a:lnTo>
                      <a:pt x="7569405" y="1253228"/>
                    </a:lnTo>
                    <a:lnTo>
                      <a:pt x="7574171" y="1253228"/>
                    </a:lnTo>
                    <a:lnTo>
                      <a:pt x="7583701" y="1238932"/>
                    </a:lnTo>
                    <a:lnTo>
                      <a:pt x="7583701" y="1234164"/>
                    </a:lnTo>
                    <a:lnTo>
                      <a:pt x="7593231" y="1229400"/>
                    </a:lnTo>
                    <a:lnTo>
                      <a:pt x="7597996" y="1224636"/>
                    </a:lnTo>
                    <a:lnTo>
                      <a:pt x="7588466" y="1224636"/>
                    </a:lnTo>
                    <a:lnTo>
                      <a:pt x="7578935" y="1224636"/>
                    </a:lnTo>
                    <a:lnTo>
                      <a:pt x="7583701" y="1215104"/>
                    </a:lnTo>
                    <a:lnTo>
                      <a:pt x="7583701" y="1210340"/>
                    </a:lnTo>
                    <a:lnTo>
                      <a:pt x="7578935" y="1205576"/>
                    </a:lnTo>
                    <a:lnTo>
                      <a:pt x="7574171" y="1205576"/>
                    </a:lnTo>
                    <a:lnTo>
                      <a:pt x="7564640" y="1215104"/>
                    </a:lnTo>
                    <a:lnTo>
                      <a:pt x="7559875" y="1215104"/>
                    </a:lnTo>
                    <a:lnTo>
                      <a:pt x="7559875" y="1210340"/>
                    </a:lnTo>
                    <a:lnTo>
                      <a:pt x="7550345" y="1200812"/>
                    </a:lnTo>
                    <a:lnTo>
                      <a:pt x="7569405" y="1186516"/>
                    </a:lnTo>
                    <a:lnTo>
                      <a:pt x="7631351" y="1138864"/>
                    </a:lnTo>
                    <a:lnTo>
                      <a:pt x="7640883" y="1129332"/>
                    </a:lnTo>
                    <a:lnTo>
                      <a:pt x="7640883" y="1124568"/>
                    </a:lnTo>
                    <a:lnTo>
                      <a:pt x="7640883" y="1119804"/>
                    </a:lnTo>
                    <a:lnTo>
                      <a:pt x="7640883" y="1115036"/>
                    </a:lnTo>
                    <a:lnTo>
                      <a:pt x="7698063" y="1057856"/>
                    </a:lnTo>
                    <a:lnTo>
                      <a:pt x="7736185" y="1029264"/>
                    </a:lnTo>
                    <a:lnTo>
                      <a:pt x="7764775" y="1010204"/>
                    </a:lnTo>
                    <a:lnTo>
                      <a:pt x="7783835" y="1005440"/>
                    </a:lnTo>
                    <a:lnTo>
                      <a:pt x="7798131" y="1005440"/>
                    </a:lnTo>
                    <a:lnTo>
                      <a:pt x="7807661" y="1005440"/>
                    </a:lnTo>
                    <a:lnTo>
                      <a:pt x="8045919" y="1005440"/>
                    </a:lnTo>
                    <a:lnTo>
                      <a:pt x="8112631" y="1005440"/>
                    </a:lnTo>
                    <a:lnTo>
                      <a:pt x="8307999" y="1005440"/>
                    </a:lnTo>
                    <a:lnTo>
                      <a:pt x="8322295" y="962552"/>
                    </a:lnTo>
                    <a:lnTo>
                      <a:pt x="8336591" y="938728"/>
                    </a:lnTo>
                    <a:lnTo>
                      <a:pt x="8355651" y="948260"/>
                    </a:lnTo>
                    <a:lnTo>
                      <a:pt x="8365181" y="948260"/>
                    </a:lnTo>
                    <a:lnTo>
                      <a:pt x="8379477" y="938728"/>
                    </a:lnTo>
                    <a:lnTo>
                      <a:pt x="8389007" y="929196"/>
                    </a:lnTo>
                    <a:lnTo>
                      <a:pt x="8393771" y="933964"/>
                    </a:lnTo>
                    <a:lnTo>
                      <a:pt x="8398539" y="938728"/>
                    </a:lnTo>
                    <a:lnTo>
                      <a:pt x="8403303" y="948260"/>
                    </a:lnTo>
                    <a:lnTo>
                      <a:pt x="8408067" y="943492"/>
                    </a:lnTo>
                    <a:lnTo>
                      <a:pt x="8412833" y="938728"/>
                    </a:lnTo>
                    <a:lnTo>
                      <a:pt x="8412833" y="924432"/>
                    </a:lnTo>
                    <a:lnTo>
                      <a:pt x="8417599" y="914904"/>
                    </a:lnTo>
                    <a:lnTo>
                      <a:pt x="8427127" y="914904"/>
                    </a:lnTo>
                    <a:lnTo>
                      <a:pt x="8431893" y="914904"/>
                    </a:lnTo>
                    <a:lnTo>
                      <a:pt x="8436659" y="910136"/>
                    </a:lnTo>
                    <a:lnTo>
                      <a:pt x="8436659" y="905372"/>
                    </a:lnTo>
                    <a:lnTo>
                      <a:pt x="8431893" y="895840"/>
                    </a:lnTo>
                    <a:lnTo>
                      <a:pt x="8431893" y="881548"/>
                    </a:lnTo>
                    <a:lnTo>
                      <a:pt x="8450955" y="862488"/>
                    </a:lnTo>
                    <a:lnTo>
                      <a:pt x="8470015" y="848192"/>
                    </a:lnTo>
                    <a:lnTo>
                      <a:pt x="8479545" y="843424"/>
                    </a:lnTo>
                    <a:lnTo>
                      <a:pt x="8479545" y="824364"/>
                    </a:lnTo>
                    <a:lnTo>
                      <a:pt x="8493839" y="810068"/>
                    </a:lnTo>
                    <a:lnTo>
                      <a:pt x="8498605" y="805304"/>
                    </a:lnTo>
                    <a:lnTo>
                      <a:pt x="8498605" y="795776"/>
                    </a:lnTo>
                    <a:lnTo>
                      <a:pt x="8498605" y="786244"/>
                    </a:lnTo>
                    <a:lnTo>
                      <a:pt x="8498605" y="767184"/>
                    </a:lnTo>
                    <a:lnTo>
                      <a:pt x="8498605" y="748124"/>
                    </a:lnTo>
                    <a:lnTo>
                      <a:pt x="8503371" y="724296"/>
                    </a:lnTo>
                    <a:lnTo>
                      <a:pt x="8517667" y="705236"/>
                    </a:lnTo>
                    <a:lnTo>
                      <a:pt x="8531961" y="681412"/>
                    </a:lnTo>
                    <a:lnTo>
                      <a:pt x="8536727" y="652820"/>
                    </a:lnTo>
                    <a:lnTo>
                      <a:pt x="8541491" y="624228"/>
                    </a:lnTo>
                    <a:lnTo>
                      <a:pt x="8565317" y="590872"/>
                    </a:lnTo>
                    <a:lnTo>
                      <a:pt x="8589143" y="557516"/>
                    </a:lnTo>
                    <a:lnTo>
                      <a:pt x="8603439" y="538456"/>
                    </a:lnTo>
                    <a:lnTo>
                      <a:pt x="8627263" y="500336"/>
                    </a:lnTo>
                    <a:lnTo>
                      <a:pt x="8646323" y="476512"/>
                    </a:lnTo>
                    <a:lnTo>
                      <a:pt x="8651089" y="462216"/>
                    </a:lnTo>
                    <a:lnTo>
                      <a:pt x="8660619" y="447920"/>
                    </a:lnTo>
                    <a:lnTo>
                      <a:pt x="8679679" y="452684"/>
                    </a:lnTo>
                    <a:lnTo>
                      <a:pt x="8693975" y="457452"/>
                    </a:lnTo>
                    <a:lnTo>
                      <a:pt x="8689211" y="476512"/>
                    </a:lnTo>
                    <a:lnTo>
                      <a:pt x="8693975" y="490808"/>
                    </a:lnTo>
                    <a:lnTo>
                      <a:pt x="8698741" y="500336"/>
                    </a:lnTo>
                    <a:lnTo>
                      <a:pt x="8708271" y="505100"/>
                    </a:lnTo>
                    <a:lnTo>
                      <a:pt x="8717801" y="509868"/>
                    </a:lnTo>
                    <a:lnTo>
                      <a:pt x="8727331" y="509868"/>
                    </a:lnTo>
                    <a:lnTo>
                      <a:pt x="8751157" y="495572"/>
                    </a:lnTo>
                    <a:lnTo>
                      <a:pt x="8779747" y="490808"/>
                    </a:lnTo>
                    <a:lnTo>
                      <a:pt x="8798807" y="481276"/>
                    </a:lnTo>
                    <a:lnTo>
                      <a:pt x="8798807" y="476512"/>
                    </a:lnTo>
                    <a:lnTo>
                      <a:pt x="8808339" y="471744"/>
                    </a:lnTo>
                    <a:lnTo>
                      <a:pt x="8817869" y="476512"/>
                    </a:lnTo>
                    <a:lnTo>
                      <a:pt x="8841695" y="490808"/>
                    </a:lnTo>
                    <a:lnTo>
                      <a:pt x="8865519" y="519396"/>
                    </a:lnTo>
                    <a:lnTo>
                      <a:pt x="8884581" y="538456"/>
                    </a:lnTo>
                    <a:lnTo>
                      <a:pt x="8889347" y="571812"/>
                    </a:lnTo>
                    <a:lnTo>
                      <a:pt x="8889347" y="605168"/>
                    </a:lnTo>
                    <a:lnTo>
                      <a:pt x="8889347" y="643292"/>
                    </a:lnTo>
                    <a:lnTo>
                      <a:pt x="8889347" y="671880"/>
                    </a:lnTo>
                    <a:lnTo>
                      <a:pt x="8889347" y="705236"/>
                    </a:lnTo>
                    <a:lnTo>
                      <a:pt x="8889347" y="733828"/>
                    </a:lnTo>
                    <a:lnTo>
                      <a:pt x="8889347" y="771948"/>
                    </a:lnTo>
                    <a:lnTo>
                      <a:pt x="8889347" y="791008"/>
                    </a:lnTo>
                    <a:lnTo>
                      <a:pt x="8894111" y="800540"/>
                    </a:lnTo>
                    <a:lnTo>
                      <a:pt x="8889347" y="805304"/>
                    </a:lnTo>
                    <a:lnTo>
                      <a:pt x="8889347" y="810068"/>
                    </a:lnTo>
                    <a:lnTo>
                      <a:pt x="8889347" y="814836"/>
                    </a:lnTo>
                    <a:lnTo>
                      <a:pt x="8894111" y="819600"/>
                    </a:lnTo>
                    <a:lnTo>
                      <a:pt x="8889347" y="824364"/>
                    </a:lnTo>
                    <a:lnTo>
                      <a:pt x="8889347" y="829132"/>
                    </a:lnTo>
                    <a:lnTo>
                      <a:pt x="8889347" y="833896"/>
                    </a:lnTo>
                    <a:lnTo>
                      <a:pt x="8889347" y="838660"/>
                    </a:lnTo>
                    <a:lnTo>
                      <a:pt x="8879815" y="838660"/>
                    </a:lnTo>
                    <a:lnTo>
                      <a:pt x="8889347" y="857720"/>
                    </a:lnTo>
                    <a:lnTo>
                      <a:pt x="8913171" y="872016"/>
                    </a:lnTo>
                    <a:lnTo>
                      <a:pt x="8932231" y="876780"/>
                    </a:lnTo>
                    <a:lnTo>
                      <a:pt x="8941763" y="872016"/>
                    </a:lnTo>
                    <a:lnTo>
                      <a:pt x="8946527" y="872016"/>
                    </a:lnTo>
                    <a:lnTo>
                      <a:pt x="8946527" y="881548"/>
                    </a:lnTo>
                    <a:lnTo>
                      <a:pt x="8946527" y="886312"/>
                    </a:lnTo>
                    <a:lnTo>
                      <a:pt x="8941763" y="891076"/>
                    </a:lnTo>
                    <a:lnTo>
                      <a:pt x="8936997" y="895840"/>
                    </a:lnTo>
                    <a:lnTo>
                      <a:pt x="8936997" y="900608"/>
                    </a:lnTo>
                    <a:lnTo>
                      <a:pt x="8936997" y="905372"/>
                    </a:lnTo>
                    <a:lnTo>
                      <a:pt x="8941763" y="910136"/>
                    </a:lnTo>
                    <a:lnTo>
                      <a:pt x="8946527" y="919668"/>
                    </a:lnTo>
                    <a:lnTo>
                      <a:pt x="8946527" y="929196"/>
                    </a:lnTo>
                    <a:lnTo>
                      <a:pt x="8941763" y="938728"/>
                    </a:lnTo>
                    <a:lnTo>
                      <a:pt x="8936997" y="943492"/>
                    </a:lnTo>
                    <a:lnTo>
                      <a:pt x="8941763" y="953024"/>
                    </a:lnTo>
                    <a:lnTo>
                      <a:pt x="8951291" y="957788"/>
                    </a:lnTo>
                    <a:lnTo>
                      <a:pt x="8956057" y="967320"/>
                    </a:lnTo>
                    <a:lnTo>
                      <a:pt x="8965587" y="972084"/>
                    </a:lnTo>
                    <a:lnTo>
                      <a:pt x="8965587" y="967320"/>
                    </a:lnTo>
                    <a:lnTo>
                      <a:pt x="8970353" y="962552"/>
                    </a:lnTo>
                    <a:lnTo>
                      <a:pt x="8975119" y="962552"/>
                    </a:lnTo>
                    <a:lnTo>
                      <a:pt x="8979883" y="962552"/>
                    </a:lnTo>
                    <a:lnTo>
                      <a:pt x="8984647" y="962552"/>
                    </a:lnTo>
                    <a:lnTo>
                      <a:pt x="8994179" y="967320"/>
                    </a:lnTo>
                    <a:lnTo>
                      <a:pt x="8994179" y="976848"/>
                    </a:lnTo>
                    <a:lnTo>
                      <a:pt x="8994179" y="986380"/>
                    </a:lnTo>
                    <a:lnTo>
                      <a:pt x="8998943" y="1010204"/>
                    </a:lnTo>
                    <a:lnTo>
                      <a:pt x="8994179" y="1019736"/>
                    </a:lnTo>
                    <a:lnTo>
                      <a:pt x="8994179" y="1029264"/>
                    </a:lnTo>
                    <a:lnTo>
                      <a:pt x="9008475" y="1034032"/>
                    </a:lnTo>
                    <a:lnTo>
                      <a:pt x="9013239" y="1038796"/>
                    </a:lnTo>
                    <a:lnTo>
                      <a:pt x="9013239" y="1043560"/>
                    </a:lnTo>
                    <a:lnTo>
                      <a:pt x="8984647" y="1076916"/>
                    </a:lnTo>
                    <a:lnTo>
                      <a:pt x="8956057" y="1072152"/>
                    </a:lnTo>
                    <a:lnTo>
                      <a:pt x="8941763" y="1081680"/>
                    </a:lnTo>
                    <a:lnTo>
                      <a:pt x="8927467" y="1081680"/>
                    </a:lnTo>
                    <a:lnTo>
                      <a:pt x="8917935" y="1095976"/>
                    </a:lnTo>
                    <a:lnTo>
                      <a:pt x="8908407" y="1100744"/>
                    </a:lnTo>
                    <a:lnTo>
                      <a:pt x="8898875" y="1100744"/>
                    </a:lnTo>
                    <a:lnTo>
                      <a:pt x="8889347" y="1095976"/>
                    </a:lnTo>
                    <a:lnTo>
                      <a:pt x="8879815" y="1100744"/>
                    </a:lnTo>
                    <a:lnTo>
                      <a:pt x="8870285" y="1124568"/>
                    </a:lnTo>
                    <a:lnTo>
                      <a:pt x="8860755" y="1124568"/>
                    </a:lnTo>
                    <a:lnTo>
                      <a:pt x="8860755" y="1134100"/>
                    </a:lnTo>
                    <a:lnTo>
                      <a:pt x="8855991" y="1138864"/>
                    </a:lnTo>
                    <a:lnTo>
                      <a:pt x="8846459" y="1138864"/>
                    </a:lnTo>
                    <a:lnTo>
                      <a:pt x="8841695" y="1129332"/>
                    </a:lnTo>
                    <a:lnTo>
                      <a:pt x="8836929" y="1115036"/>
                    </a:lnTo>
                    <a:lnTo>
                      <a:pt x="8832163" y="1115036"/>
                    </a:lnTo>
                    <a:lnTo>
                      <a:pt x="8827399" y="1110272"/>
                    </a:lnTo>
                    <a:lnTo>
                      <a:pt x="8817869" y="1110272"/>
                    </a:lnTo>
                    <a:lnTo>
                      <a:pt x="8813103" y="1115036"/>
                    </a:lnTo>
                    <a:lnTo>
                      <a:pt x="8808339" y="1119804"/>
                    </a:lnTo>
                    <a:lnTo>
                      <a:pt x="8798807" y="1129332"/>
                    </a:lnTo>
                    <a:lnTo>
                      <a:pt x="8789279" y="1119804"/>
                    </a:lnTo>
                    <a:lnTo>
                      <a:pt x="8784513" y="1115036"/>
                    </a:lnTo>
                    <a:lnTo>
                      <a:pt x="8779747" y="1129332"/>
                    </a:lnTo>
                    <a:lnTo>
                      <a:pt x="8774983" y="1143628"/>
                    </a:lnTo>
                    <a:lnTo>
                      <a:pt x="8774983" y="1157924"/>
                    </a:lnTo>
                    <a:lnTo>
                      <a:pt x="8774983" y="1167456"/>
                    </a:lnTo>
                    <a:lnTo>
                      <a:pt x="8765451" y="1167456"/>
                    </a:lnTo>
                    <a:lnTo>
                      <a:pt x="8760687" y="1157924"/>
                    </a:lnTo>
                    <a:lnTo>
                      <a:pt x="8741627" y="1148392"/>
                    </a:lnTo>
                    <a:lnTo>
                      <a:pt x="8732095" y="1148392"/>
                    </a:lnTo>
                    <a:lnTo>
                      <a:pt x="8732095" y="1143628"/>
                    </a:lnTo>
                    <a:lnTo>
                      <a:pt x="8746391" y="1129332"/>
                    </a:lnTo>
                    <a:lnTo>
                      <a:pt x="8741627" y="1124568"/>
                    </a:lnTo>
                    <a:lnTo>
                      <a:pt x="8736863" y="1129332"/>
                    </a:lnTo>
                    <a:lnTo>
                      <a:pt x="8732095" y="1124568"/>
                    </a:lnTo>
                    <a:lnTo>
                      <a:pt x="8736863" y="1115036"/>
                    </a:lnTo>
                    <a:lnTo>
                      <a:pt x="8736863" y="1100744"/>
                    </a:lnTo>
                    <a:lnTo>
                      <a:pt x="8732095" y="1105508"/>
                    </a:lnTo>
                    <a:lnTo>
                      <a:pt x="8722567" y="1119804"/>
                    </a:lnTo>
                    <a:lnTo>
                      <a:pt x="8708271" y="1129332"/>
                    </a:lnTo>
                    <a:lnTo>
                      <a:pt x="8708271" y="1148392"/>
                    </a:lnTo>
                    <a:lnTo>
                      <a:pt x="8689211" y="1186516"/>
                    </a:lnTo>
                    <a:lnTo>
                      <a:pt x="8689211" y="1200812"/>
                    </a:lnTo>
                    <a:lnTo>
                      <a:pt x="8679679" y="1215104"/>
                    </a:lnTo>
                    <a:lnTo>
                      <a:pt x="8665385" y="1229400"/>
                    </a:lnTo>
                    <a:lnTo>
                      <a:pt x="8646323" y="1224636"/>
                    </a:lnTo>
                    <a:lnTo>
                      <a:pt x="8632029" y="1234164"/>
                    </a:lnTo>
                    <a:lnTo>
                      <a:pt x="8627263" y="1243696"/>
                    </a:lnTo>
                    <a:lnTo>
                      <a:pt x="8617733" y="1248460"/>
                    </a:lnTo>
                    <a:lnTo>
                      <a:pt x="8617733" y="1234164"/>
                    </a:lnTo>
                    <a:lnTo>
                      <a:pt x="8612967" y="1229400"/>
                    </a:lnTo>
                    <a:lnTo>
                      <a:pt x="8608203" y="1248460"/>
                    </a:lnTo>
                    <a:lnTo>
                      <a:pt x="8603439" y="1248460"/>
                    </a:lnTo>
                    <a:lnTo>
                      <a:pt x="8598673" y="1234164"/>
                    </a:lnTo>
                    <a:lnTo>
                      <a:pt x="8598673" y="1224636"/>
                    </a:lnTo>
                    <a:lnTo>
                      <a:pt x="8589143" y="1234164"/>
                    </a:lnTo>
                    <a:lnTo>
                      <a:pt x="8584379" y="1257992"/>
                    </a:lnTo>
                    <a:lnTo>
                      <a:pt x="8579611" y="1253228"/>
                    </a:lnTo>
                    <a:lnTo>
                      <a:pt x="8579611" y="1248460"/>
                    </a:lnTo>
                    <a:lnTo>
                      <a:pt x="8574847" y="1243696"/>
                    </a:lnTo>
                    <a:lnTo>
                      <a:pt x="8574847" y="1253228"/>
                    </a:lnTo>
                    <a:lnTo>
                      <a:pt x="8574847" y="1267520"/>
                    </a:lnTo>
                    <a:lnTo>
                      <a:pt x="8574847" y="1272288"/>
                    </a:lnTo>
                    <a:lnTo>
                      <a:pt x="8570083" y="1267520"/>
                    </a:lnTo>
                    <a:lnTo>
                      <a:pt x="8565317" y="1262756"/>
                    </a:lnTo>
                    <a:lnTo>
                      <a:pt x="8555787" y="1267520"/>
                    </a:lnTo>
                    <a:lnTo>
                      <a:pt x="8546255" y="1272288"/>
                    </a:lnTo>
                    <a:lnTo>
                      <a:pt x="8546255" y="1262756"/>
                    </a:lnTo>
                    <a:lnTo>
                      <a:pt x="8551023" y="1253228"/>
                    </a:lnTo>
                    <a:lnTo>
                      <a:pt x="8536727" y="1262756"/>
                    </a:lnTo>
                    <a:lnTo>
                      <a:pt x="8517667" y="1277052"/>
                    </a:lnTo>
                    <a:lnTo>
                      <a:pt x="8503371" y="1296112"/>
                    </a:lnTo>
                    <a:lnTo>
                      <a:pt x="8508135" y="1300876"/>
                    </a:lnTo>
                    <a:lnTo>
                      <a:pt x="8512901" y="1305644"/>
                    </a:lnTo>
                    <a:lnTo>
                      <a:pt x="8489075" y="1334232"/>
                    </a:lnTo>
                    <a:lnTo>
                      <a:pt x="8460483" y="1362824"/>
                    </a:lnTo>
                    <a:lnTo>
                      <a:pt x="8441423" y="1410476"/>
                    </a:lnTo>
                    <a:lnTo>
                      <a:pt x="8436659" y="1415240"/>
                    </a:lnTo>
                    <a:lnTo>
                      <a:pt x="8427127" y="1424772"/>
                    </a:lnTo>
                    <a:lnTo>
                      <a:pt x="8422363" y="1453360"/>
                    </a:lnTo>
                    <a:lnTo>
                      <a:pt x="8412833" y="1477188"/>
                    </a:lnTo>
                    <a:lnTo>
                      <a:pt x="8417599" y="1486716"/>
                    </a:lnTo>
                    <a:lnTo>
                      <a:pt x="8422363" y="1501012"/>
                    </a:lnTo>
                    <a:lnTo>
                      <a:pt x="8427127" y="1510544"/>
                    </a:lnTo>
                    <a:lnTo>
                      <a:pt x="8436659" y="1510544"/>
                    </a:lnTo>
                    <a:lnTo>
                      <a:pt x="8441423" y="1510544"/>
                    </a:lnTo>
                    <a:lnTo>
                      <a:pt x="8446189" y="1510544"/>
                    </a:lnTo>
                    <a:lnTo>
                      <a:pt x="8450955" y="1515308"/>
                    </a:lnTo>
                    <a:lnTo>
                      <a:pt x="8446189" y="1520072"/>
                    </a:lnTo>
                    <a:lnTo>
                      <a:pt x="8441423" y="1520072"/>
                    </a:lnTo>
                    <a:lnTo>
                      <a:pt x="8427127" y="1529604"/>
                    </a:lnTo>
                    <a:lnTo>
                      <a:pt x="8412833" y="1534368"/>
                    </a:lnTo>
                    <a:lnTo>
                      <a:pt x="8408067" y="1548664"/>
                    </a:lnTo>
                    <a:lnTo>
                      <a:pt x="8398539" y="1558196"/>
                    </a:lnTo>
                    <a:lnTo>
                      <a:pt x="8379477" y="1582020"/>
                    </a:lnTo>
                    <a:lnTo>
                      <a:pt x="8389007" y="1586784"/>
                    </a:lnTo>
                    <a:lnTo>
                      <a:pt x="8417599" y="1596316"/>
                    </a:lnTo>
                    <a:lnTo>
                      <a:pt x="8427127" y="1601080"/>
                    </a:lnTo>
                    <a:lnTo>
                      <a:pt x="8446189" y="1643968"/>
                    </a:lnTo>
                    <a:lnTo>
                      <a:pt x="8441423" y="1648732"/>
                    </a:lnTo>
                    <a:lnTo>
                      <a:pt x="8441423" y="1653496"/>
                    </a:lnTo>
                    <a:lnTo>
                      <a:pt x="8460483" y="1663028"/>
                    </a:lnTo>
                    <a:lnTo>
                      <a:pt x="8465249" y="1691620"/>
                    </a:lnTo>
                    <a:lnTo>
                      <a:pt x="8479545" y="1701148"/>
                    </a:lnTo>
                    <a:lnTo>
                      <a:pt x="8498605" y="1705912"/>
                    </a:lnTo>
                    <a:lnTo>
                      <a:pt x="8522431" y="1701148"/>
                    </a:lnTo>
                    <a:lnTo>
                      <a:pt x="8541491" y="1686852"/>
                    </a:lnTo>
                    <a:lnTo>
                      <a:pt x="8541491" y="1677324"/>
                    </a:lnTo>
                    <a:lnTo>
                      <a:pt x="8531961" y="1658264"/>
                    </a:lnTo>
                    <a:lnTo>
                      <a:pt x="8527195" y="1643968"/>
                    </a:lnTo>
                    <a:lnTo>
                      <a:pt x="8517667" y="1639200"/>
                    </a:lnTo>
                    <a:lnTo>
                      <a:pt x="8512901" y="1643968"/>
                    </a:lnTo>
                    <a:lnTo>
                      <a:pt x="8508135" y="1634436"/>
                    </a:lnTo>
                    <a:lnTo>
                      <a:pt x="8508135" y="1629672"/>
                    </a:lnTo>
                    <a:lnTo>
                      <a:pt x="8512901" y="1629672"/>
                    </a:lnTo>
                    <a:lnTo>
                      <a:pt x="8517667" y="1629672"/>
                    </a:lnTo>
                    <a:lnTo>
                      <a:pt x="8527195" y="1634436"/>
                    </a:lnTo>
                    <a:lnTo>
                      <a:pt x="8546255" y="1658264"/>
                    </a:lnTo>
                    <a:lnTo>
                      <a:pt x="8555787" y="1691620"/>
                    </a:lnTo>
                    <a:lnTo>
                      <a:pt x="8555787" y="1710680"/>
                    </a:lnTo>
                    <a:lnTo>
                      <a:pt x="8551023" y="1720208"/>
                    </a:lnTo>
                    <a:lnTo>
                      <a:pt x="8546255" y="1720208"/>
                    </a:lnTo>
                    <a:lnTo>
                      <a:pt x="8536727" y="1720208"/>
                    </a:lnTo>
                    <a:lnTo>
                      <a:pt x="8479545" y="1729740"/>
                    </a:lnTo>
                    <a:lnTo>
                      <a:pt x="8470015" y="1739268"/>
                    </a:lnTo>
                    <a:lnTo>
                      <a:pt x="8441423" y="1748800"/>
                    </a:lnTo>
                    <a:lnTo>
                      <a:pt x="8441423" y="1744036"/>
                    </a:lnTo>
                    <a:lnTo>
                      <a:pt x="8441423" y="1734504"/>
                    </a:lnTo>
                    <a:lnTo>
                      <a:pt x="8441423" y="1710680"/>
                    </a:lnTo>
                    <a:lnTo>
                      <a:pt x="8431893" y="1710680"/>
                    </a:lnTo>
                    <a:lnTo>
                      <a:pt x="8393771" y="1744036"/>
                    </a:lnTo>
                    <a:lnTo>
                      <a:pt x="8374711" y="1748800"/>
                    </a:lnTo>
                    <a:lnTo>
                      <a:pt x="8360417" y="1758328"/>
                    </a:lnTo>
                    <a:lnTo>
                      <a:pt x="8360417" y="1753564"/>
                    </a:lnTo>
                    <a:lnTo>
                      <a:pt x="8355651" y="1724976"/>
                    </a:lnTo>
                    <a:lnTo>
                      <a:pt x="8365181" y="1705912"/>
                    </a:lnTo>
                    <a:lnTo>
                      <a:pt x="8360417" y="1705912"/>
                    </a:lnTo>
                    <a:lnTo>
                      <a:pt x="8346121" y="1720208"/>
                    </a:lnTo>
                    <a:lnTo>
                      <a:pt x="8341355" y="1710680"/>
                    </a:lnTo>
                    <a:lnTo>
                      <a:pt x="8336591" y="1701148"/>
                    </a:lnTo>
                    <a:lnTo>
                      <a:pt x="8331825" y="1696384"/>
                    </a:lnTo>
                    <a:lnTo>
                      <a:pt x="8327061" y="1696384"/>
                    </a:lnTo>
                    <a:lnTo>
                      <a:pt x="8331825" y="1715444"/>
                    </a:lnTo>
                    <a:lnTo>
                      <a:pt x="8322295" y="1729740"/>
                    </a:lnTo>
                    <a:lnTo>
                      <a:pt x="8317531" y="1767860"/>
                    </a:lnTo>
                    <a:lnTo>
                      <a:pt x="8307999" y="1782156"/>
                    </a:lnTo>
                    <a:lnTo>
                      <a:pt x="8269879" y="1791684"/>
                    </a:lnTo>
                    <a:lnTo>
                      <a:pt x="8241289" y="1786920"/>
                    </a:lnTo>
                    <a:lnTo>
                      <a:pt x="8222227" y="1791684"/>
                    </a:lnTo>
                    <a:lnTo>
                      <a:pt x="8188871" y="1801216"/>
                    </a:lnTo>
                    <a:lnTo>
                      <a:pt x="8174577" y="1796452"/>
                    </a:lnTo>
                    <a:lnTo>
                      <a:pt x="8155515" y="1801216"/>
                    </a:lnTo>
                    <a:lnTo>
                      <a:pt x="8098335" y="1805980"/>
                    </a:lnTo>
                    <a:lnTo>
                      <a:pt x="8088803" y="1801216"/>
                    </a:lnTo>
                    <a:lnTo>
                      <a:pt x="8069743" y="1815512"/>
                    </a:lnTo>
                    <a:lnTo>
                      <a:pt x="8045919" y="1825040"/>
                    </a:lnTo>
                    <a:lnTo>
                      <a:pt x="7983971" y="1853632"/>
                    </a:lnTo>
                    <a:lnTo>
                      <a:pt x="7969675" y="1867928"/>
                    </a:lnTo>
                    <a:lnTo>
                      <a:pt x="7955381" y="1886988"/>
                    </a:lnTo>
                    <a:lnTo>
                      <a:pt x="7941085" y="1896520"/>
                    </a:lnTo>
                    <a:lnTo>
                      <a:pt x="7931555" y="1896520"/>
                    </a:lnTo>
                    <a:lnTo>
                      <a:pt x="7926791" y="1906048"/>
                    </a:lnTo>
                    <a:lnTo>
                      <a:pt x="7922025" y="1910816"/>
                    </a:lnTo>
                    <a:lnTo>
                      <a:pt x="7926791" y="1891752"/>
                    </a:lnTo>
                    <a:lnTo>
                      <a:pt x="7931555" y="1877460"/>
                    </a:lnTo>
                    <a:lnTo>
                      <a:pt x="7941085" y="1848868"/>
                    </a:lnTo>
                    <a:lnTo>
                      <a:pt x="7936319" y="1825040"/>
                    </a:lnTo>
                    <a:lnTo>
                      <a:pt x="7931555" y="1815512"/>
                    </a:lnTo>
                    <a:lnTo>
                      <a:pt x="7922025" y="1810748"/>
                    </a:lnTo>
                    <a:lnTo>
                      <a:pt x="7931555" y="1829808"/>
                    </a:lnTo>
                    <a:lnTo>
                      <a:pt x="7931555" y="1858396"/>
                    </a:lnTo>
                    <a:lnTo>
                      <a:pt x="7931555" y="1877460"/>
                    </a:lnTo>
                    <a:lnTo>
                      <a:pt x="7917259" y="1910816"/>
                    </a:lnTo>
                    <a:lnTo>
                      <a:pt x="7907729" y="1915580"/>
                    </a:lnTo>
                    <a:lnTo>
                      <a:pt x="7902965" y="1925108"/>
                    </a:lnTo>
                    <a:lnTo>
                      <a:pt x="7893435" y="1929876"/>
                    </a:lnTo>
                    <a:lnTo>
                      <a:pt x="7888669" y="1934640"/>
                    </a:lnTo>
                    <a:lnTo>
                      <a:pt x="7883903" y="1939404"/>
                    </a:lnTo>
                    <a:lnTo>
                      <a:pt x="7879139" y="1958464"/>
                    </a:lnTo>
                    <a:lnTo>
                      <a:pt x="7879139" y="1972760"/>
                    </a:lnTo>
                    <a:lnTo>
                      <a:pt x="7912495" y="1977524"/>
                    </a:lnTo>
                    <a:lnTo>
                      <a:pt x="7917259" y="1972760"/>
                    </a:lnTo>
                    <a:lnTo>
                      <a:pt x="7922025" y="1982292"/>
                    </a:lnTo>
                    <a:lnTo>
                      <a:pt x="7926791" y="1996588"/>
                    </a:lnTo>
                    <a:lnTo>
                      <a:pt x="7922025" y="2015648"/>
                    </a:lnTo>
                    <a:lnTo>
                      <a:pt x="7917259" y="2029944"/>
                    </a:lnTo>
                    <a:lnTo>
                      <a:pt x="7917259" y="2049004"/>
                    </a:lnTo>
                    <a:lnTo>
                      <a:pt x="7912495" y="2082360"/>
                    </a:lnTo>
                    <a:lnTo>
                      <a:pt x="7907729" y="2110948"/>
                    </a:lnTo>
                    <a:lnTo>
                      <a:pt x="7907729" y="2101420"/>
                    </a:lnTo>
                    <a:lnTo>
                      <a:pt x="7907729" y="2068064"/>
                    </a:lnTo>
                    <a:lnTo>
                      <a:pt x="7902965" y="2072828"/>
                    </a:lnTo>
                    <a:lnTo>
                      <a:pt x="7902965" y="2077592"/>
                    </a:lnTo>
                    <a:lnTo>
                      <a:pt x="7893435" y="2120480"/>
                    </a:lnTo>
                    <a:lnTo>
                      <a:pt x="7879139" y="2144304"/>
                    </a:lnTo>
                    <a:lnTo>
                      <a:pt x="7869609" y="2158600"/>
                    </a:lnTo>
                    <a:lnTo>
                      <a:pt x="7855313" y="2158600"/>
                    </a:lnTo>
                    <a:lnTo>
                      <a:pt x="7860079" y="2168132"/>
                    </a:lnTo>
                    <a:lnTo>
                      <a:pt x="7855313" y="2177660"/>
                    </a:lnTo>
                    <a:lnTo>
                      <a:pt x="7850547" y="2191956"/>
                    </a:lnTo>
                    <a:lnTo>
                      <a:pt x="7845783" y="2196720"/>
                    </a:lnTo>
                    <a:lnTo>
                      <a:pt x="7836253" y="2196720"/>
                    </a:lnTo>
                    <a:lnTo>
                      <a:pt x="7831487" y="2206252"/>
                    </a:lnTo>
                    <a:lnTo>
                      <a:pt x="7826723" y="2211016"/>
                    </a:lnTo>
                    <a:lnTo>
                      <a:pt x="7826723" y="2215784"/>
                    </a:lnTo>
                    <a:lnTo>
                      <a:pt x="7817191" y="2225312"/>
                    </a:lnTo>
                    <a:lnTo>
                      <a:pt x="7793367" y="2268200"/>
                    </a:lnTo>
                    <a:lnTo>
                      <a:pt x="7774307" y="2277728"/>
                    </a:lnTo>
                    <a:lnTo>
                      <a:pt x="7769541" y="2277728"/>
                    </a:lnTo>
                    <a:lnTo>
                      <a:pt x="7774307" y="2258668"/>
                    </a:lnTo>
                    <a:lnTo>
                      <a:pt x="7779071" y="2239608"/>
                    </a:lnTo>
                    <a:lnTo>
                      <a:pt x="7764775" y="2230076"/>
                    </a:lnTo>
                    <a:lnTo>
                      <a:pt x="7755245" y="2225312"/>
                    </a:lnTo>
                    <a:lnTo>
                      <a:pt x="7740951" y="2225312"/>
                    </a:lnTo>
                    <a:lnTo>
                      <a:pt x="7726655" y="2211016"/>
                    </a:lnTo>
                    <a:lnTo>
                      <a:pt x="7707595" y="2201488"/>
                    </a:lnTo>
                    <a:lnTo>
                      <a:pt x="7679003" y="2168132"/>
                    </a:lnTo>
                    <a:lnTo>
                      <a:pt x="7683769" y="2158600"/>
                    </a:lnTo>
                    <a:lnTo>
                      <a:pt x="7679003" y="2144304"/>
                    </a:lnTo>
                    <a:lnTo>
                      <a:pt x="7688533" y="2125244"/>
                    </a:lnTo>
                    <a:lnTo>
                      <a:pt x="7698063" y="2106184"/>
                    </a:lnTo>
                    <a:lnTo>
                      <a:pt x="7707595" y="2101420"/>
                    </a:lnTo>
                    <a:lnTo>
                      <a:pt x="7740951" y="2091888"/>
                    </a:lnTo>
                    <a:lnTo>
                      <a:pt x="7745715" y="2077592"/>
                    </a:lnTo>
                    <a:lnTo>
                      <a:pt x="7750479" y="2068064"/>
                    </a:lnTo>
                    <a:lnTo>
                      <a:pt x="7736185" y="2087124"/>
                    </a:lnTo>
                    <a:lnTo>
                      <a:pt x="7712359" y="2091888"/>
                    </a:lnTo>
                    <a:lnTo>
                      <a:pt x="7702829" y="2101420"/>
                    </a:lnTo>
                    <a:lnTo>
                      <a:pt x="7688533" y="2110948"/>
                    </a:lnTo>
                    <a:lnTo>
                      <a:pt x="7683769" y="2125244"/>
                    </a:lnTo>
                    <a:lnTo>
                      <a:pt x="7669473" y="2139540"/>
                    </a:lnTo>
                    <a:lnTo>
                      <a:pt x="7674239" y="2149072"/>
                    </a:lnTo>
                    <a:lnTo>
                      <a:pt x="7674239" y="2153836"/>
                    </a:lnTo>
                    <a:lnTo>
                      <a:pt x="7674239" y="2172896"/>
                    </a:lnTo>
                    <a:lnTo>
                      <a:pt x="7683769" y="2187192"/>
                    </a:lnTo>
                    <a:lnTo>
                      <a:pt x="7698063" y="2211016"/>
                    </a:lnTo>
                    <a:lnTo>
                      <a:pt x="7702829" y="2249140"/>
                    </a:lnTo>
                    <a:lnTo>
                      <a:pt x="7717125" y="2272964"/>
                    </a:lnTo>
                    <a:lnTo>
                      <a:pt x="7736185" y="2306320"/>
                    </a:lnTo>
                    <a:lnTo>
                      <a:pt x="7750479" y="2311084"/>
                    </a:lnTo>
                    <a:lnTo>
                      <a:pt x="7750479" y="2325380"/>
                    </a:lnTo>
                    <a:lnTo>
                      <a:pt x="7740951" y="2339676"/>
                    </a:lnTo>
                    <a:lnTo>
                      <a:pt x="7736185" y="2349204"/>
                    </a:lnTo>
                    <a:lnTo>
                      <a:pt x="7745715" y="2349204"/>
                    </a:lnTo>
                    <a:lnTo>
                      <a:pt x="7750479" y="2353972"/>
                    </a:lnTo>
                    <a:lnTo>
                      <a:pt x="7755245" y="2368268"/>
                    </a:lnTo>
                    <a:lnTo>
                      <a:pt x="7755245" y="2382560"/>
                    </a:lnTo>
                    <a:lnTo>
                      <a:pt x="7755245" y="2392092"/>
                    </a:lnTo>
                    <a:lnTo>
                      <a:pt x="7750479" y="2396856"/>
                    </a:lnTo>
                    <a:lnTo>
                      <a:pt x="7750479" y="2387328"/>
                    </a:lnTo>
                    <a:lnTo>
                      <a:pt x="7750479" y="2382560"/>
                    </a:lnTo>
                    <a:lnTo>
                      <a:pt x="7745715" y="2387328"/>
                    </a:lnTo>
                    <a:lnTo>
                      <a:pt x="7740951" y="2392092"/>
                    </a:lnTo>
                    <a:lnTo>
                      <a:pt x="7740951" y="2406388"/>
                    </a:lnTo>
                    <a:lnTo>
                      <a:pt x="7736185" y="2415916"/>
                    </a:lnTo>
                    <a:lnTo>
                      <a:pt x="7726655" y="2420684"/>
                    </a:lnTo>
                    <a:lnTo>
                      <a:pt x="7717125" y="2439744"/>
                    </a:lnTo>
                    <a:lnTo>
                      <a:pt x="7707595" y="2454040"/>
                    </a:lnTo>
                    <a:lnTo>
                      <a:pt x="7669473" y="2539812"/>
                    </a:lnTo>
                    <a:lnTo>
                      <a:pt x="7669473" y="2554108"/>
                    </a:lnTo>
                    <a:lnTo>
                      <a:pt x="7664707" y="2558872"/>
                    </a:lnTo>
                    <a:lnTo>
                      <a:pt x="7655177" y="2563636"/>
                    </a:lnTo>
                    <a:lnTo>
                      <a:pt x="7640883" y="2573168"/>
                    </a:lnTo>
                    <a:lnTo>
                      <a:pt x="7636117" y="2582696"/>
                    </a:lnTo>
                    <a:lnTo>
                      <a:pt x="7631351" y="2606524"/>
                    </a:lnTo>
                    <a:lnTo>
                      <a:pt x="7617057" y="2635112"/>
                    </a:lnTo>
                    <a:lnTo>
                      <a:pt x="7607527" y="2620820"/>
                    </a:lnTo>
                    <a:lnTo>
                      <a:pt x="7607527" y="2611288"/>
                    </a:lnTo>
                    <a:lnTo>
                      <a:pt x="7612291" y="2587464"/>
                    </a:lnTo>
                    <a:lnTo>
                      <a:pt x="7626587" y="2544576"/>
                    </a:lnTo>
                    <a:lnTo>
                      <a:pt x="7640883" y="2515984"/>
                    </a:lnTo>
                    <a:lnTo>
                      <a:pt x="7650413" y="2501688"/>
                    </a:lnTo>
                    <a:lnTo>
                      <a:pt x="7659943" y="2477864"/>
                    </a:lnTo>
                    <a:lnTo>
                      <a:pt x="7650413" y="2473100"/>
                    </a:lnTo>
                    <a:lnTo>
                      <a:pt x="7631351" y="2473100"/>
                    </a:lnTo>
                    <a:lnTo>
                      <a:pt x="7636117" y="2458804"/>
                    </a:lnTo>
                    <a:lnTo>
                      <a:pt x="7640883" y="2449272"/>
                    </a:lnTo>
                    <a:lnTo>
                      <a:pt x="7631351" y="2439744"/>
                    </a:lnTo>
                    <a:lnTo>
                      <a:pt x="7621821" y="2439744"/>
                    </a:lnTo>
                    <a:lnTo>
                      <a:pt x="7617057" y="2434980"/>
                    </a:lnTo>
                    <a:lnTo>
                      <a:pt x="7626587" y="2425448"/>
                    </a:lnTo>
                    <a:lnTo>
                      <a:pt x="7626587" y="2415916"/>
                    </a:lnTo>
                    <a:lnTo>
                      <a:pt x="7626587" y="2406388"/>
                    </a:lnTo>
                    <a:lnTo>
                      <a:pt x="7626587" y="2396856"/>
                    </a:lnTo>
                    <a:lnTo>
                      <a:pt x="7621821" y="2396856"/>
                    </a:lnTo>
                    <a:lnTo>
                      <a:pt x="7617057" y="2406388"/>
                    </a:lnTo>
                    <a:lnTo>
                      <a:pt x="7612291" y="2411152"/>
                    </a:lnTo>
                    <a:lnTo>
                      <a:pt x="7607527" y="2401624"/>
                    </a:lnTo>
                    <a:lnTo>
                      <a:pt x="7602761" y="2411152"/>
                    </a:lnTo>
                    <a:lnTo>
                      <a:pt x="7597996" y="2411152"/>
                    </a:lnTo>
                    <a:lnTo>
                      <a:pt x="7588466" y="2406388"/>
                    </a:lnTo>
                    <a:lnTo>
                      <a:pt x="7574171" y="2396856"/>
                    </a:lnTo>
                    <a:lnTo>
                      <a:pt x="7564640" y="2382560"/>
                    </a:lnTo>
                    <a:lnTo>
                      <a:pt x="7559875" y="2368268"/>
                    </a:lnTo>
                    <a:lnTo>
                      <a:pt x="7564640" y="2349204"/>
                    </a:lnTo>
                    <a:lnTo>
                      <a:pt x="7574171" y="2344440"/>
                    </a:lnTo>
                    <a:lnTo>
                      <a:pt x="7588466" y="2349204"/>
                    </a:lnTo>
                    <a:lnTo>
                      <a:pt x="7607527" y="2349204"/>
                    </a:lnTo>
                    <a:lnTo>
                      <a:pt x="7602761" y="2344440"/>
                    </a:lnTo>
                    <a:lnTo>
                      <a:pt x="7597996" y="2344440"/>
                    </a:lnTo>
                    <a:lnTo>
                      <a:pt x="7578935" y="2325380"/>
                    </a:lnTo>
                    <a:lnTo>
                      <a:pt x="7574171" y="2315848"/>
                    </a:lnTo>
                    <a:lnTo>
                      <a:pt x="7564640" y="2311084"/>
                    </a:lnTo>
                    <a:lnTo>
                      <a:pt x="7559875" y="2325380"/>
                    </a:lnTo>
                    <a:lnTo>
                      <a:pt x="7555110" y="2325380"/>
                    </a:lnTo>
                    <a:lnTo>
                      <a:pt x="7559875" y="2306320"/>
                    </a:lnTo>
                    <a:lnTo>
                      <a:pt x="7569405" y="2301556"/>
                    </a:lnTo>
                    <a:lnTo>
                      <a:pt x="7578935" y="2296788"/>
                    </a:lnTo>
                    <a:lnTo>
                      <a:pt x="7578935" y="2287260"/>
                    </a:lnTo>
                    <a:lnTo>
                      <a:pt x="7569405" y="2277728"/>
                    </a:lnTo>
                    <a:lnTo>
                      <a:pt x="7555110" y="2287260"/>
                    </a:lnTo>
                    <a:lnTo>
                      <a:pt x="7555110" y="2277728"/>
                    </a:lnTo>
                    <a:lnTo>
                      <a:pt x="7559875" y="2268200"/>
                    </a:lnTo>
                    <a:lnTo>
                      <a:pt x="7569405" y="2268200"/>
                    </a:lnTo>
                    <a:lnTo>
                      <a:pt x="7578935" y="2268200"/>
                    </a:lnTo>
                    <a:lnTo>
                      <a:pt x="7583701" y="2249140"/>
                    </a:lnTo>
                    <a:lnTo>
                      <a:pt x="7583701" y="2244372"/>
                    </a:lnTo>
                    <a:lnTo>
                      <a:pt x="7574171" y="2253904"/>
                    </a:lnTo>
                    <a:lnTo>
                      <a:pt x="7569405" y="2230076"/>
                    </a:lnTo>
                    <a:lnTo>
                      <a:pt x="7583701" y="2206252"/>
                    </a:lnTo>
                    <a:lnTo>
                      <a:pt x="7593231" y="2191956"/>
                    </a:lnTo>
                    <a:lnTo>
                      <a:pt x="7612291" y="2191956"/>
                    </a:lnTo>
                    <a:lnTo>
                      <a:pt x="7626587" y="2191956"/>
                    </a:lnTo>
                    <a:lnTo>
                      <a:pt x="7617057" y="2187192"/>
                    </a:lnTo>
                    <a:lnTo>
                      <a:pt x="7607527" y="2187192"/>
                    </a:lnTo>
                    <a:lnTo>
                      <a:pt x="7612291" y="2172896"/>
                    </a:lnTo>
                    <a:lnTo>
                      <a:pt x="7621821" y="2172896"/>
                    </a:lnTo>
                    <a:lnTo>
                      <a:pt x="7626587" y="2163364"/>
                    </a:lnTo>
                    <a:lnTo>
                      <a:pt x="7612291" y="2168132"/>
                    </a:lnTo>
                    <a:lnTo>
                      <a:pt x="7612291" y="2149072"/>
                    </a:lnTo>
                    <a:lnTo>
                      <a:pt x="7607527" y="2153836"/>
                    </a:lnTo>
                    <a:lnTo>
                      <a:pt x="7597996" y="2153836"/>
                    </a:lnTo>
                    <a:lnTo>
                      <a:pt x="7593231" y="2163364"/>
                    </a:lnTo>
                    <a:lnTo>
                      <a:pt x="7593231" y="2172896"/>
                    </a:lnTo>
                    <a:lnTo>
                      <a:pt x="7593231" y="2182428"/>
                    </a:lnTo>
                    <a:lnTo>
                      <a:pt x="7583701" y="2187192"/>
                    </a:lnTo>
                    <a:lnTo>
                      <a:pt x="7574171" y="2191956"/>
                    </a:lnTo>
                    <a:lnTo>
                      <a:pt x="7569405" y="2182428"/>
                    </a:lnTo>
                    <a:lnTo>
                      <a:pt x="7569405" y="2177660"/>
                    </a:lnTo>
                    <a:lnTo>
                      <a:pt x="7564640" y="2196720"/>
                    </a:lnTo>
                    <a:lnTo>
                      <a:pt x="7564640" y="2201488"/>
                    </a:lnTo>
                    <a:lnTo>
                      <a:pt x="7555110" y="2187192"/>
                    </a:lnTo>
                    <a:lnTo>
                      <a:pt x="7550345" y="2191956"/>
                    </a:lnTo>
                    <a:lnTo>
                      <a:pt x="7550345" y="2201488"/>
                    </a:lnTo>
                    <a:lnTo>
                      <a:pt x="7545579" y="2206252"/>
                    </a:lnTo>
                    <a:lnTo>
                      <a:pt x="7545579" y="2215784"/>
                    </a:lnTo>
                    <a:lnTo>
                      <a:pt x="7540815" y="2220548"/>
                    </a:lnTo>
                    <a:lnTo>
                      <a:pt x="7516989" y="2215784"/>
                    </a:lnTo>
                    <a:lnTo>
                      <a:pt x="7531285" y="2234844"/>
                    </a:lnTo>
                    <a:lnTo>
                      <a:pt x="7540815" y="2244372"/>
                    </a:lnTo>
                    <a:lnTo>
                      <a:pt x="7540815" y="2253904"/>
                    </a:lnTo>
                    <a:lnTo>
                      <a:pt x="7531285" y="2263432"/>
                    </a:lnTo>
                    <a:lnTo>
                      <a:pt x="7521754" y="2253904"/>
                    </a:lnTo>
                    <a:lnTo>
                      <a:pt x="7526519" y="2268200"/>
                    </a:lnTo>
                    <a:lnTo>
                      <a:pt x="7531285" y="2277728"/>
                    </a:lnTo>
                    <a:lnTo>
                      <a:pt x="7526519" y="2287260"/>
                    </a:lnTo>
                    <a:lnTo>
                      <a:pt x="7526519" y="2301556"/>
                    </a:lnTo>
                    <a:lnTo>
                      <a:pt x="7526519" y="2311084"/>
                    </a:lnTo>
                    <a:lnTo>
                      <a:pt x="7521754" y="2320616"/>
                    </a:lnTo>
                    <a:lnTo>
                      <a:pt x="7526519" y="2363500"/>
                    </a:lnTo>
                    <a:lnTo>
                      <a:pt x="7536049" y="2373032"/>
                    </a:lnTo>
                    <a:lnTo>
                      <a:pt x="7540815" y="2382560"/>
                    </a:lnTo>
                    <a:lnTo>
                      <a:pt x="7545579" y="2392092"/>
                    </a:lnTo>
                    <a:lnTo>
                      <a:pt x="7540815" y="2396856"/>
                    </a:lnTo>
                    <a:lnTo>
                      <a:pt x="7526519" y="2387328"/>
                    </a:lnTo>
                    <a:lnTo>
                      <a:pt x="7516989" y="2382560"/>
                    </a:lnTo>
                    <a:lnTo>
                      <a:pt x="7507459" y="2358736"/>
                    </a:lnTo>
                    <a:lnTo>
                      <a:pt x="7502693" y="2353972"/>
                    </a:lnTo>
                    <a:lnTo>
                      <a:pt x="7502693" y="2358736"/>
                    </a:lnTo>
                    <a:lnTo>
                      <a:pt x="7507459" y="2377796"/>
                    </a:lnTo>
                    <a:lnTo>
                      <a:pt x="7540815" y="2415916"/>
                    </a:lnTo>
                    <a:lnTo>
                      <a:pt x="7550345" y="2430212"/>
                    </a:lnTo>
                    <a:lnTo>
                      <a:pt x="7555110" y="2439744"/>
                    </a:lnTo>
                    <a:lnTo>
                      <a:pt x="7555110" y="2449272"/>
                    </a:lnTo>
                    <a:lnTo>
                      <a:pt x="7545579" y="2444508"/>
                    </a:lnTo>
                    <a:lnTo>
                      <a:pt x="7536049" y="2434980"/>
                    </a:lnTo>
                    <a:lnTo>
                      <a:pt x="7512224" y="2420684"/>
                    </a:lnTo>
                    <a:lnTo>
                      <a:pt x="7488398" y="2415916"/>
                    </a:lnTo>
                    <a:lnTo>
                      <a:pt x="7469337" y="2392092"/>
                    </a:lnTo>
                    <a:lnTo>
                      <a:pt x="7469337" y="2401624"/>
                    </a:lnTo>
                    <a:lnTo>
                      <a:pt x="7469337" y="2411152"/>
                    </a:lnTo>
                    <a:lnTo>
                      <a:pt x="7459807" y="2396856"/>
                    </a:lnTo>
                    <a:lnTo>
                      <a:pt x="7450277" y="2387328"/>
                    </a:lnTo>
                    <a:lnTo>
                      <a:pt x="7450277" y="2377796"/>
                    </a:lnTo>
                    <a:lnTo>
                      <a:pt x="7440747" y="2377796"/>
                    </a:lnTo>
                    <a:lnTo>
                      <a:pt x="7426451" y="2387328"/>
                    </a:lnTo>
                    <a:lnTo>
                      <a:pt x="7412156" y="2387328"/>
                    </a:lnTo>
                    <a:lnTo>
                      <a:pt x="7412156" y="2368268"/>
                    </a:lnTo>
                    <a:lnTo>
                      <a:pt x="7416921" y="2358736"/>
                    </a:lnTo>
                    <a:lnTo>
                      <a:pt x="7431217" y="2339676"/>
                    </a:lnTo>
                    <a:lnTo>
                      <a:pt x="7440747" y="2325380"/>
                    </a:lnTo>
                    <a:lnTo>
                      <a:pt x="7445512" y="2311084"/>
                    </a:lnTo>
                    <a:lnTo>
                      <a:pt x="7435981" y="2325380"/>
                    </a:lnTo>
                    <a:lnTo>
                      <a:pt x="7426451" y="2334912"/>
                    </a:lnTo>
                    <a:lnTo>
                      <a:pt x="7412156" y="2349204"/>
                    </a:lnTo>
                    <a:lnTo>
                      <a:pt x="7407391" y="2363500"/>
                    </a:lnTo>
                    <a:lnTo>
                      <a:pt x="7402626" y="2387328"/>
                    </a:lnTo>
                    <a:lnTo>
                      <a:pt x="7407391" y="2396856"/>
                    </a:lnTo>
                    <a:lnTo>
                      <a:pt x="7412156" y="2401624"/>
                    </a:lnTo>
                    <a:lnTo>
                      <a:pt x="7431217" y="2392092"/>
                    </a:lnTo>
                    <a:lnTo>
                      <a:pt x="7445512" y="2396856"/>
                    </a:lnTo>
                    <a:lnTo>
                      <a:pt x="7464573" y="2430212"/>
                    </a:lnTo>
                    <a:lnTo>
                      <a:pt x="7507459" y="2439744"/>
                    </a:lnTo>
                    <a:lnTo>
                      <a:pt x="7521754" y="2449272"/>
                    </a:lnTo>
                    <a:lnTo>
                      <a:pt x="7531285" y="2463568"/>
                    </a:lnTo>
                    <a:lnTo>
                      <a:pt x="7550345" y="2473100"/>
                    </a:lnTo>
                    <a:lnTo>
                      <a:pt x="7564640" y="2487396"/>
                    </a:lnTo>
                    <a:lnTo>
                      <a:pt x="7564640" y="2496924"/>
                    </a:lnTo>
                    <a:lnTo>
                      <a:pt x="7559875" y="2506456"/>
                    </a:lnTo>
                    <a:lnTo>
                      <a:pt x="7559875" y="2520752"/>
                    </a:lnTo>
                    <a:lnTo>
                      <a:pt x="7555110" y="2530280"/>
                    </a:lnTo>
                    <a:lnTo>
                      <a:pt x="7540815" y="2535044"/>
                    </a:lnTo>
                    <a:lnTo>
                      <a:pt x="7531285" y="2530280"/>
                    </a:lnTo>
                    <a:lnTo>
                      <a:pt x="7483633" y="2477864"/>
                    </a:lnTo>
                    <a:lnTo>
                      <a:pt x="7478868" y="2473100"/>
                    </a:lnTo>
                    <a:lnTo>
                      <a:pt x="7459807" y="2449272"/>
                    </a:lnTo>
                    <a:lnTo>
                      <a:pt x="7440747" y="2434980"/>
                    </a:lnTo>
                    <a:lnTo>
                      <a:pt x="7431217" y="2434980"/>
                    </a:lnTo>
                    <a:lnTo>
                      <a:pt x="7464573" y="2458804"/>
                    </a:lnTo>
                    <a:lnTo>
                      <a:pt x="7474103" y="2477864"/>
                    </a:lnTo>
                    <a:lnTo>
                      <a:pt x="7493163" y="2506456"/>
                    </a:lnTo>
                    <a:lnTo>
                      <a:pt x="7512224" y="2515984"/>
                    </a:lnTo>
                    <a:lnTo>
                      <a:pt x="7521754" y="2535044"/>
                    </a:lnTo>
                    <a:lnTo>
                      <a:pt x="7531285" y="2539812"/>
                    </a:lnTo>
                    <a:lnTo>
                      <a:pt x="7559875" y="2554108"/>
                    </a:lnTo>
                    <a:lnTo>
                      <a:pt x="7550345" y="2558872"/>
                    </a:lnTo>
                    <a:lnTo>
                      <a:pt x="7564640" y="2568400"/>
                    </a:lnTo>
                    <a:lnTo>
                      <a:pt x="7569405" y="2577932"/>
                    </a:lnTo>
                    <a:lnTo>
                      <a:pt x="7564640" y="2596992"/>
                    </a:lnTo>
                    <a:lnTo>
                      <a:pt x="7545579" y="2587464"/>
                    </a:lnTo>
                    <a:lnTo>
                      <a:pt x="7545579" y="2601756"/>
                    </a:lnTo>
                    <a:lnTo>
                      <a:pt x="7545579" y="2606524"/>
                    </a:lnTo>
                    <a:lnTo>
                      <a:pt x="7536049" y="2611288"/>
                    </a:lnTo>
                    <a:lnTo>
                      <a:pt x="7521754" y="2601756"/>
                    </a:lnTo>
                    <a:lnTo>
                      <a:pt x="7488398" y="2563636"/>
                    </a:lnTo>
                    <a:lnTo>
                      <a:pt x="7488398" y="2568400"/>
                    </a:lnTo>
                    <a:lnTo>
                      <a:pt x="7493163" y="2577932"/>
                    </a:lnTo>
                    <a:lnTo>
                      <a:pt x="7512224" y="2601756"/>
                    </a:lnTo>
                    <a:lnTo>
                      <a:pt x="7531285" y="2616052"/>
                    </a:lnTo>
                    <a:lnTo>
                      <a:pt x="7545579" y="2620820"/>
                    </a:lnTo>
                    <a:lnTo>
                      <a:pt x="7555110" y="2635112"/>
                    </a:lnTo>
                    <a:lnTo>
                      <a:pt x="7559875" y="2644644"/>
                    </a:lnTo>
                    <a:lnTo>
                      <a:pt x="7564640" y="2654172"/>
                    </a:lnTo>
                    <a:lnTo>
                      <a:pt x="7555110" y="2663704"/>
                    </a:lnTo>
                    <a:lnTo>
                      <a:pt x="7545579" y="2663704"/>
                    </a:lnTo>
                    <a:lnTo>
                      <a:pt x="7536049" y="2658940"/>
                    </a:lnTo>
                    <a:lnTo>
                      <a:pt x="7526519" y="2649408"/>
                    </a:lnTo>
                    <a:lnTo>
                      <a:pt x="7512224" y="2635112"/>
                    </a:lnTo>
                    <a:lnTo>
                      <a:pt x="7507459" y="2620820"/>
                    </a:lnTo>
                    <a:lnTo>
                      <a:pt x="7497929" y="2620820"/>
                    </a:lnTo>
                    <a:lnTo>
                      <a:pt x="7450277" y="2601756"/>
                    </a:lnTo>
                    <a:lnTo>
                      <a:pt x="7416921" y="2601756"/>
                    </a:lnTo>
                    <a:lnTo>
                      <a:pt x="7421687" y="2606524"/>
                    </a:lnTo>
                    <a:lnTo>
                      <a:pt x="7450277" y="2611288"/>
                    </a:lnTo>
                    <a:lnTo>
                      <a:pt x="7464573" y="2620820"/>
                    </a:lnTo>
                    <a:lnTo>
                      <a:pt x="7488398" y="2630348"/>
                    </a:lnTo>
                    <a:lnTo>
                      <a:pt x="7502693" y="2630348"/>
                    </a:lnTo>
                    <a:lnTo>
                      <a:pt x="7507459" y="2654172"/>
                    </a:lnTo>
                    <a:lnTo>
                      <a:pt x="7526519" y="2673236"/>
                    </a:lnTo>
                    <a:lnTo>
                      <a:pt x="7531285" y="2682764"/>
                    </a:lnTo>
                    <a:lnTo>
                      <a:pt x="7545579" y="2687528"/>
                    </a:lnTo>
                    <a:lnTo>
                      <a:pt x="7569405" y="2673236"/>
                    </a:lnTo>
                    <a:lnTo>
                      <a:pt x="7583701" y="2678000"/>
                    </a:lnTo>
                    <a:lnTo>
                      <a:pt x="7607527" y="2682764"/>
                    </a:lnTo>
                    <a:lnTo>
                      <a:pt x="7612291" y="2692296"/>
                    </a:lnTo>
                    <a:lnTo>
                      <a:pt x="7617057" y="2711356"/>
                    </a:lnTo>
                    <a:lnTo>
                      <a:pt x="7621821" y="2730416"/>
                    </a:lnTo>
                    <a:lnTo>
                      <a:pt x="7645647" y="2816188"/>
                    </a:lnTo>
                    <a:lnTo>
                      <a:pt x="7674239" y="2882900"/>
                    </a:lnTo>
                    <a:lnTo>
                      <a:pt x="7650413" y="2840012"/>
                    </a:lnTo>
                    <a:lnTo>
                      <a:pt x="7636117" y="2806656"/>
                    </a:lnTo>
                    <a:lnTo>
                      <a:pt x="7621821" y="2749476"/>
                    </a:lnTo>
                    <a:lnTo>
                      <a:pt x="7621821" y="2735180"/>
                    </a:lnTo>
                    <a:lnTo>
                      <a:pt x="7617057" y="2730416"/>
                    </a:lnTo>
                    <a:lnTo>
                      <a:pt x="7612291" y="2735180"/>
                    </a:lnTo>
                    <a:lnTo>
                      <a:pt x="7612291" y="2739948"/>
                    </a:lnTo>
                    <a:lnTo>
                      <a:pt x="7612291" y="2749476"/>
                    </a:lnTo>
                    <a:lnTo>
                      <a:pt x="7607527" y="2768536"/>
                    </a:lnTo>
                    <a:lnTo>
                      <a:pt x="7612291" y="2773304"/>
                    </a:lnTo>
                    <a:lnTo>
                      <a:pt x="7617057" y="2782832"/>
                    </a:lnTo>
                    <a:lnTo>
                      <a:pt x="7626587" y="2806656"/>
                    </a:lnTo>
                    <a:lnTo>
                      <a:pt x="7636117" y="2835248"/>
                    </a:lnTo>
                    <a:lnTo>
                      <a:pt x="7626587" y="2825720"/>
                    </a:lnTo>
                    <a:lnTo>
                      <a:pt x="7617057" y="2816188"/>
                    </a:lnTo>
                    <a:lnTo>
                      <a:pt x="7597996" y="2811424"/>
                    </a:lnTo>
                    <a:lnTo>
                      <a:pt x="7583701" y="2806656"/>
                    </a:lnTo>
                    <a:lnTo>
                      <a:pt x="7583701" y="2816188"/>
                    </a:lnTo>
                    <a:lnTo>
                      <a:pt x="7583701" y="2830484"/>
                    </a:lnTo>
                    <a:lnTo>
                      <a:pt x="7574171" y="2825720"/>
                    </a:lnTo>
                    <a:lnTo>
                      <a:pt x="7564640" y="2820952"/>
                    </a:lnTo>
                    <a:lnTo>
                      <a:pt x="7569405" y="2835248"/>
                    </a:lnTo>
                    <a:lnTo>
                      <a:pt x="7555110" y="2830484"/>
                    </a:lnTo>
                    <a:lnTo>
                      <a:pt x="7545579" y="2835248"/>
                    </a:lnTo>
                    <a:lnTo>
                      <a:pt x="7540815" y="2844780"/>
                    </a:lnTo>
                    <a:lnTo>
                      <a:pt x="7531285" y="2854308"/>
                    </a:lnTo>
                    <a:lnTo>
                      <a:pt x="7521754" y="2854308"/>
                    </a:lnTo>
                    <a:lnTo>
                      <a:pt x="7502693" y="2844780"/>
                    </a:lnTo>
                    <a:lnTo>
                      <a:pt x="7493163" y="2830484"/>
                    </a:lnTo>
                    <a:lnTo>
                      <a:pt x="7493163" y="2835248"/>
                    </a:lnTo>
                    <a:lnTo>
                      <a:pt x="7493163" y="2854308"/>
                    </a:lnTo>
                    <a:lnTo>
                      <a:pt x="7493163" y="2868604"/>
                    </a:lnTo>
                    <a:lnTo>
                      <a:pt x="7512224" y="2868604"/>
                    </a:lnTo>
                    <a:lnTo>
                      <a:pt x="7526519" y="2868604"/>
                    </a:lnTo>
                    <a:lnTo>
                      <a:pt x="7550345" y="2868604"/>
                    </a:lnTo>
                    <a:lnTo>
                      <a:pt x="7564640" y="2863840"/>
                    </a:lnTo>
                    <a:lnTo>
                      <a:pt x="7574171" y="2859076"/>
                    </a:lnTo>
                    <a:lnTo>
                      <a:pt x="7597996" y="2863840"/>
                    </a:lnTo>
                    <a:lnTo>
                      <a:pt x="7597996" y="2882900"/>
                    </a:lnTo>
                    <a:lnTo>
                      <a:pt x="7593231" y="2897196"/>
                    </a:lnTo>
                    <a:lnTo>
                      <a:pt x="7593231" y="2916256"/>
                    </a:lnTo>
                    <a:lnTo>
                      <a:pt x="7597996" y="2916256"/>
                    </a:lnTo>
                    <a:lnTo>
                      <a:pt x="7607527" y="2911492"/>
                    </a:lnTo>
                    <a:lnTo>
                      <a:pt x="7612291" y="2878136"/>
                    </a:lnTo>
                    <a:lnTo>
                      <a:pt x="7631351" y="2868604"/>
                    </a:lnTo>
                    <a:lnTo>
                      <a:pt x="7636117" y="2868604"/>
                    </a:lnTo>
                    <a:lnTo>
                      <a:pt x="7640883" y="2878136"/>
                    </a:lnTo>
                    <a:lnTo>
                      <a:pt x="7645647" y="2887664"/>
                    </a:lnTo>
                    <a:lnTo>
                      <a:pt x="7645647" y="2901960"/>
                    </a:lnTo>
                    <a:lnTo>
                      <a:pt x="7640883" y="2925788"/>
                    </a:lnTo>
                    <a:lnTo>
                      <a:pt x="7612291" y="2954376"/>
                    </a:lnTo>
                    <a:lnTo>
                      <a:pt x="7588466" y="2978204"/>
                    </a:lnTo>
                    <a:lnTo>
                      <a:pt x="7578935" y="2982968"/>
                    </a:lnTo>
                    <a:lnTo>
                      <a:pt x="7564640" y="2978204"/>
                    </a:lnTo>
                    <a:lnTo>
                      <a:pt x="7545579" y="2973436"/>
                    </a:lnTo>
                    <a:lnTo>
                      <a:pt x="7536049" y="2973436"/>
                    </a:lnTo>
                    <a:lnTo>
                      <a:pt x="7531285" y="2973436"/>
                    </a:lnTo>
                    <a:lnTo>
                      <a:pt x="7526519" y="2968672"/>
                    </a:lnTo>
                    <a:lnTo>
                      <a:pt x="7521754" y="2954376"/>
                    </a:lnTo>
                    <a:lnTo>
                      <a:pt x="7516989" y="2949612"/>
                    </a:lnTo>
                    <a:lnTo>
                      <a:pt x="7512224" y="2949612"/>
                    </a:lnTo>
                    <a:lnTo>
                      <a:pt x="7507459" y="2963908"/>
                    </a:lnTo>
                    <a:lnTo>
                      <a:pt x="7493163" y="2968672"/>
                    </a:lnTo>
                    <a:lnTo>
                      <a:pt x="7469337" y="2963908"/>
                    </a:lnTo>
                    <a:lnTo>
                      <a:pt x="7445512" y="2949612"/>
                    </a:lnTo>
                    <a:lnTo>
                      <a:pt x="7455042" y="2963908"/>
                    </a:lnTo>
                    <a:lnTo>
                      <a:pt x="7512224" y="2987732"/>
                    </a:lnTo>
                    <a:lnTo>
                      <a:pt x="7521754" y="2992496"/>
                    </a:lnTo>
                    <a:lnTo>
                      <a:pt x="7526519" y="2997264"/>
                    </a:lnTo>
                    <a:lnTo>
                      <a:pt x="7516989" y="3011560"/>
                    </a:lnTo>
                    <a:lnTo>
                      <a:pt x="7512224" y="3021088"/>
                    </a:lnTo>
                    <a:lnTo>
                      <a:pt x="7512224" y="3030620"/>
                    </a:lnTo>
                    <a:lnTo>
                      <a:pt x="7507459" y="3035384"/>
                    </a:lnTo>
                    <a:lnTo>
                      <a:pt x="7483633" y="3054444"/>
                    </a:lnTo>
                    <a:lnTo>
                      <a:pt x="7474103" y="3049680"/>
                    </a:lnTo>
                    <a:lnTo>
                      <a:pt x="7440747" y="3021088"/>
                    </a:lnTo>
                    <a:lnTo>
                      <a:pt x="7455042" y="3044916"/>
                    </a:lnTo>
                    <a:lnTo>
                      <a:pt x="7464573" y="3054444"/>
                    </a:lnTo>
                    <a:lnTo>
                      <a:pt x="7488398" y="3059208"/>
                    </a:lnTo>
                    <a:lnTo>
                      <a:pt x="7536049" y="3054444"/>
                    </a:lnTo>
                    <a:lnTo>
                      <a:pt x="7550345" y="3063976"/>
                    </a:lnTo>
                    <a:lnTo>
                      <a:pt x="7536049" y="3083036"/>
                    </a:lnTo>
                    <a:lnTo>
                      <a:pt x="7526519" y="3092564"/>
                    </a:lnTo>
                    <a:lnTo>
                      <a:pt x="7512224" y="3092564"/>
                    </a:lnTo>
                    <a:lnTo>
                      <a:pt x="7497929" y="3097332"/>
                    </a:lnTo>
                    <a:lnTo>
                      <a:pt x="7493163" y="3106860"/>
                    </a:lnTo>
                    <a:lnTo>
                      <a:pt x="7483633" y="3106860"/>
                    </a:lnTo>
                    <a:lnTo>
                      <a:pt x="7464573" y="3106860"/>
                    </a:lnTo>
                    <a:lnTo>
                      <a:pt x="7440747" y="3106860"/>
                    </a:lnTo>
                    <a:lnTo>
                      <a:pt x="7431217" y="3106860"/>
                    </a:lnTo>
                    <a:lnTo>
                      <a:pt x="7412156" y="3125920"/>
                    </a:lnTo>
                    <a:lnTo>
                      <a:pt x="7402626" y="3125920"/>
                    </a:lnTo>
                    <a:lnTo>
                      <a:pt x="7393095" y="3121156"/>
                    </a:lnTo>
                    <a:lnTo>
                      <a:pt x="7388331" y="3106860"/>
                    </a:lnTo>
                    <a:lnTo>
                      <a:pt x="7388331" y="3125920"/>
                    </a:lnTo>
                    <a:lnTo>
                      <a:pt x="7388331" y="3135452"/>
                    </a:lnTo>
                    <a:lnTo>
                      <a:pt x="7393095" y="3140216"/>
                    </a:lnTo>
                    <a:lnTo>
                      <a:pt x="7369270" y="3154512"/>
                    </a:lnTo>
                    <a:lnTo>
                      <a:pt x="7350209" y="3173572"/>
                    </a:lnTo>
                    <a:lnTo>
                      <a:pt x="7340679" y="3178336"/>
                    </a:lnTo>
                    <a:lnTo>
                      <a:pt x="7331149" y="3187868"/>
                    </a:lnTo>
                    <a:lnTo>
                      <a:pt x="7316853" y="3211692"/>
                    </a:lnTo>
                    <a:lnTo>
                      <a:pt x="7312089" y="3230756"/>
                    </a:lnTo>
                    <a:lnTo>
                      <a:pt x="7307323" y="3249816"/>
                    </a:lnTo>
                    <a:lnTo>
                      <a:pt x="7307323" y="3240284"/>
                    </a:lnTo>
                    <a:lnTo>
                      <a:pt x="7307323" y="3225988"/>
                    </a:lnTo>
                    <a:lnTo>
                      <a:pt x="7302558" y="3206928"/>
                    </a:lnTo>
                    <a:lnTo>
                      <a:pt x="7297793" y="3240284"/>
                    </a:lnTo>
                    <a:lnTo>
                      <a:pt x="7293028" y="3254580"/>
                    </a:lnTo>
                    <a:lnTo>
                      <a:pt x="7231081" y="3254580"/>
                    </a:lnTo>
                    <a:lnTo>
                      <a:pt x="7202491" y="3264112"/>
                    </a:lnTo>
                    <a:lnTo>
                      <a:pt x="7164369" y="3292700"/>
                    </a:lnTo>
                    <a:lnTo>
                      <a:pt x="7150074" y="3302232"/>
                    </a:lnTo>
                    <a:lnTo>
                      <a:pt x="7116718" y="3349884"/>
                    </a:lnTo>
                    <a:lnTo>
                      <a:pt x="7107188" y="3383240"/>
                    </a:lnTo>
                    <a:lnTo>
                      <a:pt x="7102423" y="3368944"/>
                    </a:lnTo>
                    <a:lnTo>
                      <a:pt x="7102423" y="3359412"/>
                    </a:lnTo>
                    <a:lnTo>
                      <a:pt x="7102423" y="3349884"/>
                    </a:lnTo>
                    <a:lnTo>
                      <a:pt x="7092893" y="3368944"/>
                    </a:lnTo>
                    <a:lnTo>
                      <a:pt x="7102423" y="3392768"/>
                    </a:lnTo>
                    <a:lnTo>
                      <a:pt x="7092893" y="3402300"/>
                    </a:lnTo>
                    <a:lnTo>
                      <a:pt x="7073832" y="3421360"/>
                    </a:lnTo>
                    <a:lnTo>
                      <a:pt x="7059537" y="3421360"/>
                    </a:lnTo>
                    <a:lnTo>
                      <a:pt x="7045241" y="3426124"/>
                    </a:lnTo>
                    <a:lnTo>
                      <a:pt x="7040476" y="3445184"/>
                    </a:lnTo>
                    <a:lnTo>
                      <a:pt x="7026181" y="3459480"/>
                    </a:lnTo>
                    <a:lnTo>
                      <a:pt x="7011885" y="3469012"/>
                    </a:lnTo>
                    <a:lnTo>
                      <a:pt x="6992825" y="3464244"/>
                    </a:lnTo>
                    <a:lnTo>
                      <a:pt x="6997590" y="3478540"/>
                    </a:lnTo>
                    <a:lnTo>
                      <a:pt x="6992825" y="3488072"/>
                    </a:lnTo>
                    <a:lnTo>
                      <a:pt x="6978529" y="3497600"/>
                    </a:lnTo>
                    <a:lnTo>
                      <a:pt x="6964234" y="3502368"/>
                    </a:lnTo>
                    <a:lnTo>
                      <a:pt x="6954704" y="3502368"/>
                    </a:lnTo>
                    <a:lnTo>
                      <a:pt x="6945173" y="3507132"/>
                    </a:lnTo>
                    <a:lnTo>
                      <a:pt x="6940409" y="3511896"/>
                    </a:lnTo>
                    <a:lnTo>
                      <a:pt x="6926113" y="3521428"/>
                    </a:lnTo>
                    <a:lnTo>
                      <a:pt x="6911817" y="3516660"/>
                    </a:lnTo>
                    <a:lnTo>
                      <a:pt x="6892757" y="3511896"/>
                    </a:lnTo>
                    <a:lnTo>
                      <a:pt x="6883227" y="3516660"/>
                    </a:lnTo>
                    <a:lnTo>
                      <a:pt x="6897523" y="3526192"/>
                    </a:lnTo>
                    <a:lnTo>
                      <a:pt x="6907053" y="3535724"/>
                    </a:lnTo>
                    <a:lnTo>
                      <a:pt x="6907053" y="3545252"/>
                    </a:lnTo>
                    <a:lnTo>
                      <a:pt x="6902287" y="3554784"/>
                    </a:lnTo>
                    <a:lnTo>
                      <a:pt x="6892757" y="3559548"/>
                    </a:lnTo>
                    <a:lnTo>
                      <a:pt x="6887992" y="3559548"/>
                    </a:lnTo>
                    <a:lnTo>
                      <a:pt x="6883227" y="3554784"/>
                    </a:lnTo>
                    <a:lnTo>
                      <a:pt x="6883227" y="3540488"/>
                    </a:lnTo>
                    <a:lnTo>
                      <a:pt x="6878462" y="3540488"/>
                    </a:lnTo>
                    <a:lnTo>
                      <a:pt x="6873697" y="3550016"/>
                    </a:lnTo>
                    <a:lnTo>
                      <a:pt x="6854636" y="3530956"/>
                    </a:lnTo>
                    <a:lnTo>
                      <a:pt x="6859401" y="3545252"/>
                    </a:lnTo>
                    <a:lnTo>
                      <a:pt x="6864167" y="3559548"/>
                    </a:lnTo>
                    <a:lnTo>
                      <a:pt x="6868931" y="3564312"/>
                    </a:lnTo>
                    <a:lnTo>
                      <a:pt x="6873697" y="3569080"/>
                    </a:lnTo>
                    <a:lnTo>
                      <a:pt x="6873697" y="3573844"/>
                    </a:lnTo>
                    <a:lnTo>
                      <a:pt x="6864167" y="3588140"/>
                    </a:lnTo>
                    <a:lnTo>
                      <a:pt x="6859401" y="3588140"/>
                    </a:lnTo>
                    <a:lnTo>
                      <a:pt x="6849871" y="3592904"/>
                    </a:lnTo>
                    <a:lnTo>
                      <a:pt x="6845106" y="3597668"/>
                    </a:lnTo>
                    <a:lnTo>
                      <a:pt x="6845106" y="3607200"/>
                    </a:lnTo>
                    <a:lnTo>
                      <a:pt x="6835575" y="3621496"/>
                    </a:lnTo>
                    <a:lnTo>
                      <a:pt x="6816515" y="3631024"/>
                    </a:lnTo>
                    <a:lnTo>
                      <a:pt x="6811750" y="3631024"/>
                    </a:lnTo>
                    <a:lnTo>
                      <a:pt x="6806985" y="3635792"/>
                    </a:lnTo>
                    <a:lnTo>
                      <a:pt x="6811750" y="3640556"/>
                    </a:lnTo>
                    <a:lnTo>
                      <a:pt x="6816515" y="3645320"/>
                    </a:lnTo>
                    <a:lnTo>
                      <a:pt x="6816515" y="3650084"/>
                    </a:lnTo>
                    <a:lnTo>
                      <a:pt x="6811750" y="3659616"/>
                    </a:lnTo>
                    <a:lnTo>
                      <a:pt x="6802220" y="3659616"/>
                    </a:lnTo>
                    <a:lnTo>
                      <a:pt x="6797455" y="3669144"/>
                    </a:lnTo>
                    <a:lnTo>
                      <a:pt x="6797455" y="3673912"/>
                    </a:lnTo>
                    <a:lnTo>
                      <a:pt x="6802220" y="3678676"/>
                    </a:lnTo>
                    <a:lnTo>
                      <a:pt x="6797455" y="3683440"/>
                    </a:lnTo>
                    <a:lnTo>
                      <a:pt x="6787925" y="3692972"/>
                    </a:lnTo>
                    <a:lnTo>
                      <a:pt x="6783159" y="3697736"/>
                    </a:lnTo>
                    <a:lnTo>
                      <a:pt x="6792689" y="3697736"/>
                    </a:lnTo>
                    <a:lnTo>
                      <a:pt x="6797455" y="3697736"/>
                    </a:lnTo>
                    <a:lnTo>
                      <a:pt x="6792689" y="3712032"/>
                    </a:lnTo>
                    <a:lnTo>
                      <a:pt x="6783159" y="3716796"/>
                    </a:lnTo>
                    <a:lnTo>
                      <a:pt x="6778394" y="3726328"/>
                    </a:lnTo>
                    <a:lnTo>
                      <a:pt x="6764099" y="3731092"/>
                    </a:lnTo>
                    <a:lnTo>
                      <a:pt x="6768864" y="3735856"/>
                    </a:lnTo>
                    <a:lnTo>
                      <a:pt x="6773629" y="3740624"/>
                    </a:lnTo>
                    <a:lnTo>
                      <a:pt x="6783159" y="3750152"/>
                    </a:lnTo>
                    <a:lnTo>
                      <a:pt x="6768864" y="3764448"/>
                    </a:lnTo>
                    <a:lnTo>
                      <a:pt x="6759333" y="3764448"/>
                    </a:lnTo>
                    <a:lnTo>
                      <a:pt x="6759333" y="3759684"/>
                    </a:lnTo>
                    <a:lnTo>
                      <a:pt x="6754569" y="3773980"/>
                    </a:lnTo>
                    <a:lnTo>
                      <a:pt x="6754569" y="3778744"/>
                    </a:lnTo>
                    <a:lnTo>
                      <a:pt x="6754569" y="3793040"/>
                    </a:lnTo>
                    <a:lnTo>
                      <a:pt x="6749803" y="3812100"/>
                    </a:lnTo>
                    <a:lnTo>
                      <a:pt x="6745038" y="3816864"/>
                    </a:lnTo>
                    <a:lnTo>
                      <a:pt x="6745038" y="3831160"/>
                    </a:lnTo>
                    <a:lnTo>
                      <a:pt x="6745038" y="3845456"/>
                    </a:lnTo>
                    <a:lnTo>
                      <a:pt x="6754569" y="3859752"/>
                    </a:lnTo>
                    <a:lnTo>
                      <a:pt x="6764099" y="3926464"/>
                    </a:lnTo>
                    <a:lnTo>
                      <a:pt x="6773629" y="3950288"/>
                    </a:lnTo>
                    <a:lnTo>
                      <a:pt x="6787925" y="4012236"/>
                    </a:lnTo>
                    <a:lnTo>
                      <a:pt x="6806985" y="4074180"/>
                    </a:lnTo>
                    <a:lnTo>
                      <a:pt x="6840341" y="4145660"/>
                    </a:lnTo>
                    <a:lnTo>
                      <a:pt x="6892757" y="4236196"/>
                    </a:lnTo>
                    <a:lnTo>
                      <a:pt x="6902287" y="4245728"/>
                    </a:lnTo>
                    <a:lnTo>
                      <a:pt x="6892757" y="4260020"/>
                    </a:lnTo>
                    <a:lnTo>
                      <a:pt x="6892757" y="4269552"/>
                    </a:lnTo>
                    <a:lnTo>
                      <a:pt x="6892757" y="4283848"/>
                    </a:lnTo>
                    <a:lnTo>
                      <a:pt x="6892757" y="4302908"/>
                    </a:lnTo>
                    <a:lnTo>
                      <a:pt x="6897523" y="4321968"/>
                    </a:lnTo>
                    <a:lnTo>
                      <a:pt x="6911817" y="4350560"/>
                    </a:lnTo>
                    <a:lnTo>
                      <a:pt x="6902287" y="4345796"/>
                    </a:lnTo>
                    <a:lnTo>
                      <a:pt x="6887992" y="4302908"/>
                    </a:lnTo>
                    <a:lnTo>
                      <a:pt x="6883227" y="4279084"/>
                    </a:lnTo>
                    <a:lnTo>
                      <a:pt x="6887992" y="4240960"/>
                    </a:lnTo>
                    <a:lnTo>
                      <a:pt x="6883227" y="4240960"/>
                    </a:lnTo>
                    <a:lnTo>
                      <a:pt x="6878462" y="4255256"/>
                    </a:lnTo>
                    <a:lnTo>
                      <a:pt x="6878462" y="4269552"/>
                    </a:lnTo>
                    <a:lnTo>
                      <a:pt x="6873697" y="4274316"/>
                    </a:lnTo>
                    <a:lnTo>
                      <a:pt x="6868931" y="4250492"/>
                    </a:lnTo>
                    <a:lnTo>
                      <a:pt x="6868931" y="4240960"/>
                    </a:lnTo>
                    <a:lnTo>
                      <a:pt x="6873697" y="4231432"/>
                    </a:lnTo>
                    <a:lnTo>
                      <a:pt x="6873697" y="4226664"/>
                    </a:lnTo>
                    <a:lnTo>
                      <a:pt x="6864167" y="4221900"/>
                    </a:lnTo>
                    <a:lnTo>
                      <a:pt x="6859401" y="4212372"/>
                    </a:lnTo>
                    <a:lnTo>
                      <a:pt x="6859401" y="4202840"/>
                    </a:lnTo>
                    <a:lnTo>
                      <a:pt x="6854636" y="4198076"/>
                    </a:lnTo>
                    <a:lnTo>
                      <a:pt x="6849871" y="4198076"/>
                    </a:lnTo>
                    <a:lnTo>
                      <a:pt x="6854636" y="4221900"/>
                    </a:lnTo>
                    <a:lnTo>
                      <a:pt x="6859401" y="4236196"/>
                    </a:lnTo>
                    <a:lnTo>
                      <a:pt x="6864167" y="4264788"/>
                    </a:lnTo>
                    <a:lnTo>
                      <a:pt x="6873697" y="4283848"/>
                    </a:lnTo>
                    <a:lnTo>
                      <a:pt x="6878462" y="4302908"/>
                    </a:lnTo>
                    <a:lnTo>
                      <a:pt x="6945173" y="4474452"/>
                    </a:lnTo>
                    <a:lnTo>
                      <a:pt x="6964234" y="4498280"/>
                    </a:lnTo>
                    <a:lnTo>
                      <a:pt x="6968999" y="4512572"/>
                    </a:lnTo>
                    <a:lnTo>
                      <a:pt x="6973765" y="4545928"/>
                    </a:lnTo>
                    <a:lnTo>
                      <a:pt x="6973765" y="4584052"/>
                    </a:lnTo>
                    <a:lnTo>
                      <a:pt x="6964234" y="4660292"/>
                    </a:lnTo>
                    <a:lnTo>
                      <a:pt x="6964234" y="4712708"/>
                    </a:lnTo>
                    <a:lnTo>
                      <a:pt x="6959469" y="4712708"/>
                    </a:lnTo>
                    <a:lnTo>
                      <a:pt x="6959469" y="4707944"/>
                    </a:lnTo>
                    <a:lnTo>
                      <a:pt x="6949939" y="4731768"/>
                    </a:lnTo>
                    <a:lnTo>
                      <a:pt x="6935643" y="4750828"/>
                    </a:lnTo>
                    <a:lnTo>
                      <a:pt x="6930878" y="4784184"/>
                    </a:lnTo>
                    <a:lnTo>
                      <a:pt x="6926113" y="4798480"/>
                    </a:lnTo>
                    <a:lnTo>
                      <a:pt x="6907053" y="4817540"/>
                    </a:lnTo>
                    <a:lnTo>
                      <a:pt x="6897523" y="4817540"/>
                    </a:lnTo>
                    <a:lnTo>
                      <a:pt x="6868931" y="4831836"/>
                    </a:lnTo>
                    <a:lnTo>
                      <a:pt x="6845106" y="4827072"/>
                    </a:lnTo>
                    <a:lnTo>
                      <a:pt x="6826045" y="4836604"/>
                    </a:lnTo>
                    <a:lnTo>
                      <a:pt x="6806985" y="4831836"/>
                    </a:lnTo>
                    <a:lnTo>
                      <a:pt x="6797455" y="4817540"/>
                    </a:lnTo>
                    <a:lnTo>
                      <a:pt x="6802220" y="4812776"/>
                    </a:lnTo>
                    <a:lnTo>
                      <a:pt x="6802220" y="4803248"/>
                    </a:lnTo>
                    <a:lnTo>
                      <a:pt x="6811750" y="4803248"/>
                    </a:lnTo>
                    <a:lnTo>
                      <a:pt x="6830811" y="4817540"/>
                    </a:lnTo>
                    <a:lnTo>
                      <a:pt x="6835575" y="4812776"/>
                    </a:lnTo>
                    <a:lnTo>
                      <a:pt x="6830811" y="4803248"/>
                    </a:lnTo>
                    <a:lnTo>
                      <a:pt x="6816515" y="4798480"/>
                    </a:lnTo>
                    <a:lnTo>
                      <a:pt x="6806985" y="4793716"/>
                    </a:lnTo>
                    <a:lnTo>
                      <a:pt x="6792689" y="4755596"/>
                    </a:lnTo>
                    <a:lnTo>
                      <a:pt x="6773629" y="4731768"/>
                    </a:lnTo>
                    <a:lnTo>
                      <a:pt x="6768864" y="4712708"/>
                    </a:lnTo>
                    <a:lnTo>
                      <a:pt x="6735508" y="4703180"/>
                    </a:lnTo>
                    <a:lnTo>
                      <a:pt x="6716447" y="4688884"/>
                    </a:lnTo>
                    <a:lnTo>
                      <a:pt x="6697387" y="4660292"/>
                    </a:lnTo>
                    <a:lnTo>
                      <a:pt x="6692622" y="4607876"/>
                    </a:lnTo>
                    <a:lnTo>
                      <a:pt x="6678327" y="4603112"/>
                    </a:lnTo>
                    <a:lnTo>
                      <a:pt x="6678327" y="4598344"/>
                    </a:lnTo>
                    <a:lnTo>
                      <a:pt x="6687857" y="4579284"/>
                    </a:lnTo>
                    <a:lnTo>
                      <a:pt x="6697387" y="4564992"/>
                    </a:lnTo>
                    <a:lnTo>
                      <a:pt x="6687857" y="4569756"/>
                    </a:lnTo>
                    <a:lnTo>
                      <a:pt x="6683091" y="4574520"/>
                    </a:lnTo>
                    <a:lnTo>
                      <a:pt x="6673561" y="4588816"/>
                    </a:lnTo>
                    <a:lnTo>
                      <a:pt x="6668796" y="4588816"/>
                    </a:lnTo>
                    <a:lnTo>
                      <a:pt x="6664031" y="4588816"/>
                    </a:lnTo>
                    <a:lnTo>
                      <a:pt x="6659266" y="4560224"/>
                    </a:lnTo>
                    <a:lnTo>
                      <a:pt x="6659266" y="4531636"/>
                    </a:lnTo>
                    <a:lnTo>
                      <a:pt x="6668796" y="4517340"/>
                    </a:lnTo>
                    <a:lnTo>
                      <a:pt x="6654501" y="4517340"/>
                    </a:lnTo>
                    <a:lnTo>
                      <a:pt x="6640205" y="4522104"/>
                    </a:lnTo>
                    <a:lnTo>
                      <a:pt x="6644971" y="4531636"/>
                    </a:lnTo>
                    <a:lnTo>
                      <a:pt x="6640205" y="4536400"/>
                    </a:lnTo>
                    <a:lnTo>
                      <a:pt x="6630675" y="4536400"/>
                    </a:lnTo>
                    <a:lnTo>
                      <a:pt x="6625910" y="4531636"/>
                    </a:lnTo>
                    <a:lnTo>
                      <a:pt x="6616380" y="4522104"/>
                    </a:lnTo>
                    <a:lnTo>
                      <a:pt x="6602085" y="4498280"/>
                    </a:lnTo>
                    <a:lnTo>
                      <a:pt x="6573493" y="4441096"/>
                    </a:lnTo>
                    <a:lnTo>
                      <a:pt x="6568729" y="4431568"/>
                    </a:lnTo>
                    <a:lnTo>
                      <a:pt x="6559198" y="4422036"/>
                    </a:lnTo>
                    <a:lnTo>
                      <a:pt x="6563963" y="4422036"/>
                    </a:lnTo>
                    <a:lnTo>
                      <a:pt x="6568729" y="4417272"/>
                    </a:lnTo>
                    <a:lnTo>
                      <a:pt x="6587789" y="4393444"/>
                    </a:lnTo>
                    <a:lnTo>
                      <a:pt x="6602085" y="4374384"/>
                    </a:lnTo>
                    <a:lnTo>
                      <a:pt x="6606849" y="4364856"/>
                    </a:lnTo>
                    <a:lnTo>
                      <a:pt x="6606849" y="4360088"/>
                    </a:lnTo>
                    <a:lnTo>
                      <a:pt x="6602085" y="4350560"/>
                    </a:lnTo>
                    <a:lnTo>
                      <a:pt x="6592554" y="4360088"/>
                    </a:lnTo>
                    <a:lnTo>
                      <a:pt x="6587789" y="4355324"/>
                    </a:lnTo>
                    <a:lnTo>
                      <a:pt x="6578259" y="4341028"/>
                    </a:lnTo>
                    <a:lnTo>
                      <a:pt x="6568729" y="4336264"/>
                    </a:lnTo>
                    <a:lnTo>
                      <a:pt x="6563963" y="4341028"/>
                    </a:lnTo>
                    <a:lnTo>
                      <a:pt x="6568729" y="4350560"/>
                    </a:lnTo>
                    <a:lnTo>
                      <a:pt x="6578259" y="4355324"/>
                    </a:lnTo>
                    <a:lnTo>
                      <a:pt x="6573493" y="4374384"/>
                    </a:lnTo>
                    <a:lnTo>
                      <a:pt x="6573493" y="4379152"/>
                    </a:lnTo>
                    <a:lnTo>
                      <a:pt x="6568729" y="4383916"/>
                    </a:lnTo>
                    <a:lnTo>
                      <a:pt x="6559198" y="4379152"/>
                    </a:lnTo>
                    <a:lnTo>
                      <a:pt x="6554433" y="4383916"/>
                    </a:lnTo>
                    <a:lnTo>
                      <a:pt x="6549668" y="4379152"/>
                    </a:lnTo>
                    <a:lnTo>
                      <a:pt x="6544903" y="4374384"/>
                    </a:lnTo>
                    <a:lnTo>
                      <a:pt x="6540137" y="4360088"/>
                    </a:lnTo>
                    <a:lnTo>
                      <a:pt x="6554433" y="4293376"/>
                    </a:lnTo>
                    <a:lnTo>
                      <a:pt x="6568729" y="4245728"/>
                    </a:lnTo>
                    <a:lnTo>
                      <a:pt x="6568729" y="4198076"/>
                    </a:lnTo>
                    <a:lnTo>
                      <a:pt x="6568729" y="4188544"/>
                    </a:lnTo>
                    <a:lnTo>
                      <a:pt x="6568729" y="4179016"/>
                    </a:lnTo>
                    <a:lnTo>
                      <a:pt x="6549668" y="4145660"/>
                    </a:lnTo>
                    <a:lnTo>
                      <a:pt x="6468661" y="4074180"/>
                    </a:lnTo>
                    <a:lnTo>
                      <a:pt x="6406714" y="3988408"/>
                    </a:lnTo>
                    <a:lnTo>
                      <a:pt x="6349533" y="3959820"/>
                    </a:lnTo>
                    <a:lnTo>
                      <a:pt x="6311411" y="3964584"/>
                    </a:lnTo>
                    <a:lnTo>
                      <a:pt x="6301881" y="3974116"/>
                    </a:lnTo>
                    <a:lnTo>
                      <a:pt x="6297116" y="3978880"/>
                    </a:lnTo>
                    <a:lnTo>
                      <a:pt x="6301881" y="3988408"/>
                    </a:lnTo>
                    <a:lnTo>
                      <a:pt x="6297116" y="3993176"/>
                    </a:lnTo>
                    <a:lnTo>
                      <a:pt x="6287586" y="3993176"/>
                    </a:lnTo>
                    <a:lnTo>
                      <a:pt x="6273291" y="3993176"/>
                    </a:lnTo>
                    <a:lnTo>
                      <a:pt x="6230405" y="4017000"/>
                    </a:lnTo>
                    <a:lnTo>
                      <a:pt x="6216109" y="4017000"/>
                    </a:lnTo>
                    <a:lnTo>
                      <a:pt x="6206579" y="4021764"/>
                    </a:lnTo>
                    <a:lnTo>
                      <a:pt x="6197049" y="4026532"/>
                    </a:lnTo>
                    <a:lnTo>
                      <a:pt x="6173223" y="4031296"/>
                    </a:lnTo>
                    <a:lnTo>
                      <a:pt x="6149397" y="4036060"/>
                    </a:lnTo>
                    <a:lnTo>
                      <a:pt x="6139867" y="4031296"/>
                    </a:lnTo>
                    <a:lnTo>
                      <a:pt x="6135102" y="4017000"/>
                    </a:lnTo>
                    <a:lnTo>
                      <a:pt x="6135102" y="4007472"/>
                    </a:lnTo>
                    <a:lnTo>
                      <a:pt x="6139867" y="4017000"/>
                    </a:lnTo>
                    <a:lnTo>
                      <a:pt x="6149397" y="4021764"/>
                    </a:lnTo>
                    <a:lnTo>
                      <a:pt x="6154163" y="4021764"/>
                    </a:lnTo>
                    <a:lnTo>
                      <a:pt x="6154163" y="4012236"/>
                    </a:lnTo>
                    <a:lnTo>
                      <a:pt x="6144632" y="3997940"/>
                    </a:lnTo>
                    <a:lnTo>
                      <a:pt x="6120807" y="3983644"/>
                    </a:lnTo>
                    <a:lnTo>
                      <a:pt x="6096981" y="3955052"/>
                    </a:lnTo>
                    <a:lnTo>
                      <a:pt x="6101746" y="3955052"/>
                    </a:lnTo>
                    <a:lnTo>
                      <a:pt x="6106511" y="3950288"/>
                    </a:lnTo>
                    <a:lnTo>
                      <a:pt x="6096981" y="3945524"/>
                    </a:lnTo>
                    <a:lnTo>
                      <a:pt x="6101746" y="3935992"/>
                    </a:lnTo>
                    <a:lnTo>
                      <a:pt x="6106511" y="3926464"/>
                    </a:lnTo>
                    <a:lnTo>
                      <a:pt x="6096981" y="3926464"/>
                    </a:lnTo>
                    <a:lnTo>
                      <a:pt x="6087451" y="3931228"/>
                    </a:lnTo>
                    <a:lnTo>
                      <a:pt x="6087451" y="3940760"/>
                    </a:lnTo>
                    <a:lnTo>
                      <a:pt x="6082685" y="3945524"/>
                    </a:lnTo>
                    <a:lnTo>
                      <a:pt x="6077921" y="3945524"/>
                    </a:lnTo>
                    <a:lnTo>
                      <a:pt x="6068390" y="3935992"/>
                    </a:lnTo>
                    <a:lnTo>
                      <a:pt x="6018357" y="3916932"/>
                    </a:lnTo>
                    <a:lnTo>
                      <a:pt x="5975470" y="3907404"/>
                    </a:lnTo>
                    <a:lnTo>
                      <a:pt x="6008826" y="3897872"/>
                    </a:lnTo>
                    <a:lnTo>
                      <a:pt x="6027887" y="3902636"/>
                    </a:lnTo>
                    <a:lnTo>
                      <a:pt x="6027887" y="3897872"/>
                    </a:lnTo>
                    <a:lnTo>
                      <a:pt x="6023121" y="3893108"/>
                    </a:lnTo>
                    <a:lnTo>
                      <a:pt x="6008826" y="3888340"/>
                    </a:lnTo>
                    <a:lnTo>
                      <a:pt x="5989765" y="3888340"/>
                    </a:lnTo>
                    <a:lnTo>
                      <a:pt x="5975470" y="3888340"/>
                    </a:lnTo>
                    <a:lnTo>
                      <a:pt x="5965940" y="3893108"/>
                    </a:lnTo>
                    <a:lnTo>
                      <a:pt x="5951645" y="3897872"/>
                    </a:lnTo>
                    <a:lnTo>
                      <a:pt x="5942114" y="3902636"/>
                    </a:lnTo>
                    <a:lnTo>
                      <a:pt x="5894463" y="3912168"/>
                    </a:lnTo>
                    <a:lnTo>
                      <a:pt x="5861107" y="3916932"/>
                    </a:lnTo>
                    <a:lnTo>
                      <a:pt x="5865872" y="3907404"/>
                    </a:lnTo>
                    <a:lnTo>
                      <a:pt x="5870637" y="3907404"/>
                    </a:lnTo>
                    <a:lnTo>
                      <a:pt x="5894463" y="3897872"/>
                    </a:lnTo>
                    <a:lnTo>
                      <a:pt x="5894463" y="3888340"/>
                    </a:lnTo>
                    <a:lnTo>
                      <a:pt x="5889698" y="3874048"/>
                    </a:lnTo>
                    <a:lnTo>
                      <a:pt x="5884933" y="3878812"/>
                    </a:lnTo>
                    <a:lnTo>
                      <a:pt x="5880167" y="3888340"/>
                    </a:lnTo>
                    <a:lnTo>
                      <a:pt x="5870637" y="3878812"/>
                    </a:lnTo>
                    <a:lnTo>
                      <a:pt x="5865872" y="3878812"/>
                    </a:lnTo>
                    <a:lnTo>
                      <a:pt x="5861107" y="3893108"/>
                    </a:lnTo>
                    <a:lnTo>
                      <a:pt x="5851577" y="3907404"/>
                    </a:lnTo>
                    <a:lnTo>
                      <a:pt x="5846811" y="3916932"/>
                    </a:lnTo>
                    <a:lnTo>
                      <a:pt x="5818221" y="3926464"/>
                    </a:lnTo>
                    <a:lnTo>
                      <a:pt x="5813456" y="3921696"/>
                    </a:lnTo>
                    <a:lnTo>
                      <a:pt x="5822986" y="3912168"/>
                    </a:lnTo>
                    <a:lnTo>
                      <a:pt x="5822986" y="3907404"/>
                    </a:lnTo>
                    <a:lnTo>
                      <a:pt x="5808691" y="3912168"/>
                    </a:lnTo>
                    <a:lnTo>
                      <a:pt x="5794395" y="3931228"/>
                    </a:lnTo>
                    <a:lnTo>
                      <a:pt x="5732449" y="3935992"/>
                    </a:lnTo>
                    <a:lnTo>
                      <a:pt x="5737213" y="3931228"/>
                    </a:lnTo>
                    <a:lnTo>
                      <a:pt x="5751509" y="3931228"/>
                    </a:lnTo>
                    <a:lnTo>
                      <a:pt x="5765805" y="3926464"/>
                    </a:lnTo>
                    <a:lnTo>
                      <a:pt x="5765805" y="3912168"/>
                    </a:lnTo>
                    <a:lnTo>
                      <a:pt x="5756274" y="3902636"/>
                    </a:lnTo>
                    <a:lnTo>
                      <a:pt x="5751509" y="3902636"/>
                    </a:lnTo>
                    <a:lnTo>
                      <a:pt x="5746744" y="3897872"/>
                    </a:lnTo>
                    <a:lnTo>
                      <a:pt x="5746744" y="3874048"/>
                    </a:lnTo>
                    <a:lnTo>
                      <a:pt x="5741979" y="3864516"/>
                    </a:lnTo>
                    <a:lnTo>
                      <a:pt x="5732449" y="3850220"/>
                    </a:lnTo>
                    <a:lnTo>
                      <a:pt x="5727683" y="3854984"/>
                    </a:lnTo>
                    <a:lnTo>
                      <a:pt x="5722919" y="3874048"/>
                    </a:lnTo>
                    <a:lnTo>
                      <a:pt x="5718153" y="3902636"/>
                    </a:lnTo>
                    <a:lnTo>
                      <a:pt x="5713388" y="3912168"/>
                    </a:lnTo>
                    <a:lnTo>
                      <a:pt x="5694327" y="3912168"/>
                    </a:lnTo>
                    <a:lnTo>
                      <a:pt x="5680032" y="3907404"/>
                    </a:lnTo>
                    <a:lnTo>
                      <a:pt x="5627616" y="3912168"/>
                    </a:lnTo>
                    <a:lnTo>
                      <a:pt x="5608555" y="3902636"/>
                    </a:lnTo>
                    <a:lnTo>
                      <a:pt x="5599025" y="3902636"/>
                    </a:lnTo>
                    <a:lnTo>
                      <a:pt x="5594260" y="3902636"/>
                    </a:lnTo>
                    <a:lnTo>
                      <a:pt x="5570435" y="3912168"/>
                    </a:lnTo>
                    <a:lnTo>
                      <a:pt x="5541843" y="3916932"/>
                    </a:lnTo>
                    <a:lnTo>
                      <a:pt x="5537079" y="3916932"/>
                    </a:lnTo>
                    <a:lnTo>
                      <a:pt x="5527548" y="3916932"/>
                    </a:lnTo>
                    <a:lnTo>
                      <a:pt x="5508487" y="3935992"/>
                    </a:lnTo>
                    <a:lnTo>
                      <a:pt x="5484662" y="3945524"/>
                    </a:lnTo>
                    <a:lnTo>
                      <a:pt x="5427481" y="3926464"/>
                    </a:lnTo>
                    <a:lnTo>
                      <a:pt x="5413185" y="3912168"/>
                    </a:lnTo>
                    <a:lnTo>
                      <a:pt x="5403655" y="3912168"/>
                    </a:lnTo>
                    <a:lnTo>
                      <a:pt x="5389359" y="3907404"/>
                    </a:lnTo>
                    <a:lnTo>
                      <a:pt x="5370299" y="3926464"/>
                    </a:lnTo>
                    <a:lnTo>
                      <a:pt x="5356003" y="3950288"/>
                    </a:lnTo>
                    <a:lnTo>
                      <a:pt x="5379829" y="3964584"/>
                    </a:lnTo>
                    <a:lnTo>
                      <a:pt x="5394125" y="3974116"/>
                    </a:lnTo>
                    <a:lnTo>
                      <a:pt x="5422715" y="3964584"/>
                    </a:lnTo>
                    <a:lnTo>
                      <a:pt x="5437011" y="3955052"/>
                    </a:lnTo>
                    <a:lnTo>
                      <a:pt x="5451306" y="3955052"/>
                    </a:lnTo>
                    <a:lnTo>
                      <a:pt x="5456071" y="3950288"/>
                    </a:lnTo>
                    <a:lnTo>
                      <a:pt x="5460837" y="3945524"/>
                    </a:lnTo>
                    <a:lnTo>
                      <a:pt x="5475131" y="3950288"/>
                    </a:lnTo>
                    <a:lnTo>
                      <a:pt x="5475131" y="3955052"/>
                    </a:lnTo>
                    <a:lnTo>
                      <a:pt x="5465601" y="3964584"/>
                    </a:lnTo>
                    <a:lnTo>
                      <a:pt x="5456071" y="3969348"/>
                    </a:lnTo>
                    <a:lnTo>
                      <a:pt x="5451306" y="3974116"/>
                    </a:lnTo>
                    <a:lnTo>
                      <a:pt x="5460837" y="3988408"/>
                    </a:lnTo>
                    <a:lnTo>
                      <a:pt x="5479897" y="3993176"/>
                    </a:lnTo>
                    <a:lnTo>
                      <a:pt x="5484662" y="3993176"/>
                    </a:lnTo>
                    <a:lnTo>
                      <a:pt x="5489427" y="3974116"/>
                    </a:lnTo>
                    <a:lnTo>
                      <a:pt x="5498957" y="3964584"/>
                    </a:lnTo>
                    <a:lnTo>
                      <a:pt x="5518018" y="3969348"/>
                    </a:lnTo>
                    <a:lnTo>
                      <a:pt x="5513253" y="3974116"/>
                    </a:lnTo>
                    <a:lnTo>
                      <a:pt x="5518018" y="3983644"/>
                    </a:lnTo>
                    <a:lnTo>
                      <a:pt x="5522783" y="3993176"/>
                    </a:lnTo>
                    <a:lnTo>
                      <a:pt x="5522783" y="4007472"/>
                    </a:lnTo>
                    <a:lnTo>
                      <a:pt x="5508487" y="4017000"/>
                    </a:lnTo>
                    <a:lnTo>
                      <a:pt x="5494192" y="4017000"/>
                    </a:lnTo>
                    <a:lnTo>
                      <a:pt x="5484662" y="4026532"/>
                    </a:lnTo>
                    <a:lnTo>
                      <a:pt x="5489427" y="4031296"/>
                    </a:lnTo>
                    <a:lnTo>
                      <a:pt x="5479897" y="4036060"/>
                    </a:lnTo>
                    <a:lnTo>
                      <a:pt x="5475131" y="4036060"/>
                    </a:lnTo>
                    <a:lnTo>
                      <a:pt x="5470367" y="4036060"/>
                    </a:lnTo>
                    <a:lnTo>
                      <a:pt x="5470367" y="4040824"/>
                    </a:lnTo>
                    <a:lnTo>
                      <a:pt x="5465601" y="4045592"/>
                    </a:lnTo>
                    <a:lnTo>
                      <a:pt x="5475131" y="4059888"/>
                    </a:lnTo>
                    <a:lnTo>
                      <a:pt x="5489427" y="4069416"/>
                    </a:lnTo>
                    <a:lnTo>
                      <a:pt x="5498957" y="4083712"/>
                    </a:lnTo>
                    <a:lnTo>
                      <a:pt x="5541843" y="4098008"/>
                    </a:lnTo>
                    <a:lnTo>
                      <a:pt x="5551373" y="4098008"/>
                    </a:lnTo>
                    <a:lnTo>
                      <a:pt x="5560904" y="4112304"/>
                    </a:lnTo>
                    <a:lnTo>
                      <a:pt x="5570435" y="4117068"/>
                    </a:lnTo>
                    <a:lnTo>
                      <a:pt x="5575199" y="4121832"/>
                    </a:lnTo>
                    <a:lnTo>
                      <a:pt x="5575199" y="4131364"/>
                    </a:lnTo>
                    <a:lnTo>
                      <a:pt x="5560904" y="4140892"/>
                    </a:lnTo>
                    <a:lnTo>
                      <a:pt x="5556139" y="4150424"/>
                    </a:lnTo>
                    <a:lnTo>
                      <a:pt x="5556139" y="4155188"/>
                    </a:lnTo>
                    <a:lnTo>
                      <a:pt x="5546609" y="4145660"/>
                    </a:lnTo>
                    <a:lnTo>
                      <a:pt x="5541843" y="4140892"/>
                    </a:lnTo>
                    <a:lnTo>
                      <a:pt x="5527548" y="4155188"/>
                    </a:lnTo>
                    <a:lnTo>
                      <a:pt x="5522783" y="4159956"/>
                    </a:lnTo>
                    <a:lnTo>
                      <a:pt x="5522783" y="4145660"/>
                    </a:lnTo>
                    <a:lnTo>
                      <a:pt x="5518018" y="4136128"/>
                    </a:lnTo>
                    <a:lnTo>
                      <a:pt x="5508487" y="4121832"/>
                    </a:lnTo>
                    <a:lnTo>
                      <a:pt x="5498957" y="4112304"/>
                    </a:lnTo>
                    <a:lnTo>
                      <a:pt x="5489427" y="4107536"/>
                    </a:lnTo>
                    <a:lnTo>
                      <a:pt x="5479897" y="4102772"/>
                    </a:lnTo>
                    <a:lnTo>
                      <a:pt x="5475131" y="4098008"/>
                    </a:lnTo>
                    <a:lnTo>
                      <a:pt x="5465601" y="4102772"/>
                    </a:lnTo>
                    <a:lnTo>
                      <a:pt x="5456071" y="4098008"/>
                    </a:lnTo>
                    <a:lnTo>
                      <a:pt x="5456071" y="4088476"/>
                    </a:lnTo>
                    <a:lnTo>
                      <a:pt x="5451306" y="4083712"/>
                    </a:lnTo>
                    <a:lnTo>
                      <a:pt x="5441776" y="4074180"/>
                    </a:lnTo>
                    <a:lnTo>
                      <a:pt x="5398889" y="4059888"/>
                    </a:lnTo>
                    <a:lnTo>
                      <a:pt x="5398889" y="4064652"/>
                    </a:lnTo>
                    <a:lnTo>
                      <a:pt x="5398889" y="4069416"/>
                    </a:lnTo>
                    <a:lnTo>
                      <a:pt x="5408420" y="4074180"/>
                    </a:lnTo>
                    <a:lnTo>
                      <a:pt x="5413185" y="4078948"/>
                    </a:lnTo>
                    <a:lnTo>
                      <a:pt x="5413185" y="4098008"/>
                    </a:lnTo>
                    <a:lnTo>
                      <a:pt x="5413185" y="4102772"/>
                    </a:lnTo>
                    <a:lnTo>
                      <a:pt x="5408420" y="4112304"/>
                    </a:lnTo>
                    <a:lnTo>
                      <a:pt x="5408420" y="4121832"/>
                    </a:lnTo>
                    <a:lnTo>
                      <a:pt x="5398889" y="4131364"/>
                    </a:lnTo>
                    <a:lnTo>
                      <a:pt x="5389359" y="4136128"/>
                    </a:lnTo>
                    <a:lnTo>
                      <a:pt x="5384595" y="4131364"/>
                    </a:lnTo>
                    <a:lnTo>
                      <a:pt x="5375064" y="4112304"/>
                    </a:lnTo>
                    <a:lnTo>
                      <a:pt x="5365534" y="4102772"/>
                    </a:lnTo>
                    <a:lnTo>
                      <a:pt x="5341708" y="4102772"/>
                    </a:lnTo>
                    <a:lnTo>
                      <a:pt x="5332178" y="4107536"/>
                    </a:lnTo>
                    <a:lnTo>
                      <a:pt x="5317883" y="4131364"/>
                    </a:lnTo>
                    <a:lnTo>
                      <a:pt x="5303587" y="4131364"/>
                    </a:lnTo>
                    <a:lnTo>
                      <a:pt x="5265466" y="4121832"/>
                    </a:lnTo>
                    <a:lnTo>
                      <a:pt x="5222580" y="4102772"/>
                    </a:lnTo>
                    <a:lnTo>
                      <a:pt x="5222580" y="4098008"/>
                    </a:lnTo>
                    <a:lnTo>
                      <a:pt x="5227345" y="4098008"/>
                    </a:lnTo>
                    <a:lnTo>
                      <a:pt x="5241641" y="4098008"/>
                    </a:lnTo>
                    <a:lnTo>
                      <a:pt x="5241641" y="4093244"/>
                    </a:lnTo>
                    <a:lnTo>
                      <a:pt x="5227345" y="4074180"/>
                    </a:lnTo>
                    <a:lnTo>
                      <a:pt x="5227345" y="4064652"/>
                    </a:lnTo>
                    <a:lnTo>
                      <a:pt x="5227345" y="4055120"/>
                    </a:lnTo>
                    <a:lnTo>
                      <a:pt x="5222580" y="4055120"/>
                    </a:lnTo>
                    <a:lnTo>
                      <a:pt x="5213049" y="4064652"/>
                    </a:lnTo>
                    <a:lnTo>
                      <a:pt x="5184459" y="4055120"/>
                    </a:lnTo>
                    <a:lnTo>
                      <a:pt x="5179694" y="4050356"/>
                    </a:lnTo>
                    <a:lnTo>
                      <a:pt x="5160633" y="4021764"/>
                    </a:lnTo>
                    <a:lnTo>
                      <a:pt x="5136807" y="4021764"/>
                    </a:lnTo>
                    <a:lnTo>
                      <a:pt x="5127277" y="4007472"/>
                    </a:lnTo>
                    <a:lnTo>
                      <a:pt x="5108217" y="4012236"/>
                    </a:lnTo>
                    <a:lnTo>
                      <a:pt x="5098687" y="4021764"/>
                    </a:lnTo>
                    <a:lnTo>
                      <a:pt x="5089157" y="4031296"/>
                    </a:lnTo>
                    <a:lnTo>
                      <a:pt x="5093921" y="4036060"/>
                    </a:lnTo>
                    <a:lnTo>
                      <a:pt x="5098687" y="4045592"/>
                    </a:lnTo>
                    <a:lnTo>
                      <a:pt x="5098687" y="4050356"/>
                    </a:lnTo>
                    <a:lnTo>
                      <a:pt x="5070096" y="4055120"/>
                    </a:lnTo>
                    <a:lnTo>
                      <a:pt x="5003384" y="4050356"/>
                    </a:lnTo>
                    <a:lnTo>
                      <a:pt x="4984323" y="4040824"/>
                    </a:lnTo>
                    <a:lnTo>
                      <a:pt x="4960498" y="4026532"/>
                    </a:lnTo>
                    <a:lnTo>
                      <a:pt x="4927142" y="4017000"/>
                    </a:lnTo>
                    <a:lnTo>
                      <a:pt x="4908081" y="4017000"/>
                    </a:lnTo>
                    <a:lnTo>
                      <a:pt x="4893786" y="4017000"/>
                    </a:lnTo>
                    <a:lnTo>
                      <a:pt x="4846135" y="4017000"/>
                    </a:lnTo>
                    <a:lnTo>
                      <a:pt x="4831839" y="4021764"/>
                    </a:lnTo>
                    <a:lnTo>
                      <a:pt x="4827075" y="4026532"/>
                    </a:lnTo>
                    <a:lnTo>
                      <a:pt x="4817544" y="4021764"/>
                    </a:lnTo>
                    <a:lnTo>
                      <a:pt x="4817544" y="4012236"/>
                    </a:lnTo>
                    <a:lnTo>
                      <a:pt x="4822309" y="4007472"/>
                    </a:lnTo>
                    <a:lnTo>
                      <a:pt x="4827075" y="4002704"/>
                    </a:lnTo>
                    <a:lnTo>
                      <a:pt x="4831839" y="3993176"/>
                    </a:lnTo>
                    <a:lnTo>
                      <a:pt x="4831839" y="3983644"/>
                    </a:lnTo>
                    <a:lnTo>
                      <a:pt x="4822309" y="3978880"/>
                    </a:lnTo>
                    <a:lnTo>
                      <a:pt x="4808014" y="4012236"/>
                    </a:lnTo>
                    <a:lnTo>
                      <a:pt x="4817544" y="4026532"/>
                    </a:lnTo>
                    <a:lnTo>
                      <a:pt x="4817544" y="4031296"/>
                    </a:lnTo>
                    <a:lnTo>
                      <a:pt x="4784188" y="4036060"/>
                    </a:lnTo>
                    <a:lnTo>
                      <a:pt x="4707946" y="4069416"/>
                    </a:lnTo>
                    <a:lnTo>
                      <a:pt x="4679355" y="4088476"/>
                    </a:lnTo>
                    <a:lnTo>
                      <a:pt x="4679355" y="4083712"/>
                    </a:lnTo>
                    <a:lnTo>
                      <a:pt x="4717477" y="4059888"/>
                    </a:lnTo>
                    <a:lnTo>
                      <a:pt x="4703181" y="4055120"/>
                    </a:lnTo>
                    <a:lnTo>
                      <a:pt x="4684121" y="4059888"/>
                    </a:lnTo>
                    <a:lnTo>
                      <a:pt x="4674591" y="4059888"/>
                    </a:lnTo>
                    <a:lnTo>
                      <a:pt x="4684121" y="4040824"/>
                    </a:lnTo>
                    <a:lnTo>
                      <a:pt x="4684121" y="4021764"/>
                    </a:lnTo>
                    <a:lnTo>
                      <a:pt x="4669825" y="4021764"/>
                    </a:lnTo>
                    <a:lnTo>
                      <a:pt x="4660295" y="4036060"/>
                    </a:lnTo>
                    <a:lnTo>
                      <a:pt x="4650765" y="4036060"/>
                    </a:lnTo>
                    <a:lnTo>
                      <a:pt x="4645999" y="4026532"/>
                    </a:lnTo>
                    <a:lnTo>
                      <a:pt x="4636469" y="4031296"/>
                    </a:lnTo>
                    <a:lnTo>
                      <a:pt x="4641235" y="4059888"/>
                    </a:lnTo>
                    <a:lnTo>
                      <a:pt x="4650765" y="4074180"/>
                    </a:lnTo>
                    <a:lnTo>
                      <a:pt x="4660295" y="4088476"/>
                    </a:lnTo>
                    <a:lnTo>
                      <a:pt x="4636469" y="4112304"/>
                    </a:lnTo>
                    <a:lnTo>
                      <a:pt x="4622174" y="4126600"/>
                    </a:lnTo>
                    <a:lnTo>
                      <a:pt x="4617409" y="4140892"/>
                    </a:lnTo>
                    <a:lnTo>
                      <a:pt x="4598348" y="4164720"/>
                    </a:lnTo>
                    <a:lnTo>
                      <a:pt x="4579287" y="4174248"/>
                    </a:lnTo>
                    <a:lnTo>
                      <a:pt x="4541167" y="4202840"/>
                    </a:lnTo>
                    <a:lnTo>
                      <a:pt x="4526871" y="4207604"/>
                    </a:lnTo>
                    <a:lnTo>
                      <a:pt x="4507811" y="4221900"/>
                    </a:lnTo>
                    <a:lnTo>
                      <a:pt x="4483985" y="4231432"/>
                    </a:lnTo>
                    <a:lnTo>
                      <a:pt x="4455395" y="4245728"/>
                    </a:lnTo>
                    <a:lnTo>
                      <a:pt x="4450629" y="4245728"/>
                    </a:lnTo>
                    <a:lnTo>
                      <a:pt x="4464925" y="4236196"/>
                    </a:lnTo>
                    <a:lnTo>
                      <a:pt x="4483985" y="4221900"/>
                    </a:lnTo>
                    <a:lnTo>
                      <a:pt x="4469690" y="4221900"/>
                    </a:lnTo>
                    <a:lnTo>
                      <a:pt x="4441099" y="4217136"/>
                    </a:lnTo>
                    <a:lnTo>
                      <a:pt x="4426803" y="4217136"/>
                    </a:lnTo>
                    <a:lnTo>
                      <a:pt x="4426803" y="4221900"/>
                    </a:lnTo>
                    <a:lnTo>
                      <a:pt x="4417273" y="4226664"/>
                    </a:lnTo>
                    <a:lnTo>
                      <a:pt x="4402978" y="4217136"/>
                    </a:lnTo>
                    <a:lnTo>
                      <a:pt x="4398213" y="4212372"/>
                    </a:lnTo>
                    <a:lnTo>
                      <a:pt x="4393447" y="4207604"/>
                    </a:lnTo>
                    <a:lnTo>
                      <a:pt x="4388683" y="4207604"/>
                    </a:lnTo>
                    <a:lnTo>
                      <a:pt x="4383917" y="4207604"/>
                    </a:lnTo>
                    <a:lnTo>
                      <a:pt x="4402978" y="4245728"/>
                    </a:lnTo>
                    <a:lnTo>
                      <a:pt x="4412508" y="4250492"/>
                    </a:lnTo>
                    <a:lnTo>
                      <a:pt x="4417273" y="4255256"/>
                    </a:lnTo>
                    <a:lnTo>
                      <a:pt x="4407743" y="4260020"/>
                    </a:lnTo>
                    <a:lnTo>
                      <a:pt x="4398213" y="4269552"/>
                    </a:lnTo>
                    <a:lnTo>
                      <a:pt x="4379153" y="4274316"/>
                    </a:lnTo>
                    <a:lnTo>
                      <a:pt x="4364857" y="4260020"/>
                    </a:lnTo>
                    <a:lnTo>
                      <a:pt x="4360092" y="4279084"/>
                    </a:lnTo>
                    <a:lnTo>
                      <a:pt x="4360092" y="4293376"/>
                    </a:lnTo>
                    <a:lnTo>
                      <a:pt x="4355327" y="4298144"/>
                    </a:lnTo>
                    <a:lnTo>
                      <a:pt x="4345797" y="4307672"/>
                    </a:lnTo>
                    <a:lnTo>
                      <a:pt x="4341031" y="4302908"/>
                    </a:lnTo>
                    <a:lnTo>
                      <a:pt x="4341031" y="4293376"/>
                    </a:lnTo>
                    <a:lnTo>
                      <a:pt x="4336266" y="4302908"/>
                    </a:lnTo>
                    <a:lnTo>
                      <a:pt x="4326736" y="4302908"/>
                    </a:lnTo>
                    <a:lnTo>
                      <a:pt x="4312441" y="4307672"/>
                    </a:lnTo>
                    <a:lnTo>
                      <a:pt x="4302911" y="4307672"/>
                    </a:lnTo>
                    <a:lnTo>
                      <a:pt x="4302911" y="4317204"/>
                    </a:lnTo>
                    <a:lnTo>
                      <a:pt x="4307675" y="4321968"/>
                    </a:lnTo>
                    <a:lnTo>
                      <a:pt x="4321971" y="4317204"/>
                    </a:lnTo>
                    <a:lnTo>
                      <a:pt x="4317205" y="4336264"/>
                    </a:lnTo>
                    <a:lnTo>
                      <a:pt x="4302911" y="4355324"/>
                    </a:lnTo>
                    <a:lnTo>
                      <a:pt x="4288615" y="4360088"/>
                    </a:lnTo>
                    <a:lnTo>
                      <a:pt x="4269555" y="4355324"/>
                    </a:lnTo>
                    <a:lnTo>
                      <a:pt x="4264789" y="4360088"/>
                    </a:lnTo>
                    <a:lnTo>
                      <a:pt x="4260024" y="4364856"/>
                    </a:lnTo>
                    <a:lnTo>
                      <a:pt x="4283850" y="4393444"/>
                    </a:lnTo>
                    <a:lnTo>
                      <a:pt x="4269555" y="4436332"/>
                    </a:lnTo>
                    <a:lnTo>
                      <a:pt x="4260024" y="4450628"/>
                    </a:lnTo>
                    <a:lnTo>
                      <a:pt x="4255259" y="4455392"/>
                    </a:lnTo>
                    <a:lnTo>
                      <a:pt x="4245729" y="4455392"/>
                    </a:lnTo>
                    <a:lnTo>
                      <a:pt x="4221903" y="4441096"/>
                    </a:lnTo>
                    <a:lnTo>
                      <a:pt x="4207607" y="4431568"/>
                    </a:lnTo>
                    <a:lnTo>
                      <a:pt x="4221903" y="4460156"/>
                    </a:lnTo>
                    <a:lnTo>
                      <a:pt x="4255259" y="4469688"/>
                    </a:lnTo>
                    <a:lnTo>
                      <a:pt x="4255259" y="4479216"/>
                    </a:lnTo>
                    <a:lnTo>
                      <a:pt x="4255259" y="4488748"/>
                    </a:lnTo>
                    <a:lnTo>
                      <a:pt x="4250494" y="4503044"/>
                    </a:lnTo>
                    <a:lnTo>
                      <a:pt x="4240963" y="4517340"/>
                    </a:lnTo>
                    <a:lnTo>
                      <a:pt x="4245729" y="4526868"/>
                    </a:lnTo>
                    <a:lnTo>
                      <a:pt x="4250494" y="4550696"/>
                    </a:lnTo>
                    <a:lnTo>
                      <a:pt x="4255259" y="4564992"/>
                    </a:lnTo>
                    <a:lnTo>
                      <a:pt x="4260024" y="4598344"/>
                    </a:lnTo>
                    <a:lnTo>
                      <a:pt x="4264789" y="4617408"/>
                    </a:lnTo>
                    <a:lnTo>
                      <a:pt x="4298145" y="4674588"/>
                    </a:lnTo>
                    <a:lnTo>
                      <a:pt x="4307675" y="4674588"/>
                    </a:lnTo>
                    <a:lnTo>
                      <a:pt x="4307675" y="4679352"/>
                    </a:lnTo>
                    <a:lnTo>
                      <a:pt x="4307675" y="4693648"/>
                    </a:lnTo>
                    <a:lnTo>
                      <a:pt x="4283850" y="4693648"/>
                    </a:lnTo>
                    <a:lnTo>
                      <a:pt x="4274319" y="4698412"/>
                    </a:lnTo>
                    <a:lnTo>
                      <a:pt x="4274319" y="4703180"/>
                    </a:lnTo>
                    <a:lnTo>
                      <a:pt x="4274319" y="4707944"/>
                    </a:lnTo>
                    <a:lnTo>
                      <a:pt x="4269555" y="4707944"/>
                    </a:lnTo>
                    <a:lnTo>
                      <a:pt x="4260024" y="4703180"/>
                    </a:lnTo>
                    <a:lnTo>
                      <a:pt x="4236199" y="4688884"/>
                    </a:lnTo>
                    <a:lnTo>
                      <a:pt x="4202843" y="4679352"/>
                    </a:lnTo>
                    <a:lnTo>
                      <a:pt x="4159957" y="4674588"/>
                    </a:lnTo>
                    <a:lnTo>
                      <a:pt x="4131366" y="4665056"/>
                    </a:lnTo>
                    <a:lnTo>
                      <a:pt x="4112305" y="4655528"/>
                    </a:lnTo>
                    <a:lnTo>
                      <a:pt x="4098010" y="4645996"/>
                    </a:lnTo>
                    <a:lnTo>
                      <a:pt x="4078949" y="4641232"/>
                    </a:lnTo>
                    <a:lnTo>
                      <a:pt x="4064654" y="4636468"/>
                    </a:lnTo>
                    <a:lnTo>
                      <a:pt x="4055124" y="4626936"/>
                    </a:lnTo>
                    <a:lnTo>
                      <a:pt x="4036063" y="4617408"/>
                    </a:lnTo>
                    <a:lnTo>
                      <a:pt x="4017003" y="4617408"/>
                    </a:lnTo>
                    <a:lnTo>
                      <a:pt x="3997942" y="4607876"/>
                    </a:lnTo>
                    <a:lnTo>
                      <a:pt x="3988412" y="4588816"/>
                    </a:lnTo>
                    <a:lnTo>
                      <a:pt x="3978881" y="4550696"/>
                    </a:lnTo>
                    <a:lnTo>
                      <a:pt x="3969351" y="4531636"/>
                    </a:lnTo>
                    <a:lnTo>
                      <a:pt x="3945526" y="4503044"/>
                    </a:lnTo>
                    <a:lnTo>
                      <a:pt x="3945526" y="4498280"/>
                    </a:lnTo>
                    <a:lnTo>
                      <a:pt x="3950291" y="4479216"/>
                    </a:lnTo>
                    <a:lnTo>
                      <a:pt x="3945526" y="4469688"/>
                    </a:lnTo>
                    <a:lnTo>
                      <a:pt x="3940761" y="4460156"/>
                    </a:lnTo>
                    <a:lnTo>
                      <a:pt x="3935995" y="4450628"/>
                    </a:lnTo>
                    <a:lnTo>
                      <a:pt x="3940761" y="4441096"/>
                    </a:lnTo>
                    <a:lnTo>
                      <a:pt x="3940761" y="4426800"/>
                    </a:lnTo>
                    <a:lnTo>
                      <a:pt x="3935995" y="4412504"/>
                    </a:lnTo>
                    <a:lnTo>
                      <a:pt x="3921700" y="4398212"/>
                    </a:lnTo>
                    <a:lnTo>
                      <a:pt x="3897875" y="4383916"/>
                    </a:lnTo>
                    <a:lnTo>
                      <a:pt x="3878814" y="4360088"/>
                    </a:lnTo>
                    <a:lnTo>
                      <a:pt x="3859753" y="4326732"/>
                    </a:lnTo>
                    <a:lnTo>
                      <a:pt x="3845458" y="4302908"/>
                    </a:lnTo>
                    <a:lnTo>
                      <a:pt x="3826397" y="4293376"/>
                    </a:lnTo>
                    <a:lnTo>
                      <a:pt x="3812102" y="4274316"/>
                    </a:lnTo>
                    <a:lnTo>
                      <a:pt x="3807337" y="4260020"/>
                    </a:lnTo>
                    <a:lnTo>
                      <a:pt x="3807337" y="4245728"/>
                    </a:lnTo>
                    <a:lnTo>
                      <a:pt x="3797807" y="4226664"/>
                    </a:lnTo>
                    <a:lnTo>
                      <a:pt x="3773981" y="4188544"/>
                    </a:lnTo>
                    <a:lnTo>
                      <a:pt x="3759686" y="4159956"/>
                    </a:lnTo>
                    <a:lnTo>
                      <a:pt x="3759686" y="4145660"/>
                    </a:lnTo>
                    <a:lnTo>
                      <a:pt x="3745390" y="4121832"/>
                    </a:lnTo>
                    <a:lnTo>
                      <a:pt x="3716799" y="4102772"/>
                    </a:lnTo>
                    <a:lnTo>
                      <a:pt x="3702504" y="4083712"/>
                    </a:lnTo>
                    <a:lnTo>
                      <a:pt x="3697739" y="4074180"/>
                    </a:lnTo>
                    <a:lnTo>
                      <a:pt x="3654853" y="4040824"/>
                    </a:lnTo>
                    <a:lnTo>
                      <a:pt x="3645323" y="4021764"/>
                    </a:lnTo>
                    <a:lnTo>
                      <a:pt x="3635793" y="4017000"/>
                    </a:lnTo>
                    <a:lnTo>
                      <a:pt x="3626262" y="4017000"/>
                    </a:lnTo>
                    <a:lnTo>
                      <a:pt x="3621497" y="4017000"/>
                    </a:lnTo>
                    <a:lnTo>
                      <a:pt x="3616732" y="4012236"/>
                    </a:lnTo>
                    <a:lnTo>
                      <a:pt x="3607202" y="4017000"/>
                    </a:lnTo>
                    <a:lnTo>
                      <a:pt x="3588141" y="4017000"/>
                    </a:lnTo>
                    <a:lnTo>
                      <a:pt x="3550020" y="4012236"/>
                    </a:lnTo>
                    <a:lnTo>
                      <a:pt x="3521429" y="4007472"/>
                    </a:lnTo>
                    <a:lnTo>
                      <a:pt x="3507134" y="4002704"/>
                    </a:lnTo>
                    <a:lnTo>
                      <a:pt x="3492839" y="4002704"/>
                    </a:lnTo>
                    <a:lnTo>
                      <a:pt x="3488073" y="4012236"/>
                    </a:lnTo>
                    <a:lnTo>
                      <a:pt x="3473778" y="4017000"/>
                    </a:lnTo>
                    <a:lnTo>
                      <a:pt x="3454717" y="4021764"/>
                    </a:lnTo>
                    <a:lnTo>
                      <a:pt x="3435657" y="4040824"/>
                    </a:lnTo>
                    <a:lnTo>
                      <a:pt x="3416597" y="4078948"/>
                    </a:lnTo>
                    <a:lnTo>
                      <a:pt x="3411831" y="4102772"/>
                    </a:lnTo>
                    <a:lnTo>
                      <a:pt x="3411831" y="4112304"/>
                    </a:lnTo>
                    <a:lnTo>
                      <a:pt x="3407066" y="4117068"/>
                    </a:lnTo>
                    <a:lnTo>
                      <a:pt x="3397536" y="4121832"/>
                    </a:lnTo>
                    <a:lnTo>
                      <a:pt x="3388006" y="4131364"/>
                    </a:lnTo>
                    <a:lnTo>
                      <a:pt x="3378475" y="4150424"/>
                    </a:lnTo>
                    <a:lnTo>
                      <a:pt x="3364180" y="4155188"/>
                    </a:lnTo>
                    <a:lnTo>
                      <a:pt x="3349885" y="4155188"/>
                    </a:lnTo>
                    <a:lnTo>
                      <a:pt x="3326059" y="4145660"/>
                    </a:lnTo>
                    <a:lnTo>
                      <a:pt x="3287938" y="4121832"/>
                    </a:lnTo>
                    <a:lnTo>
                      <a:pt x="3259347" y="4102772"/>
                    </a:lnTo>
                    <a:lnTo>
                      <a:pt x="3235522" y="4098008"/>
                    </a:lnTo>
                    <a:lnTo>
                      <a:pt x="3216461" y="4088476"/>
                    </a:lnTo>
                    <a:lnTo>
                      <a:pt x="3202166" y="4069416"/>
                    </a:lnTo>
                    <a:lnTo>
                      <a:pt x="3187871" y="4059888"/>
                    </a:lnTo>
                    <a:lnTo>
                      <a:pt x="3173575" y="4055120"/>
                    </a:lnTo>
                    <a:lnTo>
                      <a:pt x="3159280" y="4036060"/>
                    </a:lnTo>
                    <a:lnTo>
                      <a:pt x="3140219" y="4002704"/>
                    </a:lnTo>
                    <a:lnTo>
                      <a:pt x="3130689" y="3978880"/>
                    </a:lnTo>
                    <a:lnTo>
                      <a:pt x="3130689" y="3955052"/>
                    </a:lnTo>
                    <a:lnTo>
                      <a:pt x="3106863" y="3897872"/>
                    </a:lnTo>
                    <a:lnTo>
                      <a:pt x="3092568" y="3869280"/>
                    </a:lnTo>
                    <a:lnTo>
                      <a:pt x="3083037" y="3859752"/>
                    </a:lnTo>
                    <a:lnTo>
                      <a:pt x="3063977" y="3845456"/>
                    </a:lnTo>
                    <a:lnTo>
                      <a:pt x="3035386" y="3831160"/>
                    </a:lnTo>
                    <a:lnTo>
                      <a:pt x="3002031" y="3797804"/>
                    </a:lnTo>
                    <a:lnTo>
                      <a:pt x="2954379" y="3750152"/>
                    </a:lnTo>
                    <a:lnTo>
                      <a:pt x="2921023" y="3721564"/>
                    </a:lnTo>
                    <a:lnTo>
                      <a:pt x="2901963" y="3712032"/>
                    </a:lnTo>
                    <a:lnTo>
                      <a:pt x="2882902" y="3697736"/>
                    </a:lnTo>
                    <a:lnTo>
                      <a:pt x="2868607" y="3673912"/>
                    </a:lnTo>
                    <a:lnTo>
                      <a:pt x="2854311" y="3654852"/>
                    </a:lnTo>
                    <a:lnTo>
                      <a:pt x="2782835" y="3654852"/>
                    </a:lnTo>
                    <a:lnTo>
                      <a:pt x="2749479" y="3654852"/>
                    </a:lnTo>
                    <a:lnTo>
                      <a:pt x="2682767" y="3654852"/>
                    </a:lnTo>
                    <a:lnTo>
                      <a:pt x="2644646" y="3654852"/>
                    </a:lnTo>
                    <a:lnTo>
                      <a:pt x="2577934" y="3654852"/>
                    </a:lnTo>
                    <a:lnTo>
                      <a:pt x="2577934" y="3716796"/>
                    </a:lnTo>
                    <a:lnTo>
                      <a:pt x="2577934" y="3735856"/>
                    </a:lnTo>
                    <a:lnTo>
                      <a:pt x="2358738" y="3735856"/>
                    </a:lnTo>
                    <a:lnTo>
                      <a:pt x="2301557" y="3735856"/>
                    </a:lnTo>
                    <a:lnTo>
                      <a:pt x="2134777" y="3735856"/>
                    </a:lnTo>
                    <a:lnTo>
                      <a:pt x="2063300" y="3712032"/>
                    </a:lnTo>
                    <a:lnTo>
                      <a:pt x="1987058" y="3683440"/>
                    </a:lnTo>
                    <a:lnTo>
                      <a:pt x="1915581" y="3654852"/>
                    </a:lnTo>
                    <a:lnTo>
                      <a:pt x="1767862" y="3602436"/>
                    </a:lnTo>
                    <a:lnTo>
                      <a:pt x="1691620" y="3573844"/>
                    </a:lnTo>
                    <a:lnTo>
                      <a:pt x="1543901" y="3516660"/>
                    </a:lnTo>
                    <a:lnTo>
                      <a:pt x="1553432" y="3507132"/>
                    </a:lnTo>
                    <a:lnTo>
                      <a:pt x="1562962" y="3478540"/>
                    </a:lnTo>
                    <a:lnTo>
                      <a:pt x="1543901" y="3483308"/>
                    </a:lnTo>
                    <a:lnTo>
                      <a:pt x="1453364" y="3488072"/>
                    </a:lnTo>
                    <a:lnTo>
                      <a:pt x="1410478" y="3492836"/>
                    </a:lnTo>
                    <a:lnTo>
                      <a:pt x="1362827" y="3497600"/>
                    </a:lnTo>
                    <a:lnTo>
                      <a:pt x="1319940" y="3502368"/>
                    </a:lnTo>
                    <a:lnTo>
                      <a:pt x="1272289" y="3507132"/>
                    </a:lnTo>
                    <a:lnTo>
                      <a:pt x="1229403" y="3511896"/>
                    </a:lnTo>
                    <a:lnTo>
                      <a:pt x="1186517" y="3516660"/>
                    </a:lnTo>
                    <a:lnTo>
                      <a:pt x="1186517" y="3511896"/>
                    </a:lnTo>
                    <a:lnTo>
                      <a:pt x="1181752" y="3492836"/>
                    </a:lnTo>
                    <a:lnTo>
                      <a:pt x="1176987" y="3483308"/>
                    </a:lnTo>
                    <a:lnTo>
                      <a:pt x="1167456" y="3488072"/>
                    </a:lnTo>
                    <a:lnTo>
                      <a:pt x="1162691" y="3464244"/>
                    </a:lnTo>
                    <a:lnTo>
                      <a:pt x="1167456" y="3449952"/>
                    </a:lnTo>
                    <a:lnTo>
                      <a:pt x="1162691" y="3440420"/>
                    </a:lnTo>
                    <a:lnTo>
                      <a:pt x="1153161" y="3407064"/>
                    </a:lnTo>
                    <a:lnTo>
                      <a:pt x="1134100" y="3373708"/>
                    </a:lnTo>
                    <a:lnTo>
                      <a:pt x="1081684" y="3326056"/>
                    </a:lnTo>
                    <a:lnTo>
                      <a:pt x="1057858" y="3311760"/>
                    </a:lnTo>
                    <a:lnTo>
                      <a:pt x="1034033" y="3292700"/>
                    </a:lnTo>
                    <a:lnTo>
                      <a:pt x="1024502" y="3287936"/>
                    </a:lnTo>
                    <a:lnTo>
                      <a:pt x="1010207" y="3283172"/>
                    </a:lnTo>
                    <a:lnTo>
                      <a:pt x="1000677" y="3292700"/>
                    </a:lnTo>
                    <a:lnTo>
                      <a:pt x="986381" y="3287936"/>
                    </a:lnTo>
                    <a:lnTo>
                      <a:pt x="986381" y="3268876"/>
                    </a:lnTo>
                    <a:lnTo>
                      <a:pt x="972086" y="3235520"/>
                    </a:lnTo>
                    <a:lnTo>
                      <a:pt x="957791" y="3235520"/>
                    </a:lnTo>
                    <a:lnTo>
                      <a:pt x="919670" y="3235520"/>
                    </a:lnTo>
                    <a:lnTo>
                      <a:pt x="872018" y="3216460"/>
                    </a:lnTo>
                    <a:lnTo>
                      <a:pt x="857723" y="3206928"/>
                    </a:lnTo>
                    <a:lnTo>
                      <a:pt x="852958" y="3192632"/>
                    </a:lnTo>
                    <a:lnTo>
                      <a:pt x="829132" y="3173572"/>
                    </a:lnTo>
                    <a:lnTo>
                      <a:pt x="800541" y="3159276"/>
                    </a:lnTo>
                    <a:lnTo>
                      <a:pt x="781481" y="3164044"/>
                    </a:lnTo>
                    <a:lnTo>
                      <a:pt x="757655" y="3164044"/>
                    </a:lnTo>
                    <a:lnTo>
                      <a:pt x="729065" y="3149748"/>
                    </a:lnTo>
                    <a:lnTo>
                      <a:pt x="710004" y="3149748"/>
                    </a:lnTo>
                    <a:lnTo>
                      <a:pt x="676648" y="3154512"/>
                    </a:lnTo>
                    <a:lnTo>
                      <a:pt x="662353" y="3149748"/>
                    </a:lnTo>
                    <a:lnTo>
                      <a:pt x="648057" y="3135452"/>
                    </a:lnTo>
                    <a:lnTo>
                      <a:pt x="638527" y="3130688"/>
                    </a:lnTo>
                    <a:lnTo>
                      <a:pt x="638527" y="3111628"/>
                    </a:lnTo>
                    <a:lnTo>
                      <a:pt x="638527" y="3097332"/>
                    </a:lnTo>
                    <a:lnTo>
                      <a:pt x="638527" y="3087800"/>
                    </a:lnTo>
                    <a:lnTo>
                      <a:pt x="633762" y="3059208"/>
                    </a:lnTo>
                    <a:lnTo>
                      <a:pt x="638527" y="3035384"/>
                    </a:lnTo>
                    <a:lnTo>
                      <a:pt x="633762" y="3025852"/>
                    </a:lnTo>
                    <a:lnTo>
                      <a:pt x="624232" y="3021088"/>
                    </a:lnTo>
                    <a:lnTo>
                      <a:pt x="600406" y="3011560"/>
                    </a:lnTo>
                    <a:lnTo>
                      <a:pt x="600406" y="2997264"/>
                    </a:lnTo>
                    <a:lnTo>
                      <a:pt x="600406" y="2978204"/>
                    </a:lnTo>
                    <a:lnTo>
                      <a:pt x="595641" y="2968672"/>
                    </a:lnTo>
                    <a:lnTo>
                      <a:pt x="576580" y="2959144"/>
                    </a:lnTo>
                    <a:lnTo>
                      <a:pt x="557520" y="2935316"/>
                    </a:lnTo>
                    <a:lnTo>
                      <a:pt x="538459" y="2921020"/>
                    </a:lnTo>
                    <a:lnTo>
                      <a:pt x="528929" y="2897196"/>
                    </a:lnTo>
                    <a:lnTo>
                      <a:pt x="514634" y="2887664"/>
                    </a:lnTo>
                    <a:lnTo>
                      <a:pt x="509869" y="2873368"/>
                    </a:lnTo>
                    <a:lnTo>
                      <a:pt x="476513" y="2830484"/>
                    </a:lnTo>
                    <a:lnTo>
                      <a:pt x="443157" y="2792364"/>
                    </a:lnTo>
                    <a:lnTo>
                      <a:pt x="438392" y="2773304"/>
                    </a:lnTo>
                    <a:lnTo>
                      <a:pt x="438392" y="2749476"/>
                    </a:lnTo>
                    <a:lnTo>
                      <a:pt x="447922" y="2730416"/>
                    </a:lnTo>
                    <a:lnTo>
                      <a:pt x="457452" y="2716120"/>
                    </a:lnTo>
                    <a:lnTo>
                      <a:pt x="457452" y="2701824"/>
                    </a:lnTo>
                    <a:lnTo>
                      <a:pt x="452687" y="2692296"/>
                    </a:lnTo>
                    <a:lnTo>
                      <a:pt x="443157" y="2678000"/>
                    </a:lnTo>
                    <a:lnTo>
                      <a:pt x="400271" y="2663704"/>
                    </a:lnTo>
                    <a:lnTo>
                      <a:pt x="362150" y="2625584"/>
                    </a:lnTo>
                    <a:lnTo>
                      <a:pt x="362150" y="2592228"/>
                    </a:lnTo>
                    <a:lnTo>
                      <a:pt x="347854" y="2558872"/>
                    </a:lnTo>
                    <a:lnTo>
                      <a:pt x="347854" y="2535044"/>
                    </a:lnTo>
                    <a:lnTo>
                      <a:pt x="343089" y="2511220"/>
                    </a:lnTo>
                    <a:lnTo>
                      <a:pt x="357385" y="2506456"/>
                    </a:lnTo>
                    <a:lnTo>
                      <a:pt x="362150" y="2511220"/>
                    </a:lnTo>
                    <a:lnTo>
                      <a:pt x="362150" y="2520752"/>
                    </a:lnTo>
                    <a:lnTo>
                      <a:pt x="366915" y="2535044"/>
                    </a:lnTo>
                    <a:lnTo>
                      <a:pt x="376445" y="2549340"/>
                    </a:lnTo>
                    <a:lnTo>
                      <a:pt x="390740" y="2554108"/>
                    </a:lnTo>
                    <a:lnTo>
                      <a:pt x="400271" y="2563636"/>
                    </a:lnTo>
                    <a:lnTo>
                      <a:pt x="405036" y="2568400"/>
                    </a:lnTo>
                    <a:lnTo>
                      <a:pt x="414566" y="2573168"/>
                    </a:lnTo>
                    <a:lnTo>
                      <a:pt x="409801" y="2563636"/>
                    </a:lnTo>
                    <a:lnTo>
                      <a:pt x="405036" y="2558872"/>
                    </a:lnTo>
                    <a:lnTo>
                      <a:pt x="400271" y="2539812"/>
                    </a:lnTo>
                    <a:lnTo>
                      <a:pt x="390740" y="2520752"/>
                    </a:lnTo>
                    <a:lnTo>
                      <a:pt x="376445" y="2506456"/>
                    </a:lnTo>
                    <a:lnTo>
                      <a:pt x="371680" y="2487396"/>
                    </a:lnTo>
                    <a:lnTo>
                      <a:pt x="366915" y="2482628"/>
                    </a:lnTo>
                    <a:lnTo>
                      <a:pt x="362150" y="2477864"/>
                    </a:lnTo>
                    <a:lnTo>
                      <a:pt x="376445" y="2468332"/>
                    </a:lnTo>
                    <a:lnTo>
                      <a:pt x="390740" y="2458804"/>
                    </a:lnTo>
                    <a:lnTo>
                      <a:pt x="409801" y="2458804"/>
                    </a:lnTo>
                    <a:lnTo>
                      <a:pt x="466983" y="2458804"/>
                    </a:lnTo>
                    <a:lnTo>
                      <a:pt x="481278" y="2454040"/>
                    </a:lnTo>
                    <a:lnTo>
                      <a:pt x="490808" y="2458804"/>
                    </a:lnTo>
                    <a:lnTo>
                      <a:pt x="500338" y="2458804"/>
                    </a:lnTo>
                    <a:lnTo>
                      <a:pt x="481278" y="2449272"/>
                    </a:lnTo>
                    <a:lnTo>
                      <a:pt x="476513" y="2454040"/>
                    </a:lnTo>
                    <a:lnTo>
                      <a:pt x="462217" y="2449272"/>
                    </a:lnTo>
                    <a:lnTo>
                      <a:pt x="443157" y="2454040"/>
                    </a:lnTo>
                    <a:lnTo>
                      <a:pt x="433627" y="2449272"/>
                    </a:lnTo>
                    <a:lnTo>
                      <a:pt x="424096" y="2444508"/>
                    </a:lnTo>
                    <a:lnTo>
                      <a:pt x="419331" y="2444508"/>
                    </a:lnTo>
                    <a:lnTo>
                      <a:pt x="400271" y="2454040"/>
                    </a:lnTo>
                    <a:lnTo>
                      <a:pt x="390740" y="2454040"/>
                    </a:lnTo>
                    <a:lnTo>
                      <a:pt x="371680" y="2439744"/>
                    </a:lnTo>
                    <a:lnTo>
                      <a:pt x="362150" y="2439744"/>
                    </a:lnTo>
                    <a:lnTo>
                      <a:pt x="347854" y="2444508"/>
                    </a:lnTo>
                    <a:lnTo>
                      <a:pt x="347854" y="2477864"/>
                    </a:lnTo>
                    <a:lnTo>
                      <a:pt x="352619" y="2501688"/>
                    </a:lnTo>
                    <a:lnTo>
                      <a:pt x="343089" y="2501688"/>
                    </a:lnTo>
                    <a:lnTo>
                      <a:pt x="333559" y="2492160"/>
                    </a:lnTo>
                    <a:lnTo>
                      <a:pt x="319264" y="2487396"/>
                    </a:lnTo>
                    <a:lnTo>
                      <a:pt x="304968" y="2477864"/>
                    </a:lnTo>
                    <a:lnTo>
                      <a:pt x="285908" y="2463568"/>
                    </a:lnTo>
                    <a:lnTo>
                      <a:pt x="281143" y="2458804"/>
                    </a:lnTo>
                    <a:lnTo>
                      <a:pt x="266847" y="2468332"/>
                    </a:lnTo>
                    <a:lnTo>
                      <a:pt x="266847" y="2463568"/>
                    </a:lnTo>
                    <a:lnTo>
                      <a:pt x="271612" y="2449272"/>
                    </a:lnTo>
                    <a:lnTo>
                      <a:pt x="271612" y="2420684"/>
                    </a:lnTo>
                    <a:lnTo>
                      <a:pt x="285908" y="2444508"/>
                    </a:lnTo>
                    <a:lnTo>
                      <a:pt x="281143" y="2430212"/>
                    </a:lnTo>
                    <a:lnTo>
                      <a:pt x="271612" y="2411152"/>
                    </a:lnTo>
                    <a:lnTo>
                      <a:pt x="262082" y="2406388"/>
                    </a:lnTo>
                    <a:lnTo>
                      <a:pt x="247787" y="2377796"/>
                    </a:lnTo>
                    <a:lnTo>
                      <a:pt x="223961" y="2358736"/>
                    </a:lnTo>
                    <a:lnTo>
                      <a:pt x="200135" y="2334912"/>
                    </a:lnTo>
                    <a:lnTo>
                      <a:pt x="157249" y="2287260"/>
                    </a:lnTo>
                    <a:lnTo>
                      <a:pt x="157249" y="2244372"/>
                    </a:lnTo>
                    <a:lnTo>
                      <a:pt x="138189" y="2191956"/>
                    </a:lnTo>
                    <a:lnTo>
                      <a:pt x="147719" y="2163364"/>
                    </a:lnTo>
                    <a:lnTo>
                      <a:pt x="147719" y="2144304"/>
                    </a:lnTo>
                    <a:lnTo>
                      <a:pt x="138189" y="2110948"/>
                    </a:lnTo>
                    <a:lnTo>
                      <a:pt x="128658" y="2091888"/>
                    </a:lnTo>
                    <a:lnTo>
                      <a:pt x="95303" y="2044236"/>
                    </a:lnTo>
                    <a:lnTo>
                      <a:pt x="61947" y="2015648"/>
                    </a:lnTo>
                    <a:lnTo>
                      <a:pt x="57182" y="1991820"/>
                    </a:lnTo>
                    <a:lnTo>
                      <a:pt x="52416" y="1963232"/>
                    </a:lnTo>
                    <a:lnTo>
                      <a:pt x="61947" y="1944168"/>
                    </a:lnTo>
                    <a:lnTo>
                      <a:pt x="66712" y="1920344"/>
                    </a:lnTo>
                    <a:lnTo>
                      <a:pt x="71477" y="1915580"/>
                    </a:lnTo>
                    <a:lnTo>
                      <a:pt x="76242" y="1915580"/>
                    </a:lnTo>
                    <a:lnTo>
                      <a:pt x="71477" y="1920344"/>
                    </a:lnTo>
                    <a:lnTo>
                      <a:pt x="76242" y="1920344"/>
                    </a:lnTo>
                    <a:lnTo>
                      <a:pt x="81007" y="1910816"/>
                    </a:lnTo>
                    <a:lnTo>
                      <a:pt x="81007" y="1906048"/>
                    </a:lnTo>
                    <a:lnTo>
                      <a:pt x="76242" y="1906048"/>
                    </a:lnTo>
                    <a:lnTo>
                      <a:pt x="76242" y="1901284"/>
                    </a:lnTo>
                    <a:lnTo>
                      <a:pt x="81007" y="1896520"/>
                    </a:lnTo>
                    <a:lnTo>
                      <a:pt x="90537" y="1867928"/>
                    </a:lnTo>
                    <a:lnTo>
                      <a:pt x="90537" y="1829808"/>
                    </a:lnTo>
                    <a:lnTo>
                      <a:pt x="100068" y="1782156"/>
                    </a:lnTo>
                    <a:lnTo>
                      <a:pt x="100068" y="1763096"/>
                    </a:lnTo>
                    <a:lnTo>
                      <a:pt x="95303" y="1729740"/>
                    </a:lnTo>
                    <a:lnTo>
                      <a:pt x="85772" y="1710680"/>
                    </a:lnTo>
                    <a:lnTo>
                      <a:pt x="71477" y="1696384"/>
                    </a:lnTo>
                    <a:lnTo>
                      <a:pt x="81007" y="1677324"/>
                    </a:lnTo>
                    <a:lnTo>
                      <a:pt x="81007" y="1653496"/>
                    </a:lnTo>
                    <a:lnTo>
                      <a:pt x="57182" y="1624908"/>
                    </a:lnTo>
                    <a:lnTo>
                      <a:pt x="47651" y="1586784"/>
                    </a:lnTo>
                    <a:lnTo>
                      <a:pt x="47651" y="1572492"/>
                    </a:lnTo>
                    <a:lnTo>
                      <a:pt x="47651" y="1529604"/>
                    </a:lnTo>
                    <a:lnTo>
                      <a:pt x="42886" y="1510544"/>
                    </a:lnTo>
                    <a:lnTo>
                      <a:pt x="28591" y="1481952"/>
                    </a:lnTo>
                    <a:lnTo>
                      <a:pt x="33356" y="1453360"/>
                    </a:lnTo>
                    <a:lnTo>
                      <a:pt x="42886" y="1434300"/>
                    </a:lnTo>
                    <a:lnTo>
                      <a:pt x="57182" y="1367588"/>
                    </a:lnTo>
                    <a:lnTo>
                      <a:pt x="61947" y="1362824"/>
                    </a:lnTo>
                    <a:lnTo>
                      <a:pt x="66712" y="1362824"/>
                    </a:lnTo>
                    <a:lnTo>
                      <a:pt x="81007" y="1348528"/>
                    </a:lnTo>
                    <a:lnTo>
                      <a:pt x="76242" y="1348528"/>
                    </a:lnTo>
                    <a:lnTo>
                      <a:pt x="66712" y="1353296"/>
                    </a:lnTo>
                    <a:lnTo>
                      <a:pt x="76242" y="1324704"/>
                    </a:lnTo>
                    <a:lnTo>
                      <a:pt x="85772" y="1300876"/>
                    </a:lnTo>
                    <a:lnTo>
                      <a:pt x="90537" y="1291348"/>
                    </a:lnTo>
                    <a:lnTo>
                      <a:pt x="90537" y="1210340"/>
                    </a:lnTo>
                    <a:lnTo>
                      <a:pt x="95303" y="1153160"/>
                    </a:lnTo>
                    <a:lnTo>
                      <a:pt x="104833" y="1129332"/>
                    </a:lnTo>
                    <a:lnTo>
                      <a:pt x="100068" y="1110272"/>
                    </a:lnTo>
                    <a:lnTo>
                      <a:pt x="104833" y="1081680"/>
                    </a:lnTo>
                    <a:lnTo>
                      <a:pt x="104833" y="1053092"/>
                    </a:lnTo>
                    <a:lnTo>
                      <a:pt x="119128" y="914904"/>
                    </a:lnTo>
                    <a:lnTo>
                      <a:pt x="119128" y="900608"/>
                    </a:lnTo>
                    <a:lnTo>
                      <a:pt x="123893" y="876780"/>
                    </a:lnTo>
                    <a:lnTo>
                      <a:pt x="119128" y="819600"/>
                    </a:lnTo>
                    <a:lnTo>
                      <a:pt x="119128" y="752888"/>
                    </a:lnTo>
                    <a:lnTo>
                      <a:pt x="114363" y="743356"/>
                    </a:lnTo>
                    <a:lnTo>
                      <a:pt x="114363" y="733828"/>
                    </a:lnTo>
                    <a:lnTo>
                      <a:pt x="119128" y="729064"/>
                    </a:lnTo>
                    <a:lnTo>
                      <a:pt x="123893" y="743356"/>
                    </a:lnTo>
                    <a:lnTo>
                      <a:pt x="162014" y="743356"/>
                    </a:lnTo>
                    <a:lnTo>
                      <a:pt x="185840" y="733828"/>
                    </a:lnTo>
                    <a:lnTo>
                      <a:pt x="195370" y="733828"/>
                    </a:lnTo>
                    <a:lnTo>
                      <a:pt x="204900" y="748124"/>
                    </a:lnTo>
                    <a:lnTo>
                      <a:pt x="219196" y="748124"/>
                    </a:lnTo>
                    <a:lnTo>
                      <a:pt x="233491" y="748124"/>
                    </a:lnTo>
                    <a:lnTo>
                      <a:pt x="228726" y="743356"/>
                    </a:lnTo>
                    <a:lnTo>
                      <a:pt x="223961" y="743356"/>
                    </a:lnTo>
                    <a:lnTo>
                      <a:pt x="204900" y="733828"/>
                    </a:lnTo>
                    <a:lnTo>
                      <a:pt x="195370" y="719532"/>
                    </a:lnTo>
                    <a:lnTo>
                      <a:pt x="166779" y="724296"/>
                    </a:lnTo>
                    <a:lnTo>
                      <a:pt x="162014" y="714768"/>
                    </a:lnTo>
                    <a:lnTo>
                      <a:pt x="128658" y="724296"/>
                    </a:lnTo>
                    <a:lnTo>
                      <a:pt x="119128" y="714768"/>
                    </a:lnTo>
                    <a:lnTo>
                      <a:pt x="100068" y="719532"/>
                    </a:lnTo>
                    <a:lnTo>
                      <a:pt x="104833" y="700472"/>
                    </a:lnTo>
                    <a:lnTo>
                      <a:pt x="104833" y="671880"/>
                    </a:lnTo>
                    <a:lnTo>
                      <a:pt x="104833" y="643292"/>
                    </a:lnTo>
                    <a:lnTo>
                      <a:pt x="109598" y="662352"/>
                    </a:lnTo>
                    <a:lnTo>
                      <a:pt x="119128" y="686176"/>
                    </a:lnTo>
                    <a:lnTo>
                      <a:pt x="123893" y="662352"/>
                    </a:lnTo>
                    <a:lnTo>
                      <a:pt x="128658" y="633760"/>
                    </a:lnTo>
                    <a:lnTo>
                      <a:pt x="119128" y="624228"/>
                    </a:lnTo>
                    <a:lnTo>
                      <a:pt x="100068" y="614700"/>
                    </a:lnTo>
                    <a:lnTo>
                      <a:pt x="95303" y="586108"/>
                    </a:lnTo>
                    <a:lnTo>
                      <a:pt x="138189" y="562284"/>
                    </a:lnTo>
                    <a:lnTo>
                      <a:pt x="114363" y="557516"/>
                    </a:lnTo>
                    <a:lnTo>
                      <a:pt x="104833" y="547988"/>
                    </a:lnTo>
                    <a:lnTo>
                      <a:pt x="95303" y="547988"/>
                    </a:lnTo>
                    <a:lnTo>
                      <a:pt x="95303" y="557516"/>
                    </a:lnTo>
                    <a:lnTo>
                      <a:pt x="90537" y="567048"/>
                    </a:lnTo>
                    <a:lnTo>
                      <a:pt x="85772" y="552752"/>
                    </a:lnTo>
                    <a:lnTo>
                      <a:pt x="85772" y="533692"/>
                    </a:lnTo>
                    <a:lnTo>
                      <a:pt x="81007" y="509868"/>
                    </a:lnTo>
                    <a:lnTo>
                      <a:pt x="61947" y="462216"/>
                    </a:lnTo>
                    <a:lnTo>
                      <a:pt x="52416" y="405032"/>
                    </a:lnTo>
                    <a:lnTo>
                      <a:pt x="38121" y="376444"/>
                    </a:lnTo>
                    <a:lnTo>
                      <a:pt x="14295" y="347852"/>
                    </a:lnTo>
                    <a:lnTo>
                      <a:pt x="9530" y="328792"/>
                    </a:lnTo>
                    <a:lnTo>
                      <a:pt x="0" y="290672"/>
                    </a:lnTo>
                    <a:lnTo>
                      <a:pt x="4765" y="257316"/>
                    </a:lnTo>
                    <a:lnTo>
                      <a:pt x="0" y="233488"/>
                    </a:lnTo>
                    <a:lnTo>
                      <a:pt x="14295" y="238256"/>
                    </a:lnTo>
                    <a:lnTo>
                      <a:pt x="42886" y="252548"/>
                    </a:lnTo>
                    <a:lnTo>
                      <a:pt x="85772" y="266844"/>
                    </a:lnTo>
                    <a:lnTo>
                      <a:pt x="95303" y="276376"/>
                    </a:lnTo>
                    <a:lnTo>
                      <a:pt x="114363" y="285904"/>
                    </a:lnTo>
                    <a:lnTo>
                      <a:pt x="223961" y="295436"/>
                    </a:lnTo>
                    <a:lnTo>
                      <a:pt x="228726" y="295436"/>
                    </a:lnTo>
                    <a:lnTo>
                      <a:pt x="243022" y="290672"/>
                    </a:lnTo>
                    <a:lnTo>
                      <a:pt x="247787" y="290672"/>
                    </a:lnTo>
                    <a:lnTo>
                      <a:pt x="266847" y="304968"/>
                    </a:lnTo>
                    <a:lnTo>
                      <a:pt x="271612" y="309732"/>
                    </a:lnTo>
                    <a:lnTo>
                      <a:pt x="281143" y="304968"/>
                    </a:lnTo>
                    <a:lnTo>
                      <a:pt x="290673" y="304968"/>
                    </a:lnTo>
                    <a:lnTo>
                      <a:pt x="304968" y="290672"/>
                    </a:lnTo>
                    <a:lnTo>
                      <a:pt x="304968" y="295436"/>
                    </a:lnTo>
                    <a:lnTo>
                      <a:pt x="304968" y="304968"/>
                    </a:lnTo>
                    <a:lnTo>
                      <a:pt x="309733" y="319260"/>
                    </a:lnTo>
                    <a:lnTo>
                      <a:pt x="319264" y="338324"/>
                    </a:lnTo>
                    <a:lnTo>
                      <a:pt x="324029" y="352616"/>
                    </a:lnTo>
                    <a:lnTo>
                      <a:pt x="304968" y="385972"/>
                    </a:lnTo>
                    <a:lnTo>
                      <a:pt x="300203" y="385972"/>
                    </a:lnTo>
                    <a:lnTo>
                      <a:pt x="300203" y="376444"/>
                    </a:lnTo>
                    <a:lnTo>
                      <a:pt x="295438" y="371676"/>
                    </a:lnTo>
                    <a:lnTo>
                      <a:pt x="262082" y="428860"/>
                    </a:lnTo>
                    <a:lnTo>
                      <a:pt x="247787" y="452684"/>
                    </a:lnTo>
                    <a:lnTo>
                      <a:pt x="247787" y="466980"/>
                    </a:lnTo>
                    <a:lnTo>
                      <a:pt x="247787" y="471744"/>
                    </a:lnTo>
                    <a:lnTo>
                      <a:pt x="252552" y="476512"/>
                    </a:lnTo>
                    <a:lnTo>
                      <a:pt x="262082" y="471744"/>
                    </a:lnTo>
                    <a:lnTo>
                      <a:pt x="281143" y="462216"/>
                    </a:lnTo>
                    <a:lnTo>
                      <a:pt x="281143" y="457452"/>
                    </a:lnTo>
                    <a:lnTo>
                      <a:pt x="266847" y="462216"/>
                    </a:lnTo>
                    <a:lnTo>
                      <a:pt x="257317" y="462216"/>
                    </a:lnTo>
                    <a:lnTo>
                      <a:pt x="257317" y="452684"/>
                    </a:lnTo>
                    <a:lnTo>
                      <a:pt x="262082" y="443156"/>
                    </a:lnTo>
                    <a:lnTo>
                      <a:pt x="271612" y="428860"/>
                    </a:lnTo>
                    <a:lnTo>
                      <a:pt x="281143" y="414564"/>
                    </a:lnTo>
                    <a:lnTo>
                      <a:pt x="295438" y="405032"/>
                    </a:lnTo>
                    <a:lnTo>
                      <a:pt x="304968" y="395504"/>
                    </a:lnTo>
                    <a:lnTo>
                      <a:pt x="309733" y="381208"/>
                    </a:lnTo>
                    <a:lnTo>
                      <a:pt x="328794" y="362148"/>
                    </a:lnTo>
                    <a:lnTo>
                      <a:pt x="333559" y="357384"/>
                    </a:lnTo>
                    <a:lnTo>
                      <a:pt x="333559" y="343088"/>
                    </a:lnTo>
                    <a:lnTo>
                      <a:pt x="343089" y="343088"/>
                    </a:lnTo>
                    <a:lnTo>
                      <a:pt x="343089" y="366912"/>
                    </a:lnTo>
                    <a:lnTo>
                      <a:pt x="343089" y="376444"/>
                    </a:lnTo>
                    <a:lnTo>
                      <a:pt x="328794" y="390740"/>
                    </a:lnTo>
                    <a:lnTo>
                      <a:pt x="324029" y="395504"/>
                    </a:lnTo>
                    <a:lnTo>
                      <a:pt x="328794" y="414564"/>
                    </a:lnTo>
                    <a:lnTo>
                      <a:pt x="324029" y="414564"/>
                    </a:lnTo>
                    <a:lnTo>
                      <a:pt x="319264" y="414564"/>
                    </a:lnTo>
                    <a:lnTo>
                      <a:pt x="333559" y="433624"/>
                    </a:lnTo>
                    <a:lnTo>
                      <a:pt x="338324" y="447920"/>
                    </a:lnTo>
                    <a:lnTo>
                      <a:pt x="338324" y="462216"/>
                    </a:lnTo>
                    <a:lnTo>
                      <a:pt x="333559" y="486040"/>
                    </a:lnTo>
                    <a:lnTo>
                      <a:pt x="328794" y="490808"/>
                    </a:lnTo>
                    <a:lnTo>
                      <a:pt x="324029" y="490808"/>
                    </a:lnTo>
                    <a:lnTo>
                      <a:pt x="314498" y="481276"/>
                    </a:lnTo>
                    <a:lnTo>
                      <a:pt x="309733" y="486040"/>
                    </a:lnTo>
                    <a:lnTo>
                      <a:pt x="304968" y="505100"/>
                    </a:lnTo>
                    <a:lnTo>
                      <a:pt x="300203" y="505100"/>
                    </a:lnTo>
                    <a:lnTo>
                      <a:pt x="295438" y="481276"/>
                    </a:lnTo>
                    <a:lnTo>
                      <a:pt x="295438" y="476512"/>
                    </a:lnTo>
                    <a:lnTo>
                      <a:pt x="281143" y="490808"/>
                    </a:lnTo>
                    <a:lnTo>
                      <a:pt x="276377" y="500336"/>
                    </a:lnTo>
                    <a:lnTo>
                      <a:pt x="271612" y="514632"/>
                    </a:lnTo>
                    <a:lnTo>
                      <a:pt x="262082" y="524160"/>
                    </a:lnTo>
                    <a:lnTo>
                      <a:pt x="281143" y="524160"/>
                    </a:lnTo>
                    <a:lnTo>
                      <a:pt x="300203" y="524160"/>
                    </a:lnTo>
                    <a:lnTo>
                      <a:pt x="309733" y="528928"/>
                    </a:lnTo>
                    <a:lnTo>
                      <a:pt x="314498" y="528928"/>
                    </a:lnTo>
                    <a:lnTo>
                      <a:pt x="328794" y="524160"/>
                    </a:lnTo>
                    <a:lnTo>
                      <a:pt x="328794" y="519396"/>
                    </a:lnTo>
                    <a:lnTo>
                      <a:pt x="338324" y="490808"/>
                    </a:lnTo>
                    <a:lnTo>
                      <a:pt x="343089" y="486040"/>
                    </a:lnTo>
                    <a:lnTo>
                      <a:pt x="352619" y="486040"/>
                    </a:lnTo>
                    <a:lnTo>
                      <a:pt x="357385" y="486040"/>
                    </a:lnTo>
                    <a:lnTo>
                      <a:pt x="366915" y="471744"/>
                    </a:lnTo>
                    <a:lnTo>
                      <a:pt x="371680" y="466980"/>
                    </a:lnTo>
                    <a:lnTo>
                      <a:pt x="366915" y="433624"/>
                    </a:lnTo>
                    <a:lnTo>
                      <a:pt x="366915" y="414564"/>
                    </a:lnTo>
                    <a:lnTo>
                      <a:pt x="366915" y="409800"/>
                    </a:lnTo>
                    <a:lnTo>
                      <a:pt x="362150" y="405032"/>
                    </a:lnTo>
                    <a:lnTo>
                      <a:pt x="362150" y="400268"/>
                    </a:lnTo>
                    <a:lnTo>
                      <a:pt x="362150" y="390740"/>
                    </a:lnTo>
                    <a:lnTo>
                      <a:pt x="366915" y="381208"/>
                    </a:lnTo>
                    <a:lnTo>
                      <a:pt x="362150" y="376444"/>
                    </a:lnTo>
                    <a:lnTo>
                      <a:pt x="362150" y="366912"/>
                    </a:lnTo>
                    <a:lnTo>
                      <a:pt x="371680" y="347852"/>
                    </a:lnTo>
                    <a:lnTo>
                      <a:pt x="376445" y="338324"/>
                    </a:lnTo>
                    <a:lnTo>
                      <a:pt x="385975" y="324028"/>
                    </a:lnTo>
                    <a:lnTo>
                      <a:pt x="385975" y="314496"/>
                    </a:lnTo>
                    <a:lnTo>
                      <a:pt x="376445" y="304968"/>
                    </a:lnTo>
                    <a:lnTo>
                      <a:pt x="366915" y="295436"/>
                    </a:lnTo>
                    <a:lnTo>
                      <a:pt x="362150" y="285904"/>
                    </a:lnTo>
                    <a:lnTo>
                      <a:pt x="357385" y="281140"/>
                    </a:lnTo>
                    <a:lnTo>
                      <a:pt x="357385" y="285904"/>
                    </a:lnTo>
                    <a:lnTo>
                      <a:pt x="362150" y="304968"/>
                    </a:lnTo>
                    <a:lnTo>
                      <a:pt x="347854" y="295436"/>
                    </a:lnTo>
                    <a:lnTo>
                      <a:pt x="343089" y="285904"/>
                    </a:lnTo>
                    <a:lnTo>
                      <a:pt x="343089" y="276376"/>
                    </a:lnTo>
                    <a:lnTo>
                      <a:pt x="343089" y="271612"/>
                    </a:lnTo>
                    <a:lnTo>
                      <a:pt x="352619" y="262080"/>
                    </a:lnTo>
                    <a:lnTo>
                      <a:pt x="362150" y="262080"/>
                    </a:lnTo>
                    <a:lnTo>
                      <a:pt x="362150" y="257316"/>
                    </a:lnTo>
                    <a:lnTo>
                      <a:pt x="347854" y="238256"/>
                    </a:lnTo>
                    <a:lnTo>
                      <a:pt x="338324" y="228724"/>
                    </a:lnTo>
                    <a:lnTo>
                      <a:pt x="333559" y="223960"/>
                    </a:lnTo>
                    <a:lnTo>
                      <a:pt x="324029" y="223960"/>
                    </a:lnTo>
                    <a:lnTo>
                      <a:pt x="319264" y="219192"/>
                    </a:lnTo>
                    <a:lnTo>
                      <a:pt x="319264" y="214428"/>
                    </a:lnTo>
                    <a:lnTo>
                      <a:pt x="324029" y="209664"/>
                    </a:lnTo>
                    <a:lnTo>
                      <a:pt x="338324" y="209664"/>
                    </a:lnTo>
                    <a:lnTo>
                      <a:pt x="347854" y="204900"/>
                    </a:lnTo>
                    <a:lnTo>
                      <a:pt x="347854" y="200132"/>
                    </a:lnTo>
                    <a:lnTo>
                      <a:pt x="343089" y="195368"/>
                    </a:lnTo>
                    <a:lnTo>
                      <a:pt x="343089" y="166776"/>
                    </a:lnTo>
                    <a:lnTo>
                      <a:pt x="338324" y="147716"/>
                    </a:lnTo>
                    <a:lnTo>
                      <a:pt x="338324" y="142952"/>
                    </a:lnTo>
                    <a:lnTo>
                      <a:pt x="333559" y="142952"/>
                    </a:lnTo>
                    <a:lnTo>
                      <a:pt x="328794" y="142952"/>
                    </a:lnTo>
                    <a:lnTo>
                      <a:pt x="324029" y="142952"/>
                    </a:lnTo>
                    <a:lnTo>
                      <a:pt x="319264" y="138188"/>
                    </a:lnTo>
                    <a:lnTo>
                      <a:pt x="309733" y="123892"/>
                    </a:lnTo>
                    <a:lnTo>
                      <a:pt x="300203" y="90536"/>
                    </a:lnTo>
                    <a:lnTo>
                      <a:pt x="4617409" y="90536"/>
                    </a:lnTo>
                    <a:lnTo>
                      <a:pt x="4617409" y="3812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73" name="Google Shape;4940;p64">
                <a:extLst>
                  <a:ext uri="{FF2B5EF4-FFF2-40B4-BE49-F238E27FC236}">
                    <a16:creationId xmlns:a16="http://schemas.microsoft.com/office/drawing/2014/main" id="{942D9529-B947-0C22-714D-CA3DF0A7AADE}"/>
                  </a:ext>
                </a:extLst>
              </p:cNvPr>
              <p:cNvSpPr/>
              <p:nvPr/>
            </p:nvSpPr>
            <p:spPr>
              <a:xfrm>
                <a:off x="796147" y="10843607"/>
                <a:ext cx="7524134" cy="6756949"/>
              </a:xfrm>
              <a:custGeom>
                <a:avLst/>
                <a:gdLst/>
                <a:ahLst/>
                <a:cxnLst/>
                <a:rect l="l" t="t" r="r" b="b"/>
                <a:pathLst>
                  <a:path w="7524134" h="6756949" extrusionOk="0">
                    <a:moveTo>
                      <a:pt x="285908" y="6690237"/>
                    </a:moveTo>
                    <a:lnTo>
                      <a:pt x="300204" y="6704533"/>
                    </a:lnTo>
                    <a:lnTo>
                      <a:pt x="300204" y="6709299"/>
                    </a:lnTo>
                    <a:lnTo>
                      <a:pt x="290673" y="6723593"/>
                    </a:lnTo>
                    <a:lnTo>
                      <a:pt x="281143" y="6718829"/>
                    </a:lnTo>
                    <a:lnTo>
                      <a:pt x="281143" y="6695003"/>
                    </a:lnTo>
                    <a:close/>
                    <a:moveTo>
                      <a:pt x="314497" y="6685473"/>
                    </a:moveTo>
                    <a:lnTo>
                      <a:pt x="333558" y="6695003"/>
                    </a:lnTo>
                    <a:lnTo>
                      <a:pt x="343089" y="6704533"/>
                    </a:lnTo>
                    <a:lnTo>
                      <a:pt x="328793" y="6709299"/>
                    </a:lnTo>
                    <a:lnTo>
                      <a:pt x="309733" y="6699769"/>
                    </a:lnTo>
                    <a:close/>
                    <a:moveTo>
                      <a:pt x="166780" y="6675943"/>
                    </a:moveTo>
                    <a:lnTo>
                      <a:pt x="171545" y="6675943"/>
                    </a:lnTo>
                    <a:lnTo>
                      <a:pt x="176310" y="6680709"/>
                    </a:lnTo>
                    <a:lnTo>
                      <a:pt x="176310" y="6690239"/>
                    </a:lnTo>
                    <a:lnTo>
                      <a:pt x="166780" y="6699769"/>
                    </a:lnTo>
                    <a:lnTo>
                      <a:pt x="166780" y="6704533"/>
                    </a:lnTo>
                    <a:lnTo>
                      <a:pt x="162015" y="6728359"/>
                    </a:lnTo>
                    <a:lnTo>
                      <a:pt x="162015" y="6733125"/>
                    </a:lnTo>
                    <a:lnTo>
                      <a:pt x="152484" y="6733125"/>
                    </a:lnTo>
                    <a:lnTo>
                      <a:pt x="128659" y="6733125"/>
                    </a:lnTo>
                    <a:lnTo>
                      <a:pt x="114363" y="6733125"/>
                    </a:lnTo>
                    <a:lnTo>
                      <a:pt x="95303" y="6733125"/>
                    </a:lnTo>
                    <a:lnTo>
                      <a:pt x="85772" y="6737889"/>
                    </a:lnTo>
                    <a:lnTo>
                      <a:pt x="81007" y="6733125"/>
                    </a:lnTo>
                    <a:lnTo>
                      <a:pt x="81007" y="6728359"/>
                    </a:lnTo>
                    <a:lnTo>
                      <a:pt x="133423" y="6714065"/>
                    </a:lnTo>
                    <a:lnTo>
                      <a:pt x="147719" y="6704533"/>
                    </a:lnTo>
                    <a:lnTo>
                      <a:pt x="152484" y="6695003"/>
                    </a:lnTo>
                    <a:lnTo>
                      <a:pt x="162015" y="6680709"/>
                    </a:lnTo>
                    <a:close/>
                    <a:moveTo>
                      <a:pt x="14296" y="6675943"/>
                    </a:moveTo>
                    <a:lnTo>
                      <a:pt x="38121" y="6675943"/>
                    </a:lnTo>
                    <a:lnTo>
                      <a:pt x="52417" y="6690239"/>
                    </a:lnTo>
                    <a:lnTo>
                      <a:pt x="61947" y="6695003"/>
                    </a:lnTo>
                    <a:lnTo>
                      <a:pt x="85772" y="6699769"/>
                    </a:lnTo>
                    <a:lnTo>
                      <a:pt x="71477" y="6709299"/>
                    </a:lnTo>
                    <a:lnTo>
                      <a:pt x="66712" y="6714065"/>
                    </a:lnTo>
                    <a:lnTo>
                      <a:pt x="57181" y="6737889"/>
                    </a:lnTo>
                    <a:lnTo>
                      <a:pt x="47651" y="6747419"/>
                    </a:lnTo>
                    <a:lnTo>
                      <a:pt x="47651" y="6752185"/>
                    </a:lnTo>
                    <a:lnTo>
                      <a:pt x="42886" y="6752185"/>
                    </a:lnTo>
                    <a:lnTo>
                      <a:pt x="19061" y="6737889"/>
                    </a:lnTo>
                    <a:lnTo>
                      <a:pt x="19061" y="6733125"/>
                    </a:lnTo>
                    <a:lnTo>
                      <a:pt x="28591" y="6728359"/>
                    </a:lnTo>
                    <a:lnTo>
                      <a:pt x="33356" y="6723595"/>
                    </a:lnTo>
                    <a:lnTo>
                      <a:pt x="33356" y="6714065"/>
                    </a:lnTo>
                    <a:lnTo>
                      <a:pt x="23826" y="6709299"/>
                    </a:lnTo>
                    <a:lnTo>
                      <a:pt x="4765" y="6695003"/>
                    </a:lnTo>
                    <a:lnTo>
                      <a:pt x="0" y="6685473"/>
                    </a:lnTo>
                    <a:lnTo>
                      <a:pt x="4765" y="6680709"/>
                    </a:lnTo>
                    <a:close/>
                    <a:moveTo>
                      <a:pt x="233491" y="6661647"/>
                    </a:moveTo>
                    <a:lnTo>
                      <a:pt x="247786" y="6661647"/>
                    </a:lnTo>
                    <a:lnTo>
                      <a:pt x="257316" y="6671177"/>
                    </a:lnTo>
                    <a:lnTo>
                      <a:pt x="257316" y="6675943"/>
                    </a:lnTo>
                    <a:lnTo>
                      <a:pt x="252551" y="6690237"/>
                    </a:lnTo>
                    <a:lnTo>
                      <a:pt x="252551" y="6699769"/>
                    </a:lnTo>
                    <a:lnTo>
                      <a:pt x="266846" y="6699769"/>
                    </a:lnTo>
                    <a:lnTo>
                      <a:pt x="276376" y="6699769"/>
                    </a:lnTo>
                    <a:lnTo>
                      <a:pt x="276376" y="6718829"/>
                    </a:lnTo>
                    <a:lnTo>
                      <a:pt x="271612" y="6723593"/>
                    </a:lnTo>
                    <a:lnTo>
                      <a:pt x="262081" y="6718829"/>
                    </a:lnTo>
                    <a:lnTo>
                      <a:pt x="257316" y="6728359"/>
                    </a:lnTo>
                    <a:lnTo>
                      <a:pt x="223961" y="6752185"/>
                    </a:lnTo>
                    <a:lnTo>
                      <a:pt x="214431" y="6737889"/>
                    </a:lnTo>
                    <a:lnTo>
                      <a:pt x="190605" y="6756949"/>
                    </a:lnTo>
                    <a:lnTo>
                      <a:pt x="204900" y="6709299"/>
                    </a:lnTo>
                    <a:lnTo>
                      <a:pt x="223961" y="6704533"/>
                    </a:lnTo>
                    <a:lnTo>
                      <a:pt x="228726" y="6695003"/>
                    </a:lnTo>
                    <a:lnTo>
                      <a:pt x="228726" y="6680707"/>
                    </a:lnTo>
                    <a:close/>
                    <a:moveTo>
                      <a:pt x="319263" y="6633057"/>
                    </a:moveTo>
                    <a:lnTo>
                      <a:pt x="328793" y="6633057"/>
                    </a:lnTo>
                    <a:lnTo>
                      <a:pt x="338323" y="6637823"/>
                    </a:lnTo>
                    <a:lnTo>
                      <a:pt x="343089" y="6642587"/>
                    </a:lnTo>
                    <a:lnTo>
                      <a:pt x="347854" y="6647353"/>
                    </a:lnTo>
                    <a:lnTo>
                      <a:pt x="338323" y="6656883"/>
                    </a:lnTo>
                    <a:lnTo>
                      <a:pt x="333558" y="6661649"/>
                    </a:lnTo>
                    <a:lnTo>
                      <a:pt x="319263" y="6656883"/>
                    </a:lnTo>
                    <a:lnTo>
                      <a:pt x="314497" y="6647353"/>
                    </a:lnTo>
                    <a:lnTo>
                      <a:pt x="314497" y="6642587"/>
                    </a:lnTo>
                    <a:close/>
                    <a:moveTo>
                      <a:pt x="710004" y="6618761"/>
                    </a:moveTo>
                    <a:lnTo>
                      <a:pt x="724300" y="6623527"/>
                    </a:lnTo>
                    <a:lnTo>
                      <a:pt x="757656" y="6633057"/>
                    </a:lnTo>
                    <a:lnTo>
                      <a:pt x="795776" y="6633057"/>
                    </a:lnTo>
                    <a:lnTo>
                      <a:pt x="810072" y="6633057"/>
                    </a:lnTo>
                    <a:lnTo>
                      <a:pt x="810072" y="6637821"/>
                    </a:lnTo>
                    <a:lnTo>
                      <a:pt x="781481" y="6642587"/>
                    </a:lnTo>
                    <a:lnTo>
                      <a:pt x="776716" y="6637821"/>
                    </a:lnTo>
                    <a:lnTo>
                      <a:pt x="752890" y="6642587"/>
                    </a:lnTo>
                    <a:lnTo>
                      <a:pt x="738595" y="6647353"/>
                    </a:lnTo>
                    <a:lnTo>
                      <a:pt x="705239" y="6642587"/>
                    </a:lnTo>
                    <a:lnTo>
                      <a:pt x="681413" y="6642587"/>
                    </a:lnTo>
                    <a:lnTo>
                      <a:pt x="676649" y="6642587"/>
                    </a:lnTo>
                    <a:lnTo>
                      <a:pt x="667118" y="6637821"/>
                    </a:lnTo>
                    <a:lnTo>
                      <a:pt x="657588" y="6628291"/>
                    </a:lnTo>
                    <a:lnTo>
                      <a:pt x="657588" y="6623527"/>
                    </a:lnTo>
                    <a:lnTo>
                      <a:pt x="667118" y="6623527"/>
                    </a:lnTo>
                    <a:lnTo>
                      <a:pt x="686179" y="6628291"/>
                    </a:lnTo>
                    <a:lnTo>
                      <a:pt x="690944" y="6628291"/>
                    </a:lnTo>
                    <a:close/>
                    <a:moveTo>
                      <a:pt x="895844" y="6556815"/>
                    </a:moveTo>
                    <a:lnTo>
                      <a:pt x="910139" y="6561581"/>
                    </a:lnTo>
                    <a:lnTo>
                      <a:pt x="919669" y="6571111"/>
                    </a:lnTo>
                    <a:lnTo>
                      <a:pt x="895844" y="6585405"/>
                    </a:lnTo>
                    <a:lnTo>
                      <a:pt x="886313" y="6590171"/>
                    </a:lnTo>
                    <a:lnTo>
                      <a:pt x="872018" y="6585405"/>
                    </a:lnTo>
                    <a:lnTo>
                      <a:pt x="876783" y="6575875"/>
                    </a:lnTo>
                    <a:lnTo>
                      <a:pt x="881548" y="6566345"/>
                    </a:lnTo>
                    <a:close/>
                    <a:moveTo>
                      <a:pt x="628996" y="6552049"/>
                    </a:moveTo>
                    <a:lnTo>
                      <a:pt x="648057" y="6561579"/>
                    </a:lnTo>
                    <a:lnTo>
                      <a:pt x="652822" y="6571109"/>
                    </a:lnTo>
                    <a:lnTo>
                      <a:pt x="652822" y="6580639"/>
                    </a:lnTo>
                    <a:lnTo>
                      <a:pt x="648057" y="6594935"/>
                    </a:lnTo>
                    <a:lnTo>
                      <a:pt x="628996" y="6599701"/>
                    </a:lnTo>
                    <a:lnTo>
                      <a:pt x="628996" y="6604465"/>
                    </a:lnTo>
                    <a:lnTo>
                      <a:pt x="638527" y="6623527"/>
                    </a:lnTo>
                    <a:lnTo>
                      <a:pt x="600406" y="6637821"/>
                    </a:lnTo>
                    <a:lnTo>
                      <a:pt x="547989" y="6647351"/>
                    </a:lnTo>
                    <a:lnTo>
                      <a:pt x="466982" y="6656881"/>
                    </a:lnTo>
                    <a:lnTo>
                      <a:pt x="452687" y="6652117"/>
                    </a:lnTo>
                    <a:lnTo>
                      <a:pt x="466982" y="6647351"/>
                    </a:lnTo>
                    <a:lnTo>
                      <a:pt x="481278" y="6642587"/>
                    </a:lnTo>
                    <a:lnTo>
                      <a:pt x="514633" y="6633057"/>
                    </a:lnTo>
                    <a:lnTo>
                      <a:pt x="552754" y="6623527"/>
                    </a:lnTo>
                    <a:lnTo>
                      <a:pt x="581346" y="6609231"/>
                    </a:lnTo>
                    <a:lnTo>
                      <a:pt x="605171" y="6599701"/>
                    </a:lnTo>
                    <a:lnTo>
                      <a:pt x="614701" y="6590171"/>
                    </a:lnTo>
                    <a:lnTo>
                      <a:pt x="590875" y="6580639"/>
                    </a:lnTo>
                    <a:lnTo>
                      <a:pt x="586110" y="6575875"/>
                    </a:lnTo>
                    <a:lnTo>
                      <a:pt x="600406" y="6571109"/>
                    </a:lnTo>
                    <a:lnTo>
                      <a:pt x="605171" y="6561579"/>
                    </a:lnTo>
                    <a:close/>
                    <a:moveTo>
                      <a:pt x="1172222" y="6480573"/>
                    </a:moveTo>
                    <a:lnTo>
                      <a:pt x="1186517" y="6480573"/>
                    </a:lnTo>
                    <a:lnTo>
                      <a:pt x="1191282" y="6485339"/>
                    </a:lnTo>
                    <a:lnTo>
                      <a:pt x="1186517" y="6490103"/>
                    </a:lnTo>
                    <a:lnTo>
                      <a:pt x="1186517" y="6499633"/>
                    </a:lnTo>
                    <a:lnTo>
                      <a:pt x="1176987" y="6504399"/>
                    </a:lnTo>
                    <a:lnTo>
                      <a:pt x="1172222" y="6504399"/>
                    </a:lnTo>
                    <a:lnTo>
                      <a:pt x="1167457" y="6509163"/>
                    </a:lnTo>
                    <a:lnTo>
                      <a:pt x="1157926" y="6518693"/>
                    </a:lnTo>
                    <a:lnTo>
                      <a:pt x="1153161" y="6513929"/>
                    </a:lnTo>
                    <a:lnTo>
                      <a:pt x="1153161" y="6504399"/>
                    </a:lnTo>
                    <a:lnTo>
                      <a:pt x="1157926" y="6494869"/>
                    </a:lnTo>
                    <a:close/>
                    <a:moveTo>
                      <a:pt x="1310407" y="6432921"/>
                    </a:moveTo>
                    <a:lnTo>
                      <a:pt x="1319938" y="6432921"/>
                    </a:lnTo>
                    <a:lnTo>
                      <a:pt x="1324703" y="6432921"/>
                    </a:lnTo>
                    <a:lnTo>
                      <a:pt x="1329468" y="6437687"/>
                    </a:lnTo>
                    <a:lnTo>
                      <a:pt x="1324703" y="6451981"/>
                    </a:lnTo>
                    <a:lnTo>
                      <a:pt x="1300879" y="6447217"/>
                    </a:lnTo>
                    <a:lnTo>
                      <a:pt x="1281820" y="6451981"/>
                    </a:lnTo>
                    <a:lnTo>
                      <a:pt x="1281820" y="6442451"/>
                    </a:lnTo>
                    <a:lnTo>
                      <a:pt x="1281820" y="6437687"/>
                    </a:lnTo>
                    <a:close/>
                    <a:moveTo>
                      <a:pt x="1582020" y="6251847"/>
                    </a:moveTo>
                    <a:lnTo>
                      <a:pt x="1596315" y="6251847"/>
                    </a:lnTo>
                    <a:lnTo>
                      <a:pt x="1620141" y="6266143"/>
                    </a:lnTo>
                    <a:lnTo>
                      <a:pt x="1624906" y="6270907"/>
                    </a:lnTo>
                    <a:lnTo>
                      <a:pt x="1615376" y="6285203"/>
                    </a:lnTo>
                    <a:lnTo>
                      <a:pt x="1615376" y="6299499"/>
                    </a:lnTo>
                    <a:lnTo>
                      <a:pt x="1596315" y="6309029"/>
                    </a:lnTo>
                    <a:lnTo>
                      <a:pt x="1548664" y="6337619"/>
                    </a:lnTo>
                    <a:lnTo>
                      <a:pt x="1534369" y="6356679"/>
                    </a:lnTo>
                    <a:lnTo>
                      <a:pt x="1524839" y="6380505"/>
                    </a:lnTo>
                    <a:lnTo>
                      <a:pt x="1515308" y="6390035"/>
                    </a:lnTo>
                    <a:lnTo>
                      <a:pt x="1505778" y="6390035"/>
                    </a:lnTo>
                    <a:lnTo>
                      <a:pt x="1501013" y="6394801"/>
                    </a:lnTo>
                    <a:lnTo>
                      <a:pt x="1481953" y="6409097"/>
                    </a:lnTo>
                    <a:lnTo>
                      <a:pt x="1477187" y="6409097"/>
                    </a:lnTo>
                    <a:lnTo>
                      <a:pt x="1424771" y="6442453"/>
                    </a:lnTo>
                    <a:lnTo>
                      <a:pt x="1424771" y="6437687"/>
                    </a:lnTo>
                    <a:lnTo>
                      <a:pt x="1439066" y="6423391"/>
                    </a:lnTo>
                    <a:lnTo>
                      <a:pt x="1448597" y="6413861"/>
                    </a:lnTo>
                    <a:lnTo>
                      <a:pt x="1462892" y="6394801"/>
                    </a:lnTo>
                    <a:lnTo>
                      <a:pt x="1467657" y="6390035"/>
                    </a:lnTo>
                    <a:lnTo>
                      <a:pt x="1472422" y="6380505"/>
                    </a:lnTo>
                    <a:lnTo>
                      <a:pt x="1472422" y="6361445"/>
                    </a:lnTo>
                    <a:lnTo>
                      <a:pt x="1472422" y="6356679"/>
                    </a:lnTo>
                    <a:lnTo>
                      <a:pt x="1486717" y="6342385"/>
                    </a:lnTo>
                    <a:lnTo>
                      <a:pt x="1491483" y="6332855"/>
                    </a:lnTo>
                    <a:lnTo>
                      <a:pt x="1501013" y="6332855"/>
                    </a:lnTo>
                    <a:lnTo>
                      <a:pt x="1524839" y="6332855"/>
                    </a:lnTo>
                    <a:lnTo>
                      <a:pt x="1534369" y="6328089"/>
                    </a:lnTo>
                    <a:lnTo>
                      <a:pt x="1534369" y="6323323"/>
                    </a:lnTo>
                    <a:lnTo>
                      <a:pt x="1529604" y="6318559"/>
                    </a:lnTo>
                    <a:lnTo>
                      <a:pt x="1529604" y="6309029"/>
                    </a:lnTo>
                    <a:lnTo>
                      <a:pt x="1529604" y="6294733"/>
                    </a:lnTo>
                    <a:lnTo>
                      <a:pt x="1539134" y="6280437"/>
                    </a:lnTo>
                    <a:lnTo>
                      <a:pt x="1548664" y="6270907"/>
                    </a:lnTo>
                    <a:lnTo>
                      <a:pt x="1562960" y="6261377"/>
                    </a:lnTo>
                    <a:close/>
                    <a:moveTo>
                      <a:pt x="1882224" y="6180369"/>
                    </a:moveTo>
                    <a:lnTo>
                      <a:pt x="1886989" y="6180369"/>
                    </a:lnTo>
                    <a:lnTo>
                      <a:pt x="1882224" y="6194665"/>
                    </a:lnTo>
                    <a:lnTo>
                      <a:pt x="1877459" y="6204195"/>
                    </a:lnTo>
                    <a:lnTo>
                      <a:pt x="1872694" y="6208961"/>
                    </a:lnTo>
                    <a:lnTo>
                      <a:pt x="1867928" y="6208961"/>
                    </a:lnTo>
                    <a:lnTo>
                      <a:pt x="1867928" y="6204195"/>
                    </a:lnTo>
                    <a:lnTo>
                      <a:pt x="1867928" y="6199431"/>
                    </a:lnTo>
                    <a:lnTo>
                      <a:pt x="1877459" y="6185135"/>
                    </a:lnTo>
                    <a:close/>
                    <a:moveTo>
                      <a:pt x="1791686" y="6137483"/>
                    </a:moveTo>
                    <a:lnTo>
                      <a:pt x="1801216" y="6137483"/>
                    </a:lnTo>
                    <a:lnTo>
                      <a:pt x="1805981" y="6137483"/>
                    </a:lnTo>
                    <a:lnTo>
                      <a:pt x="1810747" y="6166073"/>
                    </a:lnTo>
                    <a:lnTo>
                      <a:pt x="1815512" y="6175603"/>
                    </a:lnTo>
                    <a:lnTo>
                      <a:pt x="1829807" y="6166073"/>
                    </a:lnTo>
                    <a:lnTo>
                      <a:pt x="1834572" y="6156543"/>
                    </a:lnTo>
                    <a:lnTo>
                      <a:pt x="1844102" y="6142249"/>
                    </a:lnTo>
                    <a:lnTo>
                      <a:pt x="1848868" y="6137483"/>
                    </a:lnTo>
                    <a:lnTo>
                      <a:pt x="1853633" y="6147013"/>
                    </a:lnTo>
                    <a:lnTo>
                      <a:pt x="1867928" y="6156543"/>
                    </a:lnTo>
                    <a:lnTo>
                      <a:pt x="1853633" y="6170839"/>
                    </a:lnTo>
                    <a:lnTo>
                      <a:pt x="1829807" y="6194665"/>
                    </a:lnTo>
                    <a:lnTo>
                      <a:pt x="1820277" y="6208959"/>
                    </a:lnTo>
                    <a:lnTo>
                      <a:pt x="1820277" y="6218491"/>
                    </a:lnTo>
                    <a:lnTo>
                      <a:pt x="1844102" y="6208959"/>
                    </a:lnTo>
                    <a:lnTo>
                      <a:pt x="1853633" y="6213725"/>
                    </a:lnTo>
                    <a:lnTo>
                      <a:pt x="1858398" y="6218491"/>
                    </a:lnTo>
                    <a:lnTo>
                      <a:pt x="1848868" y="6223255"/>
                    </a:lnTo>
                    <a:lnTo>
                      <a:pt x="1834572" y="6228021"/>
                    </a:lnTo>
                    <a:lnTo>
                      <a:pt x="1825042" y="6242315"/>
                    </a:lnTo>
                    <a:lnTo>
                      <a:pt x="1796451" y="6261377"/>
                    </a:lnTo>
                    <a:lnTo>
                      <a:pt x="1786921" y="6275671"/>
                    </a:lnTo>
                    <a:lnTo>
                      <a:pt x="1772625" y="6280437"/>
                    </a:lnTo>
                    <a:lnTo>
                      <a:pt x="1753565" y="6285201"/>
                    </a:lnTo>
                    <a:lnTo>
                      <a:pt x="1724974" y="6294733"/>
                    </a:lnTo>
                    <a:lnTo>
                      <a:pt x="1705914" y="6304263"/>
                    </a:lnTo>
                    <a:lnTo>
                      <a:pt x="1701148" y="6309027"/>
                    </a:lnTo>
                    <a:lnTo>
                      <a:pt x="1696384" y="6309027"/>
                    </a:lnTo>
                    <a:lnTo>
                      <a:pt x="1691618" y="6309027"/>
                    </a:lnTo>
                    <a:lnTo>
                      <a:pt x="1682088" y="6313793"/>
                    </a:lnTo>
                    <a:lnTo>
                      <a:pt x="1672558" y="6323323"/>
                    </a:lnTo>
                    <a:lnTo>
                      <a:pt x="1667792" y="6328087"/>
                    </a:lnTo>
                    <a:lnTo>
                      <a:pt x="1658262" y="6328087"/>
                    </a:lnTo>
                    <a:lnTo>
                      <a:pt x="1648732" y="6332853"/>
                    </a:lnTo>
                    <a:lnTo>
                      <a:pt x="1643967" y="6332853"/>
                    </a:lnTo>
                    <a:lnTo>
                      <a:pt x="1629671" y="6323323"/>
                    </a:lnTo>
                    <a:lnTo>
                      <a:pt x="1620141" y="6313793"/>
                    </a:lnTo>
                    <a:lnTo>
                      <a:pt x="1639202" y="6304263"/>
                    </a:lnTo>
                    <a:lnTo>
                      <a:pt x="1648732" y="6299497"/>
                    </a:lnTo>
                    <a:lnTo>
                      <a:pt x="1667792" y="6299497"/>
                    </a:lnTo>
                    <a:lnTo>
                      <a:pt x="1682088" y="6285201"/>
                    </a:lnTo>
                    <a:lnTo>
                      <a:pt x="1715444" y="6270907"/>
                    </a:lnTo>
                    <a:lnTo>
                      <a:pt x="1729739" y="6261377"/>
                    </a:lnTo>
                    <a:lnTo>
                      <a:pt x="1734504" y="6232785"/>
                    </a:lnTo>
                    <a:lnTo>
                      <a:pt x="1744035" y="6228021"/>
                    </a:lnTo>
                    <a:lnTo>
                      <a:pt x="1748800" y="6218491"/>
                    </a:lnTo>
                    <a:lnTo>
                      <a:pt x="1763095" y="6218491"/>
                    </a:lnTo>
                    <a:lnTo>
                      <a:pt x="1772625" y="6228021"/>
                    </a:lnTo>
                    <a:lnTo>
                      <a:pt x="1777391" y="6232785"/>
                    </a:lnTo>
                    <a:lnTo>
                      <a:pt x="1777391" y="6223255"/>
                    </a:lnTo>
                    <a:lnTo>
                      <a:pt x="1791686" y="6213725"/>
                    </a:lnTo>
                    <a:lnTo>
                      <a:pt x="1782156" y="6208959"/>
                    </a:lnTo>
                    <a:lnTo>
                      <a:pt x="1767861" y="6199429"/>
                    </a:lnTo>
                    <a:lnTo>
                      <a:pt x="1753565" y="6199429"/>
                    </a:lnTo>
                    <a:lnTo>
                      <a:pt x="1744035" y="6199429"/>
                    </a:lnTo>
                    <a:lnTo>
                      <a:pt x="1739269" y="6194665"/>
                    </a:lnTo>
                    <a:lnTo>
                      <a:pt x="1734504" y="6185135"/>
                    </a:lnTo>
                    <a:lnTo>
                      <a:pt x="1729739" y="6180369"/>
                    </a:lnTo>
                    <a:lnTo>
                      <a:pt x="1729739" y="6170839"/>
                    </a:lnTo>
                    <a:lnTo>
                      <a:pt x="1734504" y="6161309"/>
                    </a:lnTo>
                    <a:lnTo>
                      <a:pt x="1744035" y="6151779"/>
                    </a:lnTo>
                    <a:lnTo>
                      <a:pt x="1753565" y="6147013"/>
                    </a:lnTo>
                    <a:lnTo>
                      <a:pt x="1772625" y="6142249"/>
                    </a:lnTo>
                    <a:close/>
                    <a:moveTo>
                      <a:pt x="1910814" y="6080301"/>
                    </a:moveTo>
                    <a:lnTo>
                      <a:pt x="1920344" y="6080301"/>
                    </a:lnTo>
                    <a:lnTo>
                      <a:pt x="1944170" y="6094597"/>
                    </a:lnTo>
                    <a:lnTo>
                      <a:pt x="1948935" y="6104127"/>
                    </a:lnTo>
                    <a:lnTo>
                      <a:pt x="1953700" y="6108893"/>
                    </a:lnTo>
                    <a:lnTo>
                      <a:pt x="1944170" y="6113657"/>
                    </a:lnTo>
                    <a:lnTo>
                      <a:pt x="1929874" y="6118423"/>
                    </a:lnTo>
                    <a:lnTo>
                      <a:pt x="1925110" y="6123189"/>
                    </a:lnTo>
                    <a:lnTo>
                      <a:pt x="1920344" y="6123189"/>
                    </a:lnTo>
                    <a:lnTo>
                      <a:pt x="1915579" y="6123189"/>
                    </a:lnTo>
                    <a:lnTo>
                      <a:pt x="1901284" y="6123189"/>
                    </a:lnTo>
                    <a:lnTo>
                      <a:pt x="1896518" y="6123189"/>
                    </a:lnTo>
                    <a:lnTo>
                      <a:pt x="1886988" y="6108893"/>
                    </a:lnTo>
                    <a:lnTo>
                      <a:pt x="1886988" y="6099363"/>
                    </a:lnTo>
                    <a:lnTo>
                      <a:pt x="1891754" y="6094597"/>
                    </a:lnTo>
                    <a:lnTo>
                      <a:pt x="1896518" y="6085067"/>
                    </a:lnTo>
                    <a:close/>
                    <a:moveTo>
                      <a:pt x="1967995" y="6061241"/>
                    </a:moveTo>
                    <a:lnTo>
                      <a:pt x="1972761" y="6061241"/>
                    </a:lnTo>
                    <a:lnTo>
                      <a:pt x="1977526" y="6066007"/>
                    </a:lnTo>
                    <a:lnTo>
                      <a:pt x="1987056" y="6080301"/>
                    </a:lnTo>
                    <a:lnTo>
                      <a:pt x="1991821" y="6080301"/>
                    </a:lnTo>
                    <a:lnTo>
                      <a:pt x="1996586" y="6085067"/>
                    </a:lnTo>
                    <a:lnTo>
                      <a:pt x="1987056" y="6089831"/>
                    </a:lnTo>
                    <a:lnTo>
                      <a:pt x="1972761" y="6099361"/>
                    </a:lnTo>
                    <a:lnTo>
                      <a:pt x="1967995" y="6104127"/>
                    </a:lnTo>
                    <a:lnTo>
                      <a:pt x="1963230" y="6099361"/>
                    </a:lnTo>
                    <a:lnTo>
                      <a:pt x="1963230" y="6089831"/>
                    </a:lnTo>
                    <a:lnTo>
                      <a:pt x="1958465" y="6070771"/>
                    </a:lnTo>
                    <a:close/>
                    <a:moveTo>
                      <a:pt x="2401622" y="6004061"/>
                    </a:moveTo>
                    <a:lnTo>
                      <a:pt x="2430213" y="6013591"/>
                    </a:lnTo>
                    <a:lnTo>
                      <a:pt x="2434978" y="6018355"/>
                    </a:lnTo>
                    <a:lnTo>
                      <a:pt x="2444508" y="6027885"/>
                    </a:lnTo>
                    <a:lnTo>
                      <a:pt x="2430213" y="6037417"/>
                    </a:lnTo>
                    <a:lnTo>
                      <a:pt x="2415917" y="6027885"/>
                    </a:lnTo>
                    <a:lnTo>
                      <a:pt x="2401622" y="6018355"/>
                    </a:lnTo>
                    <a:close/>
                    <a:moveTo>
                      <a:pt x="2487395" y="5870636"/>
                    </a:moveTo>
                    <a:lnTo>
                      <a:pt x="2492160" y="5880166"/>
                    </a:lnTo>
                    <a:lnTo>
                      <a:pt x="2492160" y="5884931"/>
                    </a:lnTo>
                    <a:lnTo>
                      <a:pt x="2487395" y="5903992"/>
                    </a:lnTo>
                    <a:lnTo>
                      <a:pt x="2482630" y="5908757"/>
                    </a:lnTo>
                    <a:lnTo>
                      <a:pt x="2477865" y="5913522"/>
                    </a:lnTo>
                    <a:lnTo>
                      <a:pt x="2468335" y="5903992"/>
                    </a:lnTo>
                    <a:lnTo>
                      <a:pt x="2463569" y="5894462"/>
                    </a:lnTo>
                    <a:lnTo>
                      <a:pt x="2463569" y="5884931"/>
                    </a:lnTo>
                    <a:lnTo>
                      <a:pt x="2482630" y="5875401"/>
                    </a:lnTo>
                    <a:close/>
                    <a:moveTo>
                      <a:pt x="2239608" y="5856341"/>
                    </a:moveTo>
                    <a:lnTo>
                      <a:pt x="2249138" y="5856341"/>
                    </a:lnTo>
                    <a:lnTo>
                      <a:pt x="2277729" y="5856341"/>
                    </a:lnTo>
                    <a:lnTo>
                      <a:pt x="2287259" y="5856341"/>
                    </a:lnTo>
                    <a:lnTo>
                      <a:pt x="2292024" y="5865871"/>
                    </a:lnTo>
                    <a:lnTo>
                      <a:pt x="2301555" y="5875402"/>
                    </a:lnTo>
                    <a:lnTo>
                      <a:pt x="2315850" y="5918288"/>
                    </a:lnTo>
                    <a:lnTo>
                      <a:pt x="2320615" y="5927818"/>
                    </a:lnTo>
                    <a:lnTo>
                      <a:pt x="2330146" y="5932583"/>
                    </a:lnTo>
                    <a:lnTo>
                      <a:pt x="2344440" y="5937349"/>
                    </a:lnTo>
                    <a:lnTo>
                      <a:pt x="2353971" y="5942113"/>
                    </a:lnTo>
                    <a:lnTo>
                      <a:pt x="2358736" y="5951643"/>
                    </a:lnTo>
                    <a:lnTo>
                      <a:pt x="2358736" y="5956409"/>
                    </a:lnTo>
                    <a:lnTo>
                      <a:pt x="2315850" y="5942113"/>
                    </a:lnTo>
                    <a:lnTo>
                      <a:pt x="2292024" y="5965939"/>
                    </a:lnTo>
                    <a:lnTo>
                      <a:pt x="2282494" y="5970705"/>
                    </a:lnTo>
                    <a:lnTo>
                      <a:pt x="2206252" y="5970705"/>
                    </a:lnTo>
                    <a:lnTo>
                      <a:pt x="2191957" y="5975469"/>
                    </a:lnTo>
                    <a:lnTo>
                      <a:pt x="2182426" y="5984999"/>
                    </a:lnTo>
                    <a:lnTo>
                      <a:pt x="2163366" y="6008825"/>
                    </a:lnTo>
                    <a:lnTo>
                      <a:pt x="2153836" y="6018355"/>
                    </a:lnTo>
                    <a:lnTo>
                      <a:pt x="2144305" y="6023121"/>
                    </a:lnTo>
                    <a:lnTo>
                      <a:pt x="2125244" y="6027885"/>
                    </a:lnTo>
                    <a:lnTo>
                      <a:pt x="2101419" y="6027885"/>
                    </a:lnTo>
                    <a:lnTo>
                      <a:pt x="2087123" y="6027885"/>
                    </a:lnTo>
                    <a:lnTo>
                      <a:pt x="2082359" y="6013591"/>
                    </a:lnTo>
                    <a:lnTo>
                      <a:pt x="2077593" y="5989765"/>
                    </a:lnTo>
                    <a:lnTo>
                      <a:pt x="2077593" y="5984999"/>
                    </a:lnTo>
                    <a:lnTo>
                      <a:pt x="2077593" y="5975469"/>
                    </a:lnTo>
                    <a:lnTo>
                      <a:pt x="2101419" y="5961175"/>
                    </a:lnTo>
                    <a:lnTo>
                      <a:pt x="2106184" y="5951643"/>
                    </a:lnTo>
                    <a:lnTo>
                      <a:pt x="2134775" y="5899227"/>
                    </a:lnTo>
                    <a:lnTo>
                      <a:pt x="2144305" y="5894462"/>
                    </a:lnTo>
                    <a:lnTo>
                      <a:pt x="2149070" y="5894462"/>
                    </a:lnTo>
                    <a:lnTo>
                      <a:pt x="2172896" y="5894462"/>
                    </a:lnTo>
                    <a:lnTo>
                      <a:pt x="2196722" y="5880167"/>
                    </a:lnTo>
                    <a:close/>
                    <a:moveTo>
                      <a:pt x="2925786" y="5851576"/>
                    </a:moveTo>
                    <a:lnTo>
                      <a:pt x="2940081" y="5856341"/>
                    </a:lnTo>
                    <a:lnTo>
                      <a:pt x="2940081" y="5870637"/>
                    </a:lnTo>
                    <a:lnTo>
                      <a:pt x="2940081" y="5875402"/>
                    </a:lnTo>
                    <a:lnTo>
                      <a:pt x="2935316" y="5875402"/>
                    </a:lnTo>
                    <a:lnTo>
                      <a:pt x="2930551" y="5875402"/>
                    </a:lnTo>
                    <a:lnTo>
                      <a:pt x="2925786" y="5861106"/>
                    </a:lnTo>
                    <a:close/>
                    <a:moveTo>
                      <a:pt x="2906725" y="5808690"/>
                    </a:moveTo>
                    <a:lnTo>
                      <a:pt x="2911491" y="5808690"/>
                    </a:lnTo>
                    <a:lnTo>
                      <a:pt x="2916256" y="5827750"/>
                    </a:lnTo>
                    <a:lnTo>
                      <a:pt x="2916256" y="5846811"/>
                    </a:lnTo>
                    <a:lnTo>
                      <a:pt x="2916256" y="5851576"/>
                    </a:lnTo>
                    <a:lnTo>
                      <a:pt x="2911491" y="5846811"/>
                    </a:lnTo>
                    <a:lnTo>
                      <a:pt x="2901960" y="5851576"/>
                    </a:lnTo>
                    <a:lnTo>
                      <a:pt x="2897195" y="5846811"/>
                    </a:lnTo>
                    <a:lnTo>
                      <a:pt x="2897195" y="5842046"/>
                    </a:lnTo>
                    <a:lnTo>
                      <a:pt x="2897195" y="5832516"/>
                    </a:lnTo>
                    <a:lnTo>
                      <a:pt x="2906725" y="5832516"/>
                    </a:lnTo>
                    <a:lnTo>
                      <a:pt x="2906725" y="5822985"/>
                    </a:lnTo>
                    <a:lnTo>
                      <a:pt x="2906725" y="5818220"/>
                    </a:lnTo>
                    <a:close/>
                    <a:moveTo>
                      <a:pt x="7285877" y="5794394"/>
                    </a:moveTo>
                    <a:lnTo>
                      <a:pt x="7290642" y="5794394"/>
                    </a:lnTo>
                    <a:lnTo>
                      <a:pt x="7309703" y="5808689"/>
                    </a:lnTo>
                    <a:lnTo>
                      <a:pt x="7319233" y="5846811"/>
                    </a:lnTo>
                    <a:lnTo>
                      <a:pt x="7333528" y="5880166"/>
                    </a:lnTo>
                    <a:lnTo>
                      <a:pt x="7333528" y="5894462"/>
                    </a:lnTo>
                    <a:lnTo>
                      <a:pt x="7319233" y="5899227"/>
                    </a:lnTo>
                    <a:lnTo>
                      <a:pt x="7309703" y="5899227"/>
                    </a:lnTo>
                    <a:lnTo>
                      <a:pt x="7304938" y="5894462"/>
                    </a:lnTo>
                    <a:lnTo>
                      <a:pt x="7300173" y="5889697"/>
                    </a:lnTo>
                    <a:lnTo>
                      <a:pt x="7304938" y="5870636"/>
                    </a:lnTo>
                    <a:lnTo>
                      <a:pt x="7295408" y="5856341"/>
                    </a:lnTo>
                    <a:lnTo>
                      <a:pt x="7285877" y="5856341"/>
                    </a:lnTo>
                    <a:lnTo>
                      <a:pt x="7281112" y="5861106"/>
                    </a:lnTo>
                    <a:lnTo>
                      <a:pt x="7281112" y="5842045"/>
                    </a:lnTo>
                    <a:lnTo>
                      <a:pt x="7285877" y="5832515"/>
                    </a:lnTo>
                    <a:lnTo>
                      <a:pt x="7281112" y="5813455"/>
                    </a:lnTo>
                    <a:lnTo>
                      <a:pt x="7281112" y="5799159"/>
                    </a:lnTo>
                    <a:close/>
                    <a:moveTo>
                      <a:pt x="2854309" y="5794394"/>
                    </a:moveTo>
                    <a:lnTo>
                      <a:pt x="2859075" y="5794394"/>
                    </a:lnTo>
                    <a:lnTo>
                      <a:pt x="2863840" y="5794394"/>
                    </a:lnTo>
                    <a:lnTo>
                      <a:pt x="2859075" y="5808689"/>
                    </a:lnTo>
                    <a:lnTo>
                      <a:pt x="2868605" y="5818220"/>
                    </a:lnTo>
                    <a:lnTo>
                      <a:pt x="2863840" y="5827750"/>
                    </a:lnTo>
                    <a:lnTo>
                      <a:pt x="2863840" y="5832515"/>
                    </a:lnTo>
                    <a:lnTo>
                      <a:pt x="2854309" y="5837280"/>
                    </a:lnTo>
                    <a:lnTo>
                      <a:pt x="2849545" y="5846811"/>
                    </a:lnTo>
                    <a:lnTo>
                      <a:pt x="2844780" y="5851576"/>
                    </a:lnTo>
                    <a:lnTo>
                      <a:pt x="2835249" y="5856341"/>
                    </a:lnTo>
                    <a:lnTo>
                      <a:pt x="2816188" y="5884932"/>
                    </a:lnTo>
                    <a:lnTo>
                      <a:pt x="2806658" y="5889697"/>
                    </a:lnTo>
                    <a:lnTo>
                      <a:pt x="2816188" y="5865871"/>
                    </a:lnTo>
                    <a:lnTo>
                      <a:pt x="2816188" y="5856341"/>
                    </a:lnTo>
                    <a:lnTo>
                      <a:pt x="2816188" y="5851576"/>
                    </a:lnTo>
                    <a:lnTo>
                      <a:pt x="2816188" y="5832515"/>
                    </a:lnTo>
                    <a:lnTo>
                      <a:pt x="2820954" y="5837280"/>
                    </a:lnTo>
                    <a:lnTo>
                      <a:pt x="2825719" y="5832515"/>
                    </a:lnTo>
                    <a:lnTo>
                      <a:pt x="2835249" y="5818220"/>
                    </a:lnTo>
                    <a:lnTo>
                      <a:pt x="2844780" y="5813455"/>
                    </a:lnTo>
                    <a:close/>
                    <a:moveTo>
                      <a:pt x="7014266" y="5780099"/>
                    </a:moveTo>
                    <a:lnTo>
                      <a:pt x="7042856" y="5808690"/>
                    </a:lnTo>
                    <a:lnTo>
                      <a:pt x="7047622" y="5822985"/>
                    </a:lnTo>
                    <a:lnTo>
                      <a:pt x="7061917" y="5837281"/>
                    </a:lnTo>
                    <a:lnTo>
                      <a:pt x="7061917" y="5861106"/>
                    </a:lnTo>
                    <a:lnTo>
                      <a:pt x="7066682" y="5865871"/>
                    </a:lnTo>
                    <a:lnTo>
                      <a:pt x="7080977" y="5899227"/>
                    </a:lnTo>
                    <a:lnTo>
                      <a:pt x="7085742" y="5899227"/>
                    </a:lnTo>
                    <a:lnTo>
                      <a:pt x="7090508" y="5899227"/>
                    </a:lnTo>
                    <a:lnTo>
                      <a:pt x="7095273" y="5889697"/>
                    </a:lnTo>
                    <a:lnTo>
                      <a:pt x="7104803" y="5889697"/>
                    </a:lnTo>
                    <a:lnTo>
                      <a:pt x="7114333" y="5894462"/>
                    </a:lnTo>
                    <a:lnTo>
                      <a:pt x="7119098" y="5899227"/>
                    </a:lnTo>
                    <a:lnTo>
                      <a:pt x="7114333" y="5913523"/>
                    </a:lnTo>
                    <a:lnTo>
                      <a:pt x="7114333" y="5932583"/>
                    </a:lnTo>
                    <a:lnTo>
                      <a:pt x="7109568" y="5942113"/>
                    </a:lnTo>
                    <a:lnTo>
                      <a:pt x="7104803" y="5956409"/>
                    </a:lnTo>
                    <a:lnTo>
                      <a:pt x="7090508" y="5946879"/>
                    </a:lnTo>
                    <a:lnTo>
                      <a:pt x="7076212" y="5932583"/>
                    </a:lnTo>
                    <a:lnTo>
                      <a:pt x="7057152" y="5908758"/>
                    </a:lnTo>
                    <a:lnTo>
                      <a:pt x="7047622" y="5889697"/>
                    </a:lnTo>
                    <a:lnTo>
                      <a:pt x="7047622" y="5880167"/>
                    </a:lnTo>
                    <a:lnTo>
                      <a:pt x="7038091" y="5875402"/>
                    </a:lnTo>
                    <a:lnTo>
                      <a:pt x="7028561" y="5846811"/>
                    </a:lnTo>
                    <a:lnTo>
                      <a:pt x="7019031" y="5818220"/>
                    </a:lnTo>
                    <a:lnTo>
                      <a:pt x="7009501" y="5818220"/>
                    </a:lnTo>
                    <a:lnTo>
                      <a:pt x="6995205" y="5808690"/>
                    </a:lnTo>
                    <a:lnTo>
                      <a:pt x="6990440" y="5799160"/>
                    </a:lnTo>
                    <a:lnTo>
                      <a:pt x="6990440" y="5784864"/>
                    </a:lnTo>
                    <a:close/>
                    <a:moveTo>
                      <a:pt x="2763772" y="5770569"/>
                    </a:moveTo>
                    <a:lnTo>
                      <a:pt x="2787598" y="5770569"/>
                    </a:lnTo>
                    <a:lnTo>
                      <a:pt x="2792363" y="5775334"/>
                    </a:lnTo>
                    <a:lnTo>
                      <a:pt x="2787598" y="5799160"/>
                    </a:lnTo>
                    <a:lnTo>
                      <a:pt x="2768538" y="5784865"/>
                    </a:lnTo>
                    <a:lnTo>
                      <a:pt x="2759007" y="5775334"/>
                    </a:lnTo>
                    <a:close/>
                    <a:moveTo>
                      <a:pt x="2730416" y="5756273"/>
                    </a:moveTo>
                    <a:lnTo>
                      <a:pt x="2735181" y="5761038"/>
                    </a:lnTo>
                    <a:lnTo>
                      <a:pt x="2735181" y="5765803"/>
                    </a:lnTo>
                    <a:lnTo>
                      <a:pt x="2739946" y="5770568"/>
                    </a:lnTo>
                    <a:lnTo>
                      <a:pt x="2735181" y="5780099"/>
                    </a:lnTo>
                    <a:lnTo>
                      <a:pt x="2744711" y="5780099"/>
                    </a:lnTo>
                    <a:lnTo>
                      <a:pt x="2754242" y="5765803"/>
                    </a:lnTo>
                    <a:lnTo>
                      <a:pt x="2754242" y="5770568"/>
                    </a:lnTo>
                    <a:lnTo>
                      <a:pt x="2749476" y="5784864"/>
                    </a:lnTo>
                    <a:lnTo>
                      <a:pt x="2759007" y="5803924"/>
                    </a:lnTo>
                    <a:lnTo>
                      <a:pt x="2768537" y="5813455"/>
                    </a:lnTo>
                    <a:lnTo>
                      <a:pt x="2768537" y="5818220"/>
                    </a:lnTo>
                    <a:lnTo>
                      <a:pt x="2749476" y="5822985"/>
                    </a:lnTo>
                    <a:lnTo>
                      <a:pt x="2730416" y="5818220"/>
                    </a:lnTo>
                    <a:lnTo>
                      <a:pt x="2725651" y="5822985"/>
                    </a:lnTo>
                    <a:lnTo>
                      <a:pt x="2716121" y="5827750"/>
                    </a:lnTo>
                    <a:lnTo>
                      <a:pt x="2711355" y="5822985"/>
                    </a:lnTo>
                    <a:lnTo>
                      <a:pt x="2711355" y="5784864"/>
                    </a:lnTo>
                    <a:lnTo>
                      <a:pt x="2711355" y="5775334"/>
                    </a:lnTo>
                    <a:lnTo>
                      <a:pt x="2720886" y="5761038"/>
                    </a:lnTo>
                    <a:close/>
                    <a:moveTo>
                      <a:pt x="7004735" y="5713387"/>
                    </a:moveTo>
                    <a:lnTo>
                      <a:pt x="7014265" y="5718152"/>
                    </a:lnTo>
                    <a:lnTo>
                      <a:pt x="7014265" y="5727682"/>
                    </a:lnTo>
                    <a:lnTo>
                      <a:pt x="7014265" y="5732447"/>
                    </a:lnTo>
                    <a:lnTo>
                      <a:pt x="6995205" y="5751508"/>
                    </a:lnTo>
                    <a:lnTo>
                      <a:pt x="6990440" y="5756273"/>
                    </a:lnTo>
                    <a:lnTo>
                      <a:pt x="6985674" y="5765803"/>
                    </a:lnTo>
                    <a:lnTo>
                      <a:pt x="6980909" y="5770568"/>
                    </a:lnTo>
                    <a:lnTo>
                      <a:pt x="6976144" y="5780099"/>
                    </a:lnTo>
                    <a:lnTo>
                      <a:pt x="6957084" y="5794394"/>
                    </a:lnTo>
                    <a:lnTo>
                      <a:pt x="6961849" y="5756273"/>
                    </a:lnTo>
                    <a:lnTo>
                      <a:pt x="6942788" y="5732447"/>
                    </a:lnTo>
                    <a:lnTo>
                      <a:pt x="6961849" y="5718152"/>
                    </a:lnTo>
                    <a:lnTo>
                      <a:pt x="6971379" y="5722917"/>
                    </a:lnTo>
                    <a:lnTo>
                      <a:pt x="6990440" y="5722917"/>
                    </a:lnTo>
                    <a:close/>
                    <a:moveTo>
                      <a:pt x="3530958" y="5613320"/>
                    </a:moveTo>
                    <a:lnTo>
                      <a:pt x="3535723" y="5613320"/>
                    </a:lnTo>
                    <a:lnTo>
                      <a:pt x="3535723" y="5622850"/>
                    </a:lnTo>
                    <a:lnTo>
                      <a:pt x="3535723" y="5641911"/>
                    </a:lnTo>
                    <a:lnTo>
                      <a:pt x="3530958" y="5651441"/>
                    </a:lnTo>
                    <a:lnTo>
                      <a:pt x="3516663" y="5651441"/>
                    </a:lnTo>
                    <a:lnTo>
                      <a:pt x="3511897" y="5646676"/>
                    </a:lnTo>
                    <a:lnTo>
                      <a:pt x="3507132" y="5641911"/>
                    </a:lnTo>
                    <a:lnTo>
                      <a:pt x="3526193" y="5618085"/>
                    </a:lnTo>
                    <a:close/>
                    <a:moveTo>
                      <a:pt x="7328764" y="5603789"/>
                    </a:moveTo>
                    <a:lnTo>
                      <a:pt x="7333529" y="5608554"/>
                    </a:lnTo>
                    <a:lnTo>
                      <a:pt x="7352590" y="5632380"/>
                    </a:lnTo>
                    <a:lnTo>
                      <a:pt x="7371650" y="5670501"/>
                    </a:lnTo>
                    <a:lnTo>
                      <a:pt x="7376415" y="5684796"/>
                    </a:lnTo>
                    <a:lnTo>
                      <a:pt x="7376415" y="5713387"/>
                    </a:lnTo>
                    <a:lnTo>
                      <a:pt x="7376415" y="5732448"/>
                    </a:lnTo>
                    <a:lnTo>
                      <a:pt x="7371650" y="5765803"/>
                    </a:lnTo>
                    <a:lnTo>
                      <a:pt x="7357355" y="5794394"/>
                    </a:lnTo>
                    <a:lnTo>
                      <a:pt x="7343059" y="5813455"/>
                    </a:lnTo>
                    <a:lnTo>
                      <a:pt x="7328764" y="5808690"/>
                    </a:lnTo>
                    <a:lnTo>
                      <a:pt x="7323999" y="5794394"/>
                    </a:lnTo>
                    <a:lnTo>
                      <a:pt x="7314468" y="5794394"/>
                    </a:lnTo>
                    <a:lnTo>
                      <a:pt x="7304938" y="5794394"/>
                    </a:lnTo>
                    <a:lnTo>
                      <a:pt x="7300173" y="5780099"/>
                    </a:lnTo>
                    <a:lnTo>
                      <a:pt x="7304938" y="5765803"/>
                    </a:lnTo>
                    <a:lnTo>
                      <a:pt x="7300173" y="5756273"/>
                    </a:lnTo>
                    <a:lnTo>
                      <a:pt x="7295408" y="5765803"/>
                    </a:lnTo>
                    <a:lnTo>
                      <a:pt x="7290643" y="5775334"/>
                    </a:lnTo>
                    <a:lnTo>
                      <a:pt x="7271582" y="5784864"/>
                    </a:lnTo>
                    <a:lnTo>
                      <a:pt x="7257287" y="5808690"/>
                    </a:lnTo>
                    <a:lnTo>
                      <a:pt x="7252522" y="5822985"/>
                    </a:lnTo>
                    <a:lnTo>
                      <a:pt x="7247757" y="5808690"/>
                    </a:lnTo>
                    <a:lnTo>
                      <a:pt x="7242991" y="5770569"/>
                    </a:lnTo>
                    <a:lnTo>
                      <a:pt x="7238226" y="5756273"/>
                    </a:lnTo>
                    <a:lnTo>
                      <a:pt x="7252522" y="5732448"/>
                    </a:lnTo>
                    <a:lnTo>
                      <a:pt x="7271582" y="5708622"/>
                    </a:lnTo>
                    <a:lnTo>
                      <a:pt x="7276347" y="5641910"/>
                    </a:lnTo>
                    <a:close/>
                    <a:moveTo>
                      <a:pt x="6971379" y="5498956"/>
                    </a:moveTo>
                    <a:lnTo>
                      <a:pt x="6999970" y="5503721"/>
                    </a:lnTo>
                    <a:lnTo>
                      <a:pt x="7028560" y="5503721"/>
                    </a:lnTo>
                    <a:lnTo>
                      <a:pt x="7038091" y="5513251"/>
                    </a:lnTo>
                    <a:lnTo>
                      <a:pt x="7042856" y="5527547"/>
                    </a:lnTo>
                    <a:lnTo>
                      <a:pt x="7047621" y="5537077"/>
                    </a:lnTo>
                    <a:lnTo>
                      <a:pt x="7047621" y="5546607"/>
                    </a:lnTo>
                    <a:lnTo>
                      <a:pt x="7047621" y="5556138"/>
                    </a:lnTo>
                    <a:lnTo>
                      <a:pt x="7042856" y="5565668"/>
                    </a:lnTo>
                    <a:lnTo>
                      <a:pt x="7095272" y="5594259"/>
                    </a:lnTo>
                    <a:lnTo>
                      <a:pt x="7123863" y="5622849"/>
                    </a:lnTo>
                    <a:lnTo>
                      <a:pt x="7133393" y="5637145"/>
                    </a:lnTo>
                    <a:lnTo>
                      <a:pt x="7138158" y="5646675"/>
                    </a:lnTo>
                    <a:lnTo>
                      <a:pt x="7147688" y="5680031"/>
                    </a:lnTo>
                    <a:lnTo>
                      <a:pt x="7171514" y="5713387"/>
                    </a:lnTo>
                    <a:lnTo>
                      <a:pt x="7181044" y="5727682"/>
                    </a:lnTo>
                    <a:lnTo>
                      <a:pt x="7190575" y="5737212"/>
                    </a:lnTo>
                    <a:lnTo>
                      <a:pt x="7185809" y="5737212"/>
                    </a:lnTo>
                    <a:lnTo>
                      <a:pt x="7171514" y="5727682"/>
                    </a:lnTo>
                    <a:lnTo>
                      <a:pt x="7138158" y="5703856"/>
                    </a:lnTo>
                    <a:lnTo>
                      <a:pt x="7133393" y="5703856"/>
                    </a:lnTo>
                    <a:lnTo>
                      <a:pt x="7128628" y="5718152"/>
                    </a:lnTo>
                    <a:lnTo>
                      <a:pt x="7123863" y="5732447"/>
                    </a:lnTo>
                    <a:lnTo>
                      <a:pt x="7119098" y="5737212"/>
                    </a:lnTo>
                    <a:lnTo>
                      <a:pt x="7123863" y="5741978"/>
                    </a:lnTo>
                    <a:lnTo>
                      <a:pt x="7152454" y="5737212"/>
                    </a:lnTo>
                    <a:lnTo>
                      <a:pt x="7171514" y="5761038"/>
                    </a:lnTo>
                    <a:lnTo>
                      <a:pt x="7181044" y="5761038"/>
                    </a:lnTo>
                    <a:lnTo>
                      <a:pt x="7190575" y="5780099"/>
                    </a:lnTo>
                    <a:lnTo>
                      <a:pt x="7190575" y="5784864"/>
                    </a:lnTo>
                    <a:lnTo>
                      <a:pt x="7185809" y="5799159"/>
                    </a:lnTo>
                    <a:lnTo>
                      <a:pt x="7181044" y="5803924"/>
                    </a:lnTo>
                    <a:lnTo>
                      <a:pt x="7181044" y="5808689"/>
                    </a:lnTo>
                    <a:lnTo>
                      <a:pt x="7190575" y="5808689"/>
                    </a:lnTo>
                    <a:lnTo>
                      <a:pt x="7214400" y="5803924"/>
                    </a:lnTo>
                    <a:lnTo>
                      <a:pt x="7219165" y="5813454"/>
                    </a:lnTo>
                    <a:lnTo>
                      <a:pt x="7214400" y="5861106"/>
                    </a:lnTo>
                    <a:lnTo>
                      <a:pt x="7219165" y="5875401"/>
                    </a:lnTo>
                    <a:lnTo>
                      <a:pt x="7219165" y="5884931"/>
                    </a:lnTo>
                    <a:lnTo>
                      <a:pt x="7214400" y="5894462"/>
                    </a:lnTo>
                    <a:lnTo>
                      <a:pt x="7214400" y="5903992"/>
                    </a:lnTo>
                    <a:lnTo>
                      <a:pt x="7219165" y="5913522"/>
                    </a:lnTo>
                    <a:lnTo>
                      <a:pt x="7219165" y="5923052"/>
                    </a:lnTo>
                    <a:lnTo>
                      <a:pt x="7214400" y="5942113"/>
                    </a:lnTo>
                    <a:lnTo>
                      <a:pt x="7204870" y="5946877"/>
                    </a:lnTo>
                    <a:lnTo>
                      <a:pt x="7195340" y="5946877"/>
                    </a:lnTo>
                    <a:lnTo>
                      <a:pt x="7185809" y="5942113"/>
                    </a:lnTo>
                    <a:lnTo>
                      <a:pt x="7176279" y="5923052"/>
                    </a:lnTo>
                    <a:lnTo>
                      <a:pt x="7161984" y="5894462"/>
                    </a:lnTo>
                    <a:lnTo>
                      <a:pt x="7157219" y="5889696"/>
                    </a:lnTo>
                    <a:lnTo>
                      <a:pt x="7142923" y="5884931"/>
                    </a:lnTo>
                    <a:lnTo>
                      <a:pt x="7138158" y="5880166"/>
                    </a:lnTo>
                    <a:lnTo>
                      <a:pt x="7128628" y="5880166"/>
                    </a:lnTo>
                    <a:lnTo>
                      <a:pt x="7123863" y="5870636"/>
                    </a:lnTo>
                    <a:lnTo>
                      <a:pt x="7123863" y="5856341"/>
                    </a:lnTo>
                    <a:lnTo>
                      <a:pt x="7119098" y="5837280"/>
                    </a:lnTo>
                    <a:lnTo>
                      <a:pt x="7119098" y="5832515"/>
                    </a:lnTo>
                    <a:lnTo>
                      <a:pt x="7109567" y="5827750"/>
                    </a:lnTo>
                    <a:lnTo>
                      <a:pt x="7104802" y="5832515"/>
                    </a:lnTo>
                    <a:lnTo>
                      <a:pt x="7109567" y="5846810"/>
                    </a:lnTo>
                    <a:lnTo>
                      <a:pt x="7104802" y="5861106"/>
                    </a:lnTo>
                    <a:lnTo>
                      <a:pt x="7095272" y="5856341"/>
                    </a:lnTo>
                    <a:lnTo>
                      <a:pt x="7071447" y="5818220"/>
                    </a:lnTo>
                    <a:lnTo>
                      <a:pt x="7052386" y="5784864"/>
                    </a:lnTo>
                    <a:lnTo>
                      <a:pt x="7042856" y="5780099"/>
                    </a:lnTo>
                    <a:lnTo>
                      <a:pt x="7042856" y="5770568"/>
                    </a:lnTo>
                    <a:lnTo>
                      <a:pt x="7057151" y="5765803"/>
                    </a:lnTo>
                    <a:lnTo>
                      <a:pt x="7061916" y="5765803"/>
                    </a:lnTo>
                    <a:lnTo>
                      <a:pt x="7066681" y="5761038"/>
                    </a:lnTo>
                    <a:lnTo>
                      <a:pt x="7047621" y="5732447"/>
                    </a:lnTo>
                    <a:lnTo>
                      <a:pt x="7047621" y="5722917"/>
                    </a:lnTo>
                    <a:lnTo>
                      <a:pt x="7052386" y="5708622"/>
                    </a:lnTo>
                    <a:lnTo>
                      <a:pt x="7047621" y="5699091"/>
                    </a:lnTo>
                    <a:lnTo>
                      <a:pt x="7019030" y="5703856"/>
                    </a:lnTo>
                    <a:lnTo>
                      <a:pt x="7014265" y="5703856"/>
                    </a:lnTo>
                    <a:lnTo>
                      <a:pt x="7004735" y="5689561"/>
                    </a:lnTo>
                    <a:lnTo>
                      <a:pt x="6999970" y="5680031"/>
                    </a:lnTo>
                    <a:lnTo>
                      <a:pt x="6980909" y="5675266"/>
                    </a:lnTo>
                    <a:lnTo>
                      <a:pt x="6971379" y="5680031"/>
                    </a:lnTo>
                    <a:lnTo>
                      <a:pt x="6957084" y="5660970"/>
                    </a:lnTo>
                    <a:lnTo>
                      <a:pt x="6952318" y="5651440"/>
                    </a:lnTo>
                    <a:lnTo>
                      <a:pt x="6957084" y="5646675"/>
                    </a:lnTo>
                    <a:lnTo>
                      <a:pt x="6966614" y="5637145"/>
                    </a:lnTo>
                    <a:lnTo>
                      <a:pt x="6976144" y="5637145"/>
                    </a:lnTo>
                    <a:lnTo>
                      <a:pt x="6990439" y="5646675"/>
                    </a:lnTo>
                    <a:lnTo>
                      <a:pt x="6995205" y="5646675"/>
                    </a:lnTo>
                    <a:lnTo>
                      <a:pt x="7009500" y="5637145"/>
                    </a:lnTo>
                    <a:lnTo>
                      <a:pt x="7009500" y="5622849"/>
                    </a:lnTo>
                    <a:lnTo>
                      <a:pt x="7023795" y="5613319"/>
                    </a:lnTo>
                    <a:lnTo>
                      <a:pt x="7019030" y="5603789"/>
                    </a:lnTo>
                    <a:lnTo>
                      <a:pt x="7014265" y="5589493"/>
                    </a:lnTo>
                    <a:lnTo>
                      <a:pt x="6999970" y="5584728"/>
                    </a:lnTo>
                    <a:lnTo>
                      <a:pt x="6976144" y="5594259"/>
                    </a:lnTo>
                    <a:lnTo>
                      <a:pt x="6952318" y="5608554"/>
                    </a:lnTo>
                    <a:lnTo>
                      <a:pt x="6942788" y="5603789"/>
                    </a:lnTo>
                    <a:lnTo>
                      <a:pt x="6942788" y="5594259"/>
                    </a:lnTo>
                    <a:lnTo>
                      <a:pt x="6966614" y="5565668"/>
                    </a:lnTo>
                    <a:lnTo>
                      <a:pt x="6976144" y="5551372"/>
                    </a:lnTo>
                    <a:lnTo>
                      <a:pt x="6976144" y="5541842"/>
                    </a:lnTo>
                    <a:lnTo>
                      <a:pt x="6966614" y="5532312"/>
                    </a:lnTo>
                    <a:lnTo>
                      <a:pt x="6966614" y="5503721"/>
                    </a:lnTo>
                    <a:close/>
                    <a:moveTo>
                      <a:pt x="7076212" y="5465601"/>
                    </a:moveTo>
                    <a:lnTo>
                      <a:pt x="7104803" y="5465601"/>
                    </a:lnTo>
                    <a:lnTo>
                      <a:pt x="7114333" y="5470366"/>
                    </a:lnTo>
                    <a:lnTo>
                      <a:pt x="7119098" y="5475131"/>
                    </a:lnTo>
                    <a:lnTo>
                      <a:pt x="7119098" y="5484662"/>
                    </a:lnTo>
                    <a:lnTo>
                      <a:pt x="7114333" y="5489427"/>
                    </a:lnTo>
                    <a:lnTo>
                      <a:pt x="7114333" y="5498957"/>
                    </a:lnTo>
                    <a:lnTo>
                      <a:pt x="7114333" y="5503722"/>
                    </a:lnTo>
                    <a:lnTo>
                      <a:pt x="7109568" y="5513253"/>
                    </a:lnTo>
                    <a:lnTo>
                      <a:pt x="7095273" y="5522783"/>
                    </a:lnTo>
                    <a:lnTo>
                      <a:pt x="7085742" y="5522783"/>
                    </a:lnTo>
                    <a:lnTo>
                      <a:pt x="7076212" y="5518018"/>
                    </a:lnTo>
                    <a:lnTo>
                      <a:pt x="7052386" y="5498957"/>
                    </a:lnTo>
                    <a:lnTo>
                      <a:pt x="7052386" y="5489427"/>
                    </a:lnTo>
                    <a:lnTo>
                      <a:pt x="7057151" y="5484662"/>
                    </a:lnTo>
                    <a:lnTo>
                      <a:pt x="7071447" y="5470366"/>
                    </a:lnTo>
                    <a:close/>
                    <a:moveTo>
                      <a:pt x="7157220" y="5451305"/>
                    </a:moveTo>
                    <a:lnTo>
                      <a:pt x="7166750" y="5456070"/>
                    </a:lnTo>
                    <a:lnTo>
                      <a:pt x="7181046" y="5484661"/>
                    </a:lnTo>
                    <a:lnTo>
                      <a:pt x="7204871" y="5522782"/>
                    </a:lnTo>
                    <a:lnTo>
                      <a:pt x="7200106" y="5560903"/>
                    </a:lnTo>
                    <a:lnTo>
                      <a:pt x="7195341" y="5608554"/>
                    </a:lnTo>
                    <a:lnTo>
                      <a:pt x="7190576" y="5603789"/>
                    </a:lnTo>
                    <a:lnTo>
                      <a:pt x="7181046" y="5603789"/>
                    </a:lnTo>
                    <a:lnTo>
                      <a:pt x="7171515" y="5613319"/>
                    </a:lnTo>
                    <a:lnTo>
                      <a:pt x="7157220" y="5608554"/>
                    </a:lnTo>
                    <a:lnTo>
                      <a:pt x="7152455" y="5603789"/>
                    </a:lnTo>
                    <a:lnTo>
                      <a:pt x="7152455" y="5599024"/>
                    </a:lnTo>
                    <a:lnTo>
                      <a:pt x="7152455" y="5584728"/>
                    </a:lnTo>
                    <a:lnTo>
                      <a:pt x="7147690" y="5575198"/>
                    </a:lnTo>
                    <a:lnTo>
                      <a:pt x="7119099" y="5575198"/>
                    </a:lnTo>
                    <a:lnTo>
                      <a:pt x="7114334" y="5570433"/>
                    </a:lnTo>
                    <a:lnTo>
                      <a:pt x="7109568" y="5556138"/>
                    </a:lnTo>
                    <a:lnTo>
                      <a:pt x="7104803" y="5537077"/>
                    </a:lnTo>
                    <a:lnTo>
                      <a:pt x="7109568" y="5527547"/>
                    </a:lnTo>
                    <a:lnTo>
                      <a:pt x="7123864" y="5522782"/>
                    </a:lnTo>
                    <a:lnTo>
                      <a:pt x="7133394" y="5503721"/>
                    </a:lnTo>
                    <a:lnTo>
                      <a:pt x="7138159" y="5498956"/>
                    </a:lnTo>
                    <a:close/>
                    <a:moveTo>
                      <a:pt x="3745388" y="5422714"/>
                    </a:moveTo>
                    <a:lnTo>
                      <a:pt x="3764448" y="5422714"/>
                    </a:lnTo>
                    <a:lnTo>
                      <a:pt x="3764448" y="5427479"/>
                    </a:lnTo>
                    <a:lnTo>
                      <a:pt x="3764448" y="5437010"/>
                    </a:lnTo>
                    <a:lnTo>
                      <a:pt x="3759683" y="5441775"/>
                    </a:lnTo>
                    <a:lnTo>
                      <a:pt x="3754918" y="5441775"/>
                    </a:lnTo>
                    <a:lnTo>
                      <a:pt x="3745388" y="5446540"/>
                    </a:lnTo>
                    <a:lnTo>
                      <a:pt x="3740623" y="5446540"/>
                    </a:lnTo>
                    <a:lnTo>
                      <a:pt x="3726327" y="5441775"/>
                    </a:lnTo>
                    <a:lnTo>
                      <a:pt x="3731092" y="5432244"/>
                    </a:lnTo>
                    <a:close/>
                    <a:moveTo>
                      <a:pt x="3697737" y="5422714"/>
                    </a:moveTo>
                    <a:lnTo>
                      <a:pt x="3707267" y="5422714"/>
                    </a:lnTo>
                    <a:lnTo>
                      <a:pt x="3712032" y="5432244"/>
                    </a:lnTo>
                    <a:lnTo>
                      <a:pt x="3697737" y="5446539"/>
                    </a:lnTo>
                    <a:lnTo>
                      <a:pt x="3673912" y="5470365"/>
                    </a:lnTo>
                    <a:lnTo>
                      <a:pt x="3659616" y="5475130"/>
                    </a:lnTo>
                    <a:lnTo>
                      <a:pt x="3659616" y="5470365"/>
                    </a:lnTo>
                    <a:lnTo>
                      <a:pt x="3659616" y="5460835"/>
                    </a:lnTo>
                    <a:lnTo>
                      <a:pt x="3664381" y="5451305"/>
                    </a:lnTo>
                    <a:lnTo>
                      <a:pt x="3683442" y="5437009"/>
                    </a:lnTo>
                    <a:close/>
                    <a:moveTo>
                      <a:pt x="1319938" y="5413184"/>
                    </a:moveTo>
                    <a:lnTo>
                      <a:pt x="1338999" y="5417949"/>
                    </a:lnTo>
                    <a:lnTo>
                      <a:pt x="1353294" y="5413184"/>
                    </a:lnTo>
                    <a:lnTo>
                      <a:pt x="1362824" y="5417949"/>
                    </a:lnTo>
                    <a:lnTo>
                      <a:pt x="1362824" y="5427479"/>
                    </a:lnTo>
                    <a:lnTo>
                      <a:pt x="1343764" y="5441775"/>
                    </a:lnTo>
                    <a:lnTo>
                      <a:pt x="1338999" y="5437010"/>
                    </a:lnTo>
                    <a:lnTo>
                      <a:pt x="1315173" y="5422714"/>
                    </a:lnTo>
                    <a:close/>
                    <a:moveTo>
                      <a:pt x="7085743" y="5370298"/>
                    </a:moveTo>
                    <a:lnTo>
                      <a:pt x="7114334" y="5398889"/>
                    </a:lnTo>
                    <a:lnTo>
                      <a:pt x="7123864" y="5413184"/>
                    </a:lnTo>
                    <a:lnTo>
                      <a:pt x="7128629" y="5432245"/>
                    </a:lnTo>
                    <a:lnTo>
                      <a:pt x="7114334" y="5437010"/>
                    </a:lnTo>
                    <a:lnTo>
                      <a:pt x="7104803" y="5441775"/>
                    </a:lnTo>
                    <a:lnTo>
                      <a:pt x="7100038" y="5446540"/>
                    </a:lnTo>
                    <a:lnTo>
                      <a:pt x="7095273" y="5446540"/>
                    </a:lnTo>
                    <a:lnTo>
                      <a:pt x="7076213" y="5446540"/>
                    </a:lnTo>
                    <a:lnTo>
                      <a:pt x="7071447" y="5446540"/>
                    </a:lnTo>
                    <a:lnTo>
                      <a:pt x="7066682" y="5432245"/>
                    </a:lnTo>
                    <a:lnTo>
                      <a:pt x="7071447" y="5422714"/>
                    </a:lnTo>
                    <a:lnTo>
                      <a:pt x="7076213" y="5413184"/>
                    </a:lnTo>
                    <a:lnTo>
                      <a:pt x="7080978" y="5398889"/>
                    </a:lnTo>
                    <a:close/>
                    <a:moveTo>
                      <a:pt x="6880842" y="5327412"/>
                    </a:moveTo>
                    <a:lnTo>
                      <a:pt x="6895138" y="5336942"/>
                    </a:lnTo>
                    <a:lnTo>
                      <a:pt x="6904668" y="5346472"/>
                    </a:lnTo>
                    <a:lnTo>
                      <a:pt x="6904668" y="5356003"/>
                    </a:lnTo>
                    <a:lnTo>
                      <a:pt x="6914198" y="5375063"/>
                    </a:lnTo>
                    <a:lnTo>
                      <a:pt x="6928494" y="5370298"/>
                    </a:lnTo>
                    <a:lnTo>
                      <a:pt x="6938024" y="5389359"/>
                    </a:lnTo>
                    <a:lnTo>
                      <a:pt x="6942789" y="5408419"/>
                    </a:lnTo>
                    <a:lnTo>
                      <a:pt x="6938024" y="5422714"/>
                    </a:lnTo>
                    <a:lnTo>
                      <a:pt x="6933259" y="5422714"/>
                    </a:lnTo>
                    <a:lnTo>
                      <a:pt x="6923729" y="5427479"/>
                    </a:lnTo>
                    <a:lnTo>
                      <a:pt x="6923729" y="5456070"/>
                    </a:lnTo>
                    <a:lnTo>
                      <a:pt x="6923729" y="5484661"/>
                    </a:lnTo>
                    <a:lnTo>
                      <a:pt x="6918964" y="5508486"/>
                    </a:lnTo>
                    <a:lnTo>
                      <a:pt x="6914198" y="5537077"/>
                    </a:lnTo>
                    <a:lnTo>
                      <a:pt x="6909433" y="5556138"/>
                    </a:lnTo>
                    <a:lnTo>
                      <a:pt x="6909433" y="5560903"/>
                    </a:lnTo>
                    <a:lnTo>
                      <a:pt x="6904668" y="5565668"/>
                    </a:lnTo>
                    <a:lnTo>
                      <a:pt x="6899903" y="5560903"/>
                    </a:lnTo>
                    <a:lnTo>
                      <a:pt x="6895138" y="5556138"/>
                    </a:lnTo>
                    <a:lnTo>
                      <a:pt x="6885608" y="5570433"/>
                    </a:lnTo>
                    <a:lnTo>
                      <a:pt x="6876077" y="5570433"/>
                    </a:lnTo>
                    <a:lnTo>
                      <a:pt x="6866547" y="5537077"/>
                    </a:lnTo>
                    <a:lnTo>
                      <a:pt x="6871312" y="5475131"/>
                    </a:lnTo>
                    <a:lnTo>
                      <a:pt x="6890373" y="5465600"/>
                    </a:lnTo>
                    <a:lnTo>
                      <a:pt x="6880842" y="5446540"/>
                    </a:lnTo>
                    <a:lnTo>
                      <a:pt x="6857017" y="5427479"/>
                    </a:lnTo>
                    <a:lnTo>
                      <a:pt x="6861782" y="5417949"/>
                    </a:lnTo>
                    <a:lnTo>
                      <a:pt x="6842721" y="5389359"/>
                    </a:lnTo>
                    <a:lnTo>
                      <a:pt x="6842721" y="5379828"/>
                    </a:lnTo>
                    <a:lnTo>
                      <a:pt x="6842721" y="5356003"/>
                    </a:lnTo>
                    <a:lnTo>
                      <a:pt x="6861782" y="5332177"/>
                    </a:lnTo>
                    <a:close/>
                    <a:moveTo>
                      <a:pt x="6923728" y="5289291"/>
                    </a:moveTo>
                    <a:lnTo>
                      <a:pt x="6947553" y="5289291"/>
                    </a:lnTo>
                    <a:lnTo>
                      <a:pt x="6999970" y="5308352"/>
                    </a:lnTo>
                    <a:lnTo>
                      <a:pt x="7014265" y="5317882"/>
                    </a:lnTo>
                    <a:lnTo>
                      <a:pt x="7019030" y="5308352"/>
                    </a:lnTo>
                    <a:lnTo>
                      <a:pt x="7028560" y="5308352"/>
                    </a:lnTo>
                    <a:lnTo>
                      <a:pt x="7047621" y="5317882"/>
                    </a:lnTo>
                    <a:lnTo>
                      <a:pt x="7061916" y="5327412"/>
                    </a:lnTo>
                    <a:lnTo>
                      <a:pt x="7066681" y="5341707"/>
                    </a:lnTo>
                    <a:lnTo>
                      <a:pt x="7066681" y="5351238"/>
                    </a:lnTo>
                    <a:lnTo>
                      <a:pt x="7066681" y="5370298"/>
                    </a:lnTo>
                    <a:lnTo>
                      <a:pt x="7066681" y="5389359"/>
                    </a:lnTo>
                    <a:lnTo>
                      <a:pt x="7066681" y="5403654"/>
                    </a:lnTo>
                    <a:lnTo>
                      <a:pt x="7061916" y="5408419"/>
                    </a:lnTo>
                    <a:lnTo>
                      <a:pt x="7057151" y="5417950"/>
                    </a:lnTo>
                    <a:lnTo>
                      <a:pt x="7052386" y="5417950"/>
                    </a:lnTo>
                    <a:lnTo>
                      <a:pt x="7038091" y="5398889"/>
                    </a:lnTo>
                    <a:lnTo>
                      <a:pt x="7019030" y="5370298"/>
                    </a:lnTo>
                    <a:lnTo>
                      <a:pt x="7009500" y="5360768"/>
                    </a:lnTo>
                    <a:lnTo>
                      <a:pt x="7009500" y="5370298"/>
                    </a:lnTo>
                    <a:lnTo>
                      <a:pt x="7023795" y="5389359"/>
                    </a:lnTo>
                    <a:lnTo>
                      <a:pt x="7023795" y="5398889"/>
                    </a:lnTo>
                    <a:lnTo>
                      <a:pt x="7033325" y="5408419"/>
                    </a:lnTo>
                    <a:lnTo>
                      <a:pt x="7033325" y="5422715"/>
                    </a:lnTo>
                    <a:lnTo>
                      <a:pt x="7038091" y="5432245"/>
                    </a:lnTo>
                    <a:lnTo>
                      <a:pt x="7038091" y="5441775"/>
                    </a:lnTo>
                    <a:lnTo>
                      <a:pt x="7033325" y="5451306"/>
                    </a:lnTo>
                    <a:lnTo>
                      <a:pt x="7033325" y="5460836"/>
                    </a:lnTo>
                    <a:lnTo>
                      <a:pt x="7023795" y="5460836"/>
                    </a:lnTo>
                    <a:lnTo>
                      <a:pt x="6999970" y="5460836"/>
                    </a:lnTo>
                    <a:lnTo>
                      <a:pt x="6985674" y="5465601"/>
                    </a:lnTo>
                    <a:lnTo>
                      <a:pt x="6966614" y="5460836"/>
                    </a:lnTo>
                    <a:lnTo>
                      <a:pt x="6961849" y="5456071"/>
                    </a:lnTo>
                    <a:lnTo>
                      <a:pt x="6957084" y="5446540"/>
                    </a:lnTo>
                    <a:lnTo>
                      <a:pt x="6957084" y="5422715"/>
                    </a:lnTo>
                    <a:lnTo>
                      <a:pt x="6952318" y="5394124"/>
                    </a:lnTo>
                    <a:lnTo>
                      <a:pt x="6952318" y="5365533"/>
                    </a:lnTo>
                    <a:lnTo>
                      <a:pt x="6942788" y="5346473"/>
                    </a:lnTo>
                    <a:lnTo>
                      <a:pt x="6933258" y="5332177"/>
                    </a:lnTo>
                    <a:lnTo>
                      <a:pt x="6914197" y="5317882"/>
                    </a:lnTo>
                    <a:lnTo>
                      <a:pt x="6904667" y="5308352"/>
                    </a:lnTo>
                    <a:lnTo>
                      <a:pt x="6909432" y="5298821"/>
                    </a:lnTo>
                    <a:close/>
                    <a:moveTo>
                      <a:pt x="3893108" y="5255935"/>
                    </a:moveTo>
                    <a:lnTo>
                      <a:pt x="3945524" y="5260700"/>
                    </a:lnTo>
                    <a:lnTo>
                      <a:pt x="3950289" y="5265465"/>
                    </a:lnTo>
                    <a:lnTo>
                      <a:pt x="3950289" y="5270230"/>
                    </a:lnTo>
                    <a:lnTo>
                      <a:pt x="3945524" y="5270230"/>
                    </a:lnTo>
                    <a:lnTo>
                      <a:pt x="3935994" y="5274995"/>
                    </a:lnTo>
                    <a:lnTo>
                      <a:pt x="3916933" y="5284526"/>
                    </a:lnTo>
                    <a:lnTo>
                      <a:pt x="3912168" y="5284526"/>
                    </a:lnTo>
                    <a:lnTo>
                      <a:pt x="3897873" y="5303586"/>
                    </a:lnTo>
                    <a:lnTo>
                      <a:pt x="3888343" y="5308351"/>
                    </a:lnTo>
                    <a:lnTo>
                      <a:pt x="3878812" y="5294056"/>
                    </a:lnTo>
                    <a:lnTo>
                      <a:pt x="3878812" y="5270230"/>
                    </a:lnTo>
                    <a:close/>
                    <a:moveTo>
                      <a:pt x="1262759" y="5241640"/>
                    </a:moveTo>
                    <a:lnTo>
                      <a:pt x="1253229" y="5255935"/>
                    </a:lnTo>
                    <a:lnTo>
                      <a:pt x="1238934" y="5270231"/>
                    </a:lnTo>
                    <a:lnTo>
                      <a:pt x="1224638" y="5265466"/>
                    </a:lnTo>
                    <a:lnTo>
                      <a:pt x="1219873" y="5255935"/>
                    </a:lnTo>
                    <a:lnTo>
                      <a:pt x="1219873" y="5251170"/>
                    </a:lnTo>
                    <a:close/>
                    <a:moveTo>
                      <a:pt x="6675941" y="5155867"/>
                    </a:moveTo>
                    <a:lnTo>
                      <a:pt x="6695002" y="5155867"/>
                    </a:lnTo>
                    <a:lnTo>
                      <a:pt x="6728358" y="5184458"/>
                    </a:lnTo>
                    <a:lnTo>
                      <a:pt x="6737888" y="5189223"/>
                    </a:lnTo>
                    <a:lnTo>
                      <a:pt x="6752183" y="5208283"/>
                    </a:lnTo>
                    <a:lnTo>
                      <a:pt x="6766479" y="5241639"/>
                    </a:lnTo>
                    <a:lnTo>
                      <a:pt x="6776009" y="5265465"/>
                    </a:lnTo>
                    <a:lnTo>
                      <a:pt x="6785540" y="5294056"/>
                    </a:lnTo>
                    <a:lnTo>
                      <a:pt x="6799835" y="5356002"/>
                    </a:lnTo>
                    <a:lnTo>
                      <a:pt x="6804600" y="5375063"/>
                    </a:lnTo>
                    <a:lnTo>
                      <a:pt x="6804600" y="5389358"/>
                    </a:lnTo>
                    <a:lnTo>
                      <a:pt x="6809365" y="5422714"/>
                    </a:lnTo>
                    <a:lnTo>
                      <a:pt x="6804600" y="5427479"/>
                    </a:lnTo>
                    <a:lnTo>
                      <a:pt x="6799835" y="5437009"/>
                    </a:lnTo>
                    <a:lnTo>
                      <a:pt x="6799835" y="5446540"/>
                    </a:lnTo>
                    <a:lnTo>
                      <a:pt x="6804600" y="5470365"/>
                    </a:lnTo>
                    <a:lnTo>
                      <a:pt x="6804600" y="5508486"/>
                    </a:lnTo>
                    <a:lnTo>
                      <a:pt x="6799835" y="5527547"/>
                    </a:lnTo>
                    <a:lnTo>
                      <a:pt x="6795070" y="5532312"/>
                    </a:lnTo>
                    <a:lnTo>
                      <a:pt x="6785540" y="5522782"/>
                    </a:lnTo>
                    <a:lnTo>
                      <a:pt x="6776009" y="5513251"/>
                    </a:lnTo>
                    <a:lnTo>
                      <a:pt x="6771244" y="5503721"/>
                    </a:lnTo>
                    <a:lnTo>
                      <a:pt x="6756949" y="5465600"/>
                    </a:lnTo>
                    <a:lnTo>
                      <a:pt x="6752183" y="5446540"/>
                    </a:lnTo>
                    <a:lnTo>
                      <a:pt x="6747418" y="5432244"/>
                    </a:lnTo>
                    <a:lnTo>
                      <a:pt x="6752183" y="5422714"/>
                    </a:lnTo>
                    <a:lnTo>
                      <a:pt x="6756949" y="5417949"/>
                    </a:lnTo>
                    <a:lnTo>
                      <a:pt x="6766479" y="5403654"/>
                    </a:lnTo>
                    <a:lnTo>
                      <a:pt x="6756949" y="5403654"/>
                    </a:lnTo>
                    <a:lnTo>
                      <a:pt x="6742653" y="5408419"/>
                    </a:lnTo>
                    <a:lnTo>
                      <a:pt x="6733123" y="5394123"/>
                    </a:lnTo>
                    <a:lnTo>
                      <a:pt x="6723593" y="5389358"/>
                    </a:lnTo>
                    <a:lnTo>
                      <a:pt x="6723593" y="5365533"/>
                    </a:lnTo>
                    <a:lnTo>
                      <a:pt x="6723593" y="5360767"/>
                    </a:lnTo>
                    <a:lnTo>
                      <a:pt x="6704532" y="5365533"/>
                    </a:lnTo>
                    <a:lnTo>
                      <a:pt x="6695002" y="5360767"/>
                    </a:lnTo>
                    <a:lnTo>
                      <a:pt x="6695002" y="5351237"/>
                    </a:lnTo>
                    <a:lnTo>
                      <a:pt x="6695002" y="5341707"/>
                    </a:lnTo>
                    <a:lnTo>
                      <a:pt x="6699767" y="5327412"/>
                    </a:lnTo>
                    <a:lnTo>
                      <a:pt x="6714062" y="5303586"/>
                    </a:lnTo>
                    <a:lnTo>
                      <a:pt x="6714062" y="5294056"/>
                    </a:lnTo>
                    <a:lnTo>
                      <a:pt x="6704532" y="5294056"/>
                    </a:lnTo>
                    <a:lnTo>
                      <a:pt x="6695002" y="5284525"/>
                    </a:lnTo>
                    <a:lnTo>
                      <a:pt x="6690237" y="5255935"/>
                    </a:lnTo>
                    <a:lnTo>
                      <a:pt x="6675941" y="5236874"/>
                    </a:lnTo>
                    <a:lnTo>
                      <a:pt x="6666411" y="5241639"/>
                    </a:lnTo>
                    <a:lnTo>
                      <a:pt x="6652116" y="5289291"/>
                    </a:lnTo>
                    <a:lnTo>
                      <a:pt x="6642585" y="5298821"/>
                    </a:lnTo>
                    <a:lnTo>
                      <a:pt x="6618760" y="5308351"/>
                    </a:lnTo>
                    <a:lnTo>
                      <a:pt x="6623525" y="5294056"/>
                    </a:lnTo>
                    <a:lnTo>
                      <a:pt x="6628290" y="5279760"/>
                    </a:lnTo>
                    <a:lnTo>
                      <a:pt x="6618760" y="5241639"/>
                    </a:lnTo>
                    <a:lnTo>
                      <a:pt x="6618760" y="5227344"/>
                    </a:lnTo>
                    <a:lnTo>
                      <a:pt x="6623525" y="5217814"/>
                    </a:lnTo>
                    <a:lnTo>
                      <a:pt x="6642585" y="5213049"/>
                    </a:lnTo>
                    <a:lnTo>
                      <a:pt x="6647351" y="5208283"/>
                    </a:lnTo>
                    <a:lnTo>
                      <a:pt x="6656881" y="5198753"/>
                    </a:lnTo>
                    <a:lnTo>
                      <a:pt x="6656881" y="5189223"/>
                    </a:lnTo>
                    <a:lnTo>
                      <a:pt x="6671176" y="5160632"/>
                    </a:lnTo>
                    <a:close/>
                    <a:moveTo>
                      <a:pt x="3912167" y="5027209"/>
                    </a:moveTo>
                    <a:lnTo>
                      <a:pt x="3945523" y="5036739"/>
                    </a:lnTo>
                    <a:lnTo>
                      <a:pt x="3959819" y="5051035"/>
                    </a:lnTo>
                    <a:lnTo>
                      <a:pt x="3950288" y="5070095"/>
                    </a:lnTo>
                    <a:lnTo>
                      <a:pt x="3950288" y="5089156"/>
                    </a:lnTo>
                    <a:lnTo>
                      <a:pt x="3959819" y="5084390"/>
                    </a:lnTo>
                    <a:lnTo>
                      <a:pt x="3983644" y="5070095"/>
                    </a:lnTo>
                    <a:lnTo>
                      <a:pt x="3997940" y="5065330"/>
                    </a:lnTo>
                    <a:lnTo>
                      <a:pt x="4012235" y="5060565"/>
                    </a:lnTo>
                    <a:lnTo>
                      <a:pt x="4026530" y="5070095"/>
                    </a:lnTo>
                    <a:lnTo>
                      <a:pt x="4026530" y="5074860"/>
                    </a:lnTo>
                    <a:lnTo>
                      <a:pt x="4026530" y="5084390"/>
                    </a:lnTo>
                    <a:lnTo>
                      <a:pt x="4017000" y="5098686"/>
                    </a:lnTo>
                    <a:lnTo>
                      <a:pt x="4017000" y="5108216"/>
                    </a:lnTo>
                    <a:lnTo>
                      <a:pt x="4026530" y="5122511"/>
                    </a:lnTo>
                    <a:lnTo>
                      <a:pt x="4055121" y="5132042"/>
                    </a:lnTo>
                    <a:lnTo>
                      <a:pt x="4059886" y="5136807"/>
                    </a:lnTo>
                    <a:lnTo>
                      <a:pt x="4059886" y="5141572"/>
                    </a:lnTo>
                    <a:lnTo>
                      <a:pt x="4040826" y="5170163"/>
                    </a:lnTo>
                    <a:lnTo>
                      <a:pt x="4031296" y="5174928"/>
                    </a:lnTo>
                    <a:lnTo>
                      <a:pt x="4026530" y="5179693"/>
                    </a:lnTo>
                    <a:lnTo>
                      <a:pt x="3993175" y="5174928"/>
                    </a:lnTo>
                    <a:lnTo>
                      <a:pt x="3959819" y="5165398"/>
                    </a:lnTo>
                    <a:lnTo>
                      <a:pt x="3950288" y="5165398"/>
                    </a:lnTo>
                    <a:lnTo>
                      <a:pt x="3945523" y="5165398"/>
                    </a:lnTo>
                    <a:lnTo>
                      <a:pt x="3935993" y="5174928"/>
                    </a:lnTo>
                    <a:lnTo>
                      <a:pt x="3940758" y="5174928"/>
                    </a:lnTo>
                    <a:lnTo>
                      <a:pt x="3969349" y="5179693"/>
                    </a:lnTo>
                    <a:lnTo>
                      <a:pt x="3978879" y="5189223"/>
                    </a:lnTo>
                    <a:lnTo>
                      <a:pt x="3983644" y="5198753"/>
                    </a:lnTo>
                    <a:lnTo>
                      <a:pt x="3983644" y="5208284"/>
                    </a:lnTo>
                    <a:lnTo>
                      <a:pt x="3978879" y="5213049"/>
                    </a:lnTo>
                    <a:lnTo>
                      <a:pt x="3969349" y="5217814"/>
                    </a:lnTo>
                    <a:lnTo>
                      <a:pt x="3955054" y="5217814"/>
                    </a:lnTo>
                    <a:lnTo>
                      <a:pt x="3935993" y="5227344"/>
                    </a:lnTo>
                    <a:lnTo>
                      <a:pt x="3926463" y="5241640"/>
                    </a:lnTo>
                    <a:lnTo>
                      <a:pt x="3893107" y="5246405"/>
                    </a:lnTo>
                    <a:lnTo>
                      <a:pt x="3864516" y="5260700"/>
                    </a:lnTo>
                    <a:lnTo>
                      <a:pt x="3854986" y="5270230"/>
                    </a:lnTo>
                    <a:lnTo>
                      <a:pt x="3854986" y="5279761"/>
                    </a:lnTo>
                    <a:lnTo>
                      <a:pt x="3845456" y="5289291"/>
                    </a:lnTo>
                    <a:lnTo>
                      <a:pt x="3821630" y="5294056"/>
                    </a:lnTo>
                    <a:lnTo>
                      <a:pt x="3835926" y="5303586"/>
                    </a:lnTo>
                    <a:lnTo>
                      <a:pt x="3835926" y="5308351"/>
                    </a:lnTo>
                    <a:lnTo>
                      <a:pt x="3835926" y="5313116"/>
                    </a:lnTo>
                    <a:lnTo>
                      <a:pt x="3835926" y="5322647"/>
                    </a:lnTo>
                    <a:lnTo>
                      <a:pt x="3816865" y="5351237"/>
                    </a:lnTo>
                    <a:lnTo>
                      <a:pt x="3783509" y="5375063"/>
                    </a:lnTo>
                    <a:lnTo>
                      <a:pt x="3773979" y="5375063"/>
                    </a:lnTo>
                    <a:lnTo>
                      <a:pt x="3769214" y="5370298"/>
                    </a:lnTo>
                    <a:lnTo>
                      <a:pt x="3769214" y="5365533"/>
                    </a:lnTo>
                    <a:lnTo>
                      <a:pt x="3769214" y="5360768"/>
                    </a:lnTo>
                    <a:lnTo>
                      <a:pt x="3812100" y="5313116"/>
                    </a:lnTo>
                    <a:lnTo>
                      <a:pt x="3812100" y="5308351"/>
                    </a:lnTo>
                    <a:lnTo>
                      <a:pt x="3797805" y="5308351"/>
                    </a:lnTo>
                    <a:lnTo>
                      <a:pt x="3778744" y="5294056"/>
                    </a:lnTo>
                    <a:lnTo>
                      <a:pt x="3764449" y="5303586"/>
                    </a:lnTo>
                    <a:lnTo>
                      <a:pt x="3769214" y="5294056"/>
                    </a:lnTo>
                    <a:lnTo>
                      <a:pt x="3773979" y="5279761"/>
                    </a:lnTo>
                    <a:lnTo>
                      <a:pt x="3773979" y="5274995"/>
                    </a:lnTo>
                    <a:lnTo>
                      <a:pt x="3769214" y="5270230"/>
                    </a:lnTo>
                    <a:lnTo>
                      <a:pt x="3759684" y="5270230"/>
                    </a:lnTo>
                    <a:lnTo>
                      <a:pt x="3740623" y="5270230"/>
                    </a:lnTo>
                    <a:lnTo>
                      <a:pt x="3731093" y="5270230"/>
                    </a:lnTo>
                    <a:lnTo>
                      <a:pt x="3721563" y="5279761"/>
                    </a:lnTo>
                    <a:lnTo>
                      <a:pt x="3735858" y="5279761"/>
                    </a:lnTo>
                    <a:lnTo>
                      <a:pt x="3740623" y="5284526"/>
                    </a:lnTo>
                    <a:lnTo>
                      <a:pt x="3745388" y="5289291"/>
                    </a:lnTo>
                    <a:lnTo>
                      <a:pt x="3750153" y="5298821"/>
                    </a:lnTo>
                    <a:lnTo>
                      <a:pt x="3750153" y="5308351"/>
                    </a:lnTo>
                    <a:lnTo>
                      <a:pt x="3745388" y="5317882"/>
                    </a:lnTo>
                    <a:lnTo>
                      <a:pt x="3740623" y="5336942"/>
                    </a:lnTo>
                    <a:lnTo>
                      <a:pt x="3726328" y="5332177"/>
                    </a:lnTo>
                    <a:lnTo>
                      <a:pt x="3702502" y="5298821"/>
                    </a:lnTo>
                    <a:lnTo>
                      <a:pt x="3688207" y="5251170"/>
                    </a:lnTo>
                    <a:lnTo>
                      <a:pt x="3669146" y="5213049"/>
                    </a:lnTo>
                    <a:lnTo>
                      <a:pt x="3669146" y="5203519"/>
                    </a:lnTo>
                    <a:lnTo>
                      <a:pt x="3673911" y="5179693"/>
                    </a:lnTo>
                    <a:lnTo>
                      <a:pt x="3697737" y="5146337"/>
                    </a:lnTo>
                    <a:lnTo>
                      <a:pt x="3721563" y="5136807"/>
                    </a:lnTo>
                    <a:lnTo>
                      <a:pt x="3735858" y="5127277"/>
                    </a:lnTo>
                    <a:lnTo>
                      <a:pt x="3750153" y="5122511"/>
                    </a:lnTo>
                    <a:lnTo>
                      <a:pt x="3759684" y="5122511"/>
                    </a:lnTo>
                    <a:lnTo>
                      <a:pt x="3773979" y="5127277"/>
                    </a:lnTo>
                    <a:lnTo>
                      <a:pt x="3778744" y="5141572"/>
                    </a:lnTo>
                    <a:lnTo>
                      <a:pt x="3778744" y="5146337"/>
                    </a:lnTo>
                    <a:lnTo>
                      <a:pt x="3778744" y="5151102"/>
                    </a:lnTo>
                    <a:lnTo>
                      <a:pt x="3788274" y="5155867"/>
                    </a:lnTo>
                    <a:lnTo>
                      <a:pt x="3797805" y="5184458"/>
                    </a:lnTo>
                    <a:lnTo>
                      <a:pt x="3812100" y="5208284"/>
                    </a:lnTo>
                    <a:lnTo>
                      <a:pt x="3816865" y="5217814"/>
                    </a:lnTo>
                    <a:lnTo>
                      <a:pt x="3826395" y="5222579"/>
                    </a:lnTo>
                    <a:lnTo>
                      <a:pt x="3816865" y="5203519"/>
                    </a:lnTo>
                    <a:lnTo>
                      <a:pt x="3812100" y="5179693"/>
                    </a:lnTo>
                    <a:lnTo>
                      <a:pt x="3807335" y="5136807"/>
                    </a:lnTo>
                    <a:lnTo>
                      <a:pt x="3802570" y="5127277"/>
                    </a:lnTo>
                    <a:lnTo>
                      <a:pt x="3812100" y="5122511"/>
                    </a:lnTo>
                    <a:lnTo>
                      <a:pt x="3826395" y="5122511"/>
                    </a:lnTo>
                    <a:lnTo>
                      <a:pt x="3826395" y="5117746"/>
                    </a:lnTo>
                    <a:lnTo>
                      <a:pt x="3807335" y="5103451"/>
                    </a:lnTo>
                    <a:lnTo>
                      <a:pt x="3797805" y="5089156"/>
                    </a:lnTo>
                    <a:lnTo>
                      <a:pt x="3793039" y="5079625"/>
                    </a:lnTo>
                    <a:lnTo>
                      <a:pt x="3793039" y="5070095"/>
                    </a:lnTo>
                    <a:lnTo>
                      <a:pt x="3802570" y="5060565"/>
                    </a:lnTo>
                    <a:lnTo>
                      <a:pt x="3812100" y="5055800"/>
                    </a:lnTo>
                    <a:lnTo>
                      <a:pt x="3816865" y="5055800"/>
                    </a:lnTo>
                    <a:lnTo>
                      <a:pt x="3826395" y="5055800"/>
                    </a:lnTo>
                    <a:lnTo>
                      <a:pt x="3831160" y="5060565"/>
                    </a:lnTo>
                    <a:lnTo>
                      <a:pt x="3845456" y="5089156"/>
                    </a:lnTo>
                    <a:lnTo>
                      <a:pt x="3854986" y="5098686"/>
                    </a:lnTo>
                    <a:lnTo>
                      <a:pt x="3859751" y="5098686"/>
                    </a:lnTo>
                    <a:lnTo>
                      <a:pt x="3864516" y="5093921"/>
                    </a:lnTo>
                    <a:lnTo>
                      <a:pt x="3869281" y="5084390"/>
                    </a:lnTo>
                    <a:lnTo>
                      <a:pt x="3874046" y="5079625"/>
                    </a:lnTo>
                    <a:lnTo>
                      <a:pt x="3878812" y="5074860"/>
                    </a:lnTo>
                    <a:lnTo>
                      <a:pt x="3897872" y="5079625"/>
                    </a:lnTo>
                    <a:lnTo>
                      <a:pt x="3902637" y="5079625"/>
                    </a:lnTo>
                    <a:lnTo>
                      <a:pt x="3902637" y="5070095"/>
                    </a:lnTo>
                    <a:lnTo>
                      <a:pt x="3902637" y="5060565"/>
                    </a:lnTo>
                    <a:lnTo>
                      <a:pt x="3907402" y="5055800"/>
                    </a:lnTo>
                    <a:lnTo>
                      <a:pt x="3907402" y="5046269"/>
                    </a:lnTo>
                    <a:lnTo>
                      <a:pt x="3902637" y="5031974"/>
                    </a:lnTo>
                    <a:close/>
                    <a:moveTo>
                      <a:pt x="3859751" y="5027209"/>
                    </a:moveTo>
                    <a:lnTo>
                      <a:pt x="3883577" y="5036739"/>
                    </a:lnTo>
                    <a:lnTo>
                      <a:pt x="3888342" y="5051035"/>
                    </a:lnTo>
                    <a:lnTo>
                      <a:pt x="3897872" y="5060565"/>
                    </a:lnTo>
                    <a:lnTo>
                      <a:pt x="3893107" y="5070095"/>
                    </a:lnTo>
                    <a:lnTo>
                      <a:pt x="3888342" y="5070095"/>
                    </a:lnTo>
                    <a:lnTo>
                      <a:pt x="3878812" y="5060565"/>
                    </a:lnTo>
                    <a:lnTo>
                      <a:pt x="3864516" y="5046269"/>
                    </a:lnTo>
                    <a:lnTo>
                      <a:pt x="3854986" y="5036739"/>
                    </a:lnTo>
                    <a:lnTo>
                      <a:pt x="3854986" y="5031974"/>
                    </a:lnTo>
                    <a:close/>
                    <a:moveTo>
                      <a:pt x="6623525" y="4941437"/>
                    </a:moveTo>
                    <a:lnTo>
                      <a:pt x="6633055" y="4946202"/>
                    </a:lnTo>
                    <a:lnTo>
                      <a:pt x="6656881" y="4974793"/>
                    </a:lnTo>
                    <a:lnTo>
                      <a:pt x="6656881" y="4979558"/>
                    </a:lnTo>
                    <a:lnTo>
                      <a:pt x="6652116" y="5003384"/>
                    </a:lnTo>
                    <a:lnTo>
                      <a:pt x="6637820" y="5008149"/>
                    </a:lnTo>
                    <a:lnTo>
                      <a:pt x="6642585" y="5017679"/>
                    </a:lnTo>
                    <a:lnTo>
                      <a:pt x="6652116" y="5022444"/>
                    </a:lnTo>
                    <a:lnTo>
                      <a:pt x="6656881" y="5017679"/>
                    </a:lnTo>
                    <a:lnTo>
                      <a:pt x="6680706" y="4989088"/>
                    </a:lnTo>
                    <a:lnTo>
                      <a:pt x="6690237" y="4984323"/>
                    </a:lnTo>
                    <a:lnTo>
                      <a:pt x="6695002" y="4984323"/>
                    </a:lnTo>
                    <a:lnTo>
                      <a:pt x="6723593" y="4989088"/>
                    </a:lnTo>
                    <a:lnTo>
                      <a:pt x="6747418" y="5003384"/>
                    </a:lnTo>
                    <a:lnTo>
                      <a:pt x="6752183" y="5012914"/>
                    </a:lnTo>
                    <a:lnTo>
                      <a:pt x="6756949" y="5031975"/>
                    </a:lnTo>
                    <a:lnTo>
                      <a:pt x="6752183" y="5074861"/>
                    </a:lnTo>
                    <a:lnTo>
                      <a:pt x="6733123" y="5079626"/>
                    </a:lnTo>
                    <a:lnTo>
                      <a:pt x="6723593" y="5079626"/>
                    </a:lnTo>
                    <a:lnTo>
                      <a:pt x="6709297" y="5074861"/>
                    </a:lnTo>
                    <a:lnTo>
                      <a:pt x="6695002" y="5089156"/>
                    </a:lnTo>
                    <a:lnTo>
                      <a:pt x="6709297" y="5098686"/>
                    </a:lnTo>
                    <a:lnTo>
                      <a:pt x="6752183" y="5098686"/>
                    </a:lnTo>
                    <a:lnTo>
                      <a:pt x="6761714" y="5122512"/>
                    </a:lnTo>
                    <a:lnTo>
                      <a:pt x="6766479" y="5136808"/>
                    </a:lnTo>
                    <a:lnTo>
                      <a:pt x="6756949" y="5170163"/>
                    </a:lnTo>
                    <a:lnTo>
                      <a:pt x="6733123" y="5160633"/>
                    </a:lnTo>
                    <a:lnTo>
                      <a:pt x="6714062" y="5146338"/>
                    </a:lnTo>
                    <a:lnTo>
                      <a:pt x="6671176" y="5117747"/>
                    </a:lnTo>
                    <a:lnTo>
                      <a:pt x="6656881" y="5117747"/>
                    </a:lnTo>
                    <a:lnTo>
                      <a:pt x="6652116" y="5122512"/>
                    </a:lnTo>
                    <a:lnTo>
                      <a:pt x="6652116" y="5136808"/>
                    </a:lnTo>
                    <a:lnTo>
                      <a:pt x="6652116" y="5170163"/>
                    </a:lnTo>
                    <a:lnTo>
                      <a:pt x="6637820" y="5189224"/>
                    </a:lnTo>
                    <a:lnTo>
                      <a:pt x="6604464" y="5179694"/>
                    </a:lnTo>
                    <a:lnTo>
                      <a:pt x="6590169" y="5155868"/>
                    </a:lnTo>
                    <a:lnTo>
                      <a:pt x="6580639" y="5112982"/>
                    </a:lnTo>
                    <a:lnTo>
                      <a:pt x="6532988" y="5065331"/>
                    </a:lnTo>
                    <a:lnTo>
                      <a:pt x="6518692" y="5055800"/>
                    </a:lnTo>
                    <a:lnTo>
                      <a:pt x="6504397" y="5027209"/>
                    </a:lnTo>
                    <a:lnTo>
                      <a:pt x="6509162" y="5003384"/>
                    </a:lnTo>
                    <a:lnTo>
                      <a:pt x="6509162" y="4989088"/>
                    </a:lnTo>
                    <a:lnTo>
                      <a:pt x="6518692" y="4984323"/>
                    </a:lnTo>
                    <a:lnTo>
                      <a:pt x="6532988" y="4974793"/>
                    </a:lnTo>
                    <a:lnTo>
                      <a:pt x="6542518" y="4955732"/>
                    </a:lnTo>
                    <a:lnTo>
                      <a:pt x="6552048" y="4974793"/>
                    </a:lnTo>
                    <a:lnTo>
                      <a:pt x="6566343" y="4989088"/>
                    </a:lnTo>
                    <a:lnTo>
                      <a:pt x="6566343" y="4974793"/>
                    </a:lnTo>
                    <a:lnTo>
                      <a:pt x="6575874" y="4960498"/>
                    </a:lnTo>
                    <a:lnTo>
                      <a:pt x="6590169" y="4960498"/>
                    </a:lnTo>
                    <a:lnTo>
                      <a:pt x="6599699" y="4955732"/>
                    </a:lnTo>
                    <a:lnTo>
                      <a:pt x="6609230" y="4946202"/>
                    </a:lnTo>
                    <a:close/>
                    <a:moveTo>
                      <a:pt x="6823661" y="4922376"/>
                    </a:moveTo>
                    <a:lnTo>
                      <a:pt x="6842722" y="4931906"/>
                    </a:lnTo>
                    <a:lnTo>
                      <a:pt x="6857017" y="4950967"/>
                    </a:lnTo>
                    <a:lnTo>
                      <a:pt x="6852252" y="4960497"/>
                    </a:lnTo>
                    <a:lnTo>
                      <a:pt x="6833191" y="4955732"/>
                    </a:lnTo>
                    <a:lnTo>
                      <a:pt x="6809366" y="4946202"/>
                    </a:lnTo>
                    <a:lnTo>
                      <a:pt x="6799835" y="4931906"/>
                    </a:lnTo>
                    <a:lnTo>
                      <a:pt x="6799835" y="4927141"/>
                    </a:lnTo>
                    <a:close/>
                    <a:moveTo>
                      <a:pt x="6756948" y="4912846"/>
                    </a:moveTo>
                    <a:lnTo>
                      <a:pt x="6771244" y="4922376"/>
                    </a:lnTo>
                    <a:lnTo>
                      <a:pt x="6790304" y="4950967"/>
                    </a:lnTo>
                    <a:lnTo>
                      <a:pt x="6795069" y="4970027"/>
                    </a:lnTo>
                    <a:lnTo>
                      <a:pt x="6837956" y="4979558"/>
                    </a:lnTo>
                    <a:lnTo>
                      <a:pt x="6866546" y="4974793"/>
                    </a:lnTo>
                    <a:lnTo>
                      <a:pt x="6890372" y="5022444"/>
                    </a:lnTo>
                    <a:lnTo>
                      <a:pt x="6909433" y="5055800"/>
                    </a:lnTo>
                    <a:lnTo>
                      <a:pt x="6918963" y="5079625"/>
                    </a:lnTo>
                    <a:lnTo>
                      <a:pt x="6923728" y="5103451"/>
                    </a:lnTo>
                    <a:lnTo>
                      <a:pt x="6933258" y="5127277"/>
                    </a:lnTo>
                    <a:lnTo>
                      <a:pt x="6928493" y="5132042"/>
                    </a:lnTo>
                    <a:lnTo>
                      <a:pt x="6914198" y="5112981"/>
                    </a:lnTo>
                    <a:lnTo>
                      <a:pt x="6904667" y="5084390"/>
                    </a:lnTo>
                    <a:lnTo>
                      <a:pt x="6899902" y="5070095"/>
                    </a:lnTo>
                    <a:lnTo>
                      <a:pt x="6895137" y="5065330"/>
                    </a:lnTo>
                    <a:lnTo>
                      <a:pt x="6885607" y="5055800"/>
                    </a:lnTo>
                    <a:lnTo>
                      <a:pt x="6876077" y="5022444"/>
                    </a:lnTo>
                    <a:lnTo>
                      <a:pt x="6876077" y="5017679"/>
                    </a:lnTo>
                    <a:lnTo>
                      <a:pt x="6871311" y="5008148"/>
                    </a:lnTo>
                    <a:lnTo>
                      <a:pt x="6861781" y="5003383"/>
                    </a:lnTo>
                    <a:lnTo>
                      <a:pt x="6857016" y="5008148"/>
                    </a:lnTo>
                    <a:lnTo>
                      <a:pt x="6857016" y="5031974"/>
                    </a:lnTo>
                    <a:lnTo>
                      <a:pt x="6861781" y="5051035"/>
                    </a:lnTo>
                    <a:lnTo>
                      <a:pt x="6890372" y="5103451"/>
                    </a:lnTo>
                    <a:lnTo>
                      <a:pt x="6909433" y="5132042"/>
                    </a:lnTo>
                    <a:lnTo>
                      <a:pt x="6914198" y="5141572"/>
                    </a:lnTo>
                    <a:lnTo>
                      <a:pt x="6914198" y="5165398"/>
                    </a:lnTo>
                    <a:lnTo>
                      <a:pt x="6909433" y="5179693"/>
                    </a:lnTo>
                    <a:lnTo>
                      <a:pt x="6918963" y="5203519"/>
                    </a:lnTo>
                    <a:lnTo>
                      <a:pt x="6918963" y="5208284"/>
                    </a:lnTo>
                    <a:lnTo>
                      <a:pt x="6914198" y="5213049"/>
                    </a:lnTo>
                    <a:lnTo>
                      <a:pt x="6890372" y="5222579"/>
                    </a:lnTo>
                    <a:lnTo>
                      <a:pt x="6861781" y="5265465"/>
                    </a:lnTo>
                    <a:lnTo>
                      <a:pt x="6833190" y="5294056"/>
                    </a:lnTo>
                    <a:lnTo>
                      <a:pt x="6823660" y="5298821"/>
                    </a:lnTo>
                    <a:lnTo>
                      <a:pt x="6818895" y="5294056"/>
                    </a:lnTo>
                    <a:lnTo>
                      <a:pt x="6809365" y="5284526"/>
                    </a:lnTo>
                    <a:lnTo>
                      <a:pt x="6809365" y="5270230"/>
                    </a:lnTo>
                    <a:lnTo>
                      <a:pt x="6804600" y="5251170"/>
                    </a:lnTo>
                    <a:lnTo>
                      <a:pt x="6814130" y="5241640"/>
                    </a:lnTo>
                    <a:lnTo>
                      <a:pt x="6828425" y="5189223"/>
                    </a:lnTo>
                    <a:lnTo>
                      <a:pt x="6828425" y="5170163"/>
                    </a:lnTo>
                    <a:lnTo>
                      <a:pt x="6809365" y="5146337"/>
                    </a:lnTo>
                    <a:lnTo>
                      <a:pt x="6799834" y="5127277"/>
                    </a:lnTo>
                    <a:lnTo>
                      <a:pt x="6795069" y="5093921"/>
                    </a:lnTo>
                    <a:lnTo>
                      <a:pt x="6785539" y="5022444"/>
                    </a:lnTo>
                    <a:lnTo>
                      <a:pt x="6780774" y="4993853"/>
                    </a:lnTo>
                    <a:lnTo>
                      <a:pt x="6776009" y="4974793"/>
                    </a:lnTo>
                    <a:lnTo>
                      <a:pt x="6766479" y="4960497"/>
                    </a:lnTo>
                    <a:lnTo>
                      <a:pt x="6761713" y="4941437"/>
                    </a:lnTo>
                    <a:lnTo>
                      <a:pt x="6756948" y="4922376"/>
                    </a:lnTo>
                    <a:close/>
                    <a:moveTo>
                      <a:pt x="3988410" y="4884255"/>
                    </a:moveTo>
                    <a:lnTo>
                      <a:pt x="3997941" y="4889020"/>
                    </a:lnTo>
                    <a:lnTo>
                      <a:pt x="4007471" y="4893785"/>
                    </a:lnTo>
                    <a:lnTo>
                      <a:pt x="4017001" y="4898550"/>
                    </a:lnTo>
                    <a:lnTo>
                      <a:pt x="4026531" y="4912846"/>
                    </a:lnTo>
                    <a:lnTo>
                      <a:pt x="4031296" y="4912846"/>
                    </a:lnTo>
                    <a:lnTo>
                      <a:pt x="4036062" y="4898550"/>
                    </a:lnTo>
                    <a:lnTo>
                      <a:pt x="4040827" y="4898550"/>
                    </a:lnTo>
                    <a:lnTo>
                      <a:pt x="4059887" y="4912846"/>
                    </a:lnTo>
                    <a:lnTo>
                      <a:pt x="4074183" y="4908081"/>
                    </a:lnTo>
                    <a:lnTo>
                      <a:pt x="4078948" y="4927141"/>
                    </a:lnTo>
                    <a:lnTo>
                      <a:pt x="4083713" y="4927141"/>
                    </a:lnTo>
                    <a:lnTo>
                      <a:pt x="4093243" y="4927141"/>
                    </a:lnTo>
                    <a:lnTo>
                      <a:pt x="4098008" y="4927141"/>
                    </a:lnTo>
                    <a:lnTo>
                      <a:pt x="4093243" y="4946202"/>
                    </a:lnTo>
                    <a:lnTo>
                      <a:pt x="4078948" y="4965262"/>
                    </a:lnTo>
                    <a:lnTo>
                      <a:pt x="4074183" y="4970027"/>
                    </a:lnTo>
                    <a:lnTo>
                      <a:pt x="4064652" y="4965262"/>
                    </a:lnTo>
                    <a:lnTo>
                      <a:pt x="4055122" y="4955732"/>
                    </a:lnTo>
                    <a:lnTo>
                      <a:pt x="4050357" y="4946202"/>
                    </a:lnTo>
                    <a:lnTo>
                      <a:pt x="4040827" y="4955732"/>
                    </a:lnTo>
                    <a:lnTo>
                      <a:pt x="4040827" y="4965262"/>
                    </a:lnTo>
                    <a:lnTo>
                      <a:pt x="4045592" y="4974793"/>
                    </a:lnTo>
                    <a:lnTo>
                      <a:pt x="4045592" y="4979558"/>
                    </a:lnTo>
                    <a:lnTo>
                      <a:pt x="4031296" y="4979558"/>
                    </a:lnTo>
                    <a:lnTo>
                      <a:pt x="4021766" y="4979558"/>
                    </a:lnTo>
                    <a:lnTo>
                      <a:pt x="4007471" y="4989088"/>
                    </a:lnTo>
                    <a:lnTo>
                      <a:pt x="4002706" y="4984323"/>
                    </a:lnTo>
                    <a:lnTo>
                      <a:pt x="4002706" y="4970027"/>
                    </a:lnTo>
                    <a:lnTo>
                      <a:pt x="3997941" y="4970027"/>
                    </a:lnTo>
                    <a:lnTo>
                      <a:pt x="3993175" y="4989088"/>
                    </a:lnTo>
                    <a:lnTo>
                      <a:pt x="3983645" y="4998618"/>
                    </a:lnTo>
                    <a:lnTo>
                      <a:pt x="3974115" y="5008149"/>
                    </a:lnTo>
                    <a:lnTo>
                      <a:pt x="3969350" y="5012914"/>
                    </a:lnTo>
                    <a:lnTo>
                      <a:pt x="3959819" y="5012914"/>
                    </a:lnTo>
                    <a:lnTo>
                      <a:pt x="3945524" y="5022444"/>
                    </a:lnTo>
                    <a:lnTo>
                      <a:pt x="3940759" y="5017679"/>
                    </a:lnTo>
                    <a:lnTo>
                      <a:pt x="3888343" y="4998618"/>
                    </a:lnTo>
                    <a:lnTo>
                      <a:pt x="3878812" y="4993853"/>
                    </a:lnTo>
                    <a:lnTo>
                      <a:pt x="3916933" y="4946202"/>
                    </a:lnTo>
                    <a:lnTo>
                      <a:pt x="3940759" y="4931906"/>
                    </a:lnTo>
                    <a:lnTo>
                      <a:pt x="3950289" y="4931906"/>
                    </a:lnTo>
                    <a:lnTo>
                      <a:pt x="3964585" y="4936672"/>
                    </a:lnTo>
                    <a:lnTo>
                      <a:pt x="3969350" y="4936672"/>
                    </a:lnTo>
                    <a:lnTo>
                      <a:pt x="3969350" y="4917611"/>
                    </a:lnTo>
                    <a:lnTo>
                      <a:pt x="3959819" y="4903316"/>
                    </a:lnTo>
                    <a:lnTo>
                      <a:pt x="3959819" y="4893785"/>
                    </a:lnTo>
                    <a:close/>
                    <a:moveTo>
                      <a:pt x="4021766" y="4836604"/>
                    </a:moveTo>
                    <a:lnTo>
                      <a:pt x="4031296" y="4836604"/>
                    </a:lnTo>
                    <a:lnTo>
                      <a:pt x="4036061" y="4836604"/>
                    </a:lnTo>
                    <a:lnTo>
                      <a:pt x="4036061" y="4841369"/>
                    </a:lnTo>
                    <a:lnTo>
                      <a:pt x="4036061" y="4850899"/>
                    </a:lnTo>
                    <a:lnTo>
                      <a:pt x="4031296" y="4860430"/>
                    </a:lnTo>
                    <a:lnTo>
                      <a:pt x="4017001" y="4874725"/>
                    </a:lnTo>
                    <a:lnTo>
                      <a:pt x="4012236" y="4874725"/>
                    </a:lnTo>
                    <a:lnTo>
                      <a:pt x="3997940" y="4865195"/>
                    </a:lnTo>
                    <a:lnTo>
                      <a:pt x="3993175" y="4855665"/>
                    </a:lnTo>
                    <a:lnTo>
                      <a:pt x="3997940" y="4850899"/>
                    </a:lnTo>
                    <a:close/>
                    <a:moveTo>
                      <a:pt x="2730416" y="4779422"/>
                    </a:moveTo>
                    <a:lnTo>
                      <a:pt x="2697060" y="4846134"/>
                    </a:lnTo>
                    <a:lnTo>
                      <a:pt x="2687530" y="4850899"/>
                    </a:lnTo>
                    <a:lnTo>
                      <a:pt x="2673234" y="4850899"/>
                    </a:lnTo>
                    <a:lnTo>
                      <a:pt x="2663704" y="4822308"/>
                    </a:lnTo>
                    <a:lnTo>
                      <a:pt x="2673234" y="4817543"/>
                    </a:lnTo>
                    <a:lnTo>
                      <a:pt x="2687530" y="4798483"/>
                    </a:lnTo>
                    <a:lnTo>
                      <a:pt x="2720886" y="4784187"/>
                    </a:lnTo>
                    <a:close/>
                    <a:moveTo>
                      <a:pt x="5303585" y="4407742"/>
                    </a:moveTo>
                    <a:lnTo>
                      <a:pt x="5303585" y="4417272"/>
                    </a:lnTo>
                    <a:lnTo>
                      <a:pt x="5279759" y="4436333"/>
                    </a:lnTo>
                    <a:lnTo>
                      <a:pt x="5251168" y="4469689"/>
                    </a:lnTo>
                    <a:lnTo>
                      <a:pt x="5246403" y="4469689"/>
                    </a:lnTo>
                    <a:lnTo>
                      <a:pt x="5255934" y="4450628"/>
                    </a:lnTo>
                    <a:lnTo>
                      <a:pt x="5270229" y="4426803"/>
                    </a:lnTo>
                    <a:lnTo>
                      <a:pt x="5284525" y="4412507"/>
                    </a:lnTo>
                    <a:close/>
                    <a:moveTo>
                      <a:pt x="4703179" y="4364856"/>
                    </a:moveTo>
                    <a:lnTo>
                      <a:pt x="4731770" y="4383917"/>
                    </a:lnTo>
                    <a:lnTo>
                      <a:pt x="4712710" y="4393447"/>
                    </a:lnTo>
                    <a:lnTo>
                      <a:pt x="4703179" y="4402977"/>
                    </a:lnTo>
                    <a:lnTo>
                      <a:pt x="4674588" y="4393447"/>
                    </a:lnTo>
                    <a:lnTo>
                      <a:pt x="4679353" y="4379151"/>
                    </a:lnTo>
                    <a:close/>
                    <a:moveTo>
                      <a:pt x="4846132" y="4298144"/>
                    </a:moveTo>
                    <a:lnTo>
                      <a:pt x="4855663" y="4298144"/>
                    </a:lnTo>
                    <a:lnTo>
                      <a:pt x="4869958" y="4307674"/>
                    </a:lnTo>
                    <a:lnTo>
                      <a:pt x="4879488" y="4321970"/>
                    </a:lnTo>
                    <a:lnTo>
                      <a:pt x="4874723" y="4331500"/>
                    </a:lnTo>
                    <a:lnTo>
                      <a:pt x="4822307" y="4388682"/>
                    </a:lnTo>
                    <a:lnTo>
                      <a:pt x="4817542" y="4393447"/>
                    </a:lnTo>
                    <a:lnTo>
                      <a:pt x="4812776" y="4412507"/>
                    </a:lnTo>
                    <a:lnTo>
                      <a:pt x="4808011" y="4422038"/>
                    </a:lnTo>
                    <a:lnTo>
                      <a:pt x="4803246" y="4426803"/>
                    </a:lnTo>
                    <a:lnTo>
                      <a:pt x="4798481" y="4431568"/>
                    </a:lnTo>
                    <a:lnTo>
                      <a:pt x="4793716" y="4445863"/>
                    </a:lnTo>
                    <a:lnTo>
                      <a:pt x="4788951" y="4455393"/>
                    </a:lnTo>
                    <a:lnTo>
                      <a:pt x="4779420" y="4455393"/>
                    </a:lnTo>
                    <a:lnTo>
                      <a:pt x="4769890" y="4460159"/>
                    </a:lnTo>
                    <a:lnTo>
                      <a:pt x="4769890" y="4464924"/>
                    </a:lnTo>
                    <a:lnTo>
                      <a:pt x="4760360" y="4469689"/>
                    </a:lnTo>
                    <a:lnTo>
                      <a:pt x="4741299" y="4474454"/>
                    </a:lnTo>
                    <a:lnTo>
                      <a:pt x="4736534" y="4464924"/>
                    </a:lnTo>
                    <a:lnTo>
                      <a:pt x="4746065" y="4441098"/>
                    </a:lnTo>
                    <a:lnTo>
                      <a:pt x="4750830" y="4431568"/>
                    </a:lnTo>
                    <a:lnTo>
                      <a:pt x="4760360" y="4426803"/>
                    </a:lnTo>
                    <a:lnTo>
                      <a:pt x="4779420" y="4402977"/>
                    </a:lnTo>
                    <a:lnTo>
                      <a:pt x="4798481" y="4383916"/>
                    </a:lnTo>
                    <a:lnTo>
                      <a:pt x="4822307" y="4355326"/>
                    </a:lnTo>
                    <a:lnTo>
                      <a:pt x="4841367" y="4312439"/>
                    </a:lnTo>
                    <a:close/>
                    <a:moveTo>
                      <a:pt x="1867928" y="4288614"/>
                    </a:moveTo>
                    <a:lnTo>
                      <a:pt x="1877459" y="4288614"/>
                    </a:lnTo>
                    <a:lnTo>
                      <a:pt x="1882224" y="4293379"/>
                    </a:lnTo>
                    <a:lnTo>
                      <a:pt x="1896519" y="4307674"/>
                    </a:lnTo>
                    <a:lnTo>
                      <a:pt x="1906050" y="4307674"/>
                    </a:lnTo>
                    <a:lnTo>
                      <a:pt x="1929875" y="4302909"/>
                    </a:lnTo>
                    <a:lnTo>
                      <a:pt x="1939405" y="4307674"/>
                    </a:lnTo>
                    <a:lnTo>
                      <a:pt x="1948936" y="4312440"/>
                    </a:lnTo>
                    <a:lnTo>
                      <a:pt x="1953701" y="4321970"/>
                    </a:lnTo>
                    <a:lnTo>
                      <a:pt x="1953701" y="4341030"/>
                    </a:lnTo>
                    <a:lnTo>
                      <a:pt x="1948936" y="4355326"/>
                    </a:lnTo>
                    <a:lnTo>
                      <a:pt x="1948936" y="4379151"/>
                    </a:lnTo>
                    <a:lnTo>
                      <a:pt x="1948936" y="4388682"/>
                    </a:lnTo>
                    <a:lnTo>
                      <a:pt x="1963231" y="4402977"/>
                    </a:lnTo>
                    <a:lnTo>
                      <a:pt x="1967996" y="4422037"/>
                    </a:lnTo>
                    <a:lnTo>
                      <a:pt x="1967996" y="4441098"/>
                    </a:lnTo>
                    <a:lnTo>
                      <a:pt x="1939405" y="4445863"/>
                    </a:lnTo>
                    <a:lnTo>
                      <a:pt x="1915580" y="4445863"/>
                    </a:lnTo>
                    <a:lnTo>
                      <a:pt x="1891754" y="4460158"/>
                    </a:lnTo>
                    <a:lnTo>
                      <a:pt x="1886989" y="4469689"/>
                    </a:lnTo>
                    <a:lnTo>
                      <a:pt x="1886989" y="4483984"/>
                    </a:lnTo>
                    <a:lnTo>
                      <a:pt x="1882224" y="4483984"/>
                    </a:lnTo>
                    <a:lnTo>
                      <a:pt x="1877459" y="4483984"/>
                    </a:lnTo>
                    <a:lnTo>
                      <a:pt x="1863163" y="4469689"/>
                    </a:lnTo>
                    <a:lnTo>
                      <a:pt x="1853633" y="4464924"/>
                    </a:lnTo>
                    <a:lnTo>
                      <a:pt x="1805982" y="4455393"/>
                    </a:lnTo>
                    <a:lnTo>
                      <a:pt x="1753565" y="4417272"/>
                    </a:lnTo>
                    <a:lnTo>
                      <a:pt x="1729740" y="4407742"/>
                    </a:lnTo>
                    <a:lnTo>
                      <a:pt x="1701149" y="4383916"/>
                    </a:lnTo>
                    <a:lnTo>
                      <a:pt x="1682088" y="4345795"/>
                    </a:lnTo>
                    <a:lnTo>
                      <a:pt x="1696384" y="4341030"/>
                    </a:lnTo>
                    <a:lnTo>
                      <a:pt x="1710679" y="4341030"/>
                    </a:lnTo>
                    <a:lnTo>
                      <a:pt x="1772626" y="4345795"/>
                    </a:lnTo>
                    <a:lnTo>
                      <a:pt x="1782156" y="4317205"/>
                    </a:lnTo>
                    <a:lnTo>
                      <a:pt x="1791686" y="4312440"/>
                    </a:lnTo>
                    <a:lnTo>
                      <a:pt x="1810747" y="4307674"/>
                    </a:lnTo>
                    <a:lnTo>
                      <a:pt x="1829807" y="4293379"/>
                    </a:lnTo>
                    <a:lnTo>
                      <a:pt x="1839338" y="4293379"/>
                    </a:lnTo>
                    <a:lnTo>
                      <a:pt x="1848868" y="4298144"/>
                    </a:lnTo>
                    <a:close/>
                    <a:moveTo>
                      <a:pt x="5165396" y="4283849"/>
                    </a:moveTo>
                    <a:lnTo>
                      <a:pt x="5170161" y="4288614"/>
                    </a:lnTo>
                    <a:lnTo>
                      <a:pt x="5165396" y="4307675"/>
                    </a:lnTo>
                    <a:lnTo>
                      <a:pt x="5160631" y="4312440"/>
                    </a:lnTo>
                    <a:lnTo>
                      <a:pt x="5146335" y="4312440"/>
                    </a:lnTo>
                    <a:lnTo>
                      <a:pt x="5141570" y="4307675"/>
                    </a:lnTo>
                    <a:close/>
                    <a:moveTo>
                      <a:pt x="4941435" y="4260023"/>
                    </a:moveTo>
                    <a:lnTo>
                      <a:pt x="4965261" y="4269553"/>
                    </a:lnTo>
                    <a:lnTo>
                      <a:pt x="4970026" y="4279084"/>
                    </a:lnTo>
                    <a:lnTo>
                      <a:pt x="4998617" y="4279084"/>
                    </a:lnTo>
                    <a:lnTo>
                      <a:pt x="5008147" y="4279084"/>
                    </a:lnTo>
                    <a:lnTo>
                      <a:pt x="5012912" y="4283849"/>
                    </a:lnTo>
                    <a:lnTo>
                      <a:pt x="5008147" y="4288614"/>
                    </a:lnTo>
                    <a:lnTo>
                      <a:pt x="4998617" y="4298144"/>
                    </a:lnTo>
                    <a:lnTo>
                      <a:pt x="4965261" y="4312440"/>
                    </a:lnTo>
                    <a:lnTo>
                      <a:pt x="4936670" y="4326735"/>
                    </a:lnTo>
                    <a:lnTo>
                      <a:pt x="4931905" y="4326735"/>
                    </a:lnTo>
                    <a:lnTo>
                      <a:pt x="4927140" y="4307674"/>
                    </a:lnTo>
                    <a:lnTo>
                      <a:pt x="4922374" y="4298144"/>
                    </a:lnTo>
                    <a:lnTo>
                      <a:pt x="4917609" y="4288614"/>
                    </a:lnTo>
                    <a:lnTo>
                      <a:pt x="4917609" y="4283849"/>
                    </a:lnTo>
                    <a:lnTo>
                      <a:pt x="4922374" y="4274318"/>
                    </a:lnTo>
                    <a:lnTo>
                      <a:pt x="4936670" y="4264788"/>
                    </a:lnTo>
                    <a:close/>
                    <a:moveTo>
                      <a:pt x="4765125" y="4255258"/>
                    </a:moveTo>
                    <a:lnTo>
                      <a:pt x="4769890" y="4269553"/>
                    </a:lnTo>
                    <a:lnTo>
                      <a:pt x="4769890" y="4279084"/>
                    </a:lnTo>
                    <a:lnTo>
                      <a:pt x="4765125" y="4288614"/>
                    </a:lnTo>
                    <a:lnTo>
                      <a:pt x="4769890" y="4302909"/>
                    </a:lnTo>
                    <a:lnTo>
                      <a:pt x="4760360" y="4326735"/>
                    </a:lnTo>
                    <a:lnTo>
                      <a:pt x="4760360" y="4341031"/>
                    </a:lnTo>
                    <a:lnTo>
                      <a:pt x="4755595" y="4350561"/>
                    </a:lnTo>
                    <a:lnTo>
                      <a:pt x="4750830" y="4355326"/>
                    </a:lnTo>
                    <a:lnTo>
                      <a:pt x="4746065" y="4355326"/>
                    </a:lnTo>
                    <a:lnTo>
                      <a:pt x="4746065" y="4350561"/>
                    </a:lnTo>
                    <a:lnTo>
                      <a:pt x="4746065" y="4341031"/>
                    </a:lnTo>
                    <a:lnTo>
                      <a:pt x="4736534" y="4341031"/>
                    </a:lnTo>
                    <a:lnTo>
                      <a:pt x="4731769" y="4317205"/>
                    </a:lnTo>
                    <a:lnTo>
                      <a:pt x="4741299" y="4312440"/>
                    </a:lnTo>
                    <a:lnTo>
                      <a:pt x="4741299" y="4302909"/>
                    </a:lnTo>
                    <a:lnTo>
                      <a:pt x="4741299" y="4293379"/>
                    </a:lnTo>
                    <a:lnTo>
                      <a:pt x="4750830" y="4269553"/>
                    </a:lnTo>
                    <a:lnTo>
                      <a:pt x="4750830" y="4274319"/>
                    </a:lnTo>
                    <a:lnTo>
                      <a:pt x="4755595" y="4274319"/>
                    </a:lnTo>
                    <a:lnTo>
                      <a:pt x="4755595" y="4269553"/>
                    </a:lnTo>
                    <a:lnTo>
                      <a:pt x="4765125" y="4260023"/>
                    </a:lnTo>
                    <a:close/>
                    <a:moveTo>
                      <a:pt x="4098008" y="4255258"/>
                    </a:moveTo>
                    <a:lnTo>
                      <a:pt x="4107538" y="4255258"/>
                    </a:lnTo>
                    <a:lnTo>
                      <a:pt x="4107538" y="4264788"/>
                    </a:lnTo>
                    <a:lnTo>
                      <a:pt x="4093243" y="4293379"/>
                    </a:lnTo>
                    <a:lnTo>
                      <a:pt x="4088478" y="4298144"/>
                    </a:lnTo>
                    <a:lnTo>
                      <a:pt x="4078947" y="4298144"/>
                    </a:lnTo>
                    <a:lnTo>
                      <a:pt x="4088478" y="4283849"/>
                    </a:lnTo>
                    <a:close/>
                    <a:moveTo>
                      <a:pt x="824365" y="4221902"/>
                    </a:moveTo>
                    <a:lnTo>
                      <a:pt x="833896" y="4255258"/>
                    </a:lnTo>
                    <a:lnTo>
                      <a:pt x="852956" y="4269553"/>
                    </a:lnTo>
                    <a:lnTo>
                      <a:pt x="886312" y="4288614"/>
                    </a:lnTo>
                    <a:lnTo>
                      <a:pt x="905373" y="4288614"/>
                    </a:lnTo>
                    <a:lnTo>
                      <a:pt x="924433" y="4302910"/>
                    </a:lnTo>
                    <a:lnTo>
                      <a:pt x="933964" y="4317205"/>
                    </a:lnTo>
                    <a:lnTo>
                      <a:pt x="905373" y="4307675"/>
                    </a:lnTo>
                    <a:lnTo>
                      <a:pt x="867252" y="4307675"/>
                    </a:lnTo>
                    <a:lnTo>
                      <a:pt x="819600" y="4264788"/>
                    </a:lnTo>
                    <a:lnTo>
                      <a:pt x="800540" y="4255258"/>
                    </a:lnTo>
                    <a:lnTo>
                      <a:pt x="805305" y="4231432"/>
                    </a:lnTo>
                    <a:close/>
                    <a:moveTo>
                      <a:pt x="4712709" y="4117070"/>
                    </a:moveTo>
                    <a:lnTo>
                      <a:pt x="4722239" y="4126600"/>
                    </a:lnTo>
                    <a:lnTo>
                      <a:pt x="4727004" y="4136131"/>
                    </a:lnTo>
                    <a:lnTo>
                      <a:pt x="4727004" y="4150426"/>
                    </a:lnTo>
                    <a:lnTo>
                      <a:pt x="4707944" y="4155191"/>
                    </a:lnTo>
                    <a:lnTo>
                      <a:pt x="4698413" y="4150426"/>
                    </a:lnTo>
                    <a:lnTo>
                      <a:pt x="4698413" y="4145661"/>
                    </a:lnTo>
                    <a:lnTo>
                      <a:pt x="4703178" y="4126600"/>
                    </a:lnTo>
                    <a:lnTo>
                      <a:pt x="4703178" y="4121835"/>
                    </a:lnTo>
                    <a:close/>
                    <a:moveTo>
                      <a:pt x="1024501" y="3173575"/>
                    </a:moveTo>
                    <a:lnTo>
                      <a:pt x="1053092" y="3206931"/>
                    </a:lnTo>
                    <a:lnTo>
                      <a:pt x="1053092" y="3216461"/>
                    </a:lnTo>
                    <a:lnTo>
                      <a:pt x="1072152" y="3211696"/>
                    </a:lnTo>
                    <a:lnTo>
                      <a:pt x="1091213" y="3216461"/>
                    </a:lnTo>
                    <a:lnTo>
                      <a:pt x="1119804" y="3225991"/>
                    </a:lnTo>
                    <a:lnTo>
                      <a:pt x="1143630" y="3221226"/>
                    </a:lnTo>
                    <a:lnTo>
                      <a:pt x="1176985" y="3197401"/>
                    </a:lnTo>
                    <a:lnTo>
                      <a:pt x="1196046" y="3187870"/>
                    </a:lnTo>
                    <a:lnTo>
                      <a:pt x="1215106" y="3187870"/>
                    </a:lnTo>
                    <a:lnTo>
                      <a:pt x="1234167" y="3192635"/>
                    </a:lnTo>
                    <a:lnTo>
                      <a:pt x="1253227" y="3206931"/>
                    </a:lnTo>
                    <a:lnTo>
                      <a:pt x="1262758" y="3216461"/>
                    </a:lnTo>
                    <a:lnTo>
                      <a:pt x="1267523" y="3230756"/>
                    </a:lnTo>
                    <a:lnTo>
                      <a:pt x="1272288" y="3245052"/>
                    </a:lnTo>
                    <a:lnTo>
                      <a:pt x="1277053" y="3259347"/>
                    </a:lnTo>
                    <a:lnTo>
                      <a:pt x="1315174" y="3273643"/>
                    </a:lnTo>
                    <a:lnTo>
                      <a:pt x="1338999" y="3278408"/>
                    </a:lnTo>
                    <a:lnTo>
                      <a:pt x="1343764" y="3287938"/>
                    </a:lnTo>
                    <a:lnTo>
                      <a:pt x="1348530" y="3297468"/>
                    </a:lnTo>
                    <a:lnTo>
                      <a:pt x="1367590" y="3306998"/>
                    </a:lnTo>
                    <a:lnTo>
                      <a:pt x="1391416" y="3306998"/>
                    </a:lnTo>
                    <a:lnTo>
                      <a:pt x="1400946" y="3306998"/>
                    </a:lnTo>
                    <a:lnTo>
                      <a:pt x="1439067" y="3306998"/>
                    </a:lnTo>
                    <a:lnTo>
                      <a:pt x="1481953" y="3321294"/>
                    </a:lnTo>
                    <a:lnTo>
                      <a:pt x="1472423" y="3354650"/>
                    </a:lnTo>
                    <a:lnTo>
                      <a:pt x="1458128" y="3368945"/>
                    </a:lnTo>
                    <a:lnTo>
                      <a:pt x="1420006" y="3364180"/>
                    </a:lnTo>
                    <a:lnTo>
                      <a:pt x="1381885" y="3368945"/>
                    </a:lnTo>
                    <a:lnTo>
                      <a:pt x="1362825" y="3388006"/>
                    </a:lnTo>
                    <a:lnTo>
                      <a:pt x="1348530" y="3407066"/>
                    </a:lnTo>
                    <a:lnTo>
                      <a:pt x="1348530" y="3430892"/>
                    </a:lnTo>
                    <a:lnTo>
                      <a:pt x="1338999" y="3440422"/>
                    </a:lnTo>
                    <a:lnTo>
                      <a:pt x="1329469" y="3445187"/>
                    </a:lnTo>
                    <a:lnTo>
                      <a:pt x="1324704" y="3430892"/>
                    </a:lnTo>
                    <a:lnTo>
                      <a:pt x="1315174" y="3397536"/>
                    </a:lnTo>
                    <a:lnTo>
                      <a:pt x="1310408" y="3388006"/>
                    </a:lnTo>
                    <a:lnTo>
                      <a:pt x="1300879" y="3383240"/>
                    </a:lnTo>
                    <a:lnTo>
                      <a:pt x="1281818" y="3368945"/>
                    </a:lnTo>
                    <a:lnTo>
                      <a:pt x="1262758" y="3364180"/>
                    </a:lnTo>
                    <a:lnTo>
                      <a:pt x="1248462" y="3359415"/>
                    </a:lnTo>
                    <a:lnTo>
                      <a:pt x="1243697" y="3349885"/>
                    </a:lnTo>
                    <a:lnTo>
                      <a:pt x="1238932" y="3330824"/>
                    </a:lnTo>
                    <a:lnTo>
                      <a:pt x="1229402" y="3321294"/>
                    </a:lnTo>
                    <a:lnTo>
                      <a:pt x="1215106" y="3306998"/>
                    </a:lnTo>
                    <a:lnTo>
                      <a:pt x="1196046" y="3297468"/>
                    </a:lnTo>
                    <a:lnTo>
                      <a:pt x="1148395" y="3273643"/>
                    </a:lnTo>
                    <a:lnTo>
                      <a:pt x="1129334" y="3273643"/>
                    </a:lnTo>
                    <a:lnTo>
                      <a:pt x="1115039" y="3273643"/>
                    </a:lnTo>
                    <a:lnTo>
                      <a:pt x="1095978" y="3283173"/>
                    </a:lnTo>
                    <a:lnTo>
                      <a:pt x="1081683" y="3302233"/>
                    </a:lnTo>
                    <a:lnTo>
                      <a:pt x="1062622" y="3311764"/>
                    </a:lnTo>
                    <a:lnTo>
                      <a:pt x="1043562" y="3316529"/>
                    </a:lnTo>
                    <a:lnTo>
                      <a:pt x="1024501" y="3306998"/>
                    </a:lnTo>
                    <a:lnTo>
                      <a:pt x="1010206" y="3292703"/>
                    </a:lnTo>
                    <a:lnTo>
                      <a:pt x="1000676" y="3283173"/>
                    </a:lnTo>
                    <a:lnTo>
                      <a:pt x="995911" y="3264112"/>
                    </a:lnTo>
                    <a:lnTo>
                      <a:pt x="995911" y="3245052"/>
                    </a:lnTo>
                    <a:lnTo>
                      <a:pt x="1000676" y="3225991"/>
                    </a:lnTo>
                    <a:lnTo>
                      <a:pt x="1005441" y="3183105"/>
                    </a:lnTo>
                    <a:close/>
                    <a:moveTo>
                      <a:pt x="1934639" y="2211019"/>
                    </a:moveTo>
                    <a:lnTo>
                      <a:pt x="1929874" y="2215784"/>
                    </a:lnTo>
                    <a:lnTo>
                      <a:pt x="1915579" y="2230079"/>
                    </a:lnTo>
                    <a:lnTo>
                      <a:pt x="1886988" y="2253905"/>
                    </a:lnTo>
                    <a:lnTo>
                      <a:pt x="1886988" y="2253905"/>
                    </a:lnTo>
                    <a:lnTo>
                      <a:pt x="1882223" y="2253905"/>
                    </a:lnTo>
                    <a:lnTo>
                      <a:pt x="1882223" y="2249140"/>
                    </a:lnTo>
                    <a:lnTo>
                      <a:pt x="1901283" y="2234845"/>
                    </a:lnTo>
                    <a:close/>
                    <a:moveTo>
                      <a:pt x="3392769" y="0"/>
                    </a:moveTo>
                    <a:lnTo>
                      <a:pt x="3407064" y="4765"/>
                    </a:lnTo>
                    <a:lnTo>
                      <a:pt x="3388004" y="14295"/>
                    </a:lnTo>
                    <a:lnTo>
                      <a:pt x="3378473" y="33356"/>
                    </a:lnTo>
                    <a:lnTo>
                      <a:pt x="3392769" y="57182"/>
                    </a:lnTo>
                    <a:lnTo>
                      <a:pt x="3497602" y="109598"/>
                    </a:lnTo>
                    <a:lnTo>
                      <a:pt x="3521427" y="109598"/>
                    </a:lnTo>
                    <a:lnTo>
                      <a:pt x="3530957" y="142954"/>
                    </a:lnTo>
                    <a:lnTo>
                      <a:pt x="3526192" y="171545"/>
                    </a:lnTo>
                    <a:lnTo>
                      <a:pt x="3497602" y="200135"/>
                    </a:lnTo>
                    <a:lnTo>
                      <a:pt x="3445185" y="233491"/>
                    </a:lnTo>
                    <a:lnTo>
                      <a:pt x="3459481" y="247787"/>
                    </a:lnTo>
                    <a:lnTo>
                      <a:pt x="3469011" y="276377"/>
                    </a:lnTo>
                    <a:lnTo>
                      <a:pt x="3488071" y="276377"/>
                    </a:lnTo>
                    <a:lnTo>
                      <a:pt x="3511897" y="266847"/>
                    </a:lnTo>
                    <a:lnTo>
                      <a:pt x="3530957" y="247787"/>
                    </a:lnTo>
                    <a:lnTo>
                      <a:pt x="3573844" y="190605"/>
                    </a:lnTo>
                    <a:lnTo>
                      <a:pt x="3588139" y="162014"/>
                    </a:lnTo>
                    <a:lnTo>
                      <a:pt x="3597669" y="152484"/>
                    </a:lnTo>
                    <a:lnTo>
                      <a:pt x="3631025" y="157249"/>
                    </a:lnTo>
                    <a:lnTo>
                      <a:pt x="3650086" y="176310"/>
                    </a:lnTo>
                    <a:lnTo>
                      <a:pt x="3673911" y="204900"/>
                    </a:lnTo>
                    <a:lnTo>
                      <a:pt x="3664381" y="233491"/>
                    </a:lnTo>
                    <a:lnTo>
                      <a:pt x="3654851" y="247787"/>
                    </a:lnTo>
                    <a:lnTo>
                      <a:pt x="3688207" y="271612"/>
                    </a:lnTo>
                    <a:lnTo>
                      <a:pt x="3716797" y="276377"/>
                    </a:lnTo>
                    <a:lnTo>
                      <a:pt x="3750153" y="295438"/>
                    </a:lnTo>
                    <a:lnTo>
                      <a:pt x="3793039" y="257317"/>
                    </a:lnTo>
                    <a:lnTo>
                      <a:pt x="3826395" y="247787"/>
                    </a:lnTo>
                    <a:lnTo>
                      <a:pt x="3859751" y="252552"/>
                    </a:lnTo>
                    <a:lnTo>
                      <a:pt x="3897872" y="233491"/>
                    </a:lnTo>
                    <a:lnTo>
                      <a:pt x="3969349" y="257317"/>
                    </a:lnTo>
                    <a:lnTo>
                      <a:pt x="3988410" y="252552"/>
                    </a:lnTo>
                    <a:lnTo>
                      <a:pt x="4017000" y="257317"/>
                    </a:lnTo>
                    <a:lnTo>
                      <a:pt x="4045591" y="271612"/>
                    </a:lnTo>
                    <a:lnTo>
                      <a:pt x="4055121" y="290673"/>
                    </a:lnTo>
                    <a:lnTo>
                      <a:pt x="4021765" y="324029"/>
                    </a:lnTo>
                    <a:lnTo>
                      <a:pt x="4017000" y="362150"/>
                    </a:lnTo>
                    <a:lnTo>
                      <a:pt x="4031296" y="381210"/>
                    </a:lnTo>
                    <a:lnTo>
                      <a:pt x="4050356" y="381210"/>
                    </a:lnTo>
                    <a:lnTo>
                      <a:pt x="4050356" y="405036"/>
                    </a:lnTo>
                    <a:lnTo>
                      <a:pt x="4064652" y="409801"/>
                    </a:lnTo>
                    <a:lnTo>
                      <a:pt x="4126598" y="409801"/>
                    </a:lnTo>
                    <a:lnTo>
                      <a:pt x="4121833" y="419331"/>
                    </a:lnTo>
                    <a:lnTo>
                      <a:pt x="4121833" y="428861"/>
                    </a:lnTo>
                    <a:lnTo>
                      <a:pt x="4102773" y="457452"/>
                    </a:lnTo>
                    <a:lnTo>
                      <a:pt x="4212371" y="471748"/>
                    </a:lnTo>
                    <a:lnTo>
                      <a:pt x="4226666" y="457452"/>
                    </a:lnTo>
                    <a:lnTo>
                      <a:pt x="4250492" y="452687"/>
                    </a:lnTo>
                    <a:lnTo>
                      <a:pt x="4302908" y="433627"/>
                    </a:lnTo>
                    <a:lnTo>
                      <a:pt x="4317203" y="438392"/>
                    </a:lnTo>
                    <a:lnTo>
                      <a:pt x="4341029" y="462217"/>
                    </a:lnTo>
                    <a:lnTo>
                      <a:pt x="4360090" y="466982"/>
                    </a:lnTo>
                    <a:lnTo>
                      <a:pt x="4379150" y="462217"/>
                    </a:lnTo>
                    <a:lnTo>
                      <a:pt x="4426801" y="433627"/>
                    </a:lnTo>
                    <a:lnTo>
                      <a:pt x="4474453" y="428861"/>
                    </a:lnTo>
                    <a:lnTo>
                      <a:pt x="4498278" y="438392"/>
                    </a:lnTo>
                    <a:lnTo>
                      <a:pt x="4517339" y="433627"/>
                    </a:lnTo>
                    <a:lnTo>
                      <a:pt x="4584051" y="471748"/>
                    </a:lnTo>
                    <a:lnTo>
                      <a:pt x="4607876" y="476513"/>
                    </a:lnTo>
                    <a:lnTo>
                      <a:pt x="4641232" y="519399"/>
                    </a:lnTo>
                    <a:lnTo>
                      <a:pt x="4660293" y="524164"/>
                    </a:lnTo>
                    <a:lnTo>
                      <a:pt x="4679353" y="500338"/>
                    </a:lnTo>
                    <a:lnTo>
                      <a:pt x="4693648" y="505103"/>
                    </a:lnTo>
                    <a:lnTo>
                      <a:pt x="4712709" y="524164"/>
                    </a:lnTo>
                    <a:lnTo>
                      <a:pt x="4736535" y="528929"/>
                    </a:lnTo>
                    <a:lnTo>
                      <a:pt x="4750830" y="557520"/>
                    </a:lnTo>
                    <a:lnTo>
                      <a:pt x="4765125" y="567050"/>
                    </a:lnTo>
                    <a:lnTo>
                      <a:pt x="4865193" y="590876"/>
                    </a:lnTo>
                    <a:lnTo>
                      <a:pt x="4912844" y="581345"/>
                    </a:lnTo>
                    <a:lnTo>
                      <a:pt x="4984321" y="581345"/>
                    </a:lnTo>
                    <a:lnTo>
                      <a:pt x="5017677" y="595641"/>
                    </a:lnTo>
                    <a:lnTo>
                      <a:pt x="5055798" y="595641"/>
                    </a:lnTo>
                    <a:lnTo>
                      <a:pt x="5117745" y="643292"/>
                    </a:lnTo>
                    <a:lnTo>
                      <a:pt x="5146336" y="652822"/>
                    </a:lnTo>
                    <a:lnTo>
                      <a:pt x="5155866" y="662353"/>
                    </a:lnTo>
                    <a:lnTo>
                      <a:pt x="5246403" y="676648"/>
                    </a:lnTo>
                    <a:lnTo>
                      <a:pt x="5274994" y="648057"/>
                    </a:lnTo>
                    <a:lnTo>
                      <a:pt x="5332176" y="643292"/>
                    </a:lnTo>
                    <a:lnTo>
                      <a:pt x="5379827" y="619467"/>
                    </a:lnTo>
                    <a:lnTo>
                      <a:pt x="5408418" y="619467"/>
                    </a:lnTo>
                    <a:lnTo>
                      <a:pt x="5441773" y="624232"/>
                    </a:lnTo>
                    <a:lnTo>
                      <a:pt x="5456069" y="624232"/>
                    </a:lnTo>
                    <a:lnTo>
                      <a:pt x="5465599" y="614701"/>
                    </a:lnTo>
                    <a:lnTo>
                      <a:pt x="5541841" y="652822"/>
                    </a:lnTo>
                    <a:lnTo>
                      <a:pt x="5589492" y="695709"/>
                    </a:lnTo>
                    <a:lnTo>
                      <a:pt x="5608553" y="724299"/>
                    </a:lnTo>
                    <a:lnTo>
                      <a:pt x="5699090" y="771951"/>
                    </a:lnTo>
                    <a:lnTo>
                      <a:pt x="5727681" y="795776"/>
                    </a:lnTo>
                    <a:lnTo>
                      <a:pt x="5746742" y="824367"/>
                    </a:lnTo>
                    <a:lnTo>
                      <a:pt x="5756272" y="829132"/>
                    </a:lnTo>
                    <a:lnTo>
                      <a:pt x="5765802" y="819602"/>
                    </a:lnTo>
                    <a:lnTo>
                      <a:pt x="5799158" y="819602"/>
                    </a:lnTo>
                    <a:lnTo>
                      <a:pt x="5808688" y="824367"/>
                    </a:lnTo>
                    <a:lnTo>
                      <a:pt x="5808688" y="4317205"/>
                    </a:lnTo>
                    <a:lnTo>
                      <a:pt x="5884930" y="4345795"/>
                    </a:lnTo>
                    <a:lnTo>
                      <a:pt x="5894461" y="4317205"/>
                    </a:lnTo>
                    <a:lnTo>
                      <a:pt x="5937347" y="4336265"/>
                    </a:lnTo>
                    <a:lnTo>
                      <a:pt x="5970703" y="4355326"/>
                    </a:lnTo>
                    <a:lnTo>
                      <a:pt x="5994528" y="4331501"/>
                    </a:lnTo>
                    <a:lnTo>
                      <a:pt x="6018354" y="4307675"/>
                    </a:lnTo>
                    <a:lnTo>
                      <a:pt x="6051710" y="4307675"/>
                    </a:lnTo>
                    <a:lnTo>
                      <a:pt x="6085066" y="4307675"/>
                    </a:lnTo>
                    <a:lnTo>
                      <a:pt x="6108891" y="4302909"/>
                    </a:lnTo>
                    <a:lnTo>
                      <a:pt x="6108891" y="4326735"/>
                    </a:lnTo>
                    <a:lnTo>
                      <a:pt x="6099361" y="4360091"/>
                    </a:lnTo>
                    <a:lnTo>
                      <a:pt x="6094596" y="4383917"/>
                    </a:lnTo>
                    <a:lnTo>
                      <a:pt x="6113657" y="4412507"/>
                    </a:lnTo>
                    <a:lnTo>
                      <a:pt x="6142247" y="4426803"/>
                    </a:lnTo>
                    <a:lnTo>
                      <a:pt x="6170838" y="4441099"/>
                    </a:lnTo>
                    <a:lnTo>
                      <a:pt x="6180368" y="4479219"/>
                    </a:lnTo>
                    <a:lnTo>
                      <a:pt x="6208959" y="4512575"/>
                    </a:lnTo>
                    <a:lnTo>
                      <a:pt x="6228020" y="4531635"/>
                    </a:lnTo>
                    <a:lnTo>
                      <a:pt x="6247080" y="4555461"/>
                    </a:lnTo>
                    <a:lnTo>
                      <a:pt x="6280436" y="4584052"/>
                    </a:lnTo>
                    <a:lnTo>
                      <a:pt x="6299497" y="4607877"/>
                    </a:lnTo>
                    <a:lnTo>
                      <a:pt x="6328087" y="4631703"/>
                    </a:lnTo>
                    <a:lnTo>
                      <a:pt x="6342383" y="4650764"/>
                    </a:lnTo>
                    <a:lnTo>
                      <a:pt x="6351913" y="4684120"/>
                    </a:lnTo>
                    <a:lnTo>
                      <a:pt x="6356678" y="4722241"/>
                    </a:lnTo>
                    <a:lnTo>
                      <a:pt x="6351913" y="4746067"/>
                    </a:lnTo>
                    <a:lnTo>
                      <a:pt x="6366208" y="4750831"/>
                    </a:lnTo>
                    <a:lnTo>
                      <a:pt x="6390034" y="4722241"/>
                    </a:lnTo>
                    <a:lnTo>
                      <a:pt x="6413860" y="4707945"/>
                    </a:lnTo>
                    <a:lnTo>
                      <a:pt x="6442450" y="4688885"/>
                    </a:lnTo>
                    <a:lnTo>
                      <a:pt x="6466276" y="4674589"/>
                    </a:lnTo>
                    <a:lnTo>
                      <a:pt x="6499632" y="4674589"/>
                    </a:lnTo>
                    <a:lnTo>
                      <a:pt x="6518692" y="4636469"/>
                    </a:lnTo>
                    <a:lnTo>
                      <a:pt x="6518692" y="4579287"/>
                    </a:lnTo>
                    <a:lnTo>
                      <a:pt x="6537753" y="4579287"/>
                    </a:lnTo>
                    <a:lnTo>
                      <a:pt x="6547283" y="4574522"/>
                    </a:lnTo>
                    <a:lnTo>
                      <a:pt x="6552048" y="4555461"/>
                    </a:lnTo>
                    <a:lnTo>
                      <a:pt x="6542518" y="4536401"/>
                    </a:lnTo>
                    <a:lnTo>
                      <a:pt x="6575874" y="4526871"/>
                    </a:lnTo>
                    <a:lnTo>
                      <a:pt x="6599700" y="4517341"/>
                    </a:lnTo>
                    <a:lnTo>
                      <a:pt x="6637821" y="4498280"/>
                    </a:lnTo>
                    <a:lnTo>
                      <a:pt x="6671176" y="4474454"/>
                    </a:lnTo>
                    <a:lnTo>
                      <a:pt x="6690237" y="4493515"/>
                    </a:lnTo>
                    <a:lnTo>
                      <a:pt x="6704532" y="4507810"/>
                    </a:lnTo>
                    <a:lnTo>
                      <a:pt x="6737888" y="4541166"/>
                    </a:lnTo>
                    <a:lnTo>
                      <a:pt x="6742653" y="4550696"/>
                    </a:lnTo>
                    <a:lnTo>
                      <a:pt x="6737888" y="4569757"/>
                    </a:lnTo>
                    <a:lnTo>
                      <a:pt x="6737888" y="4584052"/>
                    </a:lnTo>
                    <a:lnTo>
                      <a:pt x="6756949" y="4631703"/>
                    </a:lnTo>
                    <a:lnTo>
                      <a:pt x="6761714" y="4636469"/>
                    </a:lnTo>
                    <a:lnTo>
                      <a:pt x="6776009" y="4645999"/>
                    </a:lnTo>
                    <a:lnTo>
                      <a:pt x="6799835" y="4660294"/>
                    </a:lnTo>
                    <a:lnTo>
                      <a:pt x="6804600" y="4674589"/>
                    </a:lnTo>
                    <a:lnTo>
                      <a:pt x="6833191" y="4693650"/>
                    </a:lnTo>
                    <a:lnTo>
                      <a:pt x="6837956" y="4703181"/>
                    </a:lnTo>
                    <a:lnTo>
                      <a:pt x="6842721" y="4717475"/>
                    </a:lnTo>
                    <a:lnTo>
                      <a:pt x="6847486" y="4731771"/>
                    </a:lnTo>
                    <a:lnTo>
                      <a:pt x="6852251" y="4736536"/>
                    </a:lnTo>
                    <a:lnTo>
                      <a:pt x="6857016" y="4750831"/>
                    </a:lnTo>
                    <a:lnTo>
                      <a:pt x="6866547" y="4765127"/>
                    </a:lnTo>
                    <a:lnTo>
                      <a:pt x="6895137" y="4779423"/>
                    </a:lnTo>
                    <a:lnTo>
                      <a:pt x="6909433" y="4793717"/>
                    </a:lnTo>
                    <a:lnTo>
                      <a:pt x="6933258" y="4808013"/>
                    </a:lnTo>
                    <a:lnTo>
                      <a:pt x="6952319" y="4841369"/>
                    </a:lnTo>
                    <a:lnTo>
                      <a:pt x="6976145" y="4869959"/>
                    </a:lnTo>
                    <a:lnTo>
                      <a:pt x="6995205" y="4898551"/>
                    </a:lnTo>
                    <a:lnTo>
                      <a:pt x="6995205" y="4917611"/>
                    </a:lnTo>
                    <a:lnTo>
                      <a:pt x="7014266" y="4950967"/>
                    </a:lnTo>
                    <a:lnTo>
                      <a:pt x="7042856" y="4993853"/>
                    </a:lnTo>
                    <a:lnTo>
                      <a:pt x="7057152" y="5031974"/>
                    </a:lnTo>
                    <a:lnTo>
                      <a:pt x="7071447" y="5055799"/>
                    </a:lnTo>
                    <a:lnTo>
                      <a:pt x="7090508" y="5084391"/>
                    </a:lnTo>
                    <a:lnTo>
                      <a:pt x="7109568" y="5122511"/>
                    </a:lnTo>
                    <a:lnTo>
                      <a:pt x="7128629" y="5165397"/>
                    </a:lnTo>
                    <a:lnTo>
                      <a:pt x="7147689" y="5193989"/>
                    </a:lnTo>
                    <a:lnTo>
                      <a:pt x="7166750" y="5232109"/>
                    </a:lnTo>
                    <a:lnTo>
                      <a:pt x="7181045" y="5251170"/>
                    </a:lnTo>
                    <a:lnTo>
                      <a:pt x="7171515" y="5270231"/>
                    </a:lnTo>
                    <a:lnTo>
                      <a:pt x="7161985" y="5284525"/>
                    </a:lnTo>
                    <a:lnTo>
                      <a:pt x="7190575" y="5294056"/>
                    </a:lnTo>
                    <a:lnTo>
                      <a:pt x="7209636" y="5303586"/>
                    </a:lnTo>
                    <a:lnTo>
                      <a:pt x="7204871" y="5322647"/>
                    </a:lnTo>
                    <a:lnTo>
                      <a:pt x="7200106" y="5351237"/>
                    </a:lnTo>
                    <a:lnTo>
                      <a:pt x="7219166" y="5360768"/>
                    </a:lnTo>
                    <a:lnTo>
                      <a:pt x="7238227" y="5370298"/>
                    </a:lnTo>
                    <a:lnTo>
                      <a:pt x="7233461" y="5384593"/>
                    </a:lnTo>
                    <a:lnTo>
                      <a:pt x="7242992" y="5398889"/>
                    </a:lnTo>
                    <a:lnTo>
                      <a:pt x="7242992" y="5427479"/>
                    </a:lnTo>
                    <a:lnTo>
                      <a:pt x="7271582" y="5422715"/>
                    </a:lnTo>
                    <a:lnTo>
                      <a:pt x="7281113" y="5422715"/>
                    </a:lnTo>
                    <a:lnTo>
                      <a:pt x="7300173" y="5437010"/>
                    </a:lnTo>
                    <a:lnTo>
                      <a:pt x="7319234" y="5451305"/>
                    </a:lnTo>
                    <a:lnTo>
                      <a:pt x="7338294" y="5465601"/>
                    </a:lnTo>
                    <a:lnTo>
                      <a:pt x="7357355" y="5479896"/>
                    </a:lnTo>
                    <a:lnTo>
                      <a:pt x="7381180" y="5484661"/>
                    </a:lnTo>
                    <a:lnTo>
                      <a:pt x="7409771" y="5498957"/>
                    </a:lnTo>
                    <a:lnTo>
                      <a:pt x="7428832" y="5518017"/>
                    </a:lnTo>
                    <a:lnTo>
                      <a:pt x="7452657" y="5527547"/>
                    </a:lnTo>
                    <a:lnTo>
                      <a:pt x="7462188" y="5556138"/>
                    </a:lnTo>
                    <a:lnTo>
                      <a:pt x="7495543" y="5570433"/>
                    </a:lnTo>
                    <a:lnTo>
                      <a:pt x="7514604" y="5560903"/>
                    </a:lnTo>
                    <a:lnTo>
                      <a:pt x="7519369" y="5575199"/>
                    </a:lnTo>
                    <a:lnTo>
                      <a:pt x="7524134" y="5589494"/>
                    </a:lnTo>
                    <a:lnTo>
                      <a:pt x="7524134" y="5608555"/>
                    </a:lnTo>
                    <a:lnTo>
                      <a:pt x="7524134" y="5622850"/>
                    </a:lnTo>
                    <a:lnTo>
                      <a:pt x="7514604" y="5637145"/>
                    </a:lnTo>
                    <a:lnTo>
                      <a:pt x="7509839" y="5656205"/>
                    </a:lnTo>
                    <a:lnTo>
                      <a:pt x="7505074" y="5670501"/>
                    </a:lnTo>
                    <a:lnTo>
                      <a:pt x="7505074" y="5689561"/>
                    </a:lnTo>
                    <a:lnTo>
                      <a:pt x="7505074" y="5708622"/>
                    </a:lnTo>
                    <a:lnTo>
                      <a:pt x="7509839" y="5722917"/>
                    </a:lnTo>
                    <a:lnTo>
                      <a:pt x="7519369" y="5756273"/>
                    </a:lnTo>
                    <a:lnTo>
                      <a:pt x="7524134" y="5775334"/>
                    </a:lnTo>
                    <a:lnTo>
                      <a:pt x="7524134" y="5784864"/>
                    </a:lnTo>
                    <a:lnTo>
                      <a:pt x="7500309" y="5832515"/>
                    </a:lnTo>
                    <a:lnTo>
                      <a:pt x="7495543" y="5851576"/>
                    </a:lnTo>
                    <a:lnTo>
                      <a:pt x="7495543" y="5861106"/>
                    </a:lnTo>
                    <a:lnTo>
                      <a:pt x="7481248" y="5884931"/>
                    </a:lnTo>
                    <a:lnTo>
                      <a:pt x="7452657" y="5913523"/>
                    </a:lnTo>
                    <a:lnTo>
                      <a:pt x="7438362" y="5932583"/>
                    </a:lnTo>
                    <a:lnTo>
                      <a:pt x="7433597" y="5927818"/>
                    </a:lnTo>
                    <a:lnTo>
                      <a:pt x="7395476" y="5918287"/>
                    </a:lnTo>
                    <a:lnTo>
                      <a:pt x="7381180" y="5880167"/>
                    </a:lnTo>
                    <a:lnTo>
                      <a:pt x="7376415" y="5851576"/>
                    </a:lnTo>
                    <a:lnTo>
                      <a:pt x="7366885" y="5822985"/>
                    </a:lnTo>
                    <a:lnTo>
                      <a:pt x="7366885" y="5818220"/>
                    </a:lnTo>
                    <a:lnTo>
                      <a:pt x="7376415" y="5803925"/>
                    </a:lnTo>
                    <a:lnTo>
                      <a:pt x="7409771" y="5784864"/>
                    </a:lnTo>
                    <a:lnTo>
                      <a:pt x="7409771" y="5780099"/>
                    </a:lnTo>
                    <a:lnTo>
                      <a:pt x="7400241" y="5775334"/>
                    </a:lnTo>
                    <a:lnTo>
                      <a:pt x="7395476" y="5770569"/>
                    </a:lnTo>
                    <a:lnTo>
                      <a:pt x="7390711" y="5741978"/>
                    </a:lnTo>
                    <a:lnTo>
                      <a:pt x="7390711" y="5718153"/>
                    </a:lnTo>
                    <a:lnTo>
                      <a:pt x="7390711" y="5699092"/>
                    </a:lnTo>
                    <a:lnTo>
                      <a:pt x="7385946" y="5665736"/>
                    </a:lnTo>
                    <a:lnTo>
                      <a:pt x="7376415" y="5646675"/>
                    </a:lnTo>
                    <a:lnTo>
                      <a:pt x="7352590" y="5603789"/>
                    </a:lnTo>
                    <a:lnTo>
                      <a:pt x="7347825" y="5594259"/>
                    </a:lnTo>
                    <a:lnTo>
                      <a:pt x="7362120" y="5579963"/>
                    </a:lnTo>
                    <a:lnTo>
                      <a:pt x="7366885" y="5565668"/>
                    </a:lnTo>
                    <a:lnTo>
                      <a:pt x="7328764" y="5589494"/>
                    </a:lnTo>
                    <a:lnTo>
                      <a:pt x="7271582" y="5613319"/>
                    </a:lnTo>
                    <a:lnTo>
                      <a:pt x="7247757" y="5627615"/>
                    </a:lnTo>
                    <a:lnTo>
                      <a:pt x="7242992" y="5632380"/>
                    </a:lnTo>
                    <a:lnTo>
                      <a:pt x="7242992" y="5637145"/>
                    </a:lnTo>
                    <a:lnTo>
                      <a:pt x="7247757" y="5651441"/>
                    </a:lnTo>
                    <a:lnTo>
                      <a:pt x="7247757" y="5656205"/>
                    </a:lnTo>
                    <a:lnTo>
                      <a:pt x="7242992" y="5665736"/>
                    </a:lnTo>
                    <a:lnTo>
                      <a:pt x="7238227" y="5689561"/>
                    </a:lnTo>
                    <a:lnTo>
                      <a:pt x="7223931" y="5718153"/>
                    </a:lnTo>
                    <a:lnTo>
                      <a:pt x="7219166" y="5722917"/>
                    </a:lnTo>
                    <a:lnTo>
                      <a:pt x="7195340" y="5713387"/>
                    </a:lnTo>
                    <a:lnTo>
                      <a:pt x="7190575" y="5703857"/>
                    </a:lnTo>
                    <a:lnTo>
                      <a:pt x="7181045" y="5670501"/>
                    </a:lnTo>
                    <a:lnTo>
                      <a:pt x="7181045" y="5660971"/>
                    </a:lnTo>
                    <a:lnTo>
                      <a:pt x="7190575" y="5656205"/>
                    </a:lnTo>
                    <a:lnTo>
                      <a:pt x="7200106" y="5637145"/>
                    </a:lnTo>
                    <a:lnTo>
                      <a:pt x="7214401" y="5613319"/>
                    </a:lnTo>
                    <a:lnTo>
                      <a:pt x="7238227" y="5546607"/>
                    </a:lnTo>
                    <a:lnTo>
                      <a:pt x="7257287" y="5546607"/>
                    </a:lnTo>
                    <a:lnTo>
                      <a:pt x="7285878" y="5537077"/>
                    </a:lnTo>
                    <a:lnTo>
                      <a:pt x="7238227" y="5527547"/>
                    </a:lnTo>
                    <a:lnTo>
                      <a:pt x="7233461" y="5522782"/>
                    </a:lnTo>
                    <a:lnTo>
                      <a:pt x="7228696" y="5518017"/>
                    </a:lnTo>
                    <a:lnTo>
                      <a:pt x="7219166" y="5503721"/>
                    </a:lnTo>
                    <a:lnTo>
                      <a:pt x="7214401" y="5484661"/>
                    </a:lnTo>
                    <a:lnTo>
                      <a:pt x="7195340" y="5479896"/>
                    </a:lnTo>
                    <a:lnTo>
                      <a:pt x="7185810" y="5475131"/>
                    </a:lnTo>
                    <a:lnTo>
                      <a:pt x="7176280" y="5456071"/>
                    </a:lnTo>
                    <a:lnTo>
                      <a:pt x="7166750" y="5446540"/>
                    </a:lnTo>
                    <a:lnTo>
                      <a:pt x="7161985" y="5437010"/>
                    </a:lnTo>
                    <a:lnTo>
                      <a:pt x="7161985" y="5422715"/>
                    </a:lnTo>
                    <a:lnTo>
                      <a:pt x="7161985" y="5417949"/>
                    </a:lnTo>
                    <a:lnTo>
                      <a:pt x="7147689" y="5413184"/>
                    </a:lnTo>
                    <a:lnTo>
                      <a:pt x="7142924" y="5408419"/>
                    </a:lnTo>
                    <a:lnTo>
                      <a:pt x="7138159" y="5375063"/>
                    </a:lnTo>
                    <a:lnTo>
                      <a:pt x="7114333" y="5365533"/>
                    </a:lnTo>
                    <a:lnTo>
                      <a:pt x="7104803" y="5360768"/>
                    </a:lnTo>
                    <a:lnTo>
                      <a:pt x="7090508" y="5341707"/>
                    </a:lnTo>
                    <a:lnTo>
                      <a:pt x="7085743" y="5327412"/>
                    </a:lnTo>
                    <a:lnTo>
                      <a:pt x="7085743" y="5322647"/>
                    </a:lnTo>
                    <a:lnTo>
                      <a:pt x="7090508" y="5298821"/>
                    </a:lnTo>
                    <a:lnTo>
                      <a:pt x="7085743" y="5294056"/>
                    </a:lnTo>
                    <a:lnTo>
                      <a:pt x="7071447" y="5294056"/>
                    </a:lnTo>
                    <a:lnTo>
                      <a:pt x="6985675" y="5260700"/>
                    </a:lnTo>
                    <a:lnTo>
                      <a:pt x="6990440" y="5213049"/>
                    </a:lnTo>
                    <a:lnTo>
                      <a:pt x="6976145" y="5151102"/>
                    </a:lnTo>
                    <a:lnTo>
                      <a:pt x="6957084" y="5122511"/>
                    </a:lnTo>
                    <a:lnTo>
                      <a:pt x="6961849" y="5112981"/>
                    </a:lnTo>
                    <a:lnTo>
                      <a:pt x="6966614" y="5108216"/>
                    </a:lnTo>
                    <a:lnTo>
                      <a:pt x="6971379" y="5108216"/>
                    </a:lnTo>
                    <a:lnTo>
                      <a:pt x="7004735" y="5127277"/>
                    </a:lnTo>
                    <a:lnTo>
                      <a:pt x="7038091" y="5151102"/>
                    </a:lnTo>
                    <a:lnTo>
                      <a:pt x="7042856" y="5146337"/>
                    </a:lnTo>
                    <a:lnTo>
                      <a:pt x="6990440" y="5098686"/>
                    </a:lnTo>
                    <a:lnTo>
                      <a:pt x="6980910" y="5084391"/>
                    </a:lnTo>
                    <a:lnTo>
                      <a:pt x="6976145" y="5070095"/>
                    </a:lnTo>
                    <a:lnTo>
                      <a:pt x="6976145" y="5060565"/>
                    </a:lnTo>
                    <a:lnTo>
                      <a:pt x="6980910" y="5055799"/>
                    </a:lnTo>
                    <a:lnTo>
                      <a:pt x="7023796" y="5060565"/>
                    </a:lnTo>
                    <a:lnTo>
                      <a:pt x="7028561" y="5055799"/>
                    </a:lnTo>
                    <a:lnTo>
                      <a:pt x="6980910" y="5041505"/>
                    </a:lnTo>
                    <a:lnTo>
                      <a:pt x="6971379" y="5041505"/>
                    </a:lnTo>
                    <a:lnTo>
                      <a:pt x="6961849" y="5060565"/>
                    </a:lnTo>
                    <a:lnTo>
                      <a:pt x="6957084" y="5065330"/>
                    </a:lnTo>
                    <a:lnTo>
                      <a:pt x="6947554" y="5065330"/>
                    </a:lnTo>
                    <a:lnTo>
                      <a:pt x="6942789" y="5060565"/>
                    </a:lnTo>
                    <a:lnTo>
                      <a:pt x="6933258" y="5036739"/>
                    </a:lnTo>
                    <a:lnTo>
                      <a:pt x="6918963" y="5022444"/>
                    </a:lnTo>
                    <a:lnTo>
                      <a:pt x="6899903" y="4998618"/>
                    </a:lnTo>
                    <a:lnTo>
                      <a:pt x="6895137" y="4979557"/>
                    </a:lnTo>
                    <a:lnTo>
                      <a:pt x="6895137" y="4955732"/>
                    </a:lnTo>
                    <a:lnTo>
                      <a:pt x="6895137" y="4931907"/>
                    </a:lnTo>
                    <a:lnTo>
                      <a:pt x="6914198" y="4879490"/>
                    </a:lnTo>
                    <a:lnTo>
                      <a:pt x="6918963" y="4869959"/>
                    </a:lnTo>
                    <a:lnTo>
                      <a:pt x="6923728" y="4865195"/>
                    </a:lnTo>
                    <a:lnTo>
                      <a:pt x="6918963" y="4865195"/>
                    </a:lnTo>
                    <a:lnTo>
                      <a:pt x="6914198" y="4869959"/>
                    </a:lnTo>
                    <a:lnTo>
                      <a:pt x="6899903" y="4893785"/>
                    </a:lnTo>
                    <a:lnTo>
                      <a:pt x="6880842" y="4936671"/>
                    </a:lnTo>
                    <a:lnTo>
                      <a:pt x="6871312" y="4950967"/>
                    </a:lnTo>
                    <a:lnTo>
                      <a:pt x="6861782" y="4946201"/>
                    </a:lnTo>
                    <a:lnTo>
                      <a:pt x="6852251" y="4931907"/>
                    </a:lnTo>
                    <a:lnTo>
                      <a:pt x="6828426" y="4908081"/>
                    </a:lnTo>
                    <a:lnTo>
                      <a:pt x="6799835" y="4903315"/>
                    </a:lnTo>
                    <a:lnTo>
                      <a:pt x="6780774" y="4884255"/>
                    </a:lnTo>
                    <a:lnTo>
                      <a:pt x="6756949" y="4827073"/>
                    </a:lnTo>
                    <a:lnTo>
                      <a:pt x="6752184" y="4798483"/>
                    </a:lnTo>
                    <a:lnTo>
                      <a:pt x="6747418" y="4788953"/>
                    </a:lnTo>
                    <a:lnTo>
                      <a:pt x="6733123" y="4779423"/>
                    </a:lnTo>
                    <a:lnTo>
                      <a:pt x="6728358" y="4765127"/>
                    </a:lnTo>
                    <a:lnTo>
                      <a:pt x="6714063" y="4698415"/>
                    </a:lnTo>
                    <a:lnTo>
                      <a:pt x="6695002" y="4645999"/>
                    </a:lnTo>
                    <a:lnTo>
                      <a:pt x="6690237" y="4622173"/>
                    </a:lnTo>
                    <a:lnTo>
                      <a:pt x="6690237" y="4593583"/>
                    </a:lnTo>
                    <a:lnTo>
                      <a:pt x="6685472" y="4612643"/>
                    </a:lnTo>
                    <a:lnTo>
                      <a:pt x="6680707" y="4622173"/>
                    </a:lnTo>
                    <a:lnTo>
                      <a:pt x="6671176" y="4626938"/>
                    </a:lnTo>
                    <a:lnTo>
                      <a:pt x="6680707" y="4645999"/>
                    </a:lnTo>
                    <a:lnTo>
                      <a:pt x="6685472" y="4655529"/>
                    </a:lnTo>
                    <a:lnTo>
                      <a:pt x="6680707" y="4655529"/>
                    </a:lnTo>
                    <a:lnTo>
                      <a:pt x="6666411" y="4660294"/>
                    </a:lnTo>
                    <a:lnTo>
                      <a:pt x="6685472" y="4693650"/>
                    </a:lnTo>
                    <a:lnTo>
                      <a:pt x="6695002" y="4746067"/>
                    </a:lnTo>
                    <a:lnTo>
                      <a:pt x="6704532" y="4788953"/>
                    </a:lnTo>
                    <a:lnTo>
                      <a:pt x="6714063" y="4817543"/>
                    </a:lnTo>
                    <a:lnTo>
                      <a:pt x="6718828" y="4841369"/>
                    </a:lnTo>
                    <a:lnTo>
                      <a:pt x="6723593" y="4865195"/>
                    </a:lnTo>
                    <a:lnTo>
                      <a:pt x="6737888" y="4917611"/>
                    </a:lnTo>
                    <a:lnTo>
                      <a:pt x="6737888" y="4927141"/>
                    </a:lnTo>
                    <a:lnTo>
                      <a:pt x="6737888" y="4936671"/>
                    </a:lnTo>
                    <a:lnTo>
                      <a:pt x="6733123" y="4946201"/>
                    </a:lnTo>
                    <a:lnTo>
                      <a:pt x="6723593" y="4950967"/>
                    </a:lnTo>
                    <a:lnTo>
                      <a:pt x="6699767" y="4941437"/>
                    </a:lnTo>
                    <a:lnTo>
                      <a:pt x="6690237" y="4931907"/>
                    </a:lnTo>
                    <a:lnTo>
                      <a:pt x="6675942" y="4908081"/>
                    </a:lnTo>
                    <a:lnTo>
                      <a:pt x="6656881" y="4898551"/>
                    </a:lnTo>
                    <a:lnTo>
                      <a:pt x="6609230" y="4903315"/>
                    </a:lnTo>
                    <a:lnTo>
                      <a:pt x="6609230" y="4898551"/>
                    </a:lnTo>
                    <a:lnTo>
                      <a:pt x="6609230" y="4879490"/>
                    </a:lnTo>
                    <a:lnTo>
                      <a:pt x="6613995" y="4846134"/>
                    </a:lnTo>
                    <a:lnTo>
                      <a:pt x="6609230" y="4831839"/>
                    </a:lnTo>
                    <a:lnTo>
                      <a:pt x="6585404" y="4784187"/>
                    </a:lnTo>
                    <a:lnTo>
                      <a:pt x="6585404" y="4774657"/>
                    </a:lnTo>
                    <a:lnTo>
                      <a:pt x="6618760" y="4750831"/>
                    </a:lnTo>
                    <a:lnTo>
                      <a:pt x="6599700" y="4750831"/>
                    </a:lnTo>
                    <a:lnTo>
                      <a:pt x="6590169" y="4760362"/>
                    </a:lnTo>
                    <a:lnTo>
                      <a:pt x="6585404" y="4750831"/>
                    </a:lnTo>
                    <a:lnTo>
                      <a:pt x="6575874" y="4722241"/>
                    </a:lnTo>
                    <a:lnTo>
                      <a:pt x="6571109" y="4707945"/>
                    </a:lnTo>
                    <a:lnTo>
                      <a:pt x="6566344" y="4703181"/>
                    </a:lnTo>
                    <a:lnTo>
                      <a:pt x="6566344" y="4736536"/>
                    </a:lnTo>
                    <a:lnTo>
                      <a:pt x="6571109" y="4750831"/>
                    </a:lnTo>
                    <a:lnTo>
                      <a:pt x="6571109" y="4760362"/>
                    </a:lnTo>
                    <a:lnTo>
                      <a:pt x="6571109" y="4774657"/>
                    </a:lnTo>
                    <a:lnTo>
                      <a:pt x="6566344" y="4784187"/>
                    </a:lnTo>
                    <a:lnTo>
                      <a:pt x="6561579" y="4788953"/>
                    </a:lnTo>
                    <a:lnTo>
                      <a:pt x="6556813" y="4788953"/>
                    </a:lnTo>
                    <a:lnTo>
                      <a:pt x="6542518" y="4784187"/>
                    </a:lnTo>
                    <a:lnTo>
                      <a:pt x="6532988" y="4774657"/>
                    </a:lnTo>
                    <a:lnTo>
                      <a:pt x="6518692" y="4765127"/>
                    </a:lnTo>
                    <a:lnTo>
                      <a:pt x="6513927" y="4760362"/>
                    </a:lnTo>
                    <a:lnTo>
                      <a:pt x="6509162" y="4746067"/>
                    </a:lnTo>
                    <a:lnTo>
                      <a:pt x="6504397" y="4736536"/>
                    </a:lnTo>
                    <a:lnTo>
                      <a:pt x="6461511" y="4727006"/>
                    </a:lnTo>
                    <a:lnTo>
                      <a:pt x="6437685" y="4707945"/>
                    </a:lnTo>
                    <a:lnTo>
                      <a:pt x="6432920" y="4712711"/>
                    </a:lnTo>
                    <a:lnTo>
                      <a:pt x="6442450" y="4731771"/>
                    </a:lnTo>
                    <a:lnTo>
                      <a:pt x="6442450" y="4741301"/>
                    </a:lnTo>
                    <a:lnTo>
                      <a:pt x="6437685" y="4741301"/>
                    </a:lnTo>
                    <a:lnTo>
                      <a:pt x="6423390" y="4760362"/>
                    </a:lnTo>
                    <a:lnTo>
                      <a:pt x="6428155" y="4760362"/>
                    </a:lnTo>
                    <a:lnTo>
                      <a:pt x="6442450" y="4755597"/>
                    </a:lnTo>
                    <a:lnTo>
                      <a:pt x="6451981" y="4755597"/>
                    </a:lnTo>
                    <a:lnTo>
                      <a:pt x="6475806" y="4765127"/>
                    </a:lnTo>
                    <a:lnTo>
                      <a:pt x="6494867" y="4779423"/>
                    </a:lnTo>
                    <a:lnTo>
                      <a:pt x="6504397" y="4784187"/>
                    </a:lnTo>
                    <a:lnTo>
                      <a:pt x="6504397" y="4793717"/>
                    </a:lnTo>
                    <a:lnTo>
                      <a:pt x="6509162" y="4798483"/>
                    </a:lnTo>
                    <a:lnTo>
                      <a:pt x="6528223" y="4812778"/>
                    </a:lnTo>
                    <a:lnTo>
                      <a:pt x="6528223" y="4817543"/>
                    </a:lnTo>
                    <a:lnTo>
                      <a:pt x="6513927" y="4836604"/>
                    </a:lnTo>
                    <a:lnTo>
                      <a:pt x="6542518" y="4831839"/>
                    </a:lnTo>
                    <a:lnTo>
                      <a:pt x="6556813" y="4841369"/>
                    </a:lnTo>
                    <a:lnTo>
                      <a:pt x="6575874" y="4869959"/>
                    </a:lnTo>
                    <a:lnTo>
                      <a:pt x="6580639" y="4884255"/>
                    </a:lnTo>
                    <a:lnTo>
                      <a:pt x="6580639" y="4903315"/>
                    </a:lnTo>
                    <a:lnTo>
                      <a:pt x="6580639" y="4912846"/>
                    </a:lnTo>
                    <a:lnTo>
                      <a:pt x="6571109" y="4912846"/>
                    </a:lnTo>
                    <a:lnTo>
                      <a:pt x="6518692" y="4922376"/>
                    </a:lnTo>
                    <a:lnTo>
                      <a:pt x="6499632" y="4946201"/>
                    </a:lnTo>
                    <a:lnTo>
                      <a:pt x="6494867" y="4946201"/>
                    </a:lnTo>
                    <a:lnTo>
                      <a:pt x="6480571" y="4941437"/>
                    </a:lnTo>
                    <a:lnTo>
                      <a:pt x="6456746" y="4922376"/>
                    </a:lnTo>
                    <a:lnTo>
                      <a:pt x="6423390" y="4903315"/>
                    </a:lnTo>
                    <a:lnTo>
                      <a:pt x="6351913" y="4846134"/>
                    </a:lnTo>
                    <a:lnTo>
                      <a:pt x="6347148" y="4841369"/>
                    </a:lnTo>
                    <a:lnTo>
                      <a:pt x="6347148" y="4831839"/>
                    </a:lnTo>
                    <a:lnTo>
                      <a:pt x="6342383" y="4827073"/>
                    </a:lnTo>
                    <a:lnTo>
                      <a:pt x="6332852" y="4822309"/>
                    </a:lnTo>
                    <a:lnTo>
                      <a:pt x="6318557" y="4808013"/>
                    </a:lnTo>
                    <a:lnTo>
                      <a:pt x="6299497" y="4784187"/>
                    </a:lnTo>
                    <a:lnTo>
                      <a:pt x="6289966" y="4765127"/>
                    </a:lnTo>
                    <a:lnTo>
                      <a:pt x="6285201" y="4750831"/>
                    </a:lnTo>
                    <a:lnTo>
                      <a:pt x="6275671" y="4736536"/>
                    </a:lnTo>
                    <a:lnTo>
                      <a:pt x="6242315" y="4703181"/>
                    </a:lnTo>
                    <a:lnTo>
                      <a:pt x="6223254" y="4693650"/>
                    </a:lnTo>
                    <a:lnTo>
                      <a:pt x="6208959" y="4684120"/>
                    </a:lnTo>
                    <a:lnTo>
                      <a:pt x="6194664" y="4684120"/>
                    </a:lnTo>
                    <a:lnTo>
                      <a:pt x="6189899" y="4679355"/>
                    </a:lnTo>
                    <a:lnTo>
                      <a:pt x="6199429" y="4674589"/>
                    </a:lnTo>
                    <a:lnTo>
                      <a:pt x="6199429" y="4669825"/>
                    </a:lnTo>
                    <a:lnTo>
                      <a:pt x="6170838" y="4665059"/>
                    </a:lnTo>
                    <a:lnTo>
                      <a:pt x="6142247" y="4645999"/>
                    </a:lnTo>
                    <a:lnTo>
                      <a:pt x="6070770" y="4603113"/>
                    </a:lnTo>
                    <a:lnTo>
                      <a:pt x="6032649" y="4579287"/>
                    </a:lnTo>
                    <a:lnTo>
                      <a:pt x="6008824" y="4564991"/>
                    </a:lnTo>
                    <a:lnTo>
                      <a:pt x="5999293" y="4560227"/>
                    </a:lnTo>
                    <a:lnTo>
                      <a:pt x="5999293" y="4550696"/>
                    </a:lnTo>
                    <a:lnTo>
                      <a:pt x="6004059" y="4545931"/>
                    </a:lnTo>
                    <a:lnTo>
                      <a:pt x="6018354" y="4541166"/>
                    </a:lnTo>
                    <a:lnTo>
                      <a:pt x="6027884" y="4531635"/>
                    </a:lnTo>
                    <a:lnTo>
                      <a:pt x="6042180" y="4507810"/>
                    </a:lnTo>
                    <a:lnTo>
                      <a:pt x="6042180" y="4498280"/>
                    </a:lnTo>
                    <a:lnTo>
                      <a:pt x="6037414" y="4479219"/>
                    </a:lnTo>
                    <a:lnTo>
                      <a:pt x="6032649" y="4460159"/>
                    </a:lnTo>
                    <a:lnTo>
                      <a:pt x="6032649" y="4450629"/>
                    </a:lnTo>
                    <a:lnTo>
                      <a:pt x="6032649" y="4441099"/>
                    </a:lnTo>
                    <a:lnTo>
                      <a:pt x="6037414" y="4431568"/>
                    </a:lnTo>
                    <a:lnTo>
                      <a:pt x="6042180" y="4426803"/>
                    </a:lnTo>
                    <a:lnTo>
                      <a:pt x="6046945" y="4422038"/>
                    </a:lnTo>
                    <a:lnTo>
                      <a:pt x="6051710" y="4426803"/>
                    </a:lnTo>
                    <a:lnTo>
                      <a:pt x="6070770" y="4450629"/>
                    </a:lnTo>
                    <a:lnTo>
                      <a:pt x="6075536" y="4460159"/>
                    </a:lnTo>
                    <a:lnTo>
                      <a:pt x="6070770" y="4493515"/>
                    </a:lnTo>
                    <a:lnTo>
                      <a:pt x="6075536" y="4531635"/>
                    </a:lnTo>
                    <a:lnTo>
                      <a:pt x="6080301" y="4531635"/>
                    </a:lnTo>
                    <a:lnTo>
                      <a:pt x="6080301" y="4517341"/>
                    </a:lnTo>
                    <a:lnTo>
                      <a:pt x="6080301" y="4493515"/>
                    </a:lnTo>
                    <a:lnTo>
                      <a:pt x="6085066" y="4479219"/>
                    </a:lnTo>
                    <a:lnTo>
                      <a:pt x="6089831" y="4469689"/>
                    </a:lnTo>
                    <a:lnTo>
                      <a:pt x="6094596" y="4460159"/>
                    </a:lnTo>
                    <a:lnTo>
                      <a:pt x="6113657" y="4464924"/>
                    </a:lnTo>
                    <a:lnTo>
                      <a:pt x="6123187" y="4464924"/>
                    </a:lnTo>
                    <a:lnTo>
                      <a:pt x="6085066" y="4445863"/>
                    </a:lnTo>
                    <a:lnTo>
                      <a:pt x="6061240" y="4412507"/>
                    </a:lnTo>
                    <a:lnTo>
                      <a:pt x="6056475" y="4407743"/>
                    </a:lnTo>
                    <a:lnTo>
                      <a:pt x="6042180" y="4407743"/>
                    </a:lnTo>
                    <a:lnTo>
                      <a:pt x="6027884" y="4422038"/>
                    </a:lnTo>
                    <a:lnTo>
                      <a:pt x="5989763" y="4464924"/>
                    </a:lnTo>
                    <a:lnTo>
                      <a:pt x="5980233" y="4474454"/>
                    </a:lnTo>
                    <a:lnTo>
                      <a:pt x="5932582" y="4498280"/>
                    </a:lnTo>
                    <a:lnTo>
                      <a:pt x="5899226" y="4503045"/>
                    </a:lnTo>
                    <a:lnTo>
                      <a:pt x="5865870" y="4498280"/>
                    </a:lnTo>
                    <a:lnTo>
                      <a:pt x="5832514" y="4488749"/>
                    </a:lnTo>
                    <a:lnTo>
                      <a:pt x="5756272" y="4450629"/>
                    </a:lnTo>
                    <a:lnTo>
                      <a:pt x="5746742" y="4441099"/>
                    </a:lnTo>
                    <a:lnTo>
                      <a:pt x="5765802" y="4417273"/>
                    </a:lnTo>
                    <a:lnTo>
                      <a:pt x="5765802" y="4412507"/>
                    </a:lnTo>
                    <a:lnTo>
                      <a:pt x="5761037" y="4388682"/>
                    </a:lnTo>
                    <a:lnTo>
                      <a:pt x="5751507" y="4379151"/>
                    </a:lnTo>
                    <a:lnTo>
                      <a:pt x="5746742" y="4374387"/>
                    </a:lnTo>
                    <a:lnTo>
                      <a:pt x="5741976" y="4379151"/>
                    </a:lnTo>
                    <a:lnTo>
                      <a:pt x="5741976" y="4383917"/>
                    </a:lnTo>
                    <a:lnTo>
                      <a:pt x="5746742" y="4398212"/>
                    </a:lnTo>
                    <a:lnTo>
                      <a:pt x="5741976" y="4407743"/>
                    </a:lnTo>
                    <a:lnTo>
                      <a:pt x="5727681" y="4412507"/>
                    </a:lnTo>
                    <a:lnTo>
                      <a:pt x="5703855" y="4422038"/>
                    </a:lnTo>
                    <a:lnTo>
                      <a:pt x="5637144" y="4402977"/>
                    </a:lnTo>
                    <a:lnTo>
                      <a:pt x="5570432" y="4383917"/>
                    </a:lnTo>
                    <a:lnTo>
                      <a:pt x="5508485" y="4383917"/>
                    </a:lnTo>
                    <a:lnTo>
                      <a:pt x="5417948" y="4393447"/>
                    </a:lnTo>
                    <a:lnTo>
                      <a:pt x="5370297" y="4407743"/>
                    </a:lnTo>
                    <a:lnTo>
                      <a:pt x="5346471" y="4407743"/>
                    </a:lnTo>
                    <a:lnTo>
                      <a:pt x="5317880" y="4407743"/>
                    </a:lnTo>
                    <a:lnTo>
                      <a:pt x="5317880" y="4398212"/>
                    </a:lnTo>
                    <a:lnTo>
                      <a:pt x="5327410" y="4393447"/>
                    </a:lnTo>
                    <a:lnTo>
                      <a:pt x="5327410" y="4383917"/>
                    </a:lnTo>
                    <a:lnTo>
                      <a:pt x="5313115" y="4364856"/>
                    </a:lnTo>
                    <a:lnTo>
                      <a:pt x="5289289" y="4350561"/>
                    </a:lnTo>
                    <a:lnTo>
                      <a:pt x="5260699" y="4345795"/>
                    </a:lnTo>
                    <a:lnTo>
                      <a:pt x="5241638" y="4341031"/>
                    </a:lnTo>
                    <a:lnTo>
                      <a:pt x="5236873" y="4331501"/>
                    </a:lnTo>
                    <a:lnTo>
                      <a:pt x="5227343" y="4326735"/>
                    </a:lnTo>
                    <a:lnTo>
                      <a:pt x="5208282" y="4317205"/>
                    </a:lnTo>
                    <a:lnTo>
                      <a:pt x="5198752" y="4307675"/>
                    </a:lnTo>
                    <a:lnTo>
                      <a:pt x="5208282" y="4269553"/>
                    </a:lnTo>
                    <a:lnTo>
                      <a:pt x="5213047" y="4245728"/>
                    </a:lnTo>
                    <a:lnTo>
                      <a:pt x="5217812" y="4226667"/>
                    </a:lnTo>
                    <a:lnTo>
                      <a:pt x="5232108" y="4202842"/>
                    </a:lnTo>
                    <a:lnTo>
                      <a:pt x="5227343" y="4202842"/>
                    </a:lnTo>
                    <a:lnTo>
                      <a:pt x="5208282" y="4221903"/>
                    </a:lnTo>
                    <a:lnTo>
                      <a:pt x="5189222" y="4240963"/>
                    </a:lnTo>
                    <a:lnTo>
                      <a:pt x="5170161" y="4269553"/>
                    </a:lnTo>
                    <a:lnTo>
                      <a:pt x="5160631" y="4279084"/>
                    </a:lnTo>
                    <a:lnTo>
                      <a:pt x="5146336" y="4293379"/>
                    </a:lnTo>
                    <a:lnTo>
                      <a:pt x="5127275" y="4288614"/>
                    </a:lnTo>
                    <a:lnTo>
                      <a:pt x="5098684" y="4274319"/>
                    </a:lnTo>
                    <a:lnTo>
                      <a:pt x="5074859" y="4264789"/>
                    </a:lnTo>
                    <a:lnTo>
                      <a:pt x="5051033" y="4264789"/>
                    </a:lnTo>
                    <a:lnTo>
                      <a:pt x="5046268" y="4260023"/>
                    </a:lnTo>
                    <a:lnTo>
                      <a:pt x="5060563" y="4245728"/>
                    </a:lnTo>
                    <a:lnTo>
                      <a:pt x="5065328" y="4236198"/>
                    </a:lnTo>
                    <a:lnTo>
                      <a:pt x="5079624" y="4217137"/>
                    </a:lnTo>
                    <a:lnTo>
                      <a:pt x="5079624" y="4207607"/>
                    </a:lnTo>
                    <a:lnTo>
                      <a:pt x="5003382" y="4202842"/>
                    </a:lnTo>
                    <a:lnTo>
                      <a:pt x="5003382" y="4193312"/>
                    </a:lnTo>
                    <a:lnTo>
                      <a:pt x="5003382" y="4188547"/>
                    </a:lnTo>
                    <a:lnTo>
                      <a:pt x="4998617" y="4179016"/>
                    </a:lnTo>
                    <a:lnTo>
                      <a:pt x="4989086" y="4174251"/>
                    </a:lnTo>
                    <a:lnTo>
                      <a:pt x="4974791" y="4179016"/>
                    </a:lnTo>
                    <a:lnTo>
                      <a:pt x="4950965" y="4188547"/>
                    </a:lnTo>
                    <a:lnTo>
                      <a:pt x="4941435" y="4183781"/>
                    </a:lnTo>
                    <a:lnTo>
                      <a:pt x="4941435" y="4174251"/>
                    </a:lnTo>
                    <a:lnTo>
                      <a:pt x="4950965" y="4174251"/>
                    </a:lnTo>
                    <a:lnTo>
                      <a:pt x="4965261" y="4155191"/>
                    </a:lnTo>
                    <a:lnTo>
                      <a:pt x="4946200" y="4145661"/>
                    </a:lnTo>
                    <a:lnTo>
                      <a:pt x="4936670" y="4136130"/>
                    </a:lnTo>
                    <a:lnTo>
                      <a:pt x="4927140" y="4126600"/>
                    </a:lnTo>
                    <a:lnTo>
                      <a:pt x="4927140" y="4098009"/>
                    </a:lnTo>
                    <a:lnTo>
                      <a:pt x="4936670" y="4078949"/>
                    </a:lnTo>
                    <a:lnTo>
                      <a:pt x="4984321" y="4059888"/>
                    </a:lnTo>
                    <a:lnTo>
                      <a:pt x="4970026" y="4050358"/>
                    </a:lnTo>
                    <a:lnTo>
                      <a:pt x="4936670" y="4055123"/>
                    </a:lnTo>
                    <a:lnTo>
                      <a:pt x="4917609" y="4069419"/>
                    </a:lnTo>
                    <a:lnTo>
                      <a:pt x="4893784" y="4093244"/>
                    </a:lnTo>
                    <a:lnTo>
                      <a:pt x="4874723" y="4102774"/>
                    </a:lnTo>
                    <a:lnTo>
                      <a:pt x="4865193" y="4098009"/>
                    </a:lnTo>
                    <a:lnTo>
                      <a:pt x="4855663" y="4093244"/>
                    </a:lnTo>
                    <a:lnTo>
                      <a:pt x="4841367" y="4098009"/>
                    </a:lnTo>
                    <a:lnTo>
                      <a:pt x="4831837" y="4102774"/>
                    </a:lnTo>
                    <a:lnTo>
                      <a:pt x="4827072" y="4112305"/>
                    </a:lnTo>
                    <a:lnTo>
                      <a:pt x="4822307" y="4117070"/>
                    </a:lnTo>
                    <a:lnTo>
                      <a:pt x="4817542" y="4121835"/>
                    </a:lnTo>
                    <a:lnTo>
                      <a:pt x="4812777" y="4121835"/>
                    </a:lnTo>
                    <a:lnTo>
                      <a:pt x="4803246" y="4112305"/>
                    </a:lnTo>
                    <a:lnTo>
                      <a:pt x="4788951" y="4102774"/>
                    </a:lnTo>
                    <a:lnTo>
                      <a:pt x="4784186" y="4098009"/>
                    </a:lnTo>
                    <a:lnTo>
                      <a:pt x="4779421" y="4102774"/>
                    </a:lnTo>
                    <a:lnTo>
                      <a:pt x="4774656" y="4117070"/>
                    </a:lnTo>
                    <a:lnTo>
                      <a:pt x="4769890" y="4121835"/>
                    </a:lnTo>
                    <a:lnTo>
                      <a:pt x="4746065" y="4131365"/>
                    </a:lnTo>
                    <a:lnTo>
                      <a:pt x="4731769" y="4131365"/>
                    </a:lnTo>
                    <a:lnTo>
                      <a:pt x="4717474" y="4112305"/>
                    </a:lnTo>
                    <a:lnTo>
                      <a:pt x="4717474" y="4107539"/>
                    </a:lnTo>
                    <a:lnTo>
                      <a:pt x="4722239" y="4088479"/>
                    </a:lnTo>
                    <a:lnTo>
                      <a:pt x="4755595" y="4021767"/>
                    </a:lnTo>
                    <a:lnTo>
                      <a:pt x="4750830" y="4026532"/>
                    </a:lnTo>
                    <a:lnTo>
                      <a:pt x="4741300" y="4036063"/>
                    </a:lnTo>
                    <a:lnTo>
                      <a:pt x="4717474" y="4059888"/>
                    </a:lnTo>
                    <a:lnTo>
                      <a:pt x="4707944" y="4069419"/>
                    </a:lnTo>
                    <a:lnTo>
                      <a:pt x="4693648" y="4069419"/>
                    </a:lnTo>
                    <a:lnTo>
                      <a:pt x="4684118" y="4064653"/>
                    </a:lnTo>
                    <a:lnTo>
                      <a:pt x="4674588" y="4069419"/>
                    </a:lnTo>
                    <a:lnTo>
                      <a:pt x="4665058" y="4074183"/>
                    </a:lnTo>
                    <a:lnTo>
                      <a:pt x="4655527" y="4083714"/>
                    </a:lnTo>
                    <a:lnTo>
                      <a:pt x="4650762" y="4093244"/>
                    </a:lnTo>
                    <a:lnTo>
                      <a:pt x="4655527" y="4093244"/>
                    </a:lnTo>
                    <a:lnTo>
                      <a:pt x="4669823" y="4083714"/>
                    </a:lnTo>
                    <a:lnTo>
                      <a:pt x="4679353" y="4078949"/>
                    </a:lnTo>
                    <a:lnTo>
                      <a:pt x="4684118" y="4083714"/>
                    </a:lnTo>
                    <a:lnTo>
                      <a:pt x="4669823" y="4112305"/>
                    </a:lnTo>
                    <a:lnTo>
                      <a:pt x="4665058" y="4140895"/>
                    </a:lnTo>
                    <a:lnTo>
                      <a:pt x="4655527" y="4150425"/>
                    </a:lnTo>
                    <a:lnTo>
                      <a:pt x="4641232" y="4145661"/>
                    </a:lnTo>
                    <a:lnTo>
                      <a:pt x="4631702" y="4150425"/>
                    </a:lnTo>
                    <a:lnTo>
                      <a:pt x="4631702" y="4159956"/>
                    </a:lnTo>
                    <a:lnTo>
                      <a:pt x="4655527" y="4179016"/>
                    </a:lnTo>
                    <a:lnTo>
                      <a:pt x="4665058" y="4183781"/>
                    </a:lnTo>
                    <a:lnTo>
                      <a:pt x="4674588" y="4193312"/>
                    </a:lnTo>
                    <a:lnTo>
                      <a:pt x="4674588" y="4198077"/>
                    </a:lnTo>
                    <a:lnTo>
                      <a:pt x="4669823" y="4221903"/>
                    </a:lnTo>
                    <a:lnTo>
                      <a:pt x="4669823" y="4226667"/>
                    </a:lnTo>
                    <a:lnTo>
                      <a:pt x="4665058" y="4231433"/>
                    </a:lnTo>
                    <a:lnTo>
                      <a:pt x="4645997" y="4231433"/>
                    </a:lnTo>
                    <a:lnTo>
                      <a:pt x="4636467" y="4236198"/>
                    </a:lnTo>
                    <a:lnTo>
                      <a:pt x="4622172" y="4245728"/>
                    </a:lnTo>
                    <a:lnTo>
                      <a:pt x="4617406" y="4260023"/>
                    </a:lnTo>
                    <a:lnTo>
                      <a:pt x="4631702" y="4250493"/>
                    </a:lnTo>
                    <a:lnTo>
                      <a:pt x="4645997" y="4245728"/>
                    </a:lnTo>
                    <a:lnTo>
                      <a:pt x="4669823" y="4245728"/>
                    </a:lnTo>
                    <a:lnTo>
                      <a:pt x="4688883" y="4240963"/>
                    </a:lnTo>
                    <a:lnTo>
                      <a:pt x="4698414" y="4231433"/>
                    </a:lnTo>
                    <a:lnTo>
                      <a:pt x="4707944" y="4231433"/>
                    </a:lnTo>
                    <a:lnTo>
                      <a:pt x="4717474" y="4245728"/>
                    </a:lnTo>
                    <a:lnTo>
                      <a:pt x="4722239" y="4260023"/>
                    </a:lnTo>
                    <a:lnTo>
                      <a:pt x="4717474" y="4269553"/>
                    </a:lnTo>
                    <a:lnTo>
                      <a:pt x="4707944" y="4279084"/>
                    </a:lnTo>
                    <a:lnTo>
                      <a:pt x="4698414" y="4283849"/>
                    </a:lnTo>
                    <a:lnTo>
                      <a:pt x="4688883" y="4288614"/>
                    </a:lnTo>
                    <a:lnTo>
                      <a:pt x="4684118" y="4298145"/>
                    </a:lnTo>
                    <a:lnTo>
                      <a:pt x="4684118" y="4312440"/>
                    </a:lnTo>
                    <a:lnTo>
                      <a:pt x="4684118" y="4326735"/>
                    </a:lnTo>
                    <a:lnTo>
                      <a:pt x="4684118" y="4360091"/>
                    </a:lnTo>
                    <a:lnTo>
                      <a:pt x="4684118" y="4364856"/>
                    </a:lnTo>
                    <a:lnTo>
                      <a:pt x="4679353" y="4364856"/>
                    </a:lnTo>
                    <a:lnTo>
                      <a:pt x="4669823" y="4364856"/>
                    </a:lnTo>
                    <a:lnTo>
                      <a:pt x="4665058" y="4374387"/>
                    </a:lnTo>
                    <a:lnTo>
                      <a:pt x="4650762" y="4417273"/>
                    </a:lnTo>
                    <a:lnTo>
                      <a:pt x="4645997" y="4422038"/>
                    </a:lnTo>
                    <a:lnTo>
                      <a:pt x="4636467" y="4417273"/>
                    </a:lnTo>
                    <a:lnTo>
                      <a:pt x="4631702" y="4417273"/>
                    </a:lnTo>
                    <a:lnTo>
                      <a:pt x="4626937" y="4422038"/>
                    </a:lnTo>
                    <a:lnTo>
                      <a:pt x="4617406" y="4426803"/>
                    </a:lnTo>
                    <a:lnTo>
                      <a:pt x="4598346" y="4426803"/>
                    </a:lnTo>
                    <a:lnTo>
                      <a:pt x="4584051" y="4426803"/>
                    </a:lnTo>
                    <a:lnTo>
                      <a:pt x="4560225" y="4417273"/>
                    </a:lnTo>
                    <a:lnTo>
                      <a:pt x="4550695" y="4412507"/>
                    </a:lnTo>
                    <a:lnTo>
                      <a:pt x="4541164" y="4402977"/>
                    </a:lnTo>
                    <a:lnTo>
                      <a:pt x="4517339" y="4412507"/>
                    </a:lnTo>
                    <a:lnTo>
                      <a:pt x="4512574" y="4407743"/>
                    </a:lnTo>
                    <a:lnTo>
                      <a:pt x="4498278" y="4379151"/>
                    </a:lnTo>
                    <a:lnTo>
                      <a:pt x="4493513" y="4379151"/>
                    </a:lnTo>
                    <a:lnTo>
                      <a:pt x="4493513" y="4412507"/>
                    </a:lnTo>
                    <a:lnTo>
                      <a:pt x="4488748" y="4422038"/>
                    </a:lnTo>
                    <a:lnTo>
                      <a:pt x="4474453" y="4445863"/>
                    </a:lnTo>
                    <a:lnTo>
                      <a:pt x="4464922" y="4483985"/>
                    </a:lnTo>
                    <a:lnTo>
                      <a:pt x="4460157" y="4479219"/>
                    </a:lnTo>
                    <a:lnTo>
                      <a:pt x="4455392" y="4445863"/>
                    </a:lnTo>
                    <a:lnTo>
                      <a:pt x="4450627" y="4436333"/>
                    </a:lnTo>
                    <a:lnTo>
                      <a:pt x="4436332" y="4455393"/>
                    </a:lnTo>
                    <a:lnTo>
                      <a:pt x="4436332" y="4464924"/>
                    </a:lnTo>
                    <a:lnTo>
                      <a:pt x="4436332" y="4488749"/>
                    </a:lnTo>
                    <a:lnTo>
                      <a:pt x="4436332" y="4493515"/>
                    </a:lnTo>
                    <a:lnTo>
                      <a:pt x="4407741" y="4479219"/>
                    </a:lnTo>
                    <a:lnTo>
                      <a:pt x="4402976" y="4479219"/>
                    </a:lnTo>
                    <a:lnTo>
                      <a:pt x="4402976" y="4483985"/>
                    </a:lnTo>
                    <a:lnTo>
                      <a:pt x="4412506" y="4503045"/>
                    </a:lnTo>
                    <a:lnTo>
                      <a:pt x="4407741" y="4507810"/>
                    </a:lnTo>
                    <a:lnTo>
                      <a:pt x="4374385" y="4545931"/>
                    </a:lnTo>
                    <a:lnTo>
                      <a:pt x="4364855" y="4545931"/>
                    </a:lnTo>
                    <a:lnTo>
                      <a:pt x="4360090" y="4541166"/>
                    </a:lnTo>
                    <a:lnTo>
                      <a:pt x="4350559" y="4541166"/>
                    </a:lnTo>
                    <a:lnTo>
                      <a:pt x="4326734" y="4555461"/>
                    </a:lnTo>
                    <a:lnTo>
                      <a:pt x="4321969" y="4555461"/>
                    </a:lnTo>
                    <a:lnTo>
                      <a:pt x="4312438" y="4545931"/>
                    </a:lnTo>
                    <a:lnTo>
                      <a:pt x="4307673" y="4545931"/>
                    </a:lnTo>
                    <a:lnTo>
                      <a:pt x="4307673" y="4555461"/>
                    </a:lnTo>
                    <a:lnTo>
                      <a:pt x="4307673" y="4574522"/>
                    </a:lnTo>
                    <a:lnTo>
                      <a:pt x="4298143" y="4588817"/>
                    </a:lnTo>
                    <a:lnTo>
                      <a:pt x="4269552" y="4617408"/>
                    </a:lnTo>
                    <a:lnTo>
                      <a:pt x="4264787" y="4626938"/>
                    </a:lnTo>
                    <a:lnTo>
                      <a:pt x="4260022" y="4645999"/>
                    </a:lnTo>
                    <a:lnTo>
                      <a:pt x="4255257" y="4645999"/>
                    </a:lnTo>
                    <a:lnTo>
                      <a:pt x="4236196" y="4636469"/>
                    </a:lnTo>
                    <a:lnTo>
                      <a:pt x="4217136" y="4626938"/>
                    </a:lnTo>
                    <a:lnTo>
                      <a:pt x="4217136" y="4631703"/>
                    </a:lnTo>
                    <a:lnTo>
                      <a:pt x="4221901" y="4641233"/>
                    </a:lnTo>
                    <a:lnTo>
                      <a:pt x="4221901" y="4645999"/>
                    </a:lnTo>
                    <a:lnTo>
                      <a:pt x="4212371" y="4650764"/>
                    </a:lnTo>
                    <a:lnTo>
                      <a:pt x="4202840" y="4650764"/>
                    </a:lnTo>
                    <a:lnTo>
                      <a:pt x="4193310" y="4645999"/>
                    </a:lnTo>
                    <a:lnTo>
                      <a:pt x="4174250" y="4650764"/>
                    </a:lnTo>
                    <a:lnTo>
                      <a:pt x="4150424" y="4665059"/>
                    </a:lnTo>
                    <a:lnTo>
                      <a:pt x="4131363" y="4660294"/>
                    </a:lnTo>
                    <a:lnTo>
                      <a:pt x="4107538" y="4641233"/>
                    </a:lnTo>
                    <a:lnTo>
                      <a:pt x="4098008" y="4641233"/>
                    </a:lnTo>
                    <a:lnTo>
                      <a:pt x="4098008" y="4631703"/>
                    </a:lnTo>
                    <a:lnTo>
                      <a:pt x="4102773" y="4617408"/>
                    </a:lnTo>
                    <a:lnTo>
                      <a:pt x="4107538" y="4603113"/>
                    </a:lnTo>
                    <a:lnTo>
                      <a:pt x="4117068" y="4598347"/>
                    </a:lnTo>
                    <a:lnTo>
                      <a:pt x="4140894" y="4579287"/>
                    </a:lnTo>
                    <a:lnTo>
                      <a:pt x="4169484" y="4574522"/>
                    </a:lnTo>
                    <a:lnTo>
                      <a:pt x="4183780" y="4560227"/>
                    </a:lnTo>
                    <a:lnTo>
                      <a:pt x="4207605" y="4541166"/>
                    </a:lnTo>
                    <a:lnTo>
                      <a:pt x="4217136" y="4526871"/>
                    </a:lnTo>
                    <a:lnTo>
                      <a:pt x="4240961" y="4483985"/>
                    </a:lnTo>
                    <a:lnTo>
                      <a:pt x="4240961" y="4479219"/>
                    </a:lnTo>
                    <a:lnTo>
                      <a:pt x="4236196" y="4479219"/>
                    </a:lnTo>
                    <a:lnTo>
                      <a:pt x="4183780" y="4517341"/>
                    </a:lnTo>
                    <a:lnTo>
                      <a:pt x="4179015" y="4522105"/>
                    </a:lnTo>
                    <a:lnTo>
                      <a:pt x="4169484" y="4522105"/>
                    </a:lnTo>
                    <a:lnTo>
                      <a:pt x="4126598" y="4507810"/>
                    </a:lnTo>
                    <a:lnTo>
                      <a:pt x="4121833" y="4498280"/>
                    </a:lnTo>
                    <a:lnTo>
                      <a:pt x="4117068" y="4479219"/>
                    </a:lnTo>
                    <a:lnTo>
                      <a:pt x="4126598" y="4436333"/>
                    </a:lnTo>
                    <a:lnTo>
                      <a:pt x="4131363" y="4417273"/>
                    </a:lnTo>
                    <a:lnTo>
                      <a:pt x="4150424" y="4383917"/>
                    </a:lnTo>
                    <a:lnTo>
                      <a:pt x="4179015" y="4350561"/>
                    </a:lnTo>
                    <a:lnTo>
                      <a:pt x="4183780" y="4326735"/>
                    </a:lnTo>
                    <a:lnTo>
                      <a:pt x="4198075" y="4264789"/>
                    </a:lnTo>
                    <a:lnTo>
                      <a:pt x="4198075" y="4236198"/>
                    </a:lnTo>
                    <a:lnTo>
                      <a:pt x="4193310" y="4202842"/>
                    </a:lnTo>
                    <a:lnTo>
                      <a:pt x="4193310" y="4183781"/>
                    </a:lnTo>
                    <a:lnTo>
                      <a:pt x="4198075" y="4179016"/>
                    </a:lnTo>
                    <a:lnTo>
                      <a:pt x="4255257" y="4145661"/>
                    </a:lnTo>
                    <a:lnTo>
                      <a:pt x="4283847" y="4121835"/>
                    </a:lnTo>
                    <a:lnTo>
                      <a:pt x="4336264" y="4088479"/>
                    </a:lnTo>
                    <a:lnTo>
                      <a:pt x="4350559" y="4088479"/>
                    </a:lnTo>
                    <a:lnTo>
                      <a:pt x="4360090" y="4098009"/>
                    </a:lnTo>
                    <a:lnTo>
                      <a:pt x="4374385" y="4107539"/>
                    </a:lnTo>
                    <a:lnTo>
                      <a:pt x="4388680" y="4117070"/>
                    </a:lnTo>
                    <a:lnTo>
                      <a:pt x="4402976" y="4117070"/>
                    </a:lnTo>
                    <a:lnTo>
                      <a:pt x="4426801" y="4107539"/>
                    </a:lnTo>
                    <a:lnTo>
                      <a:pt x="4460157" y="4112305"/>
                    </a:lnTo>
                    <a:lnTo>
                      <a:pt x="4531634" y="4131365"/>
                    </a:lnTo>
                    <a:lnTo>
                      <a:pt x="4550695" y="4136130"/>
                    </a:lnTo>
                    <a:lnTo>
                      <a:pt x="4550695" y="4131365"/>
                    </a:lnTo>
                    <a:lnTo>
                      <a:pt x="4536399" y="4117070"/>
                    </a:lnTo>
                    <a:lnTo>
                      <a:pt x="4488748" y="4107539"/>
                    </a:lnTo>
                    <a:lnTo>
                      <a:pt x="4469687" y="4098009"/>
                    </a:lnTo>
                    <a:lnTo>
                      <a:pt x="4407741" y="4055123"/>
                    </a:lnTo>
                    <a:lnTo>
                      <a:pt x="4398211" y="4040827"/>
                    </a:lnTo>
                    <a:lnTo>
                      <a:pt x="4402976" y="4031297"/>
                    </a:lnTo>
                    <a:lnTo>
                      <a:pt x="4417271" y="4026532"/>
                    </a:lnTo>
                    <a:lnTo>
                      <a:pt x="4422036" y="4021767"/>
                    </a:lnTo>
                    <a:lnTo>
                      <a:pt x="4422036" y="4007472"/>
                    </a:lnTo>
                    <a:lnTo>
                      <a:pt x="4431566" y="3993176"/>
                    </a:lnTo>
                    <a:lnTo>
                      <a:pt x="4445862" y="3978881"/>
                    </a:lnTo>
                    <a:lnTo>
                      <a:pt x="4469687" y="3959821"/>
                    </a:lnTo>
                    <a:lnTo>
                      <a:pt x="4507808" y="3931230"/>
                    </a:lnTo>
                    <a:lnTo>
                      <a:pt x="4493513" y="3931230"/>
                    </a:lnTo>
                    <a:lnTo>
                      <a:pt x="4460157" y="3935995"/>
                    </a:lnTo>
                    <a:lnTo>
                      <a:pt x="4450627" y="3940760"/>
                    </a:lnTo>
                    <a:lnTo>
                      <a:pt x="4431566" y="3959821"/>
                    </a:lnTo>
                    <a:lnTo>
                      <a:pt x="4422036" y="3974116"/>
                    </a:lnTo>
                    <a:lnTo>
                      <a:pt x="4412506" y="3997941"/>
                    </a:lnTo>
                    <a:lnTo>
                      <a:pt x="4407741" y="4002707"/>
                    </a:lnTo>
                    <a:lnTo>
                      <a:pt x="4388680" y="4007472"/>
                    </a:lnTo>
                    <a:lnTo>
                      <a:pt x="4331499" y="4012237"/>
                    </a:lnTo>
                    <a:lnTo>
                      <a:pt x="4321969" y="3997941"/>
                    </a:lnTo>
                    <a:lnTo>
                      <a:pt x="4317203" y="3997941"/>
                    </a:lnTo>
                    <a:lnTo>
                      <a:pt x="4307673" y="3997941"/>
                    </a:lnTo>
                    <a:lnTo>
                      <a:pt x="4255257" y="4031297"/>
                    </a:lnTo>
                    <a:lnTo>
                      <a:pt x="4236196" y="4050358"/>
                    </a:lnTo>
                    <a:lnTo>
                      <a:pt x="4226666" y="4069419"/>
                    </a:lnTo>
                    <a:lnTo>
                      <a:pt x="4202840" y="4078949"/>
                    </a:lnTo>
                    <a:lnTo>
                      <a:pt x="4174250" y="4088479"/>
                    </a:lnTo>
                    <a:lnTo>
                      <a:pt x="4155189" y="4102774"/>
                    </a:lnTo>
                    <a:lnTo>
                      <a:pt x="4131363" y="4121835"/>
                    </a:lnTo>
                    <a:lnTo>
                      <a:pt x="4126598" y="4140895"/>
                    </a:lnTo>
                    <a:lnTo>
                      <a:pt x="4126598" y="4150425"/>
                    </a:lnTo>
                    <a:lnTo>
                      <a:pt x="4131363" y="4174251"/>
                    </a:lnTo>
                    <a:lnTo>
                      <a:pt x="4126598" y="4179016"/>
                    </a:lnTo>
                    <a:lnTo>
                      <a:pt x="4112303" y="4179016"/>
                    </a:lnTo>
                    <a:lnTo>
                      <a:pt x="4093242" y="4198077"/>
                    </a:lnTo>
                    <a:lnTo>
                      <a:pt x="4050356" y="4245728"/>
                    </a:lnTo>
                    <a:lnTo>
                      <a:pt x="4045591" y="4264789"/>
                    </a:lnTo>
                    <a:lnTo>
                      <a:pt x="4045591" y="4269553"/>
                    </a:lnTo>
                    <a:lnTo>
                      <a:pt x="4050356" y="4283849"/>
                    </a:lnTo>
                    <a:lnTo>
                      <a:pt x="4045591" y="4293379"/>
                    </a:lnTo>
                    <a:lnTo>
                      <a:pt x="4036061" y="4307675"/>
                    </a:lnTo>
                    <a:lnTo>
                      <a:pt x="4007470" y="4326735"/>
                    </a:lnTo>
                    <a:lnTo>
                      <a:pt x="3988410" y="4336265"/>
                    </a:lnTo>
                    <a:lnTo>
                      <a:pt x="3978879" y="4336265"/>
                    </a:lnTo>
                    <a:lnTo>
                      <a:pt x="3969349" y="4336265"/>
                    </a:lnTo>
                    <a:lnTo>
                      <a:pt x="3945523" y="4321970"/>
                    </a:lnTo>
                    <a:lnTo>
                      <a:pt x="3931228" y="4317205"/>
                    </a:lnTo>
                    <a:lnTo>
                      <a:pt x="3931228" y="4321970"/>
                    </a:lnTo>
                    <a:lnTo>
                      <a:pt x="3950289" y="4336265"/>
                    </a:lnTo>
                    <a:lnTo>
                      <a:pt x="3974114" y="4355326"/>
                    </a:lnTo>
                    <a:lnTo>
                      <a:pt x="3988410" y="4374387"/>
                    </a:lnTo>
                    <a:lnTo>
                      <a:pt x="3993175" y="4383917"/>
                    </a:lnTo>
                    <a:lnTo>
                      <a:pt x="3993175" y="4398212"/>
                    </a:lnTo>
                    <a:lnTo>
                      <a:pt x="3988410" y="4412507"/>
                    </a:lnTo>
                    <a:lnTo>
                      <a:pt x="3974114" y="4436333"/>
                    </a:lnTo>
                    <a:lnTo>
                      <a:pt x="3959819" y="4445863"/>
                    </a:lnTo>
                    <a:lnTo>
                      <a:pt x="3916933" y="4450629"/>
                    </a:lnTo>
                    <a:lnTo>
                      <a:pt x="3907402" y="4455393"/>
                    </a:lnTo>
                    <a:lnTo>
                      <a:pt x="3902637" y="4460159"/>
                    </a:lnTo>
                    <a:lnTo>
                      <a:pt x="3931228" y="4469689"/>
                    </a:lnTo>
                    <a:lnTo>
                      <a:pt x="3931228" y="4474454"/>
                    </a:lnTo>
                    <a:lnTo>
                      <a:pt x="3926463" y="4498280"/>
                    </a:lnTo>
                    <a:lnTo>
                      <a:pt x="3921698" y="4503045"/>
                    </a:lnTo>
                    <a:lnTo>
                      <a:pt x="3897872" y="4512575"/>
                    </a:lnTo>
                    <a:lnTo>
                      <a:pt x="3878812" y="4517341"/>
                    </a:lnTo>
                    <a:lnTo>
                      <a:pt x="3874047" y="4517341"/>
                    </a:lnTo>
                    <a:lnTo>
                      <a:pt x="3878812" y="4498280"/>
                    </a:lnTo>
                    <a:lnTo>
                      <a:pt x="3869281" y="4493515"/>
                    </a:lnTo>
                    <a:lnTo>
                      <a:pt x="3859751" y="4498280"/>
                    </a:lnTo>
                    <a:lnTo>
                      <a:pt x="3831160" y="4522105"/>
                    </a:lnTo>
                    <a:lnTo>
                      <a:pt x="3831160" y="4526871"/>
                    </a:lnTo>
                    <a:lnTo>
                      <a:pt x="3840691" y="4531635"/>
                    </a:lnTo>
                    <a:lnTo>
                      <a:pt x="3840691" y="4536401"/>
                    </a:lnTo>
                    <a:lnTo>
                      <a:pt x="3826395" y="4550696"/>
                    </a:lnTo>
                    <a:lnTo>
                      <a:pt x="3816865" y="4564991"/>
                    </a:lnTo>
                    <a:lnTo>
                      <a:pt x="3807335" y="4574522"/>
                    </a:lnTo>
                    <a:lnTo>
                      <a:pt x="3764449" y="4607877"/>
                    </a:lnTo>
                    <a:lnTo>
                      <a:pt x="3769214" y="4617408"/>
                    </a:lnTo>
                    <a:lnTo>
                      <a:pt x="3759683" y="4645999"/>
                    </a:lnTo>
                    <a:lnTo>
                      <a:pt x="3750153" y="4674589"/>
                    </a:lnTo>
                    <a:lnTo>
                      <a:pt x="3759683" y="4684120"/>
                    </a:lnTo>
                    <a:lnTo>
                      <a:pt x="3793039" y="4698415"/>
                    </a:lnTo>
                    <a:lnTo>
                      <a:pt x="3812100" y="4698415"/>
                    </a:lnTo>
                    <a:lnTo>
                      <a:pt x="3831160" y="4707945"/>
                    </a:lnTo>
                    <a:lnTo>
                      <a:pt x="3869281" y="4731771"/>
                    </a:lnTo>
                    <a:lnTo>
                      <a:pt x="3883577" y="4746067"/>
                    </a:lnTo>
                    <a:lnTo>
                      <a:pt x="3883577" y="4755597"/>
                    </a:lnTo>
                    <a:lnTo>
                      <a:pt x="3883577" y="4765127"/>
                    </a:lnTo>
                    <a:lnTo>
                      <a:pt x="3878812" y="4774657"/>
                    </a:lnTo>
                    <a:lnTo>
                      <a:pt x="3869281" y="4793717"/>
                    </a:lnTo>
                    <a:lnTo>
                      <a:pt x="3840691" y="4822309"/>
                    </a:lnTo>
                    <a:lnTo>
                      <a:pt x="3826395" y="4831839"/>
                    </a:lnTo>
                    <a:lnTo>
                      <a:pt x="3807335" y="4841369"/>
                    </a:lnTo>
                    <a:lnTo>
                      <a:pt x="3802570" y="4846134"/>
                    </a:lnTo>
                    <a:lnTo>
                      <a:pt x="3773979" y="4874725"/>
                    </a:lnTo>
                    <a:lnTo>
                      <a:pt x="3769214" y="4889020"/>
                    </a:lnTo>
                    <a:lnTo>
                      <a:pt x="3769214" y="4903315"/>
                    </a:lnTo>
                    <a:lnTo>
                      <a:pt x="3764449" y="4912846"/>
                    </a:lnTo>
                    <a:lnTo>
                      <a:pt x="3735858" y="4927141"/>
                    </a:lnTo>
                    <a:lnTo>
                      <a:pt x="3735858" y="4931907"/>
                    </a:lnTo>
                    <a:lnTo>
                      <a:pt x="3745388" y="4931907"/>
                    </a:lnTo>
                    <a:lnTo>
                      <a:pt x="3740623" y="4950967"/>
                    </a:lnTo>
                    <a:lnTo>
                      <a:pt x="3740623" y="4970027"/>
                    </a:lnTo>
                    <a:lnTo>
                      <a:pt x="3735858" y="4974793"/>
                    </a:lnTo>
                    <a:lnTo>
                      <a:pt x="3716797" y="4974793"/>
                    </a:lnTo>
                    <a:lnTo>
                      <a:pt x="3688207" y="4984323"/>
                    </a:lnTo>
                    <a:lnTo>
                      <a:pt x="3688207" y="5003383"/>
                    </a:lnTo>
                    <a:lnTo>
                      <a:pt x="3621495" y="5012913"/>
                    </a:lnTo>
                    <a:lnTo>
                      <a:pt x="3607199" y="5046269"/>
                    </a:lnTo>
                    <a:lnTo>
                      <a:pt x="3597669" y="5055799"/>
                    </a:lnTo>
                    <a:lnTo>
                      <a:pt x="3573844" y="5074860"/>
                    </a:lnTo>
                    <a:lnTo>
                      <a:pt x="3559548" y="5084391"/>
                    </a:lnTo>
                    <a:lnTo>
                      <a:pt x="3540488" y="5089155"/>
                    </a:lnTo>
                    <a:lnTo>
                      <a:pt x="3530957" y="5098686"/>
                    </a:lnTo>
                    <a:lnTo>
                      <a:pt x="3530957" y="5108216"/>
                    </a:lnTo>
                    <a:lnTo>
                      <a:pt x="3526192" y="5112981"/>
                    </a:lnTo>
                    <a:lnTo>
                      <a:pt x="3511897" y="5127277"/>
                    </a:lnTo>
                    <a:lnTo>
                      <a:pt x="3502367" y="5146337"/>
                    </a:lnTo>
                    <a:lnTo>
                      <a:pt x="3497602" y="5146337"/>
                    </a:lnTo>
                    <a:lnTo>
                      <a:pt x="3469011" y="5151102"/>
                    </a:lnTo>
                    <a:lnTo>
                      <a:pt x="3459481" y="5155867"/>
                    </a:lnTo>
                    <a:lnTo>
                      <a:pt x="3459481" y="5179693"/>
                    </a:lnTo>
                    <a:lnTo>
                      <a:pt x="3454715" y="5179693"/>
                    </a:lnTo>
                    <a:lnTo>
                      <a:pt x="3440420" y="5174928"/>
                    </a:lnTo>
                    <a:lnTo>
                      <a:pt x="3430890" y="5179693"/>
                    </a:lnTo>
                    <a:lnTo>
                      <a:pt x="3397534" y="5208283"/>
                    </a:lnTo>
                    <a:lnTo>
                      <a:pt x="3392769" y="5213049"/>
                    </a:lnTo>
                    <a:lnTo>
                      <a:pt x="3392769" y="5217814"/>
                    </a:lnTo>
                    <a:lnTo>
                      <a:pt x="3397534" y="5227344"/>
                    </a:lnTo>
                    <a:lnTo>
                      <a:pt x="3407064" y="5241639"/>
                    </a:lnTo>
                    <a:lnTo>
                      <a:pt x="3407064" y="5251170"/>
                    </a:lnTo>
                    <a:lnTo>
                      <a:pt x="3392769" y="5279761"/>
                    </a:lnTo>
                    <a:lnTo>
                      <a:pt x="3388004" y="5284525"/>
                    </a:lnTo>
                    <a:lnTo>
                      <a:pt x="3373708" y="5289291"/>
                    </a:lnTo>
                    <a:lnTo>
                      <a:pt x="3368943" y="5308351"/>
                    </a:lnTo>
                    <a:lnTo>
                      <a:pt x="3354648" y="5303586"/>
                    </a:lnTo>
                    <a:lnTo>
                      <a:pt x="3345117" y="5308351"/>
                    </a:lnTo>
                    <a:lnTo>
                      <a:pt x="3340352" y="5317881"/>
                    </a:lnTo>
                    <a:lnTo>
                      <a:pt x="3330822" y="5322647"/>
                    </a:lnTo>
                    <a:lnTo>
                      <a:pt x="3321292" y="5327412"/>
                    </a:lnTo>
                    <a:lnTo>
                      <a:pt x="3311762" y="5332177"/>
                    </a:lnTo>
                    <a:lnTo>
                      <a:pt x="3302231" y="5351237"/>
                    </a:lnTo>
                    <a:lnTo>
                      <a:pt x="3287936" y="5360768"/>
                    </a:lnTo>
                    <a:lnTo>
                      <a:pt x="3278406" y="5365533"/>
                    </a:lnTo>
                    <a:lnTo>
                      <a:pt x="3268875" y="5365533"/>
                    </a:lnTo>
                    <a:lnTo>
                      <a:pt x="3259345" y="5360768"/>
                    </a:lnTo>
                    <a:lnTo>
                      <a:pt x="3249815" y="5365533"/>
                    </a:lnTo>
                    <a:lnTo>
                      <a:pt x="3240285" y="5370298"/>
                    </a:lnTo>
                    <a:lnTo>
                      <a:pt x="3235520" y="5379829"/>
                    </a:lnTo>
                    <a:lnTo>
                      <a:pt x="3225989" y="5403654"/>
                    </a:lnTo>
                    <a:lnTo>
                      <a:pt x="3221224" y="5413184"/>
                    </a:lnTo>
                    <a:lnTo>
                      <a:pt x="3216459" y="5413184"/>
                    </a:lnTo>
                    <a:lnTo>
                      <a:pt x="3206929" y="5413184"/>
                    </a:lnTo>
                    <a:lnTo>
                      <a:pt x="3187868" y="5408419"/>
                    </a:lnTo>
                    <a:lnTo>
                      <a:pt x="3173573" y="5408419"/>
                    </a:lnTo>
                    <a:lnTo>
                      <a:pt x="3149747" y="5427479"/>
                    </a:lnTo>
                    <a:lnTo>
                      <a:pt x="3140217" y="5437010"/>
                    </a:lnTo>
                    <a:lnTo>
                      <a:pt x="3159277" y="5441775"/>
                    </a:lnTo>
                    <a:lnTo>
                      <a:pt x="3164043" y="5441775"/>
                    </a:lnTo>
                    <a:lnTo>
                      <a:pt x="3164043" y="5446540"/>
                    </a:lnTo>
                    <a:lnTo>
                      <a:pt x="3159277" y="5451305"/>
                    </a:lnTo>
                    <a:lnTo>
                      <a:pt x="3144982" y="5451305"/>
                    </a:lnTo>
                    <a:lnTo>
                      <a:pt x="3135452" y="5451305"/>
                    </a:lnTo>
                    <a:lnTo>
                      <a:pt x="3125922" y="5456071"/>
                    </a:lnTo>
                    <a:lnTo>
                      <a:pt x="3102096" y="5465601"/>
                    </a:lnTo>
                    <a:lnTo>
                      <a:pt x="3087801" y="5470365"/>
                    </a:lnTo>
                    <a:lnTo>
                      <a:pt x="3068740" y="5498957"/>
                    </a:lnTo>
                    <a:lnTo>
                      <a:pt x="3068740" y="5503721"/>
                    </a:lnTo>
                    <a:lnTo>
                      <a:pt x="3068740" y="5508487"/>
                    </a:lnTo>
                    <a:lnTo>
                      <a:pt x="3083035" y="5503721"/>
                    </a:lnTo>
                    <a:lnTo>
                      <a:pt x="3092566" y="5508487"/>
                    </a:lnTo>
                    <a:lnTo>
                      <a:pt x="3102096" y="5513252"/>
                    </a:lnTo>
                    <a:lnTo>
                      <a:pt x="3106861" y="5522782"/>
                    </a:lnTo>
                    <a:lnTo>
                      <a:pt x="3106861" y="5537077"/>
                    </a:lnTo>
                    <a:lnTo>
                      <a:pt x="3111626" y="5537077"/>
                    </a:lnTo>
                    <a:lnTo>
                      <a:pt x="3087801" y="5560903"/>
                    </a:lnTo>
                    <a:lnTo>
                      <a:pt x="3078270" y="5570433"/>
                    </a:lnTo>
                    <a:lnTo>
                      <a:pt x="3078270" y="5575199"/>
                    </a:lnTo>
                    <a:lnTo>
                      <a:pt x="3073505" y="5570433"/>
                    </a:lnTo>
                    <a:lnTo>
                      <a:pt x="3068740" y="5546607"/>
                    </a:lnTo>
                    <a:lnTo>
                      <a:pt x="3068740" y="5541843"/>
                    </a:lnTo>
                    <a:lnTo>
                      <a:pt x="3063975" y="5541843"/>
                    </a:lnTo>
                    <a:lnTo>
                      <a:pt x="3059210" y="5551373"/>
                    </a:lnTo>
                    <a:lnTo>
                      <a:pt x="3044914" y="5579963"/>
                    </a:lnTo>
                    <a:lnTo>
                      <a:pt x="3030619" y="5594259"/>
                    </a:lnTo>
                    <a:lnTo>
                      <a:pt x="2930551" y="5637145"/>
                    </a:lnTo>
                    <a:lnTo>
                      <a:pt x="2916256" y="5646675"/>
                    </a:lnTo>
                    <a:lnTo>
                      <a:pt x="2911491" y="5660971"/>
                    </a:lnTo>
                    <a:lnTo>
                      <a:pt x="2911491" y="5675266"/>
                    </a:lnTo>
                    <a:lnTo>
                      <a:pt x="2901961" y="5689561"/>
                    </a:lnTo>
                    <a:lnTo>
                      <a:pt x="2897195" y="5694327"/>
                    </a:lnTo>
                    <a:lnTo>
                      <a:pt x="2892430" y="5689561"/>
                    </a:lnTo>
                    <a:lnTo>
                      <a:pt x="2892430" y="5651441"/>
                    </a:lnTo>
                    <a:lnTo>
                      <a:pt x="2892430" y="5641911"/>
                    </a:lnTo>
                    <a:lnTo>
                      <a:pt x="2882900" y="5637145"/>
                    </a:lnTo>
                    <a:lnTo>
                      <a:pt x="2878135" y="5637145"/>
                    </a:lnTo>
                    <a:lnTo>
                      <a:pt x="2873370" y="5637145"/>
                    </a:lnTo>
                    <a:lnTo>
                      <a:pt x="2863840" y="5646675"/>
                    </a:lnTo>
                    <a:lnTo>
                      <a:pt x="2854309" y="5651441"/>
                    </a:lnTo>
                    <a:lnTo>
                      <a:pt x="2849544" y="5651441"/>
                    </a:lnTo>
                    <a:lnTo>
                      <a:pt x="2835249" y="5660971"/>
                    </a:lnTo>
                    <a:lnTo>
                      <a:pt x="2806658" y="5684797"/>
                    </a:lnTo>
                    <a:lnTo>
                      <a:pt x="2782832" y="5694327"/>
                    </a:lnTo>
                    <a:lnTo>
                      <a:pt x="2778067" y="5699092"/>
                    </a:lnTo>
                    <a:lnTo>
                      <a:pt x="2768537" y="5713387"/>
                    </a:lnTo>
                    <a:lnTo>
                      <a:pt x="2763772" y="5722917"/>
                    </a:lnTo>
                    <a:lnTo>
                      <a:pt x="2754242" y="5722917"/>
                    </a:lnTo>
                    <a:lnTo>
                      <a:pt x="2744711" y="5718153"/>
                    </a:lnTo>
                    <a:lnTo>
                      <a:pt x="2735181" y="5718153"/>
                    </a:lnTo>
                    <a:lnTo>
                      <a:pt x="2730416" y="5732447"/>
                    </a:lnTo>
                    <a:lnTo>
                      <a:pt x="2720886" y="5737213"/>
                    </a:lnTo>
                    <a:lnTo>
                      <a:pt x="2701825" y="5727683"/>
                    </a:lnTo>
                    <a:lnTo>
                      <a:pt x="2692295" y="5732447"/>
                    </a:lnTo>
                    <a:lnTo>
                      <a:pt x="2682765" y="5746743"/>
                    </a:lnTo>
                    <a:lnTo>
                      <a:pt x="2668469" y="5756273"/>
                    </a:lnTo>
                    <a:lnTo>
                      <a:pt x="2658939" y="5761039"/>
                    </a:lnTo>
                    <a:lnTo>
                      <a:pt x="2625583" y="5765803"/>
                    </a:lnTo>
                    <a:lnTo>
                      <a:pt x="2616053" y="5765803"/>
                    </a:lnTo>
                    <a:lnTo>
                      <a:pt x="2611288" y="5761039"/>
                    </a:lnTo>
                    <a:lnTo>
                      <a:pt x="2611288" y="5741978"/>
                    </a:lnTo>
                    <a:lnTo>
                      <a:pt x="2616053" y="5727683"/>
                    </a:lnTo>
                    <a:lnTo>
                      <a:pt x="2620818" y="5722917"/>
                    </a:lnTo>
                    <a:lnTo>
                      <a:pt x="2630348" y="5718153"/>
                    </a:lnTo>
                    <a:lnTo>
                      <a:pt x="2635113" y="5713387"/>
                    </a:lnTo>
                    <a:lnTo>
                      <a:pt x="2654174" y="5718153"/>
                    </a:lnTo>
                    <a:lnTo>
                      <a:pt x="2654174" y="5713387"/>
                    </a:lnTo>
                    <a:lnTo>
                      <a:pt x="2644644" y="5708622"/>
                    </a:lnTo>
                    <a:lnTo>
                      <a:pt x="2630348" y="5699092"/>
                    </a:lnTo>
                    <a:lnTo>
                      <a:pt x="2616053" y="5694327"/>
                    </a:lnTo>
                    <a:lnTo>
                      <a:pt x="2606523" y="5699092"/>
                    </a:lnTo>
                    <a:lnTo>
                      <a:pt x="2592227" y="5703857"/>
                    </a:lnTo>
                    <a:lnTo>
                      <a:pt x="2582697" y="5713387"/>
                    </a:lnTo>
                    <a:lnTo>
                      <a:pt x="2577932" y="5722917"/>
                    </a:lnTo>
                    <a:lnTo>
                      <a:pt x="2573167" y="5751508"/>
                    </a:lnTo>
                    <a:lnTo>
                      <a:pt x="2568402" y="5761039"/>
                    </a:lnTo>
                    <a:lnTo>
                      <a:pt x="2535046" y="5813455"/>
                    </a:lnTo>
                    <a:lnTo>
                      <a:pt x="2515985" y="5832515"/>
                    </a:lnTo>
                    <a:lnTo>
                      <a:pt x="2501690" y="5827750"/>
                    </a:lnTo>
                    <a:lnTo>
                      <a:pt x="2496925" y="5837281"/>
                    </a:lnTo>
                    <a:lnTo>
                      <a:pt x="2487394" y="5846811"/>
                    </a:lnTo>
                    <a:lnTo>
                      <a:pt x="2477864" y="5856341"/>
                    </a:lnTo>
                    <a:lnTo>
                      <a:pt x="2468334" y="5856341"/>
                    </a:lnTo>
                    <a:lnTo>
                      <a:pt x="2463569" y="5851576"/>
                    </a:lnTo>
                    <a:lnTo>
                      <a:pt x="2458804" y="5846811"/>
                    </a:lnTo>
                    <a:lnTo>
                      <a:pt x="2458804" y="5842045"/>
                    </a:lnTo>
                    <a:lnTo>
                      <a:pt x="2463569" y="5837281"/>
                    </a:lnTo>
                    <a:lnTo>
                      <a:pt x="2463569" y="5827750"/>
                    </a:lnTo>
                    <a:lnTo>
                      <a:pt x="2454039" y="5813455"/>
                    </a:lnTo>
                    <a:lnTo>
                      <a:pt x="2444508" y="5803925"/>
                    </a:lnTo>
                    <a:lnTo>
                      <a:pt x="2430213" y="5799159"/>
                    </a:lnTo>
                    <a:lnTo>
                      <a:pt x="2430213" y="5808689"/>
                    </a:lnTo>
                    <a:lnTo>
                      <a:pt x="2434978" y="5846811"/>
                    </a:lnTo>
                    <a:lnTo>
                      <a:pt x="2434978" y="5856341"/>
                    </a:lnTo>
                    <a:lnTo>
                      <a:pt x="2425448" y="5870637"/>
                    </a:lnTo>
                    <a:lnTo>
                      <a:pt x="2401622" y="5880167"/>
                    </a:lnTo>
                    <a:lnTo>
                      <a:pt x="2396857" y="5880167"/>
                    </a:lnTo>
                    <a:lnTo>
                      <a:pt x="2373031" y="5856341"/>
                    </a:lnTo>
                    <a:lnTo>
                      <a:pt x="2353971" y="5851576"/>
                    </a:lnTo>
                    <a:lnTo>
                      <a:pt x="2353971" y="5861106"/>
                    </a:lnTo>
                    <a:lnTo>
                      <a:pt x="2358736" y="5875401"/>
                    </a:lnTo>
                    <a:lnTo>
                      <a:pt x="2353971" y="5889697"/>
                    </a:lnTo>
                    <a:lnTo>
                      <a:pt x="2339676" y="5903992"/>
                    </a:lnTo>
                    <a:lnTo>
                      <a:pt x="2330145" y="5913523"/>
                    </a:lnTo>
                    <a:lnTo>
                      <a:pt x="2320615" y="5913523"/>
                    </a:lnTo>
                    <a:lnTo>
                      <a:pt x="2320615" y="5903992"/>
                    </a:lnTo>
                    <a:lnTo>
                      <a:pt x="2325380" y="5880167"/>
                    </a:lnTo>
                    <a:lnTo>
                      <a:pt x="2330145" y="5865871"/>
                    </a:lnTo>
                    <a:lnTo>
                      <a:pt x="2325380" y="5851576"/>
                    </a:lnTo>
                    <a:lnTo>
                      <a:pt x="2325380" y="5842045"/>
                    </a:lnTo>
                    <a:lnTo>
                      <a:pt x="2330145" y="5837281"/>
                    </a:lnTo>
                    <a:lnTo>
                      <a:pt x="2353971" y="5813455"/>
                    </a:lnTo>
                    <a:lnTo>
                      <a:pt x="2368266" y="5813455"/>
                    </a:lnTo>
                    <a:lnTo>
                      <a:pt x="2373031" y="5818220"/>
                    </a:lnTo>
                    <a:lnTo>
                      <a:pt x="2377797" y="5818220"/>
                    </a:lnTo>
                    <a:lnTo>
                      <a:pt x="2387327" y="5813455"/>
                    </a:lnTo>
                    <a:lnTo>
                      <a:pt x="2392092" y="5808689"/>
                    </a:lnTo>
                    <a:lnTo>
                      <a:pt x="2396857" y="5799159"/>
                    </a:lnTo>
                    <a:lnTo>
                      <a:pt x="2406387" y="5784864"/>
                    </a:lnTo>
                    <a:lnTo>
                      <a:pt x="2425448" y="5770569"/>
                    </a:lnTo>
                    <a:lnTo>
                      <a:pt x="2449273" y="5746743"/>
                    </a:lnTo>
                    <a:lnTo>
                      <a:pt x="2473099" y="5703857"/>
                    </a:lnTo>
                    <a:lnTo>
                      <a:pt x="2506455" y="5670501"/>
                    </a:lnTo>
                    <a:lnTo>
                      <a:pt x="2539811" y="5641911"/>
                    </a:lnTo>
                    <a:lnTo>
                      <a:pt x="2577932" y="5618085"/>
                    </a:lnTo>
                    <a:lnTo>
                      <a:pt x="2654174" y="5584729"/>
                    </a:lnTo>
                    <a:lnTo>
                      <a:pt x="2658939" y="5589494"/>
                    </a:lnTo>
                    <a:lnTo>
                      <a:pt x="2649409" y="5599024"/>
                    </a:lnTo>
                    <a:lnTo>
                      <a:pt x="2654174" y="5603789"/>
                    </a:lnTo>
                    <a:lnTo>
                      <a:pt x="2663704" y="5603789"/>
                    </a:lnTo>
                    <a:lnTo>
                      <a:pt x="2692295" y="5599024"/>
                    </a:lnTo>
                    <a:lnTo>
                      <a:pt x="2701825" y="5594259"/>
                    </a:lnTo>
                    <a:lnTo>
                      <a:pt x="2706590" y="5599024"/>
                    </a:lnTo>
                    <a:lnTo>
                      <a:pt x="2701825" y="5608555"/>
                    </a:lnTo>
                    <a:lnTo>
                      <a:pt x="2682765" y="5618085"/>
                    </a:lnTo>
                    <a:lnTo>
                      <a:pt x="2687530" y="5622850"/>
                    </a:lnTo>
                    <a:lnTo>
                      <a:pt x="2711356" y="5656205"/>
                    </a:lnTo>
                    <a:lnTo>
                      <a:pt x="2716121" y="5660971"/>
                    </a:lnTo>
                    <a:lnTo>
                      <a:pt x="2725651" y="5660971"/>
                    </a:lnTo>
                    <a:lnTo>
                      <a:pt x="2725651" y="5656205"/>
                    </a:lnTo>
                    <a:lnTo>
                      <a:pt x="2725651" y="5632380"/>
                    </a:lnTo>
                    <a:lnTo>
                      <a:pt x="2730416" y="5627615"/>
                    </a:lnTo>
                    <a:lnTo>
                      <a:pt x="2749477" y="5627615"/>
                    </a:lnTo>
                    <a:lnTo>
                      <a:pt x="2759007" y="5632380"/>
                    </a:lnTo>
                    <a:lnTo>
                      <a:pt x="2763772" y="5637145"/>
                    </a:lnTo>
                    <a:lnTo>
                      <a:pt x="2773302" y="5641911"/>
                    </a:lnTo>
                    <a:lnTo>
                      <a:pt x="2787598" y="5646675"/>
                    </a:lnTo>
                    <a:lnTo>
                      <a:pt x="2797128" y="5646675"/>
                    </a:lnTo>
                    <a:lnTo>
                      <a:pt x="2801893" y="5637145"/>
                    </a:lnTo>
                    <a:lnTo>
                      <a:pt x="2792363" y="5632380"/>
                    </a:lnTo>
                    <a:lnTo>
                      <a:pt x="2768537" y="5608555"/>
                    </a:lnTo>
                    <a:lnTo>
                      <a:pt x="2759007" y="5603789"/>
                    </a:lnTo>
                    <a:lnTo>
                      <a:pt x="2759007" y="5589494"/>
                    </a:lnTo>
                    <a:lnTo>
                      <a:pt x="2763772" y="5575199"/>
                    </a:lnTo>
                    <a:lnTo>
                      <a:pt x="2768537" y="5556138"/>
                    </a:lnTo>
                    <a:lnTo>
                      <a:pt x="2782832" y="5522782"/>
                    </a:lnTo>
                    <a:lnTo>
                      <a:pt x="2797128" y="5503721"/>
                    </a:lnTo>
                    <a:lnTo>
                      <a:pt x="2820953" y="5479896"/>
                    </a:lnTo>
                    <a:lnTo>
                      <a:pt x="2835249" y="5470365"/>
                    </a:lnTo>
                    <a:lnTo>
                      <a:pt x="2873370" y="5437010"/>
                    </a:lnTo>
                    <a:lnTo>
                      <a:pt x="2954377" y="5398889"/>
                    </a:lnTo>
                    <a:lnTo>
                      <a:pt x="2973438" y="5375063"/>
                    </a:lnTo>
                    <a:lnTo>
                      <a:pt x="3002028" y="5351237"/>
                    </a:lnTo>
                    <a:lnTo>
                      <a:pt x="3011559" y="5341707"/>
                    </a:lnTo>
                    <a:lnTo>
                      <a:pt x="3011559" y="5351237"/>
                    </a:lnTo>
                    <a:lnTo>
                      <a:pt x="3016324" y="5360768"/>
                    </a:lnTo>
                    <a:lnTo>
                      <a:pt x="3030619" y="5370298"/>
                    </a:lnTo>
                    <a:lnTo>
                      <a:pt x="3044914" y="5370298"/>
                    </a:lnTo>
                    <a:lnTo>
                      <a:pt x="3049680" y="5370298"/>
                    </a:lnTo>
                    <a:lnTo>
                      <a:pt x="3049680" y="5360768"/>
                    </a:lnTo>
                    <a:lnTo>
                      <a:pt x="3049680" y="5341707"/>
                    </a:lnTo>
                    <a:lnTo>
                      <a:pt x="3049680" y="5327412"/>
                    </a:lnTo>
                    <a:lnTo>
                      <a:pt x="3049680" y="5308351"/>
                    </a:lnTo>
                    <a:lnTo>
                      <a:pt x="3049680" y="5298821"/>
                    </a:lnTo>
                    <a:lnTo>
                      <a:pt x="3063975" y="5274995"/>
                    </a:lnTo>
                    <a:lnTo>
                      <a:pt x="3083035" y="5251170"/>
                    </a:lnTo>
                    <a:lnTo>
                      <a:pt x="3106861" y="5222579"/>
                    </a:lnTo>
                    <a:lnTo>
                      <a:pt x="3121156" y="5213049"/>
                    </a:lnTo>
                    <a:lnTo>
                      <a:pt x="3135452" y="5203519"/>
                    </a:lnTo>
                    <a:lnTo>
                      <a:pt x="3149747" y="5189223"/>
                    </a:lnTo>
                    <a:lnTo>
                      <a:pt x="3173573" y="5160633"/>
                    </a:lnTo>
                    <a:lnTo>
                      <a:pt x="3178338" y="5155867"/>
                    </a:lnTo>
                    <a:lnTo>
                      <a:pt x="3197399" y="5151102"/>
                    </a:lnTo>
                    <a:lnTo>
                      <a:pt x="3202164" y="5155867"/>
                    </a:lnTo>
                    <a:lnTo>
                      <a:pt x="3206929" y="5160633"/>
                    </a:lnTo>
                    <a:lnTo>
                      <a:pt x="3211694" y="5165397"/>
                    </a:lnTo>
                    <a:lnTo>
                      <a:pt x="3225989" y="5170163"/>
                    </a:lnTo>
                    <a:lnTo>
                      <a:pt x="3240285" y="5165397"/>
                    </a:lnTo>
                    <a:lnTo>
                      <a:pt x="3235520" y="5160633"/>
                    </a:lnTo>
                    <a:lnTo>
                      <a:pt x="3225989" y="5155867"/>
                    </a:lnTo>
                    <a:lnTo>
                      <a:pt x="3221224" y="5151102"/>
                    </a:lnTo>
                    <a:lnTo>
                      <a:pt x="3216459" y="5136807"/>
                    </a:lnTo>
                    <a:lnTo>
                      <a:pt x="3202164" y="5127277"/>
                    </a:lnTo>
                    <a:lnTo>
                      <a:pt x="3202164" y="5112981"/>
                    </a:lnTo>
                    <a:lnTo>
                      <a:pt x="3202164" y="5093921"/>
                    </a:lnTo>
                    <a:lnTo>
                      <a:pt x="3216459" y="5051035"/>
                    </a:lnTo>
                    <a:lnTo>
                      <a:pt x="3216459" y="5003383"/>
                    </a:lnTo>
                    <a:lnTo>
                      <a:pt x="3225989" y="4979557"/>
                    </a:lnTo>
                    <a:lnTo>
                      <a:pt x="3240285" y="4970027"/>
                    </a:lnTo>
                    <a:lnTo>
                      <a:pt x="3278406" y="4960497"/>
                    </a:lnTo>
                    <a:lnTo>
                      <a:pt x="3259345" y="4950967"/>
                    </a:lnTo>
                    <a:lnTo>
                      <a:pt x="3249815" y="4950967"/>
                    </a:lnTo>
                    <a:lnTo>
                      <a:pt x="3235520" y="4941437"/>
                    </a:lnTo>
                    <a:lnTo>
                      <a:pt x="3230754" y="4912846"/>
                    </a:lnTo>
                    <a:lnTo>
                      <a:pt x="3230754" y="4893785"/>
                    </a:lnTo>
                    <a:lnTo>
                      <a:pt x="3240285" y="4869959"/>
                    </a:lnTo>
                    <a:lnTo>
                      <a:pt x="3273641" y="4827073"/>
                    </a:lnTo>
                    <a:lnTo>
                      <a:pt x="3316527" y="4798483"/>
                    </a:lnTo>
                    <a:lnTo>
                      <a:pt x="3306996" y="4798483"/>
                    </a:lnTo>
                    <a:lnTo>
                      <a:pt x="3302231" y="4788953"/>
                    </a:lnTo>
                    <a:lnTo>
                      <a:pt x="3321292" y="4731771"/>
                    </a:lnTo>
                    <a:lnTo>
                      <a:pt x="3340352" y="4679355"/>
                    </a:lnTo>
                    <a:lnTo>
                      <a:pt x="3316527" y="4722241"/>
                    </a:lnTo>
                    <a:lnTo>
                      <a:pt x="3287936" y="4755597"/>
                    </a:lnTo>
                    <a:lnTo>
                      <a:pt x="3206929" y="4793717"/>
                    </a:lnTo>
                    <a:lnTo>
                      <a:pt x="3149747" y="4827073"/>
                    </a:lnTo>
                    <a:lnTo>
                      <a:pt x="3125922" y="4836604"/>
                    </a:lnTo>
                    <a:lnTo>
                      <a:pt x="3106861" y="4827073"/>
                    </a:lnTo>
                    <a:lnTo>
                      <a:pt x="3092566" y="4798483"/>
                    </a:lnTo>
                    <a:lnTo>
                      <a:pt x="3087801" y="4784187"/>
                    </a:lnTo>
                    <a:lnTo>
                      <a:pt x="3078270" y="4765127"/>
                    </a:lnTo>
                    <a:lnTo>
                      <a:pt x="3078270" y="4736536"/>
                    </a:lnTo>
                    <a:lnTo>
                      <a:pt x="3087801" y="4722241"/>
                    </a:lnTo>
                    <a:lnTo>
                      <a:pt x="3106861" y="4717475"/>
                    </a:lnTo>
                    <a:lnTo>
                      <a:pt x="3125922" y="4727006"/>
                    </a:lnTo>
                    <a:lnTo>
                      <a:pt x="3140217" y="4727006"/>
                    </a:lnTo>
                    <a:lnTo>
                      <a:pt x="3121156" y="4707945"/>
                    </a:lnTo>
                    <a:lnTo>
                      <a:pt x="3087801" y="4693650"/>
                    </a:lnTo>
                    <a:lnTo>
                      <a:pt x="3073505" y="4698415"/>
                    </a:lnTo>
                    <a:lnTo>
                      <a:pt x="3063975" y="4722241"/>
                    </a:lnTo>
                    <a:lnTo>
                      <a:pt x="3049680" y="4741301"/>
                    </a:lnTo>
                    <a:lnTo>
                      <a:pt x="3035384" y="4736536"/>
                    </a:lnTo>
                    <a:lnTo>
                      <a:pt x="3025854" y="4727006"/>
                    </a:lnTo>
                    <a:lnTo>
                      <a:pt x="3035384" y="4750831"/>
                    </a:lnTo>
                    <a:lnTo>
                      <a:pt x="3025854" y="4784187"/>
                    </a:lnTo>
                    <a:lnTo>
                      <a:pt x="3021089" y="4803248"/>
                    </a:lnTo>
                    <a:lnTo>
                      <a:pt x="3035384" y="4865195"/>
                    </a:lnTo>
                    <a:lnTo>
                      <a:pt x="3030619" y="4889020"/>
                    </a:lnTo>
                    <a:lnTo>
                      <a:pt x="3006793" y="4898551"/>
                    </a:lnTo>
                    <a:lnTo>
                      <a:pt x="2987733" y="4879490"/>
                    </a:lnTo>
                    <a:lnTo>
                      <a:pt x="2944847" y="4803248"/>
                    </a:lnTo>
                    <a:lnTo>
                      <a:pt x="2925786" y="4784187"/>
                    </a:lnTo>
                    <a:lnTo>
                      <a:pt x="2892430" y="4746067"/>
                    </a:lnTo>
                    <a:lnTo>
                      <a:pt x="2882900" y="4750831"/>
                    </a:lnTo>
                    <a:lnTo>
                      <a:pt x="2868605" y="4769892"/>
                    </a:lnTo>
                    <a:lnTo>
                      <a:pt x="2854309" y="4774657"/>
                    </a:lnTo>
                    <a:lnTo>
                      <a:pt x="2816188" y="4746067"/>
                    </a:lnTo>
                    <a:lnTo>
                      <a:pt x="2801893" y="4727006"/>
                    </a:lnTo>
                    <a:lnTo>
                      <a:pt x="2787598" y="4703181"/>
                    </a:lnTo>
                    <a:lnTo>
                      <a:pt x="2759007" y="4717475"/>
                    </a:lnTo>
                    <a:lnTo>
                      <a:pt x="2739946" y="4731771"/>
                    </a:lnTo>
                    <a:lnTo>
                      <a:pt x="2716121" y="4760362"/>
                    </a:lnTo>
                    <a:lnTo>
                      <a:pt x="2697060" y="4760362"/>
                    </a:lnTo>
                    <a:lnTo>
                      <a:pt x="2654174" y="4779423"/>
                    </a:lnTo>
                    <a:lnTo>
                      <a:pt x="2649409" y="4779423"/>
                    </a:lnTo>
                    <a:lnTo>
                      <a:pt x="2639879" y="4793717"/>
                    </a:lnTo>
                    <a:lnTo>
                      <a:pt x="2635113" y="4798483"/>
                    </a:lnTo>
                    <a:lnTo>
                      <a:pt x="2630348" y="4817543"/>
                    </a:lnTo>
                    <a:lnTo>
                      <a:pt x="2568402" y="4836604"/>
                    </a:lnTo>
                    <a:lnTo>
                      <a:pt x="2506455" y="4827073"/>
                    </a:lnTo>
                    <a:lnTo>
                      <a:pt x="2530281" y="4812778"/>
                    </a:lnTo>
                    <a:lnTo>
                      <a:pt x="2554106" y="4803248"/>
                    </a:lnTo>
                    <a:lnTo>
                      <a:pt x="2573167" y="4784187"/>
                    </a:lnTo>
                    <a:lnTo>
                      <a:pt x="2563637" y="4750831"/>
                    </a:lnTo>
                    <a:lnTo>
                      <a:pt x="2563637" y="4736536"/>
                    </a:lnTo>
                    <a:lnTo>
                      <a:pt x="2563637" y="4717475"/>
                    </a:lnTo>
                    <a:lnTo>
                      <a:pt x="2587462" y="4684120"/>
                    </a:lnTo>
                    <a:lnTo>
                      <a:pt x="2563637" y="4684120"/>
                    </a:lnTo>
                    <a:lnTo>
                      <a:pt x="2549341" y="4698415"/>
                    </a:lnTo>
                    <a:lnTo>
                      <a:pt x="2535046" y="4674589"/>
                    </a:lnTo>
                    <a:lnTo>
                      <a:pt x="2525516" y="4631703"/>
                    </a:lnTo>
                    <a:lnTo>
                      <a:pt x="2539811" y="4607877"/>
                    </a:lnTo>
                    <a:lnTo>
                      <a:pt x="2549341" y="4588817"/>
                    </a:lnTo>
                    <a:lnTo>
                      <a:pt x="2554106" y="4564991"/>
                    </a:lnTo>
                    <a:lnTo>
                      <a:pt x="2558871" y="4541166"/>
                    </a:lnTo>
                    <a:lnTo>
                      <a:pt x="2544576" y="4503045"/>
                    </a:lnTo>
                    <a:lnTo>
                      <a:pt x="2506455" y="4417273"/>
                    </a:lnTo>
                    <a:lnTo>
                      <a:pt x="2492160" y="4355326"/>
                    </a:lnTo>
                    <a:lnTo>
                      <a:pt x="2463569" y="4321970"/>
                    </a:lnTo>
                    <a:lnTo>
                      <a:pt x="2482629" y="4269553"/>
                    </a:lnTo>
                    <a:lnTo>
                      <a:pt x="2506455" y="4217137"/>
                    </a:lnTo>
                    <a:lnTo>
                      <a:pt x="2539811" y="4198077"/>
                    </a:lnTo>
                    <a:lnTo>
                      <a:pt x="2535046" y="4193312"/>
                    </a:lnTo>
                    <a:lnTo>
                      <a:pt x="2520751" y="4193312"/>
                    </a:lnTo>
                    <a:lnTo>
                      <a:pt x="2506455" y="4193312"/>
                    </a:lnTo>
                    <a:lnTo>
                      <a:pt x="2496925" y="4212372"/>
                    </a:lnTo>
                    <a:lnTo>
                      <a:pt x="2487394" y="4226667"/>
                    </a:lnTo>
                    <a:lnTo>
                      <a:pt x="2458804" y="4288614"/>
                    </a:lnTo>
                    <a:lnTo>
                      <a:pt x="2434978" y="4317205"/>
                    </a:lnTo>
                    <a:lnTo>
                      <a:pt x="2420683" y="4326735"/>
                    </a:lnTo>
                    <a:lnTo>
                      <a:pt x="2444508" y="4341031"/>
                    </a:lnTo>
                    <a:lnTo>
                      <a:pt x="2449273" y="4350561"/>
                    </a:lnTo>
                    <a:lnTo>
                      <a:pt x="2454039" y="4374387"/>
                    </a:lnTo>
                    <a:lnTo>
                      <a:pt x="2444508" y="4398212"/>
                    </a:lnTo>
                    <a:lnTo>
                      <a:pt x="2439743" y="4417273"/>
                    </a:lnTo>
                    <a:lnTo>
                      <a:pt x="2415918" y="4412507"/>
                    </a:lnTo>
                    <a:lnTo>
                      <a:pt x="2392092" y="4436333"/>
                    </a:lnTo>
                    <a:lnTo>
                      <a:pt x="2339676" y="4460159"/>
                    </a:lnTo>
                    <a:lnTo>
                      <a:pt x="2268199" y="4474454"/>
                    </a:lnTo>
                    <a:lnTo>
                      <a:pt x="2230078" y="4474454"/>
                    </a:lnTo>
                    <a:lnTo>
                      <a:pt x="2196722" y="4445863"/>
                    </a:lnTo>
                    <a:lnTo>
                      <a:pt x="2196722" y="4426803"/>
                    </a:lnTo>
                    <a:lnTo>
                      <a:pt x="2196722" y="4412507"/>
                    </a:lnTo>
                    <a:lnTo>
                      <a:pt x="2144305" y="4364856"/>
                    </a:lnTo>
                    <a:lnTo>
                      <a:pt x="2115715" y="4317205"/>
                    </a:lnTo>
                    <a:lnTo>
                      <a:pt x="2091889" y="4317205"/>
                    </a:lnTo>
                    <a:lnTo>
                      <a:pt x="2072828" y="4302909"/>
                    </a:lnTo>
                    <a:lnTo>
                      <a:pt x="2053768" y="4283849"/>
                    </a:lnTo>
                    <a:lnTo>
                      <a:pt x="2053768" y="4264789"/>
                    </a:lnTo>
                    <a:lnTo>
                      <a:pt x="2058533" y="4255259"/>
                    </a:lnTo>
                    <a:lnTo>
                      <a:pt x="2044238" y="4245728"/>
                    </a:lnTo>
                    <a:lnTo>
                      <a:pt x="2025177" y="4245728"/>
                    </a:lnTo>
                    <a:lnTo>
                      <a:pt x="2006117" y="4240963"/>
                    </a:lnTo>
                    <a:lnTo>
                      <a:pt x="2058533" y="4179016"/>
                    </a:lnTo>
                    <a:lnTo>
                      <a:pt x="2077594" y="4136130"/>
                    </a:lnTo>
                    <a:lnTo>
                      <a:pt x="2091889" y="4131365"/>
                    </a:lnTo>
                    <a:lnTo>
                      <a:pt x="2110949" y="4136130"/>
                    </a:lnTo>
                    <a:lnTo>
                      <a:pt x="2139540" y="4155191"/>
                    </a:lnTo>
                    <a:lnTo>
                      <a:pt x="2158601" y="4159956"/>
                    </a:lnTo>
                    <a:lnTo>
                      <a:pt x="2168131" y="4169486"/>
                    </a:lnTo>
                    <a:lnTo>
                      <a:pt x="2177661" y="4183781"/>
                    </a:lnTo>
                    <a:lnTo>
                      <a:pt x="2168131" y="4207607"/>
                    </a:lnTo>
                    <a:lnTo>
                      <a:pt x="2158601" y="4226667"/>
                    </a:lnTo>
                    <a:lnTo>
                      <a:pt x="2168131" y="4221903"/>
                    </a:lnTo>
                    <a:lnTo>
                      <a:pt x="2196722" y="4193312"/>
                    </a:lnTo>
                    <a:lnTo>
                      <a:pt x="2215782" y="4169486"/>
                    </a:lnTo>
                    <a:lnTo>
                      <a:pt x="2225312" y="4174251"/>
                    </a:lnTo>
                    <a:lnTo>
                      <a:pt x="2234843" y="4174251"/>
                    </a:lnTo>
                    <a:lnTo>
                      <a:pt x="2244373" y="4202842"/>
                    </a:lnTo>
                    <a:lnTo>
                      <a:pt x="2258669" y="4226667"/>
                    </a:lnTo>
                    <a:lnTo>
                      <a:pt x="2292024" y="4202842"/>
                    </a:lnTo>
                    <a:lnTo>
                      <a:pt x="2306320" y="4174251"/>
                    </a:lnTo>
                    <a:lnTo>
                      <a:pt x="2292024" y="4159956"/>
                    </a:lnTo>
                    <a:lnTo>
                      <a:pt x="2277729" y="4150425"/>
                    </a:lnTo>
                    <a:lnTo>
                      <a:pt x="2230078" y="4140895"/>
                    </a:lnTo>
                    <a:lnTo>
                      <a:pt x="2244373" y="4131365"/>
                    </a:lnTo>
                    <a:lnTo>
                      <a:pt x="2272964" y="4136130"/>
                    </a:lnTo>
                    <a:lnTo>
                      <a:pt x="2282494" y="4126600"/>
                    </a:lnTo>
                    <a:lnTo>
                      <a:pt x="2268199" y="4117070"/>
                    </a:lnTo>
                    <a:lnTo>
                      <a:pt x="2258669" y="4102774"/>
                    </a:lnTo>
                    <a:lnTo>
                      <a:pt x="2220547" y="4136130"/>
                    </a:lnTo>
                    <a:lnTo>
                      <a:pt x="2149070" y="4136130"/>
                    </a:lnTo>
                    <a:lnTo>
                      <a:pt x="2101419" y="4117070"/>
                    </a:lnTo>
                    <a:lnTo>
                      <a:pt x="2049003" y="4121835"/>
                    </a:lnTo>
                    <a:lnTo>
                      <a:pt x="2044238" y="4117070"/>
                    </a:lnTo>
                    <a:lnTo>
                      <a:pt x="2034707" y="4107539"/>
                    </a:lnTo>
                    <a:lnTo>
                      <a:pt x="2063298" y="4078949"/>
                    </a:lnTo>
                    <a:lnTo>
                      <a:pt x="2082359" y="4069419"/>
                    </a:lnTo>
                    <a:lnTo>
                      <a:pt x="2082359" y="4059888"/>
                    </a:lnTo>
                    <a:lnTo>
                      <a:pt x="2068063" y="4059888"/>
                    </a:lnTo>
                    <a:lnTo>
                      <a:pt x="2049003" y="4064653"/>
                    </a:lnTo>
                    <a:lnTo>
                      <a:pt x="2039472" y="4055123"/>
                    </a:lnTo>
                    <a:lnTo>
                      <a:pt x="2039472" y="4036063"/>
                    </a:lnTo>
                    <a:lnTo>
                      <a:pt x="2029942" y="4045593"/>
                    </a:lnTo>
                    <a:lnTo>
                      <a:pt x="2015647" y="4040827"/>
                    </a:lnTo>
                    <a:lnTo>
                      <a:pt x="2006117" y="4031297"/>
                    </a:lnTo>
                    <a:lnTo>
                      <a:pt x="2010882" y="4021767"/>
                    </a:lnTo>
                    <a:lnTo>
                      <a:pt x="2025177" y="4007472"/>
                    </a:lnTo>
                    <a:lnTo>
                      <a:pt x="2020412" y="4007472"/>
                    </a:lnTo>
                    <a:lnTo>
                      <a:pt x="2010882" y="4007472"/>
                    </a:lnTo>
                    <a:lnTo>
                      <a:pt x="2001351" y="4026532"/>
                    </a:lnTo>
                    <a:lnTo>
                      <a:pt x="2001351" y="4040827"/>
                    </a:lnTo>
                    <a:lnTo>
                      <a:pt x="2001351" y="4059888"/>
                    </a:lnTo>
                    <a:lnTo>
                      <a:pt x="1987056" y="4064653"/>
                    </a:lnTo>
                    <a:lnTo>
                      <a:pt x="1972761" y="4059888"/>
                    </a:lnTo>
                    <a:lnTo>
                      <a:pt x="1963230" y="4040827"/>
                    </a:lnTo>
                    <a:lnTo>
                      <a:pt x="1953700" y="3997941"/>
                    </a:lnTo>
                    <a:lnTo>
                      <a:pt x="1925109" y="3983646"/>
                    </a:lnTo>
                    <a:lnTo>
                      <a:pt x="1920344" y="3964585"/>
                    </a:lnTo>
                    <a:lnTo>
                      <a:pt x="1934640" y="3935995"/>
                    </a:lnTo>
                    <a:lnTo>
                      <a:pt x="1929875" y="3921699"/>
                    </a:lnTo>
                    <a:lnTo>
                      <a:pt x="1910814" y="3916934"/>
                    </a:lnTo>
                    <a:lnTo>
                      <a:pt x="1891754" y="3931230"/>
                    </a:lnTo>
                    <a:lnTo>
                      <a:pt x="1882223" y="3916934"/>
                    </a:lnTo>
                    <a:lnTo>
                      <a:pt x="1877458" y="3902639"/>
                    </a:lnTo>
                    <a:lnTo>
                      <a:pt x="1877458" y="3883579"/>
                    </a:lnTo>
                    <a:lnTo>
                      <a:pt x="1886988" y="3878813"/>
                    </a:lnTo>
                    <a:lnTo>
                      <a:pt x="1891754" y="3883579"/>
                    </a:lnTo>
                    <a:lnTo>
                      <a:pt x="1929875" y="3874048"/>
                    </a:lnTo>
                    <a:lnTo>
                      <a:pt x="1934640" y="3869283"/>
                    </a:lnTo>
                    <a:lnTo>
                      <a:pt x="1901284" y="3850223"/>
                    </a:lnTo>
                    <a:lnTo>
                      <a:pt x="1891754" y="3831162"/>
                    </a:lnTo>
                    <a:lnTo>
                      <a:pt x="1906049" y="3821632"/>
                    </a:lnTo>
                    <a:lnTo>
                      <a:pt x="1929875" y="3821632"/>
                    </a:lnTo>
                    <a:lnTo>
                      <a:pt x="1967996" y="3812101"/>
                    </a:lnTo>
                    <a:lnTo>
                      <a:pt x="1948935" y="3793041"/>
                    </a:lnTo>
                    <a:lnTo>
                      <a:pt x="1948935" y="3778746"/>
                    </a:lnTo>
                    <a:lnTo>
                      <a:pt x="1944170" y="3764450"/>
                    </a:lnTo>
                    <a:lnTo>
                      <a:pt x="1948935" y="3735859"/>
                    </a:lnTo>
                    <a:lnTo>
                      <a:pt x="1991821" y="3664383"/>
                    </a:lnTo>
                    <a:lnTo>
                      <a:pt x="2029942" y="3607201"/>
                    </a:lnTo>
                    <a:lnTo>
                      <a:pt x="2044238" y="3592906"/>
                    </a:lnTo>
                    <a:lnTo>
                      <a:pt x="2063298" y="3588141"/>
                    </a:lnTo>
                    <a:lnTo>
                      <a:pt x="2077594" y="3592906"/>
                    </a:lnTo>
                    <a:lnTo>
                      <a:pt x="2096654" y="3607201"/>
                    </a:lnTo>
                    <a:lnTo>
                      <a:pt x="2101419" y="3602436"/>
                    </a:lnTo>
                    <a:lnTo>
                      <a:pt x="2091889" y="3597671"/>
                    </a:lnTo>
                    <a:lnTo>
                      <a:pt x="2087124" y="3573845"/>
                    </a:lnTo>
                    <a:lnTo>
                      <a:pt x="2110949" y="3564315"/>
                    </a:lnTo>
                    <a:lnTo>
                      <a:pt x="2125245" y="3535724"/>
                    </a:lnTo>
                    <a:lnTo>
                      <a:pt x="2125245" y="3530959"/>
                    </a:lnTo>
                    <a:lnTo>
                      <a:pt x="2110949" y="3540489"/>
                    </a:lnTo>
                    <a:lnTo>
                      <a:pt x="2091889" y="3559550"/>
                    </a:lnTo>
                    <a:lnTo>
                      <a:pt x="2091889" y="3540489"/>
                    </a:lnTo>
                    <a:lnTo>
                      <a:pt x="2087124" y="3497603"/>
                    </a:lnTo>
                    <a:lnTo>
                      <a:pt x="2091889" y="3454717"/>
                    </a:lnTo>
                    <a:lnTo>
                      <a:pt x="2096654" y="3440422"/>
                    </a:lnTo>
                    <a:lnTo>
                      <a:pt x="2110949" y="3421361"/>
                    </a:lnTo>
                    <a:lnTo>
                      <a:pt x="2149070" y="3416596"/>
                    </a:lnTo>
                    <a:lnTo>
                      <a:pt x="2158601" y="3416596"/>
                    </a:lnTo>
                    <a:lnTo>
                      <a:pt x="2158601" y="3411831"/>
                    </a:lnTo>
                    <a:lnTo>
                      <a:pt x="2134775" y="3383240"/>
                    </a:lnTo>
                    <a:lnTo>
                      <a:pt x="2144305" y="3364179"/>
                    </a:lnTo>
                    <a:lnTo>
                      <a:pt x="2153836" y="3354649"/>
                    </a:lnTo>
                    <a:lnTo>
                      <a:pt x="2201487" y="3340354"/>
                    </a:lnTo>
                    <a:lnTo>
                      <a:pt x="2225312" y="3345119"/>
                    </a:lnTo>
                    <a:lnTo>
                      <a:pt x="2258669" y="3364179"/>
                    </a:lnTo>
                    <a:lnTo>
                      <a:pt x="2277729" y="3388005"/>
                    </a:lnTo>
                    <a:lnTo>
                      <a:pt x="2272964" y="3397535"/>
                    </a:lnTo>
                    <a:lnTo>
                      <a:pt x="2268199" y="3407066"/>
                    </a:lnTo>
                    <a:lnTo>
                      <a:pt x="2258669" y="3411831"/>
                    </a:lnTo>
                    <a:lnTo>
                      <a:pt x="2258669" y="3416596"/>
                    </a:lnTo>
                    <a:lnTo>
                      <a:pt x="2258669" y="3426126"/>
                    </a:lnTo>
                    <a:lnTo>
                      <a:pt x="2272964" y="3411831"/>
                    </a:lnTo>
                    <a:lnTo>
                      <a:pt x="2296789" y="3392770"/>
                    </a:lnTo>
                    <a:lnTo>
                      <a:pt x="2306320" y="3397535"/>
                    </a:lnTo>
                    <a:lnTo>
                      <a:pt x="2315850" y="3411831"/>
                    </a:lnTo>
                    <a:lnTo>
                      <a:pt x="2330145" y="3411831"/>
                    </a:lnTo>
                    <a:lnTo>
                      <a:pt x="2363501" y="3402301"/>
                    </a:lnTo>
                    <a:lnTo>
                      <a:pt x="2382562" y="3388005"/>
                    </a:lnTo>
                    <a:lnTo>
                      <a:pt x="2401622" y="3359415"/>
                    </a:lnTo>
                    <a:lnTo>
                      <a:pt x="2434978" y="3335589"/>
                    </a:lnTo>
                    <a:lnTo>
                      <a:pt x="2473099" y="3273642"/>
                    </a:lnTo>
                    <a:lnTo>
                      <a:pt x="2487394" y="3245051"/>
                    </a:lnTo>
                    <a:lnTo>
                      <a:pt x="2501690" y="3240286"/>
                    </a:lnTo>
                    <a:lnTo>
                      <a:pt x="2511220" y="3245051"/>
                    </a:lnTo>
                    <a:lnTo>
                      <a:pt x="2520751" y="3264112"/>
                    </a:lnTo>
                    <a:lnTo>
                      <a:pt x="2535046" y="3273642"/>
                    </a:lnTo>
                    <a:lnTo>
                      <a:pt x="2606523" y="3268877"/>
                    </a:lnTo>
                    <a:lnTo>
                      <a:pt x="2644644" y="3254582"/>
                    </a:lnTo>
                    <a:lnTo>
                      <a:pt x="2668469" y="3235521"/>
                    </a:lnTo>
                    <a:lnTo>
                      <a:pt x="2697060" y="3197400"/>
                    </a:lnTo>
                    <a:lnTo>
                      <a:pt x="2711356" y="3173575"/>
                    </a:lnTo>
                    <a:lnTo>
                      <a:pt x="2720886" y="3144984"/>
                    </a:lnTo>
                    <a:lnTo>
                      <a:pt x="2711356" y="3102097"/>
                    </a:lnTo>
                    <a:lnTo>
                      <a:pt x="2701825" y="3068742"/>
                    </a:lnTo>
                    <a:lnTo>
                      <a:pt x="2687530" y="2987735"/>
                    </a:lnTo>
                    <a:lnTo>
                      <a:pt x="2649409" y="2935318"/>
                    </a:lnTo>
                    <a:lnTo>
                      <a:pt x="2625583" y="2921023"/>
                    </a:lnTo>
                    <a:lnTo>
                      <a:pt x="2611288" y="2921023"/>
                    </a:lnTo>
                    <a:lnTo>
                      <a:pt x="2620818" y="2887667"/>
                    </a:lnTo>
                    <a:lnTo>
                      <a:pt x="2654174" y="2892432"/>
                    </a:lnTo>
                    <a:lnTo>
                      <a:pt x="2678000" y="2887667"/>
                    </a:lnTo>
                    <a:lnTo>
                      <a:pt x="2697060" y="2873371"/>
                    </a:lnTo>
                    <a:lnTo>
                      <a:pt x="2701825" y="2859076"/>
                    </a:lnTo>
                    <a:lnTo>
                      <a:pt x="2711356" y="2835251"/>
                    </a:lnTo>
                    <a:lnTo>
                      <a:pt x="2706590" y="2806660"/>
                    </a:lnTo>
                    <a:lnTo>
                      <a:pt x="2701825" y="2792364"/>
                    </a:lnTo>
                    <a:lnTo>
                      <a:pt x="2692295" y="2773304"/>
                    </a:lnTo>
                    <a:lnTo>
                      <a:pt x="2678000" y="2749478"/>
                    </a:lnTo>
                    <a:lnTo>
                      <a:pt x="2663704" y="2744713"/>
                    </a:lnTo>
                    <a:lnTo>
                      <a:pt x="2658939" y="2744713"/>
                    </a:lnTo>
                    <a:lnTo>
                      <a:pt x="2611288" y="2792364"/>
                    </a:lnTo>
                    <a:lnTo>
                      <a:pt x="2587462" y="2792364"/>
                    </a:lnTo>
                    <a:lnTo>
                      <a:pt x="2568402" y="2782834"/>
                    </a:lnTo>
                    <a:lnTo>
                      <a:pt x="2549341" y="2811425"/>
                    </a:lnTo>
                    <a:lnTo>
                      <a:pt x="2501690" y="2835251"/>
                    </a:lnTo>
                    <a:lnTo>
                      <a:pt x="2477864" y="2859076"/>
                    </a:lnTo>
                    <a:lnTo>
                      <a:pt x="2430213" y="2916258"/>
                    </a:lnTo>
                    <a:lnTo>
                      <a:pt x="2420683" y="2944849"/>
                    </a:lnTo>
                    <a:lnTo>
                      <a:pt x="2401622" y="2944849"/>
                    </a:lnTo>
                    <a:lnTo>
                      <a:pt x="2392092" y="2892432"/>
                    </a:lnTo>
                    <a:lnTo>
                      <a:pt x="2339676" y="2844781"/>
                    </a:lnTo>
                    <a:lnTo>
                      <a:pt x="2325380" y="2859076"/>
                    </a:lnTo>
                    <a:lnTo>
                      <a:pt x="2334910" y="2878137"/>
                    </a:lnTo>
                    <a:lnTo>
                      <a:pt x="2344441" y="2887667"/>
                    </a:lnTo>
                    <a:lnTo>
                      <a:pt x="2363501" y="2892432"/>
                    </a:lnTo>
                    <a:lnTo>
                      <a:pt x="2358736" y="2906727"/>
                    </a:lnTo>
                    <a:lnTo>
                      <a:pt x="2349206" y="2925788"/>
                    </a:lnTo>
                    <a:lnTo>
                      <a:pt x="2330145" y="2906727"/>
                    </a:lnTo>
                    <a:lnTo>
                      <a:pt x="2296789" y="2882902"/>
                    </a:lnTo>
                    <a:lnTo>
                      <a:pt x="2263434" y="2868607"/>
                    </a:lnTo>
                    <a:lnTo>
                      <a:pt x="2168131" y="2868607"/>
                    </a:lnTo>
                    <a:lnTo>
                      <a:pt x="2110949" y="2897197"/>
                    </a:lnTo>
                    <a:lnTo>
                      <a:pt x="2106184" y="2892432"/>
                    </a:lnTo>
                    <a:lnTo>
                      <a:pt x="2096654" y="2887667"/>
                    </a:lnTo>
                    <a:lnTo>
                      <a:pt x="2087124" y="2897197"/>
                    </a:lnTo>
                    <a:lnTo>
                      <a:pt x="2082359" y="2906727"/>
                    </a:lnTo>
                    <a:lnTo>
                      <a:pt x="2077594" y="2916258"/>
                    </a:lnTo>
                    <a:lnTo>
                      <a:pt x="2063298" y="2916258"/>
                    </a:lnTo>
                    <a:lnTo>
                      <a:pt x="2039472" y="2911493"/>
                    </a:lnTo>
                    <a:lnTo>
                      <a:pt x="1991821" y="2897197"/>
                    </a:lnTo>
                    <a:lnTo>
                      <a:pt x="1882223" y="2868607"/>
                    </a:lnTo>
                    <a:lnTo>
                      <a:pt x="1853633" y="2854311"/>
                    </a:lnTo>
                    <a:lnTo>
                      <a:pt x="1829807" y="2816190"/>
                    </a:lnTo>
                    <a:lnTo>
                      <a:pt x="1829807" y="2792364"/>
                    </a:lnTo>
                    <a:lnTo>
                      <a:pt x="1839337" y="2778069"/>
                    </a:lnTo>
                    <a:lnTo>
                      <a:pt x="1839337" y="2744713"/>
                    </a:lnTo>
                    <a:lnTo>
                      <a:pt x="1820277" y="2735183"/>
                    </a:lnTo>
                    <a:lnTo>
                      <a:pt x="1777390" y="2682767"/>
                    </a:lnTo>
                    <a:lnTo>
                      <a:pt x="1758330" y="2658941"/>
                    </a:lnTo>
                    <a:lnTo>
                      <a:pt x="1763095" y="2654176"/>
                    </a:lnTo>
                    <a:lnTo>
                      <a:pt x="1772625" y="2663706"/>
                    </a:lnTo>
                    <a:lnTo>
                      <a:pt x="1786921" y="2668471"/>
                    </a:lnTo>
                    <a:lnTo>
                      <a:pt x="1820277" y="2658941"/>
                    </a:lnTo>
                    <a:lnTo>
                      <a:pt x="1834572" y="2625585"/>
                    </a:lnTo>
                    <a:lnTo>
                      <a:pt x="1863163" y="2616055"/>
                    </a:lnTo>
                    <a:lnTo>
                      <a:pt x="1886988" y="2620820"/>
                    </a:lnTo>
                    <a:lnTo>
                      <a:pt x="1882223" y="2611289"/>
                    </a:lnTo>
                    <a:lnTo>
                      <a:pt x="1872693" y="2601759"/>
                    </a:lnTo>
                    <a:lnTo>
                      <a:pt x="1810746" y="2587464"/>
                    </a:lnTo>
                    <a:lnTo>
                      <a:pt x="1801216" y="2592229"/>
                    </a:lnTo>
                    <a:lnTo>
                      <a:pt x="1686853" y="2558873"/>
                    </a:lnTo>
                    <a:lnTo>
                      <a:pt x="1596316" y="2506457"/>
                    </a:lnTo>
                    <a:lnTo>
                      <a:pt x="1586785" y="2492161"/>
                    </a:lnTo>
                    <a:lnTo>
                      <a:pt x="1577255" y="2468336"/>
                    </a:lnTo>
                    <a:lnTo>
                      <a:pt x="1591551" y="2449275"/>
                    </a:lnTo>
                    <a:lnTo>
                      <a:pt x="1601081" y="2434980"/>
                    </a:lnTo>
                    <a:lnTo>
                      <a:pt x="1605846" y="2449275"/>
                    </a:lnTo>
                    <a:lnTo>
                      <a:pt x="1605846" y="2458805"/>
                    </a:lnTo>
                    <a:lnTo>
                      <a:pt x="1658262" y="2430215"/>
                    </a:lnTo>
                    <a:lnTo>
                      <a:pt x="1686853" y="2392094"/>
                    </a:lnTo>
                    <a:lnTo>
                      <a:pt x="1739269" y="2387329"/>
                    </a:lnTo>
                    <a:lnTo>
                      <a:pt x="1748800" y="2377798"/>
                    </a:lnTo>
                    <a:lnTo>
                      <a:pt x="1763095" y="2353973"/>
                    </a:lnTo>
                    <a:lnTo>
                      <a:pt x="1786921" y="2320617"/>
                    </a:lnTo>
                    <a:lnTo>
                      <a:pt x="1820277" y="2301556"/>
                    </a:lnTo>
                    <a:lnTo>
                      <a:pt x="1844102" y="2282496"/>
                    </a:lnTo>
                    <a:lnTo>
                      <a:pt x="1872693" y="2272965"/>
                    </a:lnTo>
                    <a:lnTo>
                      <a:pt x="1896519" y="2292026"/>
                    </a:lnTo>
                    <a:lnTo>
                      <a:pt x="1906049" y="2292026"/>
                    </a:lnTo>
                    <a:lnTo>
                      <a:pt x="1948935" y="2296791"/>
                    </a:lnTo>
                    <a:lnTo>
                      <a:pt x="1963230" y="2287261"/>
                    </a:lnTo>
                    <a:lnTo>
                      <a:pt x="1967996" y="2282496"/>
                    </a:lnTo>
                    <a:lnTo>
                      <a:pt x="1972761" y="2272965"/>
                    </a:lnTo>
                    <a:lnTo>
                      <a:pt x="1929875" y="2244375"/>
                    </a:lnTo>
                    <a:lnTo>
                      <a:pt x="1934640" y="2230079"/>
                    </a:lnTo>
                    <a:lnTo>
                      <a:pt x="1939405" y="2215784"/>
                    </a:lnTo>
                    <a:lnTo>
                      <a:pt x="1991821" y="2182428"/>
                    </a:lnTo>
                    <a:lnTo>
                      <a:pt x="2029942" y="2168133"/>
                    </a:lnTo>
                    <a:lnTo>
                      <a:pt x="2049003" y="2168133"/>
                    </a:lnTo>
                    <a:lnTo>
                      <a:pt x="2110949" y="2125247"/>
                    </a:lnTo>
                    <a:lnTo>
                      <a:pt x="2144305" y="2110951"/>
                    </a:lnTo>
                    <a:lnTo>
                      <a:pt x="2206252" y="2101421"/>
                    </a:lnTo>
                    <a:lnTo>
                      <a:pt x="2258669" y="2101421"/>
                    </a:lnTo>
                    <a:lnTo>
                      <a:pt x="2272964" y="2115716"/>
                    </a:lnTo>
                    <a:lnTo>
                      <a:pt x="2244373" y="2110951"/>
                    </a:lnTo>
                    <a:lnTo>
                      <a:pt x="2234843" y="2115716"/>
                    </a:lnTo>
                    <a:lnTo>
                      <a:pt x="2244373" y="2120481"/>
                    </a:lnTo>
                    <a:lnTo>
                      <a:pt x="2253903" y="2134777"/>
                    </a:lnTo>
                    <a:lnTo>
                      <a:pt x="2249138" y="2149072"/>
                    </a:lnTo>
                    <a:lnTo>
                      <a:pt x="2230078" y="2191959"/>
                    </a:lnTo>
                    <a:lnTo>
                      <a:pt x="2234843" y="2230079"/>
                    </a:lnTo>
                    <a:lnTo>
                      <a:pt x="2225312" y="2239610"/>
                    </a:lnTo>
                    <a:lnTo>
                      <a:pt x="2211017" y="2258670"/>
                    </a:lnTo>
                    <a:lnTo>
                      <a:pt x="2263434" y="2306321"/>
                    </a:lnTo>
                    <a:lnTo>
                      <a:pt x="2344441" y="2311087"/>
                    </a:lnTo>
                    <a:lnTo>
                      <a:pt x="2392092" y="2301556"/>
                    </a:lnTo>
                    <a:lnTo>
                      <a:pt x="2415918" y="2315852"/>
                    </a:lnTo>
                    <a:lnTo>
                      <a:pt x="2439743" y="2320617"/>
                    </a:lnTo>
                    <a:lnTo>
                      <a:pt x="2496925" y="2311087"/>
                    </a:lnTo>
                    <a:lnTo>
                      <a:pt x="2539811" y="2325382"/>
                    </a:lnTo>
                    <a:lnTo>
                      <a:pt x="2558871" y="2320617"/>
                    </a:lnTo>
                    <a:lnTo>
                      <a:pt x="2596992" y="2244375"/>
                    </a:lnTo>
                    <a:lnTo>
                      <a:pt x="2616053" y="2230079"/>
                    </a:lnTo>
                    <a:lnTo>
                      <a:pt x="2630348" y="2244375"/>
                    </a:lnTo>
                    <a:lnTo>
                      <a:pt x="2654174" y="2253905"/>
                    </a:lnTo>
                    <a:lnTo>
                      <a:pt x="2668469" y="2249140"/>
                    </a:lnTo>
                    <a:lnTo>
                      <a:pt x="2682765" y="2268201"/>
                    </a:lnTo>
                    <a:lnTo>
                      <a:pt x="2673234" y="2225314"/>
                    </a:lnTo>
                    <a:lnTo>
                      <a:pt x="2668469" y="2211019"/>
                    </a:lnTo>
                    <a:lnTo>
                      <a:pt x="2601758" y="2182428"/>
                    </a:lnTo>
                    <a:lnTo>
                      <a:pt x="2558871" y="2196723"/>
                    </a:lnTo>
                    <a:lnTo>
                      <a:pt x="2544576" y="2182428"/>
                    </a:lnTo>
                    <a:lnTo>
                      <a:pt x="2549341" y="2149072"/>
                    </a:lnTo>
                    <a:lnTo>
                      <a:pt x="2501690" y="2068065"/>
                    </a:lnTo>
                    <a:lnTo>
                      <a:pt x="2477864" y="2053770"/>
                    </a:lnTo>
                    <a:lnTo>
                      <a:pt x="2458804" y="2053770"/>
                    </a:lnTo>
                    <a:lnTo>
                      <a:pt x="2444508" y="2025179"/>
                    </a:lnTo>
                    <a:lnTo>
                      <a:pt x="2434978" y="1991823"/>
                    </a:lnTo>
                    <a:lnTo>
                      <a:pt x="2454039" y="1977528"/>
                    </a:lnTo>
                    <a:lnTo>
                      <a:pt x="2473099" y="1967997"/>
                    </a:lnTo>
                    <a:lnTo>
                      <a:pt x="2492160" y="1982293"/>
                    </a:lnTo>
                    <a:lnTo>
                      <a:pt x="2511220" y="2025179"/>
                    </a:lnTo>
                    <a:lnTo>
                      <a:pt x="2525516" y="2034709"/>
                    </a:lnTo>
                    <a:lnTo>
                      <a:pt x="2520751" y="2077595"/>
                    </a:lnTo>
                    <a:lnTo>
                      <a:pt x="2544576" y="2120481"/>
                    </a:lnTo>
                    <a:lnTo>
                      <a:pt x="2592227" y="2163367"/>
                    </a:lnTo>
                    <a:lnTo>
                      <a:pt x="2635113" y="2149072"/>
                    </a:lnTo>
                    <a:lnTo>
                      <a:pt x="2663704" y="2149072"/>
                    </a:lnTo>
                    <a:lnTo>
                      <a:pt x="2678000" y="2153837"/>
                    </a:lnTo>
                    <a:lnTo>
                      <a:pt x="2720886" y="2191959"/>
                    </a:lnTo>
                    <a:lnTo>
                      <a:pt x="2739946" y="2196723"/>
                    </a:lnTo>
                    <a:lnTo>
                      <a:pt x="2806658" y="2177663"/>
                    </a:lnTo>
                    <a:lnTo>
                      <a:pt x="2806658" y="2144307"/>
                    </a:lnTo>
                    <a:lnTo>
                      <a:pt x="2801893" y="2115716"/>
                    </a:lnTo>
                    <a:lnTo>
                      <a:pt x="2787598" y="2101421"/>
                    </a:lnTo>
                    <a:lnTo>
                      <a:pt x="2739946" y="2106186"/>
                    </a:lnTo>
                    <a:lnTo>
                      <a:pt x="2706590" y="2077595"/>
                    </a:lnTo>
                    <a:lnTo>
                      <a:pt x="2678000" y="2087126"/>
                    </a:lnTo>
                    <a:lnTo>
                      <a:pt x="2625583" y="2125247"/>
                    </a:lnTo>
                    <a:lnTo>
                      <a:pt x="2596992" y="2110951"/>
                    </a:lnTo>
                    <a:lnTo>
                      <a:pt x="2577932" y="2087126"/>
                    </a:lnTo>
                    <a:lnTo>
                      <a:pt x="2554106" y="2068065"/>
                    </a:lnTo>
                    <a:lnTo>
                      <a:pt x="2549341" y="2025179"/>
                    </a:lnTo>
                    <a:lnTo>
                      <a:pt x="2573167" y="1977528"/>
                    </a:lnTo>
                    <a:lnTo>
                      <a:pt x="2587462" y="1958467"/>
                    </a:lnTo>
                    <a:lnTo>
                      <a:pt x="2573167" y="1939407"/>
                    </a:lnTo>
                    <a:lnTo>
                      <a:pt x="2535046" y="1929876"/>
                    </a:lnTo>
                    <a:lnTo>
                      <a:pt x="2468334" y="1939407"/>
                    </a:lnTo>
                    <a:lnTo>
                      <a:pt x="2463569" y="1925111"/>
                    </a:lnTo>
                    <a:lnTo>
                      <a:pt x="2463569" y="1906051"/>
                    </a:lnTo>
                    <a:lnTo>
                      <a:pt x="2439743" y="1939407"/>
                    </a:lnTo>
                    <a:lnTo>
                      <a:pt x="2411152" y="1934641"/>
                    </a:lnTo>
                    <a:lnTo>
                      <a:pt x="2373031" y="1939407"/>
                    </a:lnTo>
                    <a:lnTo>
                      <a:pt x="2292024" y="1906051"/>
                    </a:lnTo>
                    <a:lnTo>
                      <a:pt x="2263434" y="1867930"/>
                    </a:lnTo>
                    <a:lnTo>
                      <a:pt x="2249138" y="1839339"/>
                    </a:lnTo>
                    <a:lnTo>
                      <a:pt x="2225312" y="1753567"/>
                    </a:lnTo>
                    <a:lnTo>
                      <a:pt x="2196722" y="1701150"/>
                    </a:lnTo>
                    <a:lnTo>
                      <a:pt x="2001351" y="1520075"/>
                    </a:lnTo>
                    <a:lnTo>
                      <a:pt x="1910814" y="1472424"/>
                    </a:lnTo>
                    <a:lnTo>
                      <a:pt x="1867928" y="1424773"/>
                    </a:lnTo>
                    <a:lnTo>
                      <a:pt x="1839337" y="1410478"/>
                    </a:lnTo>
                    <a:lnTo>
                      <a:pt x="1815512" y="1405713"/>
                    </a:lnTo>
                    <a:lnTo>
                      <a:pt x="1782156" y="1386652"/>
                    </a:lnTo>
                    <a:lnTo>
                      <a:pt x="1805981" y="1367591"/>
                    </a:lnTo>
                    <a:lnTo>
                      <a:pt x="1820277" y="1362826"/>
                    </a:lnTo>
                    <a:lnTo>
                      <a:pt x="1801216" y="1381887"/>
                    </a:lnTo>
                    <a:lnTo>
                      <a:pt x="1815512" y="1386652"/>
                    </a:lnTo>
                    <a:lnTo>
                      <a:pt x="1834572" y="1377122"/>
                    </a:lnTo>
                    <a:lnTo>
                      <a:pt x="1844102" y="1362826"/>
                    </a:lnTo>
                    <a:lnTo>
                      <a:pt x="1863163" y="1296115"/>
                    </a:lnTo>
                    <a:lnTo>
                      <a:pt x="1877458" y="1200812"/>
                    </a:lnTo>
                    <a:lnTo>
                      <a:pt x="1872693" y="1162691"/>
                    </a:lnTo>
                    <a:lnTo>
                      <a:pt x="1982291" y="1172221"/>
                    </a:lnTo>
                    <a:lnTo>
                      <a:pt x="2053768" y="1162691"/>
                    </a:lnTo>
                    <a:lnTo>
                      <a:pt x="2077594" y="1157926"/>
                    </a:lnTo>
                    <a:lnTo>
                      <a:pt x="2168131" y="1138865"/>
                    </a:lnTo>
                    <a:lnTo>
                      <a:pt x="2191957" y="1129335"/>
                    </a:lnTo>
                    <a:lnTo>
                      <a:pt x="2239608" y="1095979"/>
                    </a:lnTo>
                    <a:lnTo>
                      <a:pt x="2292024" y="1038798"/>
                    </a:lnTo>
                    <a:lnTo>
                      <a:pt x="2334910" y="962556"/>
                    </a:lnTo>
                    <a:lnTo>
                      <a:pt x="2339676" y="938730"/>
                    </a:lnTo>
                    <a:lnTo>
                      <a:pt x="2344441" y="948260"/>
                    </a:lnTo>
                    <a:lnTo>
                      <a:pt x="2349206" y="943495"/>
                    </a:lnTo>
                    <a:lnTo>
                      <a:pt x="2353971" y="914904"/>
                    </a:lnTo>
                    <a:lnTo>
                      <a:pt x="2358736" y="843427"/>
                    </a:lnTo>
                    <a:lnTo>
                      <a:pt x="2382562" y="776716"/>
                    </a:lnTo>
                    <a:lnTo>
                      <a:pt x="2473099" y="624232"/>
                    </a:lnTo>
                    <a:lnTo>
                      <a:pt x="2520751" y="562285"/>
                    </a:lnTo>
                    <a:lnTo>
                      <a:pt x="2535046" y="533694"/>
                    </a:lnTo>
                    <a:lnTo>
                      <a:pt x="2549341" y="514634"/>
                    </a:lnTo>
                    <a:lnTo>
                      <a:pt x="2558871" y="533694"/>
                    </a:lnTo>
                    <a:lnTo>
                      <a:pt x="2563637" y="538459"/>
                    </a:lnTo>
                    <a:lnTo>
                      <a:pt x="2568402" y="547990"/>
                    </a:lnTo>
                    <a:lnTo>
                      <a:pt x="2558871" y="552755"/>
                    </a:lnTo>
                    <a:lnTo>
                      <a:pt x="2544576" y="571815"/>
                    </a:lnTo>
                    <a:lnTo>
                      <a:pt x="2520751" y="586111"/>
                    </a:lnTo>
                    <a:lnTo>
                      <a:pt x="2515985" y="590876"/>
                    </a:lnTo>
                    <a:lnTo>
                      <a:pt x="2530281" y="590876"/>
                    </a:lnTo>
                    <a:lnTo>
                      <a:pt x="2568402" y="576580"/>
                    </a:lnTo>
                    <a:lnTo>
                      <a:pt x="2587462" y="557520"/>
                    </a:lnTo>
                    <a:lnTo>
                      <a:pt x="2687530" y="528929"/>
                    </a:lnTo>
                    <a:lnTo>
                      <a:pt x="2739946" y="471748"/>
                    </a:lnTo>
                    <a:lnTo>
                      <a:pt x="2744711" y="462217"/>
                    </a:lnTo>
                    <a:lnTo>
                      <a:pt x="2825719" y="395506"/>
                    </a:lnTo>
                    <a:lnTo>
                      <a:pt x="2835249" y="395506"/>
                    </a:lnTo>
                    <a:lnTo>
                      <a:pt x="2849544" y="405036"/>
                    </a:lnTo>
                    <a:lnTo>
                      <a:pt x="2825719" y="447922"/>
                    </a:lnTo>
                    <a:lnTo>
                      <a:pt x="2840014" y="462217"/>
                    </a:lnTo>
                    <a:lnTo>
                      <a:pt x="2825719" y="514634"/>
                    </a:lnTo>
                    <a:lnTo>
                      <a:pt x="2854309" y="514634"/>
                    </a:lnTo>
                    <a:lnTo>
                      <a:pt x="2863840" y="538459"/>
                    </a:lnTo>
                    <a:lnTo>
                      <a:pt x="2863840" y="519399"/>
                    </a:lnTo>
                    <a:lnTo>
                      <a:pt x="2863840" y="486043"/>
                    </a:lnTo>
                    <a:lnTo>
                      <a:pt x="2868605" y="457452"/>
                    </a:lnTo>
                    <a:lnTo>
                      <a:pt x="2873370" y="438392"/>
                    </a:lnTo>
                    <a:lnTo>
                      <a:pt x="2892430" y="447922"/>
                    </a:lnTo>
                    <a:lnTo>
                      <a:pt x="2940082" y="424096"/>
                    </a:lnTo>
                    <a:lnTo>
                      <a:pt x="2882900" y="419331"/>
                    </a:lnTo>
                    <a:lnTo>
                      <a:pt x="2849544" y="371680"/>
                    </a:lnTo>
                    <a:lnTo>
                      <a:pt x="2830484" y="371680"/>
                    </a:lnTo>
                    <a:lnTo>
                      <a:pt x="2892430" y="300203"/>
                    </a:lnTo>
                    <a:lnTo>
                      <a:pt x="2949612" y="257317"/>
                    </a:lnTo>
                    <a:lnTo>
                      <a:pt x="2963907" y="257317"/>
                    </a:lnTo>
                    <a:lnTo>
                      <a:pt x="2968672" y="266847"/>
                    </a:lnTo>
                    <a:lnTo>
                      <a:pt x="2968672" y="281143"/>
                    </a:lnTo>
                    <a:lnTo>
                      <a:pt x="2959142" y="285908"/>
                    </a:lnTo>
                    <a:lnTo>
                      <a:pt x="2944847" y="304968"/>
                    </a:lnTo>
                    <a:lnTo>
                      <a:pt x="2949612" y="319263"/>
                    </a:lnTo>
                    <a:lnTo>
                      <a:pt x="2959142" y="319263"/>
                    </a:lnTo>
                    <a:lnTo>
                      <a:pt x="2987733" y="309733"/>
                    </a:lnTo>
                    <a:lnTo>
                      <a:pt x="2997263" y="295438"/>
                    </a:lnTo>
                    <a:lnTo>
                      <a:pt x="3059210" y="295438"/>
                    </a:lnTo>
                    <a:lnTo>
                      <a:pt x="3073505" y="285908"/>
                    </a:lnTo>
                    <a:lnTo>
                      <a:pt x="3078270" y="276377"/>
                    </a:lnTo>
                    <a:lnTo>
                      <a:pt x="3154512" y="271612"/>
                    </a:lnTo>
                    <a:lnTo>
                      <a:pt x="3168808" y="266847"/>
                    </a:lnTo>
                    <a:lnTo>
                      <a:pt x="3216459" y="228726"/>
                    </a:lnTo>
                    <a:lnTo>
                      <a:pt x="3259345" y="181075"/>
                    </a:lnTo>
                    <a:lnTo>
                      <a:pt x="3278406" y="152484"/>
                    </a:lnTo>
                    <a:lnTo>
                      <a:pt x="3316527" y="85772"/>
                    </a:lnTo>
                    <a:lnTo>
                      <a:pt x="3345117" y="4288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474" name="Google Shape;4941;p64">
              <a:extLst>
                <a:ext uri="{FF2B5EF4-FFF2-40B4-BE49-F238E27FC236}">
                  <a16:creationId xmlns:a16="http://schemas.microsoft.com/office/drawing/2014/main" id="{A9ED2B6D-651E-2FA9-8804-94B61E5B6DA7}"/>
                </a:ext>
              </a:extLst>
            </p:cNvPr>
            <p:cNvSpPr/>
            <p:nvPr/>
          </p:nvSpPr>
          <p:spPr>
            <a:xfrm>
              <a:off x="6066650" y="4049607"/>
              <a:ext cx="2625" cy="1969"/>
            </a:xfrm>
            <a:custGeom>
              <a:avLst/>
              <a:gdLst/>
              <a:ahLst/>
              <a:cxnLst/>
              <a:rect l="l" t="t" r="r" b="b"/>
              <a:pathLst>
                <a:path w="8" h="6" extrusionOk="0">
                  <a:moveTo>
                    <a:pt x="8" y="4"/>
                  </a:moveTo>
                  <a:lnTo>
                    <a:pt x="8" y="0"/>
                  </a:lnTo>
                  <a:lnTo>
                    <a:pt x="6" y="0"/>
                  </a:lnTo>
                  <a:lnTo>
                    <a:pt x="6" y="0"/>
                  </a:lnTo>
                  <a:lnTo>
                    <a:pt x="2" y="2"/>
                  </a:lnTo>
                  <a:lnTo>
                    <a:pt x="0" y="4"/>
                  </a:lnTo>
                  <a:lnTo>
                    <a:pt x="2" y="6"/>
                  </a:lnTo>
                  <a:lnTo>
                    <a:pt x="6" y="6"/>
                  </a:lnTo>
                  <a:lnTo>
                    <a:pt x="8"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75" name="Google Shape;4942;p64">
              <a:extLst>
                <a:ext uri="{FF2B5EF4-FFF2-40B4-BE49-F238E27FC236}">
                  <a16:creationId xmlns:a16="http://schemas.microsoft.com/office/drawing/2014/main" id="{536FAB4F-5073-4F2A-E267-87B095D15DC9}"/>
                </a:ext>
              </a:extLst>
            </p:cNvPr>
            <p:cNvSpPr/>
            <p:nvPr/>
          </p:nvSpPr>
          <p:spPr>
            <a:xfrm>
              <a:off x="6051554" y="4045013"/>
              <a:ext cx="5907" cy="7220"/>
            </a:xfrm>
            <a:custGeom>
              <a:avLst/>
              <a:gdLst/>
              <a:ahLst/>
              <a:cxnLst/>
              <a:rect l="l" t="t" r="r" b="b"/>
              <a:pathLst>
                <a:path w="18" h="22" extrusionOk="0">
                  <a:moveTo>
                    <a:pt x="16" y="22"/>
                  </a:moveTo>
                  <a:lnTo>
                    <a:pt x="16" y="22"/>
                  </a:lnTo>
                  <a:lnTo>
                    <a:pt x="14" y="14"/>
                  </a:lnTo>
                  <a:lnTo>
                    <a:pt x="18" y="8"/>
                  </a:lnTo>
                  <a:lnTo>
                    <a:pt x="12" y="8"/>
                  </a:lnTo>
                  <a:lnTo>
                    <a:pt x="8" y="6"/>
                  </a:lnTo>
                  <a:lnTo>
                    <a:pt x="4" y="0"/>
                  </a:lnTo>
                  <a:lnTo>
                    <a:pt x="4" y="0"/>
                  </a:lnTo>
                  <a:lnTo>
                    <a:pt x="2" y="2"/>
                  </a:lnTo>
                  <a:lnTo>
                    <a:pt x="0" y="6"/>
                  </a:lnTo>
                  <a:lnTo>
                    <a:pt x="2" y="10"/>
                  </a:lnTo>
                  <a:lnTo>
                    <a:pt x="4" y="12"/>
                  </a:lnTo>
                  <a:lnTo>
                    <a:pt x="6" y="14"/>
                  </a:lnTo>
                  <a:lnTo>
                    <a:pt x="6" y="14"/>
                  </a:lnTo>
                  <a:lnTo>
                    <a:pt x="6" y="14"/>
                  </a:lnTo>
                  <a:lnTo>
                    <a:pt x="4" y="22"/>
                  </a:lnTo>
                  <a:lnTo>
                    <a:pt x="6" y="22"/>
                  </a:lnTo>
                  <a:lnTo>
                    <a:pt x="12" y="22"/>
                  </a:lnTo>
                  <a:lnTo>
                    <a:pt x="16" y="2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76" name="Google Shape;4943;p64">
              <a:extLst>
                <a:ext uri="{FF2B5EF4-FFF2-40B4-BE49-F238E27FC236}">
                  <a16:creationId xmlns:a16="http://schemas.microsoft.com/office/drawing/2014/main" id="{505D4BAA-63EC-5AF4-498E-F81B70334035}"/>
                </a:ext>
              </a:extLst>
            </p:cNvPr>
            <p:cNvSpPr/>
            <p:nvPr/>
          </p:nvSpPr>
          <p:spPr>
            <a:xfrm>
              <a:off x="6043022" y="4020073"/>
              <a:ext cx="1969" cy="2625"/>
            </a:xfrm>
            <a:custGeom>
              <a:avLst/>
              <a:gdLst/>
              <a:ahLst/>
              <a:cxnLst/>
              <a:rect l="l" t="t" r="r" b="b"/>
              <a:pathLst>
                <a:path w="6" h="8" extrusionOk="0">
                  <a:moveTo>
                    <a:pt x="0" y="4"/>
                  </a:moveTo>
                  <a:lnTo>
                    <a:pt x="0" y="2"/>
                  </a:lnTo>
                  <a:lnTo>
                    <a:pt x="0" y="0"/>
                  </a:lnTo>
                  <a:lnTo>
                    <a:pt x="4" y="2"/>
                  </a:lnTo>
                  <a:lnTo>
                    <a:pt x="6" y="6"/>
                  </a:lnTo>
                  <a:lnTo>
                    <a:pt x="6" y="8"/>
                  </a:lnTo>
                  <a:lnTo>
                    <a:pt x="4" y="8"/>
                  </a:lnTo>
                  <a:lnTo>
                    <a:pt x="0"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77" name="Google Shape;4944;p64">
              <a:extLst>
                <a:ext uri="{FF2B5EF4-FFF2-40B4-BE49-F238E27FC236}">
                  <a16:creationId xmlns:a16="http://schemas.microsoft.com/office/drawing/2014/main" id="{E7216F5D-7425-5BAA-CBE8-EE3D1735E5EA}"/>
                </a:ext>
              </a:extLst>
            </p:cNvPr>
            <p:cNvCxnSpPr/>
            <p:nvPr/>
          </p:nvCxnSpPr>
          <p:spPr>
            <a:xfrm>
              <a:off x="6043022" y="4021386"/>
              <a:ext cx="0" cy="0"/>
            </a:xfrm>
            <a:prstGeom prst="straightConnector1">
              <a:avLst/>
            </a:prstGeom>
            <a:grpFill/>
            <a:ln w="9525" cap="flat" cmpd="sng">
              <a:solidFill>
                <a:schemeClr val="bg2"/>
              </a:solidFill>
              <a:prstDash val="solid"/>
              <a:round/>
              <a:headEnd type="none" w="med" len="med"/>
              <a:tailEnd type="none" w="med" len="med"/>
            </a:ln>
          </p:spPr>
        </p:cxnSp>
        <p:sp>
          <p:nvSpPr>
            <p:cNvPr id="478" name="Google Shape;4945;p64">
              <a:extLst>
                <a:ext uri="{FF2B5EF4-FFF2-40B4-BE49-F238E27FC236}">
                  <a16:creationId xmlns:a16="http://schemas.microsoft.com/office/drawing/2014/main" id="{23D8113F-1962-041E-0C4A-38F4F7BD4019}"/>
                </a:ext>
              </a:extLst>
            </p:cNvPr>
            <p:cNvSpPr/>
            <p:nvPr/>
          </p:nvSpPr>
          <p:spPr>
            <a:xfrm>
              <a:off x="5729304" y="3886185"/>
              <a:ext cx="368848" cy="240866"/>
            </a:xfrm>
            <a:custGeom>
              <a:avLst/>
              <a:gdLst/>
              <a:ahLst/>
              <a:cxnLst/>
              <a:rect l="l" t="t" r="r" b="b"/>
              <a:pathLst>
                <a:path w="2678000" h="1748800" extrusionOk="0">
                  <a:moveTo>
                    <a:pt x="2463572" y="1186516"/>
                  </a:moveTo>
                  <a:lnTo>
                    <a:pt x="2468336" y="1186516"/>
                  </a:lnTo>
                  <a:lnTo>
                    <a:pt x="2468336" y="1196046"/>
                  </a:lnTo>
                  <a:lnTo>
                    <a:pt x="2463572" y="1200812"/>
                  </a:lnTo>
                  <a:lnTo>
                    <a:pt x="2454040" y="1200812"/>
                  </a:lnTo>
                  <a:lnTo>
                    <a:pt x="2449276" y="1196046"/>
                  </a:lnTo>
                  <a:lnTo>
                    <a:pt x="2454040" y="1191280"/>
                  </a:lnTo>
                  <a:close/>
                  <a:moveTo>
                    <a:pt x="2349208" y="1153160"/>
                  </a:moveTo>
                  <a:lnTo>
                    <a:pt x="2358736" y="1167456"/>
                  </a:lnTo>
                  <a:lnTo>
                    <a:pt x="2368268" y="1172220"/>
                  </a:lnTo>
                  <a:lnTo>
                    <a:pt x="2382564" y="1172220"/>
                  </a:lnTo>
                  <a:lnTo>
                    <a:pt x="2373032" y="1186516"/>
                  </a:lnTo>
                  <a:lnTo>
                    <a:pt x="2377796" y="1205576"/>
                  </a:lnTo>
                  <a:lnTo>
                    <a:pt x="2368268" y="1205576"/>
                  </a:lnTo>
                  <a:lnTo>
                    <a:pt x="2353972" y="1205576"/>
                  </a:lnTo>
                  <a:lnTo>
                    <a:pt x="2349208" y="1205576"/>
                  </a:lnTo>
                  <a:lnTo>
                    <a:pt x="2353972" y="1186516"/>
                  </a:lnTo>
                  <a:lnTo>
                    <a:pt x="2349208" y="1181750"/>
                  </a:lnTo>
                  <a:lnTo>
                    <a:pt x="2344444" y="1176986"/>
                  </a:lnTo>
                  <a:lnTo>
                    <a:pt x="2339676" y="1167456"/>
                  </a:lnTo>
                  <a:lnTo>
                    <a:pt x="2344444" y="1157926"/>
                  </a:lnTo>
                  <a:close/>
                  <a:moveTo>
                    <a:pt x="400272" y="0"/>
                  </a:moveTo>
                  <a:lnTo>
                    <a:pt x="409800" y="4764"/>
                  </a:lnTo>
                  <a:lnTo>
                    <a:pt x="400272" y="23824"/>
                  </a:lnTo>
                  <a:lnTo>
                    <a:pt x="395504" y="38120"/>
                  </a:lnTo>
                  <a:lnTo>
                    <a:pt x="385976" y="52416"/>
                  </a:lnTo>
                  <a:lnTo>
                    <a:pt x="376444" y="66710"/>
                  </a:lnTo>
                  <a:lnTo>
                    <a:pt x="376444" y="85772"/>
                  </a:lnTo>
                  <a:lnTo>
                    <a:pt x="357384" y="128658"/>
                  </a:lnTo>
                  <a:lnTo>
                    <a:pt x="352620" y="147718"/>
                  </a:lnTo>
                  <a:lnTo>
                    <a:pt x="352620" y="157248"/>
                  </a:lnTo>
                  <a:lnTo>
                    <a:pt x="352620" y="171544"/>
                  </a:lnTo>
                  <a:lnTo>
                    <a:pt x="362148" y="190604"/>
                  </a:lnTo>
                  <a:lnTo>
                    <a:pt x="362148" y="204900"/>
                  </a:lnTo>
                  <a:lnTo>
                    <a:pt x="357384" y="219194"/>
                  </a:lnTo>
                  <a:lnTo>
                    <a:pt x="352620" y="228726"/>
                  </a:lnTo>
                  <a:lnTo>
                    <a:pt x="357384" y="238256"/>
                  </a:lnTo>
                  <a:lnTo>
                    <a:pt x="357384" y="243020"/>
                  </a:lnTo>
                  <a:lnTo>
                    <a:pt x="366916" y="247786"/>
                  </a:lnTo>
                  <a:lnTo>
                    <a:pt x="371680" y="247786"/>
                  </a:lnTo>
                  <a:lnTo>
                    <a:pt x="385976" y="243020"/>
                  </a:lnTo>
                  <a:lnTo>
                    <a:pt x="395504" y="233490"/>
                  </a:lnTo>
                  <a:lnTo>
                    <a:pt x="405036" y="223960"/>
                  </a:lnTo>
                  <a:lnTo>
                    <a:pt x="424096" y="195370"/>
                  </a:lnTo>
                  <a:lnTo>
                    <a:pt x="424096" y="190604"/>
                  </a:lnTo>
                  <a:lnTo>
                    <a:pt x="414568" y="190604"/>
                  </a:lnTo>
                  <a:lnTo>
                    <a:pt x="409800" y="185840"/>
                  </a:lnTo>
                  <a:lnTo>
                    <a:pt x="414568" y="176308"/>
                  </a:lnTo>
                  <a:lnTo>
                    <a:pt x="414568" y="171544"/>
                  </a:lnTo>
                  <a:lnTo>
                    <a:pt x="419332" y="171544"/>
                  </a:lnTo>
                  <a:lnTo>
                    <a:pt x="424096" y="176308"/>
                  </a:lnTo>
                  <a:lnTo>
                    <a:pt x="424096" y="181074"/>
                  </a:lnTo>
                  <a:lnTo>
                    <a:pt x="428860" y="181074"/>
                  </a:lnTo>
                  <a:lnTo>
                    <a:pt x="433628" y="181074"/>
                  </a:lnTo>
                  <a:lnTo>
                    <a:pt x="438392" y="176308"/>
                  </a:lnTo>
                  <a:lnTo>
                    <a:pt x="433628" y="171544"/>
                  </a:lnTo>
                  <a:lnTo>
                    <a:pt x="433628" y="162014"/>
                  </a:lnTo>
                  <a:lnTo>
                    <a:pt x="428860" y="142952"/>
                  </a:lnTo>
                  <a:lnTo>
                    <a:pt x="433628" y="138188"/>
                  </a:lnTo>
                  <a:lnTo>
                    <a:pt x="433628" y="133422"/>
                  </a:lnTo>
                  <a:lnTo>
                    <a:pt x="438392" y="128658"/>
                  </a:lnTo>
                  <a:lnTo>
                    <a:pt x="443156" y="114362"/>
                  </a:lnTo>
                  <a:lnTo>
                    <a:pt x="438392" y="114362"/>
                  </a:lnTo>
                  <a:lnTo>
                    <a:pt x="419332" y="128658"/>
                  </a:lnTo>
                  <a:lnTo>
                    <a:pt x="414568" y="123892"/>
                  </a:lnTo>
                  <a:lnTo>
                    <a:pt x="414568" y="119128"/>
                  </a:lnTo>
                  <a:lnTo>
                    <a:pt x="419332" y="109596"/>
                  </a:lnTo>
                  <a:lnTo>
                    <a:pt x="428860" y="95302"/>
                  </a:lnTo>
                  <a:lnTo>
                    <a:pt x="438392" y="85772"/>
                  </a:lnTo>
                  <a:lnTo>
                    <a:pt x="438392" y="81006"/>
                  </a:lnTo>
                  <a:lnTo>
                    <a:pt x="433628" y="76242"/>
                  </a:lnTo>
                  <a:lnTo>
                    <a:pt x="428860" y="61946"/>
                  </a:lnTo>
                  <a:lnTo>
                    <a:pt x="428860" y="42886"/>
                  </a:lnTo>
                  <a:lnTo>
                    <a:pt x="428860" y="28590"/>
                  </a:lnTo>
                  <a:lnTo>
                    <a:pt x="433628" y="19060"/>
                  </a:lnTo>
                  <a:lnTo>
                    <a:pt x="443156" y="23824"/>
                  </a:lnTo>
                  <a:lnTo>
                    <a:pt x="462216" y="38120"/>
                  </a:lnTo>
                  <a:lnTo>
                    <a:pt x="486044" y="57180"/>
                  </a:lnTo>
                  <a:lnTo>
                    <a:pt x="505104" y="71476"/>
                  </a:lnTo>
                  <a:lnTo>
                    <a:pt x="528928" y="85772"/>
                  </a:lnTo>
                  <a:lnTo>
                    <a:pt x="538460" y="90536"/>
                  </a:lnTo>
                  <a:lnTo>
                    <a:pt x="528928" y="114362"/>
                  </a:lnTo>
                  <a:lnTo>
                    <a:pt x="514632" y="157248"/>
                  </a:lnTo>
                  <a:lnTo>
                    <a:pt x="505104" y="181074"/>
                  </a:lnTo>
                  <a:lnTo>
                    <a:pt x="505104" y="190604"/>
                  </a:lnTo>
                  <a:lnTo>
                    <a:pt x="509868" y="200134"/>
                  </a:lnTo>
                  <a:lnTo>
                    <a:pt x="519400" y="214430"/>
                  </a:lnTo>
                  <a:lnTo>
                    <a:pt x="571816" y="266846"/>
                  </a:lnTo>
                  <a:lnTo>
                    <a:pt x="571816" y="271612"/>
                  </a:lnTo>
                  <a:lnTo>
                    <a:pt x="562284" y="290672"/>
                  </a:lnTo>
                  <a:lnTo>
                    <a:pt x="557520" y="300202"/>
                  </a:lnTo>
                  <a:lnTo>
                    <a:pt x="552756" y="304968"/>
                  </a:lnTo>
                  <a:lnTo>
                    <a:pt x="557520" y="309732"/>
                  </a:lnTo>
                  <a:lnTo>
                    <a:pt x="586112" y="309732"/>
                  </a:lnTo>
                  <a:lnTo>
                    <a:pt x="600408" y="304968"/>
                  </a:lnTo>
                  <a:lnTo>
                    <a:pt x="614700" y="290672"/>
                  </a:lnTo>
                  <a:lnTo>
                    <a:pt x="619468" y="285906"/>
                  </a:lnTo>
                  <a:lnTo>
                    <a:pt x="614700" y="285906"/>
                  </a:lnTo>
                  <a:lnTo>
                    <a:pt x="609936" y="281142"/>
                  </a:lnTo>
                  <a:lnTo>
                    <a:pt x="609936" y="276376"/>
                  </a:lnTo>
                  <a:lnTo>
                    <a:pt x="609936" y="271612"/>
                  </a:lnTo>
                  <a:lnTo>
                    <a:pt x="614700" y="271612"/>
                  </a:lnTo>
                  <a:lnTo>
                    <a:pt x="624232" y="271612"/>
                  </a:lnTo>
                  <a:lnTo>
                    <a:pt x="628996" y="262082"/>
                  </a:lnTo>
                  <a:lnTo>
                    <a:pt x="633764" y="252550"/>
                  </a:lnTo>
                  <a:lnTo>
                    <a:pt x="633764" y="238256"/>
                  </a:lnTo>
                  <a:lnTo>
                    <a:pt x="628996" y="214430"/>
                  </a:lnTo>
                  <a:lnTo>
                    <a:pt x="628996" y="195370"/>
                  </a:lnTo>
                  <a:lnTo>
                    <a:pt x="633764" y="185840"/>
                  </a:lnTo>
                  <a:lnTo>
                    <a:pt x="633764" y="157248"/>
                  </a:lnTo>
                  <a:lnTo>
                    <a:pt x="638528" y="157248"/>
                  </a:lnTo>
                  <a:lnTo>
                    <a:pt x="657588" y="171544"/>
                  </a:lnTo>
                  <a:lnTo>
                    <a:pt x="681412" y="185840"/>
                  </a:lnTo>
                  <a:lnTo>
                    <a:pt x="700472" y="200134"/>
                  </a:lnTo>
                  <a:lnTo>
                    <a:pt x="724300" y="214430"/>
                  </a:lnTo>
                  <a:lnTo>
                    <a:pt x="743360" y="228726"/>
                  </a:lnTo>
                  <a:lnTo>
                    <a:pt x="767184" y="243020"/>
                  </a:lnTo>
                  <a:lnTo>
                    <a:pt x="786248" y="257316"/>
                  </a:lnTo>
                  <a:lnTo>
                    <a:pt x="795776" y="266846"/>
                  </a:lnTo>
                  <a:lnTo>
                    <a:pt x="800540" y="290672"/>
                  </a:lnTo>
                  <a:lnTo>
                    <a:pt x="810072" y="304968"/>
                  </a:lnTo>
                  <a:lnTo>
                    <a:pt x="843428" y="343088"/>
                  </a:lnTo>
                  <a:lnTo>
                    <a:pt x="867252" y="371680"/>
                  </a:lnTo>
                  <a:lnTo>
                    <a:pt x="895844" y="405034"/>
                  </a:lnTo>
                  <a:lnTo>
                    <a:pt x="924436" y="433626"/>
                  </a:lnTo>
                  <a:lnTo>
                    <a:pt x="938732" y="452686"/>
                  </a:lnTo>
                  <a:lnTo>
                    <a:pt x="953024" y="452686"/>
                  </a:lnTo>
                  <a:lnTo>
                    <a:pt x="976852" y="447922"/>
                  </a:lnTo>
                  <a:lnTo>
                    <a:pt x="1010208" y="443156"/>
                  </a:lnTo>
                  <a:lnTo>
                    <a:pt x="1038796" y="438390"/>
                  </a:lnTo>
                  <a:lnTo>
                    <a:pt x="1072152" y="433626"/>
                  </a:lnTo>
                  <a:lnTo>
                    <a:pt x="1105508" y="428860"/>
                  </a:lnTo>
                  <a:lnTo>
                    <a:pt x="1129336" y="424096"/>
                  </a:lnTo>
                  <a:lnTo>
                    <a:pt x="1167456" y="428860"/>
                  </a:lnTo>
                  <a:lnTo>
                    <a:pt x="1200812" y="428860"/>
                  </a:lnTo>
                  <a:lnTo>
                    <a:pt x="1253228" y="433626"/>
                  </a:lnTo>
                  <a:lnTo>
                    <a:pt x="1286584" y="438390"/>
                  </a:lnTo>
                  <a:lnTo>
                    <a:pt x="1300880" y="438390"/>
                  </a:lnTo>
                  <a:lnTo>
                    <a:pt x="1319940" y="438390"/>
                  </a:lnTo>
                  <a:lnTo>
                    <a:pt x="1329472" y="433626"/>
                  </a:lnTo>
                  <a:lnTo>
                    <a:pt x="1348532" y="428860"/>
                  </a:lnTo>
                  <a:lnTo>
                    <a:pt x="1362828" y="419330"/>
                  </a:lnTo>
                  <a:lnTo>
                    <a:pt x="1381888" y="409800"/>
                  </a:lnTo>
                  <a:lnTo>
                    <a:pt x="1396184" y="405034"/>
                  </a:lnTo>
                  <a:lnTo>
                    <a:pt x="1410476" y="419330"/>
                  </a:lnTo>
                  <a:lnTo>
                    <a:pt x="1420008" y="433626"/>
                  </a:lnTo>
                  <a:lnTo>
                    <a:pt x="1434304" y="452686"/>
                  </a:lnTo>
                  <a:lnTo>
                    <a:pt x="1453364" y="466982"/>
                  </a:lnTo>
                  <a:lnTo>
                    <a:pt x="1467660" y="476512"/>
                  </a:lnTo>
                  <a:lnTo>
                    <a:pt x="1486720" y="490808"/>
                  </a:lnTo>
                  <a:lnTo>
                    <a:pt x="1496252" y="514632"/>
                  </a:lnTo>
                  <a:lnTo>
                    <a:pt x="1515312" y="543224"/>
                  </a:lnTo>
                  <a:lnTo>
                    <a:pt x="1524840" y="562284"/>
                  </a:lnTo>
                  <a:lnTo>
                    <a:pt x="1534372" y="586110"/>
                  </a:lnTo>
                  <a:lnTo>
                    <a:pt x="1548668" y="576580"/>
                  </a:lnTo>
                  <a:lnTo>
                    <a:pt x="1567728" y="567050"/>
                  </a:lnTo>
                  <a:lnTo>
                    <a:pt x="1582024" y="562284"/>
                  </a:lnTo>
                  <a:lnTo>
                    <a:pt x="1577256" y="586110"/>
                  </a:lnTo>
                  <a:lnTo>
                    <a:pt x="1577256" y="609936"/>
                  </a:lnTo>
                  <a:lnTo>
                    <a:pt x="1577256" y="643292"/>
                  </a:lnTo>
                  <a:lnTo>
                    <a:pt x="1572492" y="671882"/>
                  </a:lnTo>
                  <a:lnTo>
                    <a:pt x="1567728" y="705238"/>
                  </a:lnTo>
                  <a:lnTo>
                    <a:pt x="1567728" y="752890"/>
                  </a:lnTo>
                  <a:lnTo>
                    <a:pt x="1567728" y="767184"/>
                  </a:lnTo>
                  <a:lnTo>
                    <a:pt x="1596316" y="771950"/>
                  </a:lnTo>
                  <a:lnTo>
                    <a:pt x="1615380" y="771950"/>
                  </a:lnTo>
                  <a:lnTo>
                    <a:pt x="1643968" y="771950"/>
                  </a:lnTo>
                  <a:lnTo>
                    <a:pt x="1643968" y="795776"/>
                  </a:lnTo>
                  <a:lnTo>
                    <a:pt x="1648736" y="824366"/>
                  </a:lnTo>
                  <a:lnTo>
                    <a:pt x="1653500" y="852956"/>
                  </a:lnTo>
                  <a:lnTo>
                    <a:pt x="1658264" y="876782"/>
                  </a:lnTo>
                  <a:lnTo>
                    <a:pt x="1667796" y="905374"/>
                  </a:lnTo>
                  <a:lnTo>
                    <a:pt x="1667796" y="924434"/>
                  </a:lnTo>
                  <a:lnTo>
                    <a:pt x="1677324" y="943494"/>
                  </a:lnTo>
                  <a:lnTo>
                    <a:pt x="1682092" y="943494"/>
                  </a:lnTo>
                  <a:lnTo>
                    <a:pt x="1691620" y="948260"/>
                  </a:lnTo>
                  <a:lnTo>
                    <a:pt x="1724976" y="948260"/>
                  </a:lnTo>
                  <a:lnTo>
                    <a:pt x="1758332" y="943494"/>
                  </a:lnTo>
                  <a:lnTo>
                    <a:pt x="1777392" y="943494"/>
                  </a:lnTo>
                  <a:lnTo>
                    <a:pt x="1801220" y="943494"/>
                  </a:lnTo>
                  <a:lnTo>
                    <a:pt x="1834576" y="938730"/>
                  </a:lnTo>
                  <a:lnTo>
                    <a:pt x="1848868" y="943494"/>
                  </a:lnTo>
                  <a:lnTo>
                    <a:pt x="1858400" y="938730"/>
                  </a:lnTo>
                  <a:lnTo>
                    <a:pt x="1867932" y="938730"/>
                  </a:lnTo>
                  <a:lnTo>
                    <a:pt x="1877460" y="953024"/>
                  </a:lnTo>
                  <a:lnTo>
                    <a:pt x="1882224" y="957790"/>
                  </a:lnTo>
                  <a:lnTo>
                    <a:pt x="1886992" y="967320"/>
                  </a:lnTo>
                  <a:lnTo>
                    <a:pt x="1896520" y="972086"/>
                  </a:lnTo>
                  <a:lnTo>
                    <a:pt x="1891756" y="986380"/>
                  </a:lnTo>
                  <a:lnTo>
                    <a:pt x="1886992" y="1005440"/>
                  </a:lnTo>
                  <a:lnTo>
                    <a:pt x="1886992" y="1019736"/>
                  </a:lnTo>
                  <a:lnTo>
                    <a:pt x="1896520" y="1029266"/>
                  </a:lnTo>
                  <a:lnTo>
                    <a:pt x="1901288" y="1034032"/>
                  </a:lnTo>
                  <a:lnTo>
                    <a:pt x="1925112" y="1048328"/>
                  </a:lnTo>
                  <a:lnTo>
                    <a:pt x="1944172" y="1057858"/>
                  </a:lnTo>
                  <a:lnTo>
                    <a:pt x="1953704" y="1057858"/>
                  </a:lnTo>
                  <a:lnTo>
                    <a:pt x="1967996" y="1057858"/>
                  </a:lnTo>
                  <a:lnTo>
                    <a:pt x="1972764" y="1048328"/>
                  </a:lnTo>
                  <a:lnTo>
                    <a:pt x="1967996" y="1038796"/>
                  </a:lnTo>
                  <a:lnTo>
                    <a:pt x="1963232" y="1029266"/>
                  </a:lnTo>
                  <a:lnTo>
                    <a:pt x="1963232" y="1014972"/>
                  </a:lnTo>
                  <a:lnTo>
                    <a:pt x="1967996" y="1005440"/>
                  </a:lnTo>
                  <a:lnTo>
                    <a:pt x="1982292" y="986380"/>
                  </a:lnTo>
                  <a:lnTo>
                    <a:pt x="1991824" y="972086"/>
                  </a:lnTo>
                  <a:lnTo>
                    <a:pt x="2010884" y="953024"/>
                  </a:lnTo>
                  <a:lnTo>
                    <a:pt x="2029944" y="933964"/>
                  </a:lnTo>
                  <a:lnTo>
                    <a:pt x="2039476" y="924434"/>
                  </a:lnTo>
                  <a:lnTo>
                    <a:pt x="2044240" y="900608"/>
                  </a:lnTo>
                  <a:lnTo>
                    <a:pt x="2058536" y="891078"/>
                  </a:lnTo>
                  <a:lnTo>
                    <a:pt x="2072832" y="881548"/>
                  </a:lnTo>
                  <a:lnTo>
                    <a:pt x="2091892" y="876782"/>
                  </a:lnTo>
                  <a:lnTo>
                    <a:pt x="2096656" y="867252"/>
                  </a:lnTo>
                  <a:lnTo>
                    <a:pt x="2120480" y="848192"/>
                  </a:lnTo>
                  <a:lnTo>
                    <a:pt x="2134776" y="838662"/>
                  </a:lnTo>
                  <a:lnTo>
                    <a:pt x="2158604" y="833896"/>
                  </a:lnTo>
                  <a:lnTo>
                    <a:pt x="2182428" y="819600"/>
                  </a:lnTo>
                  <a:lnTo>
                    <a:pt x="2206256" y="805306"/>
                  </a:lnTo>
                  <a:lnTo>
                    <a:pt x="2225316" y="781480"/>
                  </a:lnTo>
                  <a:lnTo>
                    <a:pt x="2239612" y="762420"/>
                  </a:lnTo>
                  <a:lnTo>
                    <a:pt x="2253904" y="752890"/>
                  </a:lnTo>
                  <a:lnTo>
                    <a:pt x="2268200" y="752890"/>
                  </a:lnTo>
                  <a:lnTo>
                    <a:pt x="2272968" y="762420"/>
                  </a:lnTo>
                  <a:lnTo>
                    <a:pt x="2282496" y="762420"/>
                  </a:lnTo>
                  <a:lnTo>
                    <a:pt x="2287260" y="757654"/>
                  </a:lnTo>
                  <a:lnTo>
                    <a:pt x="2292028" y="748124"/>
                  </a:lnTo>
                  <a:lnTo>
                    <a:pt x="2301556" y="733828"/>
                  </a:lnTo>
                  <a:lnTo>
                    <a:pt x="2311088" y="729064"/>
                  </a:lnTo>
                  <a:lnTo>
                    <a:pt x="2325384" y="724298"/>
                  </a:lnTo>
                  <a:lnTo>
                    <a:pt x="2339680" y="719534"/>
                  </a:lnTo>
                  <a:lnTo>
                    <a:pt x="2344444" y="714768"/>
                  </a:lnTo>
                  <a:lnTo>
                    <a:pt x="2349208" y="710004"/>
                  </a:lnTo>
                  <a:lnTo>
                    <a:pt x="2368268" y="719534"/>
                  </a:lnTo>
                  <a:lnTo>
                    <a:pt x="2377800" y="724298"/>
                  </a:lnTo>
                  <a:lnTo>
                    <a:pt x="2382564" y="729064"/>
                  </a:lnTo>
                  <a:lnTo>
                    <a:pt x="2382564" y="733828"/>
                  </a:lnTo>
                  <a:lnTo>
                    <a:pt x="2349208" y="752890"/>
                  </a:lnTo>
                  <a:lnTo>
                    <a:pt x="2330148" y="762420"/>
                  </a:lnTo>
                  <a:lnTo>
                    <a:pt x="2325384" y="762420"/>
                  </a:lnTo>
                  <a:lnTo>
                    <a:pt x="2320616" y="767184"/>
                  </a:lnTo>
                  <a:lnTo>
                    <a:pt x="2315852" y="786246"/>
                  </a:lnTo>
                  <a:lnTo>
                    <a:pt x="2301556" y="791010"/>
                  </a:lnTo>
                  <a:lnTo>
                    <a:pt x="2287260" y="795776"/>
                  </a:lnTo>
                  <a:lnTo>
                    <a:pt x="2277732" y="805306"/>
                  </a:lnTo>
                  <a:lnTo>
                    <a:pt x="2258672" y="829132"/>
                  </a:lnTo>
                  <a:lnTo>
                    <a:pt x="2215784" y="857722"/>
                  </a:lnTo>
                  <a:lnTo>
                    <a:pt x="2215784" y="867252"/>
                  </a:lnTo>
                  <a:lnTo>
                    <a:pt x="2220548" y="872018"/>
                  </a:lnTo>
                  <a:lnTo>
                    <a:pt x="2234844" y="876782"/>
                  </a:lnTo>
                  <a:lnTo>
                    <a:pt x="2253904" y="886312"/>
                  </a:lnTo>
                  <a:lnTo>
                    <a:pt x="2263436" y="891078"/>
                  </a:lnTo>
                  <a:lnTo>
                    <a:pt x="2292028" y="881548"/>
                  </a:lnTo>
                  <a:lnTo>
                    <a:pt x="2296792" y="886312"/>
                  </a:lnTo>
                  <a:lnTo>
                    <a:pt x="2306320" y="895844"/>
                  </a:lnTo>
                  <a:lnTo>
                    <a:pt x="2311088" y="924434"/>
                  </a:lnTo>
                  <a:lnTo>
                    <a:pt x="2325384" y="933964"/>
                  </a:lnTo>
                  <a:lnTo>
                    <a:pt x="2339680" y="938730"/>
                  </a:lnTo>
                  <a:lnTo>
                    <a:pt x="2349208" y="938730"/>
                  </a:lnTo>
                  <a:lnTo>
                    <a:pt x="2363504" y="948260"/>
                  </a:lnTo>
                  <a:lnTo>
                    <a:pt x="2382564" y="948260"/>
                  </a:lnTo>
                  <a:lnTo>
                    <a:pt x="2392096" y="948260"/>
                  </a:lnTo>
                  <a:lnTo>
                    <a:pt x="2406388" y="953024"/>
                  </a:lnTo>
                  <a:lnTo>
                    <a:pt x="2411156" y="948260"/>
                  </a:lnTo>
                  <a:lnTo>
                    <a:pt x="2411156" y="905374"/>
                  </a:lnTo>
                  <a:lnTo>
                    <a:pt x="2425452" y="914904"/>
                  </a:lnTo>
                  <a:lnTo>
                    <a:pt x="2430216" y="914904"/>
                  </a:lnTo>
                  <a:lnTo>
                    <a:pt x="2439744" y="910138"/>
                  </a:lnTo>
                  <a:lnTo>
                    <a:pt x="2439744" y="900608"/>
                  </a:lnTo>
                  <a:lnTo>
                    <a:pt x="2444512" y="886312"/>
                  </a:lnTo>
                  <a:lnTo>
                    <a:pt x="2439744" y="872018"/>
                  </a:lnTo>
                  <a:lnTo>
                    <a:pt x="2444512" y="867252"/>
                  </a:lnTo>
                  <a:lnTo>
                    <a:pt x="2449276" y="867252"/>
                  </a:lnTo>
                  <a:lnTo>
                    <a:pt x="2454040" y="867252"/>
                  </a:lnTo>
                  <a:lnTo>
                    <a:pt x="2454040" y="872018"/>
                  </a:lnTo>
                  <a:lnTo>
                    <a:pt x="2454040" y="886312"/>
                  </a:lnTo>
                  <a:lnTo>
                    <a:pt x="2463572" y="891078"/>
                  </a:lnTo>
                  <a:lnTo>
                    <a:pt x="2468336" y="891078"/>
                  </a:lnTo>
                  <a:lnTo>
                    <a:pt x="2477868" y="914904"/>
                  </a:lnTo>
                  <a:lnTo>
                    <a:pt x="2482632" y="938730"/>
                  </a:lnTo>
                  <a:lnTo>
                    <a:pt x="2496928" y="938730"/>
                  </a:lnTo>
                  <a:lnTo>
                    <a:pt x="2511224" y="943494"/>
                  </a:lnTo>
                  <a:lnTo>
                    <a:pt x="2520752" y="938730"/>
                  </a:lnTo>
                  <a:lnTo>
                    <a:pt x="2525520" y="943494"/>
                  </a:lnTo>
                  <a:lnTo>
                    <a:pt x="2530284" y="953024"/>
                  </a:lnTo>
                  <a:lnTo>
                    <a:pt x="2530284" y="962554"/>
                  </a:lnTo>
                  <a:lnTo>
                    <a:pt x="2530284" y="972086"/>
                  </a:lnTo>
                  <a:lnTo>
                    <a:pt x="2535048" y="976850"/>
                  </a:lnTo>
                  <a:lnTo>
                    <a:pt x="2549344" y="972086"/>
                  </a:lnTo>
                  <a:lnTo>
                    <a:pt x="2558872" y="972086"/>
                  </a:lnTo>
                  <a:lnTo>
                    <a:pt x="2568404" y="976850"/>
                  </a:lnTo>
                  <a:lnTo>
                    <a:pt x="2582700" y="981616"/>
                  </a:lnTo>
                  <a:lnTo>
                    <a:pt x="2596996" y="1000676"/>
                  </a:lnTo>
                  <a:lnTo>
                    <a:pt x="2606524" y="1005440"/>
                  </a:lnTo>
                  <a:lnTo>
                    <a:pt x="2630352" y="1005440"/>
                  </a:lnTo>
                  <a:lnTo>
                    <a:pt x="2639880" y="1010206"/>
                  </a:lnTo>
                  <a:lnTo>
                    <a:pt x="2644648" y="1010206"/>
                  </a:lnTo>
                  <a:lnTo>
                    <a:pt x="2658940" y="1005440"/>
                  </a:lnTo>
                  <a:lnTo>
                    <a:pt x="2678000" y="1014972"/>
                  </a:lnTo>
                  <a:lnTo>
                    <a:pt x="2678000" y="1019736"/>
                  </a:lnTo>
                  <a:lnTo>
                    <a:pt x="2678000" y="1024502"/>
                  </a:lnTo>
                  <a:lnTo>
                    <a:pt x="2620820" y="1053092"/>
                  </a:lnTo>
                  <a:lnTo>
                    <a:pt x="2620820" y="1057858"/>
                  </a:lnTo>
                  <a:lnTo>
                    <a:pt x="2606524" y="1072152"/>
                  </a:lnTo>
                  <a:lnTo>
                    <a:pt x="2596996" y="1076918"/>
                  </a:lnTo>
                  <a:lnTo>
                    <a:pt x="2592228" y="1076918"/>
                  </a:lnTo>
                  <a:lnTo>
                    <a:pt x="2563640" y="1067388"/>
                  </a:lnTo>
                  <a:lnTo>
                    <a:pt x="2558872" y="1072152"/>
                  </a:lnTo>
                  <a:lnTo>
                    <a:pt x="2558872" y="1076918"/>
                  </a:lnTo>
                  <a:lnTo>
                    <a:pt x="2563640" y="1091214"/>
                  </a:lnTo>
                  <a:lnTo>
                    <a:pt x="2563640" y="1095978"/>
                  </a:lnTo>
                  <a:lnTo>
                    <a:pt x="2558872" y="1100744"/>
                  </a:lnTo>
                  <a:lnTo>
                    <a:pt x="2539812" y="1095978"/>
                  </a:lnTo>
                  <a:lnTo>
                    <a:pt x="2539812" y="1091214"/>
                  </a:lnTo>
                  <a:lnTo>
                    <a:pt x="2530284" y="1091214"/>
                  </a:lnTo>
                  <a:lnTo>
                    <a:pt x="2520752" y="1095978"/>
                  </a:lnTo>
                  <a:lnTo>
                    <a:pt x="2506456" y="1115040"/>
                  </a:lnTo>
                  <a:lnTo>
                    <a:pt x="2496928" y="1124570"/>
                  </a:lnTo>
                  <a:lnTo>
                    <a:pt x="2496928" y="1129334"/>
                  </a:lnTo>
                  <a:lnTo>
                    <a:pt x="2487396" y="1134100"/>
                  </a:lnTo>
                  <a:lnTo>
                    <a:pt x="2477868" y="1134100"/>
                  </a:lnTo>
                  <a:lnTo>
                    <a:pt x="2468336" y="1143630"/>
                  </a:lnTo>
                  <a:lnTo>
                    <a:pt x="2454040" y="1153160"/>
                  </a:lnTo>
                  <a:lnTo>
                    <a:pt x="2449276" y="1148394"/>
                  </a:lnTo>
                  <a:lnTo>
                    <a:pt x="2449276" y="1138864"/>
                  </a:lnTo>
                  <a:lnTo>
                    <a:pt x="2444512" y="1138864"/>
                  </a:lnTo>
                  <a:lnTo>
                    <a:pt x="2434980" y="1138864"/>
                  </a:lnTo>
                  <a:lnTo>
                    <a:pt x="2425452" y="1138864"/>
                  </a:lnTo>
                  <a:lnTo>
                    <a:pt x="2415920" y="1134100"/>
                  </a:lnTo>
                  <a:lnTo>
                    <a:pt x="2406388" y="1129334"/>
                  </a:lnTo>
                  <a:lnTo>
                    <a:pt x="2392096" y="1124570"/>
                  </a:lnTo>
                  <a:lnTo>
                    <a:pt x="2358740" y="1129334"/>
                  </a:lnTo>
                  <a:lnTo>
                    <a:pt x="2344444" y="1134100"/>
                  </a:lnTo>
                  <a:lnTo>
                    <a:pt x="2339680" y="1134100"/>
                  </a:lnTo>
                  <a:lnTo>
                    <a:pt x="2330148" y="1134100"/>
                  </a:lnTo>
                  <a:lnTo>
                    <a:pt x="2292028" y="1143630"/>
                  </a:lnTo>
                  <a:lnTo>
                    <a:pt x="2282496" y="1138864"/>
                  </a:lnTo>
                  <a:lnTo>
                    <a:pt x="2277732" y="1129334"/>
                  </a:lnTo>
                  <a:lnTo>
                    <a:pt x="2272968" y="1119804"/>
                  </a:lnTo>
                  <a:lnTo>
                    <a:pt x="2263436" y="1115040"/>
                  </a:lnTo>
                  <a:lnTo>
                    <a:pt x="2253904" y="1110274"/>
                  </a:lnTo>
                  <a:lnTo>
                    <a:pt x="2249140" y="1105508"/>
                  </a:lnTo>
                  <a:lnTo>
                    <a:pt x="2249140" y="1100744"/>
                  </a:lnTo>
                  <a:lnTo>
                    <a:pt x="2249140" y="1095978"/>
                  </a:lnTo>
                  <a:lnTo>
                    <a:pt x="2249140" y="1091214"/>
                  </a:lnTo>
                  <a:lnTo>
                    <a:pt x="2272968" y="1067388"/>
                  </a:lnTo>
                  <a:lnTo>
                    <a:pt x="2296792" y="1048328"/>
                  </a:lnTo>
                  <a:lnTo>
                    <a:pt x="2301556" y="1048328"/>
                  </a:lnTo>
                  <a:lnTo>
                    <a:pt x="2301556" y="1043562"/>
                  </a:lnTo>
                  <a:lnTo>
                    <a:pt x="2306320" y="1034032"/>
                  </a:lnTo>
                  <a:lnTo>
                    <a:pt x="2287260" y="1024502"/>
                  </a:lnTo>
                  <a:lnTo>
                    <a:pt x="2287260" y="1019736"/>
                  </a:lnTo>
                  <a:lnTo>
                    <a:pt x="2292028" y="1014972"/>
                  </a:lnTo>
                  <a:lnTo>
                    <a:pt x="2292028" y="1010206"/>
                  </a:lnTo>
                  <a:lnTo>
                    <a:pt x="2282496" y="995910"/>
                  </a:lnTo>
                  <a:lnTo>
                    <a:pt x="2258672" y="972086"/>
                  </a:lnTo>
                  <a:lnTo>
                    <a:pt x="2253904" y="972086"/>
                  </a:lnTo>
                  <a:lnTo>
                    <a:pt x="2249140" y="972086"/>
                  </a:lnTo>
                  <a:lnTo>
                    <a:pt x="2239612" y="995910"/>
                  </a:lnTo>
                  <a:lnTo>
                    <a:pt x="2234844" y="1000676"/>
                  </a:lnTo>
                  <a:lnTo>
                    <a:pt x="2211020" y="1014972"/>
                  </a:lnTo>
                  <a:lnTo>
                    <a:pt x="2191960" y="1024502"/>
                  </a:lnTo>
                  <a:lnTo>
                    <a:pt x="2153840" y="1043562"/>
                  </a:lnTo>
                  <a:lnTo>
                    <a:pt x="2144308" y="1048328"/>
                  </a:lnTo>
                  <a:lnTo>
                    <a:pt x="2139544" y="1048328"/>
                  </a:lnTo>
                  <a:lnTo>
                    <a:pt x="2130012" y="1043562"/>
                  </a:lnTo>
                  <a:lnTo>
                    <a:pt x="2110952" y="1029266"/>
                  </a:lnTo>
                  <a:lnTo>
                    <a:pt x="2096656" y="1019736"/>
                  </a:lnTo>
                  <a:lnTo>
                    <a:pt x="2091892" y="1024502"/>
                  </a:lnTo>
                  <a:lnTo>
                    <a:pt x="2082360" y="1034032"/>
                  </a:lnTo>
                  <a:lnTo>
                    <a:pt x="2082360" y="1053092"/>
                  </a:lnTo>
                  <a:lnTo>
                    <a:pt x="2072832" y="1062622"/>
                  </a:lnTo>
                  <a:lnTo>
                    <a:pt x="2063300" y="1067388"/>
                  </a:lnTo>
                  <a:lnTo>
                    <a:pt x="2082360" y="1115040"/>
                  </a:lnTo>
                  <a:lnTo>
                    <a:pt x="2077596" y="1124570"/>
                  </a:lnTo>
                  <a:lnTo>
                    <a:pt x="2068064" y="1124570"/>
                  </a:lnTo>
                  <a:lnTo>
                    <a:pt x="2077596" y="1143630"/>
                  </a:lnTo>
                  <a:lnTo>
                    <a:pt x="2068064" y="1143630"/>
                  </a:lnTo>
                  <a:lnTo>
                    <a:pt x="2049004" y="1138864"/>
                  </a:lnTo>
                  <a:lnTo>
                    <a:pt x="2025180" y="1138864"/>
                  </a:lnTo>
                  <a:lnTo>
                    <a:pt x="1977528" y="1148394"/>
                  </a:lnTo>
                  <a:lnTo>
                    <a:pt x="1972764" y="1153160"/>
                  </a:lnTo>
                  <a:lnTo>
                    <a:pt x="1977528" y="1157926"/>
                  </a:lnTo>
                  <a:lnTo>
                    <a:pt x="2001352" y="1157926"/>
                  </a:lnTo>
                  <a:lnTo>
                    <a:pt x="2020416" y="1157926"/>
                  </a:lnTo>
                  <a:lnTo>
                    <a:pt x="2029944" y="1157926"/>
                  </a:lnTo>
                  <a:lnTo>
                    <a:pt x="2029944" y="1167456"/>
                  </a:lnTo>
                  <a:lnTo>
                    <a:pt x="2025180" y="1167456"/>
                  </a:lnTo>
                  <a:lnTo>
                    <a:pt x="2020416" y="1172220"/>
                  </a:lnTo>
                  <a:lnTo>
                    <a:pt x="2001352" y="1172220"/>
                  </a:lnTo>
                  <a:lnTo>
                    <a:pt x="2001352" y="1176986"/>
                  </a:lnTo>
                  <a:lnTo>
                    <a:pt x="2001352" y="1181750"/>
                  </a:lnTo>
                  <a:lnTo>
                    <a:pt x="2006120" y="1191280"/>
                  </a:lnTo>
                  <a:lnTo>
                    <a:pt x="2010884" y="1200812"/>
                  </a:lnTo>
                  <a:lnTo>
                    <a:pt x="2010884" y="1205576"/>
                  </a:lnTo>
                  <a:lnTo>
                    <a:pt x="2006120" y="1205576"/>
                  </a:lnTo>
                  <a:lnTo>
                    <a:pt x="2001352" y="1200812"/>
                  </a:lnTo>
                  <a:lnTo>
                    <a:pt x="1996588" y="1205576"/>
                  </a:lnTo>
                  <a:lnTo>
                    <a:pt x="1996588" y="1215106"/>
                  </a:lnTo>
                  <a:lnTo>
                    <a:pt x="1991824" y="1215106"/>
                  </a:lnTo>
                  <a:lnTo>
                    <a:pt x="1982292" y="1215106"/>
                  </a:lnTo>
                  <a:lnTo>
                    <a:pt x="1977528" y="1215106"/>
                  </a:lnTo>
                  <a:lnTo>
                    <a:pt x="1972764" y="1234168"/>
                  </a:lnTo>
                  <a:lnTo>
                    <a:pt x="1967996" y="1257992"/>
                  </a:lnTo>
                  <a:lnTo>
                    <a:pt x="1958468" y="1272288"/>
                  </a:lnTo>
                  <a:lnTo>
                    <a:pt x="1948936" y="1277054"/>
                  </a:lnTo>
                  <a:lnTo>
                    <a:pt x="1939408" y="1281818"/>
                  </a:lnTo>
                  <a:lnTo>
                    <a:pt x="1925112" y="1277054"/>
                  </a:lnTo>
                  <a:lnTo>
                    <a:pt x="1915580" y="1277054"/>
                  </a:lnTo>
                  <a:lnTo>
                    <a:pt x="1891756" y="1272288"/>
                  </a:lnTo>
                  <a:lnTo>
                    <a:pt x="1863164" y="1267524"/>
                  </a:lnTo>
                  <a:lnTo>
                    <a:pt x="1834576" y="1262758"/>
                  </a:lnTo>
                  <a:lnTo>
                    <a:pt x="1805984" y="1272288"/>
                  </a:lnTo>
                  <a:lnTo>
                    <a:pt x="1796452" y="1281818"/>
                  </a:lnTo>
                  <a:lnTo>
                    <a:pt x="1791688" y="1291348"/>
                  </a:lnTo>
                  <a:lnTo>
                    <a:pt x="1786924" y="1291348"/>
                  </a:lnTo>
                  <a:lnTo>
                    <a:pt x="1777392" y="1339000"/>
                  </a:lnTo>
                  <a:lnTo>
                    <a:pt x="1777392" y="1343766"/>
                  </a:lnTo>
                  <a:lnTo>
                    <a:pt x="1782156" y="1348530"/>
                  </a:lnTo>
                  <a:lnTo>
                    <a:pt x="1815512" y="1358060"/>
                  </a:lnTo>
                  <a:lnTo>
                    <a:pt x="1820280" y="1358060"/>
                  </a:lnTo>
                  <a:lnTo>
                    <a:pt x="1825044" y="1362826"/>
                  </a:lnTo>
                  <a:lnTo>
                    <a:pt x="1825044" y="1386652"/>
                  </a:lnTo>
                  <a:lnTo>
                    <a:pt x="1829808" y="1386652"/>
                  </a:lnTo>
                  <a:lnTo>
                    <a:pt x="1839340" y="1391416"/>
                  </a:lnTo>
                  <a:lnTo>
                    <a:pt x="1858400" y="1391416"/>
                  </a:lnTo>
                  <a:lnTo>
                    <a:pt x="1872696" y="1386652"/>
                  </a:lnTo>
                  <a:lnTo>
                    <a:pt x="1882224" y="1391416"/>
                  </a:lnTo>
                  <a:lnTo>
                    <a:pt x="1891756" y="1391416"/>
                  </a:lnTo>
                  <a:lnTo>
                    <a:pt x="1896520" y="1400946"/>
                  </a:lnTo>
                  <a:lnTo>
                    <a:pt x="1901288" y="1410476"/>
                  </a:lnTo>
                  <a:lnTo>
                    <a:pt x="1886992" y="1453364"/>
                  </a:lnTo>
                  <a:lnTo>
                    <a:pt x="1886992" y="1467658"/>
                  </a:lnTo>
                  <a:lnTo>
                    <a:pt x="1891756" y="1491484"/>
                  </a:lnTo>
                  <a:lnTo>
                    <a:pt x="1901288" y="1510544"/>
                  </a:lnTo>
                  <a:lnTo>
                    <a:pt x="1915580" y="1529606"/>
                  </a:lnTo>
                  <a:lnTo>
                    <a:pt x="1929876" y="1539136"/>
                  </a:lnTo>
                  <a:lnTo>
                    <a:pt x="1934640" y="1543900"/>
                  </a:lnTo>
                  <a:lnTo>
                    <a:pt x="1934640" y="1553430"/>
                  </a:lnTo>
                  <a:lnTo>
                    <a:pt x="1929876" y="1562960"/>
                  </a:lnTo>
                  <a:lnTo>
                    <a:pt x="1925112" y="1577256"/>
                  </a:lnTo>
                  <a:lnTo>
                    <a:pt x="1915580" y="1596316"/>
                  </a:lnTo>
                  <a:lnTo>
                    <a:pt x="1906052" y="1601082"/>
                  </a:lnTo>
                  <a:lnTo>
                    <a:pt x="1891756" y="1620142"/>
                  </a:lnTo>
                  <a:lnTo>
                    <a:pt x="1877460" y="1639204"/>
                  </a:lnTo>
                  <a:lnTo>
                    <a:pt x="1858400" y="1672560"/>
                  </a:lnTo>
                  <a:lnTo>
                    <a:pt x="1848868" y="1686854"/>
                  </a:lnTo>
                  <a:lnTo>
                    <a:pt x="1844104" y="1734506"/>
                  </a:lnTo>
                  <a:lnTo>
                    <a:pt x="1839340" y="1748800"/>
                  </a:lnTo>
                  <a:lnTo>
                    <a:pt x="1839340" y="1744036"/>
                  </a:lnTo>
                  <a:lnTo>
                    <a:pt x="1829808" y="1739270"/>
                  </a:lnTo>
                  <a:lnTo>
                    <a:pt x="1815512" y="1739270"/>
                  </a:lnTo>
                  <a:lnTo>
                    <a:pt x="1805984" y="1734506"/>
                  </a:lnTo>
                  <a:lnTo>
                    <a:pt x="1801220" y="1729740"/>
                  </a:lnTo>
                  <a:lnTo>
                    <a:pt x="1791688" y="1734506"/>
                  </a:lnTo>
                  <a:lnTo>
                    <a:pt x="1772628" y="1744036"/>
                  </a:lnTo>
                  <a:lnTo>
                    <a:pt x="1753568" y="1734506"/>
                  </a:lnTo>
                  <a:lnTo>
                    <a:pt x="1734508" y="1715446"/>
                  </a:lnTo>
                  <a:lnTo>
                    <a:pt x="1696384" y="1710680"/>
                  </a:lnTo>
                  <a:lnTo>
                    <a:pt x="1648736" y="1715446"/>
                  </a:lnTo>
                  <a:lnTo>
                    <a:pt x="1643968" y="1691620"/>
                  </a:lnTo>
                  <a:lnTo>
                    <a:pt x="1643968" y="1663028"/>
                  </a:lnTo>
                  <a:lnTo>
                    <a:pt x="1648736" y="1629672"/>
                  </a:lnTo>
                  <a:lnTo>
                    <a:pt x="1663028" y="1601082"/>
                  </a:lnTo>
                  <a:lnTo>
                    <a:pt x="1663028" y="1596316"/>
                  </a:lnTo>
                  <a:lnTo>
                    <a:pt x="1658264" y="1586786"/>
                  </a:lnTo>
                  <a:lnTo>
                    <a:pt x="1653500" y="1582022"/>
                  </a:lnTo>
                  <a:lnTo>
                    <a:pt x="1624908" y="1577256"/>
                  </a:lnTo>
                  <a:lnTo>
                    <a:pt x="1615380" y="1572492"/>
                  </a:lnTo>
                  <a:lnTo>
                    <a:pt x="1605848" y="1562960"/>
                  </a:lnTo>
                  <a:lnTo>
                    <a:pt x="1591552" y="1553430"/>
                  </a:lnTo>
                  <a:lnTo>
                    <a:pt x="1582024" y="1543900"/>
                  </a:lnTo>
                  <a:lnTo>
                    <a:pt x="1562960" y="1539136"/>
                  </a:lnTo>
                  <a:lnTo>
                    <a:pt x="1543900" y="1534370"/>
                  </a:lnTo>
                  <a:lnTo>
                    <a:pt x="1534372" y="1534370"/>
                  </a:lnTo>
                  <a:lnTo>
                    <a:pt x="1524840" y="1539136"/>
                  </a:lnTo>
                  <a:lnTo>
                    <a:pt x="1515312" y="1539136"/>
                  </a:lnTo>
                  <a:lnTo>
                    <a:pt x="1505780" y="1539136"/>
                  </a:lnTo>
                  <a:lnTo>
                    <a:pt x="1472424" y="1515310"/>
                  </a:lnTo>
                  <a:lnTo>
                    <a:pt x="1420008" y="1477188"/>
                  </a:lnTo>
                  <a:lnTo>
                    <a:pt x="1381888" y="1453364"/>
                  </a:lnTo>
                  <a:lnTo>
                    <a:pt x="1353296" y="1439068"/>
                  </a:lnTo>
                  <a:lnTo>
                    <a:pt x="1348532" y="1434302"/>
                  </a:lnTo>
                  <a:lnTo>
                    <a:pt x="1334236" y="1424772"/>
                  </a:lnTo>
                  <a:lnTo>
                    <a:pt x="1300880" y="1391416"/>
                  </a:lnTo>
                  <a:lnTo>
                    <a:pt x="1277056" y="1396182"/>
                  </a:lnTo>
                  <a:lnTo>
                    <a:pt x="1243700" y="1372356"/>
                  </a:lnTo>
                  <a:lnTo>
                    <a:pt x="1215108" y="1353296"/>
                  </a:lnTo>
                  <a:lnTo>
                    <a:pt x="1210344" y="1348530"/>
                  </a:lnTo>
                  <a:lnTo>
                    <a:pt x="1176988" y="1310410"/>
                  </a:lnTo>
                  <a:lnTo>
                    <a:pt x="1143632" y="1286584"/>
                  </a:lnTo>
                  <a:lnTo>
                    <a:pt x="1105508" y="1257992"/>
                  </a:lnTo>
                  <a:lnTo>
                    <a:pt x="1081684" y="1243698"/>
                  </a:lnTo>
                  <a:lnTo>
                    <a:pt x="1043564" y="1210342"/>
                  </a:lnTo>
                  <a:lnTo>
                    <a:pt x="1024504" y="1196046"/>
                  </a:lnTo>
                  <a:lnTo>
                    <a:pt x="1014972" y="1191280"/>
                  </a:lnTo>
                  <a:lnTo>
                    <a:pt x="1010208" y="1176986"/>
                  </a:lnTo>
                  <a:lnTo>
                    <a:pt x="1000676" y="1115040"/>
                  </a:lnTo>
                  <a:lnTo>
                    <a:pt x="986380" y="1086448"/>
                  </a:lnTo>
                  <a:lnTo>
                    <a:pt x="972088" y="1072152"/>
                  </a:lnTo>
                  <a:lnTo>
                    <a:pt x="953024" y="1043562"/>
                  </a:lnTo>
                  <a:lnTo>
                    <a:pt x="943496" y="1000676"/>
                  </a:lnTo>
                  <a:lnTo>
                    <a:pt x="933964" y="972086"/>
                  </a:lnTo>
                  <a:lnTo>
                    <a:pt x="924436" y="957790"/>
                  </a:lnTo>
                  <a:lnTo>
                    <a:pt x="910140" y="943494"/>
                  </a:lnTo>
                  <a:lnTo>
                    <a:pt x="886312" y="929200"/>
                  </a:lnTo>
                  <a:lnTo>
                    <a:pt x="862488" y="919668"/>
                  </a:lnTo>
                  <a:lnTo>
                    <a:pt x="852956" y="919668"/>
                  </a:lnTo>
                  <a:lnTo>
                    <a:pt x="848192" y="924434"/>
                  </a:lnTo>
                  <a:lnTo>
                    <a:pt x="843428" y="924434"/>
                  </a:lnTo>
                  <a:lnTo>
                    <a:pt x="833896" y="938730"/>
                  </a:lnTo>
                  <a:lnTo>
                    <a:pt x="819604" y="938730"/>
                  </a:lnTo>
                  <a:lnTo>
                    <a:pt x="810072" y="938730"/>
                  </a:lnTo>
                  <a:lnTo>
                    <a:pt x="800540" y="933964"/>
                  </a:lnTo>
                  <a:lnTo>
                    <a:pt x="771952" y="929200"/>
                  </a:lnTo>
                  <a:lnTo>
                    <a:pt x="762420" y="929200"/>
                  </a:lnTo>
                  <a:lnTo>
                    <a:pt x="743360" y="929200"/>
                  </a:lnTo>
                  <a:lnTo>
                    <a:pt x="710004" y="933964"/>
                  </a:lnTo>
                  <a:lnTo>
                    <a:pt x="700472" y="933964"/>
                  </a:lnTo>
                  <a:lnTo>
                    <a:pt x="657588" y="905374"/>
                  </a:lnTo>
                  <a:lnTo>
                    <a:pt x="643292" y="895844"/>
                  </a:lnTo>
                  <a:lnTo>
                    <a:pt x="638528" y="891078"/>
                  </a:lnTo>
                  <a:lnTo>
                    <a:pt x="638528" y="881548"/>
                  </a:lnTo>
                  <a:lnTo>
                    <a:pt x="643292" y="867252"/>
                  </a:lnTo>
                  <a:lnTo>
                    <a:pt x="648056" y="852956"/>
                  </a:lnTo>
                  <a:lnTo>
                    <a:pt x="648056" y="843426"/>
                  </a:lnTo>
                  <a:lnTo>
                    <a:pt x="638528" y="833896"/>
                  </a:lnTo>
                  <a:lnTo>
                    <a:pt x="638528" y="819600"/>
                  </a:lnTo>
                  <a:lnTo>
                    <a:pt x="643292" y="814836"/>
                  </a:lnTo>
                  <a:lnTo>
                    <a:pt x="652824" y="814836"/>
                  </a:lnTo>
                  <a:lnTo>
                    <a:pt x="657588" y="810070"/>
                  </a:lnTo>
                  <a:lnTo>
                    <a:pt x="657588" y="805306"/>
                  </a:lnTo>
                  <a:lnTo>
                    <a:pt x="652824" y="800540"/>
                  </a:lnTo>
                  <a:lnTo>
                    <a:pt x="643292" y="791010"/>
                  </a:lnTo>
                  <a:lnTo>
                    <a:pt x="624232" y="781480"/>
                  </a:lnTo>
                  <a:lnTo>
                    <a:pt x="619468" y="776714"/>
                  </a:lnTo>
                  <a:lnTo>
                    <a:pt x="619468" y="771950"/>
                  </a:lnTo>
                  <a:lnTo>
                    <a:pt x="624232" y="767184"/>
                  </a:lnTo>
                  <a:lnTo>
                    <a:pt x="624232" y="757654"/>
                  </a:lnTo>
                  <a:lnTo>
                    <a:pt x="624232" y="743360"/>
                  </a:lnTo>
                  <a:lnTo>
                    <a:pt x="628996" y="733828"/>
                  </a:lnTo>
                  <a:lnTo>
                    <a:pt x="628996" y="729064"/>
                  </a:lnTo>
                  <a:lnTo>
                    <a:pt x="624232" y="724298"/>
                  </a:lnTo>
                  <a:lnTo>
                    <a:pt x="619468" y="719534"/>
                  </a:lnTo>
                  <a:lnTo>
                    <a:pt x="605172" y="705238"/>
                  </a:lnTo>
                  <a:lnTo>
                    <a:pt x="590876" y="705238"/>
                  </a:lnTo>
                  <a:lnTo>
                    <a:pt x="543224" y="705238"/>
                  </a:lnTo>
                  <a:lnTo>
                    <a:pt x="528928" y="700472"/>
                  </a:lnTo>
                  <a:lnTo>
                    <a:pt x="514632" y="695708"/>
                  </a:lnTo>
                  <a:lnTo>
                    <a:pt x="505104" y="667116"/>
                  </a:lnTo>
                  <a:lnTo>
                    <a:pt x="495572" y="662352"/>
                  </a:lnTo>
                  <a:lnTo>
                    <a:pt x="490808" y="657586"/>
                  </a:lnTo>
                  <a:lnTo>
                    <a:pt x="476512" y="657586"/>
                  </a:lnTo>
                  <a:lnTo>
                    <a:pt x="462216" y="657586"/>
                  </a:lnTo>
                  <a:lnTo>
                    <a:pt x="452688" y="652822"/>
                  </a:lnTo>
                  <a:lnTo>
                    <a:pt x="428860" y="628996"/>
                  </a:lnTo>
                  <a:lnTo>
                    <a:pt x="409800" y="605170"/>
                  </a:lnTo>
                  <a:lnTo>
                    <a:pt x="400272" y="624230"/>
                  </a:lnTo>
                  <a:lnTo>
                    <a:pt x="390740" y="628996"/>
                  </a:lnTo>
                  <a:lnTo>
                    <a:pt x="371680" y="628996"/>
                  </a:lnTo>
                  <a:lnTo>
                    <a:pt x="357384" y="624230"/>
                  </a:lnTo>
                  <a:lnTo>
                    <a:pt x="347856" y="628996"/>
                  </a:lnTo>
                  <a:lnTo>
                    <a:pt x="338324" y="638526"/>
                  </a:lnTo>
                  <a:lnTo>
                    <a:pt x="338324" y="643292"/>
                  </a:lnTo>
                  <a:lnTo>
                    <a:pt x="347856" y="648056"/>
                  </a:lnTo>
                  <a:lnTo>
                    <a:pt x="362148" y="657586"/>
                  </a:lnTo>
                  <a:lnTo>
                    <a:pt x="381212" y="686178"/>
                  </a:lnTo>
                  <a:lnTo>
                    <a:pt x="390740" y="700472"/>
                  </a:lnTo>
                  <a:lnTo>
                    <a:pt x="390740" y="705238"/>
                  </a:lnTo>
                  <a:lnTo>
                    <a:pt x="385976" y="710004"/>
                  </a:lnTo>
                  <a:lnTo>
                    <a:pt x="376444" y="710004"/>
                  </a:lnTo>
                  <a:lnTo>
                    <a:pt x="376444" y="705238"/>
                  </a:lnTo>
                  <a:lnTo>
                    <a:pt x="371680" y="695708"/>
                  </a:lnTo>
                  <a:lnTo>
                    <a:pt x="366916" y="686178"/>
                  </a:lnTo>
                  <a:lnTo>
                    <a:pt x="357384" y="681412"/>
                  </a:lnTo>
                  <a:lnTo>
                    <a:pt x="352620" y="676648"/>
                  </a:lnTo>
                  <a:lnTo>
                    <a:pt x="343088" y="671882"/>
                  </a:lnTo>
                  <a:lnTo>
                    <a:pt x="328792" y="667116"/>
                  </a:lnTo>
                  <a:lnTo>
                    <a:pt x="319264" y="667116"/>
                  </a:lnTo>
                  <a:lnTo>
                    <a:pt x="314500" y="671882"/>
                  </a:lnTo>
                  <a:lnTo>
                    <a:pt x="304968" y="681412"/>
                  </a:lnTo>
                  <a:lnTo>
                    <a:pt x="304968" y="700472"/>
                  </a:lnTo>
                  <a:lnTo>
                    <a:pt x="290672" y="719534"/>
                  </a:lnTo>
                  <a:lnTo>
                    <a:pt x="285908" y="729064"/>
                  </a:lnTo>
                  <a:lnTo>
                    <a:pt x="266848" y="733828"/>
                  </a:lnTo>
                  <a:lnTo>
                    <a:pt x="257316" y="733828"/>
                  </a:lnTo>
                  <a:lnTo>
                    <a:pt x="243020" y="714768"/>
                  </a:lnTo>
                  <a:lnTo>
                    <a:pt x="219196" y="700472"/>
                  </a:lnTo>
                  <a:lnTo>
                    <a:pt x="200136" y="705238"/>
                  </a:lnTo>
                  <a:lnTo>
                    <a:pt x="185840" y="729064"/>
                  </a:lnTo>
                  <a:lnTo>
                    <a:pt x="176308" y="776714"/>
                  </a:lnTo>
                  <a:lnTo>
                    <a:pt x="171544" y="781480"/>
                  </a:lnTo>
                  <a:lnTo>
                    <a:pt x="162016" y="786246"/>
                  </a:lnTo>
                  <a:lnTo>
                    <a:pt x="152484" y="800540"/>
                  </a:lnTo>
                  <a:lnTo>
                    <a:pt x="157248" y="838662"/>
                  </a:lnTo>
                  <a:lnTo>
                    <a:pt x="162016" y="886312"/>
                  </a:lnTo>
                  <a:lnTo>
                    <a:pt x="171544" y="895844"/>
                  </a:lnTo>
                  <a:lnTo>
                    <a:pt x="176308" y="900608"/>
                  </a:lnTo>
                  <a:lnTo>
                    <a:pt x="176308" y="905374"/>
                  </a:lnTo>
                  <a:lnTo>
                    <a:pt x="176308" y="910138"/>
                  </a:lnTo>
                  <a:lnTo>
                    <a:pt x="166780" y="914904"/>
                  </a:lnTo>
                  <a:lnTo>
                    <a:pt x="162016" y="924434"/>
                  </a:lnTo>
                  <a:lnTo>
                    <a:pt x="152484" y="924434"/>
                  </a:lnTo>
                  <a:lnTo>
                    <a:pt x="138188" y="919668"/>
                  </a:lnTo>
                  <a:lnTo>
                    <a:pt x="123892" y="919668"/>
                  </a:lnTo>
                  <a:lnTo>
                    <a:pt x="76244" y="914904"/>
                  </a:lnTo>
                  <a:lnTo>
                    <a:pt x="42888" y="914904"/>
                  </a:lnTo>
                  <a:lnTo>
                    <a:pt x="0" y="910138"/>
                  </a:lnTo>
                  <a:lnTo>
                    <a:pt x="0" y="123892"/>
                  </a:lnTo>
                  <a:lnTo>
                    <a:pt x="19060" y="119128"/>
                  </a:lnTo>
                  <a:lnTo>
                    <a:pt x="42888" y="109596"/>
                  </a:lnTo>
                  <a:lnTo>
                    <a:pt x="66712" y="104832"/>
                  </a:lnTo>
                  <a:lnTo>
                    <a:pt x="95304" y="95302"/>
                  </a:lnTo>
                  <a:lnTo>
                    <a:pt x="128660" y="85772"/>
                  </a:lnTo>
                  <a:lnTo>
                    <a:pt x="152484" y="76242"/>
                  </a:lnTo>
                  <a:lnTo>
                    <a:pt x="185840" y="66710"/>
                  </a:lnTo>
                  <a:lnTo>
                    <a:pt x="209664" y="57180"/>
                  </a:lnTo>
                  <a:lnTo>
                    <a:pt x="233492" y="47650"/>
                  </a:lnTo>
                  <a:lnTo>
                    <a:pt x="262084" y="38120"/>
                  </a:lnTo>
                  <a:lnTo>
                    <a:pt x="309732" y="28590"/>
                  </a:lnTo>
                  <a:lnTo>
                    <a:pt x="333560" y="19060"/>
                  </a:lnTo>
                  <a:lnTo>
                    <a:pt x="362148" y="9530"/>
                  </a:lnTo>
                  <a:lnTo>
                    <a:pt x="385976"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79" name="Google Shape;4946;p64">
              <a:extLst>
                <a:ext uri="{FF2B5EF4-FFF2-40B4-BE49-F238E27FC236}">
                  <a16:creationId xmlns:a16="http://schemas.microsoft.com/office/drawing/2014/main" id="{E63C973C-DAE6-948E-4039-E5F9C732E3F1}"/>
                </a:ext>
              </a:extLst>
            </p:cNvPr>
            <p:cNvSpPr/>
            <p:nvPr/>
          </p:nvSpPr>
          <p:spPr>
            <a:xfrm>
              <a:off x="6043022" y="4020073"/>
              <a:ext cx="1969" cy="2625"/>
            </a:xfrm>
            <a:custGeom>
              <a:avLst/>
              <a:gdLst/>
              <a:ahLst/>
              <a:cxnLst/>
              <a:rect l="l" t="t" r="r" b="b"/>
              <a:pathLst>
                <a:path w="6" h="8" extrusionOk="0">
                  <a:moveTo>
                    <a:pt x="0" y="4"/>
                  </a:moveTo>
                  <a:lnTo>
                    <a:pt x="0" y="2"/>
                  </a:lnTo>
                  <a:lnTo>
                    <a:pt x="0" y="0"/>
                  </a:lnTo>
                  <a:lnTo>
                    <a:pt x="4" y="2"/>
                  </a:lnTo>
                  <a:lnTo>
                    <a:pt x="6" y="6"/>
                  </a:lnTo>
                  <a:lnTo>
                    <a:pt x="6" y="8"/>
                  </a:lnTo>
                  <a:lnTo>
                    <a:pt x="4" y="8"/>
                  </a:lnTo>
                  <a:lnTo>
                    <a:pt x="0"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80" name="Google Shape;4947;p64">
              <a:extLst>
                <a:ext uri="{FF2B5EF4-FFF2-40B4-BE49-F238E27FC236}">
                  <a16:creationId xmlns:a16="http://schemas.microsoft.com/office/drawing/2014/main" id="{6071C890-3845-9F2C-5543-4B3682FB2E98}"/>
                </a:ext>
              </a:extLst>
            </p:cNvPr>
            <p:cNvCxnSpPr/>
            <p:nvPr/>
          </p:nvCxnSpPr>
          <p:spPr>
            <a:xfrm>
              <a:off x="6043022" y="4021386"/>
              <a:ext cx="0" cy="0"/>
            </a:xfrm>
            <a:prstGeom prst="straightConnector1">
              <a:avLst/>
            </a:prstGeom>
            <a:grpFill/>
            <a:ln w="9525" cap="flat" cmpd="sng">
              <a:solidFill>
                <a:schemeClr val="bg2"/>
              </a:solidFill>
              <a:prstDash val="solid"/>
              <a:round/>
              <a:headEnd type="none" w="med" len="med"/>
              <a:tailEnd type="none" w="med" len="med"/>
            </a:ln>
          </p:spPr>
        </p:cxnSp>
        <p:sp>
          <p:nvSpPr>
            <p:cNvPr id="481" name="Google Shape;4948;p64">
              <a:extLst>
                <a:ext uri="{FF2B5EF4-FFF2-40B4-BE49-F238E27FC236}">
                  <a16:creationId xmlns:a16="http://schemas.microsoft.com/office/drawing/2014/main" id="{B0B863E7-E289-EF35-8808-2907C684F3A4}"/>
                </a:ext>
              </a:extLst>
            </p:cNvPr>
            <p:cNvSpPr/>
            <p:nvPr/>
          </p:nvSpPr>
          <p:spPr>
            <a:xfrm>
              <a:off x="3205118" y="4713141"/>
              <a:ext cx="657" cy="1313"/>
            </a:xfrm>
            <a:custGeom>
              <a:avLst/>
              <a:gdLst/>
              <a:ahLst/>
              <a:cxnLst/>
              <a:rect l="l" t="t" r="r" b="b"/>
              <a:pathLst>
                <a:path w="2" h="4" extrusionOk="0">
                  <a:moveTo>
                    <a:pt x="2" y="4"/>
                  </a:moveTo>
                  <a:lnTo>
                    <a:pt x="2" y="2"/>
                  </a:lnTo>
                  <a:lnTo>
                    <a:pt x="2" y="2"/>
                  </a:lnTo>
                  <a:lnTo>
                    <a:pt x="2" y="2"/>
                  </a:lnTo>
                  <a:lnTo>
                    <a:pt x="2" y="2"/>
                  </a:lnTo>
                  <a:lnTo>
                    <a:pt x="2" y="0"/>
                  </a:lnTo>
                  <a:lnTo>
                    <a:pt x="2" y="0"/>
                  </a:lnTo>
                  <a:lnTo>
                    <a:pt x="2" y="0"/>
                  </a:lnTo>
                  <a:lnTo>
                    <a:pt x="0" y="2"/>
                  </a:lnTo>
                  <a:lnTo>
                    <a:pt x="0" y="2"/>
                  </a:lnTo>
                  <a:lnTo>
                    <a:pt x="2" y="2"/>
                  </a:lnTo>
                  <a:lnTo>
                    <a:pt x="0" y="2"/>
                  </a:lnTo>
                  <a:lnTo>
                    <a:pt x="0" y="2"/>
                  </a:lnTo>
                  <a:lnTo>
                    <a:pt x="0" y="4"/>
                  </a:lnTo>
                  <a:lnTo>
                    <a:pt x="2"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2" name="Google Shape;4949;p64">
              <a:extLst>
                <a:ext uri="{FF2B5EF4-FFF2-40B4-BE49-F238E27FC236}">
                  <a16:creationId xmlns:a16="http://schemas.microsoft.com/office/drawing/2014/main" id="{C5A978D9-27AE-D7F8-0528-42467BC8C612}"/>
                </a:ext>
              </a:extLst>
            </p:cNvPr>
            <p:cNvSpPr/>
            <p:nvPr/>
          </p:nvSpPr>
          <p:spPr>
            <a:xfrm>
              <a:off x="3207087" y="4706579"/>
              <a:ext cx="1313" cy="1313"/>
            </a:xfrm>
            <a:custGeom>
              <a:avLst/>
              <a:gdLst/>
              <a:ahLst/>
              <a:cxnLst/>
              <a:rect l="l" t="t" r="r" b="b"/>
              <a:pathLst>
                <a:path w="4" h="4" extrusionOk="0">
                  <a:moveTo>
                    <a:pt x="2" y="4"/>
                  </a:moveTo>
                  <a:lnTo>
                    <a:pt x="4" y="2"/>
                  </a:lnTo>
                  <a:lnTo>
                    <a:pt x="4" y="0"/>
                  </a:lnTo>
                  <a:lnTo>
                    <a:pt x="4" y="0"/>
                  </a:lnTo>
                  <a:lnTo>
                    <a:pt x="4" y="0"/>
                  </a:lnTo>
                  <a:lnTo>
                    <a:pt x="4" y="0"/>
                  </a:lnTo>
                  <a:lnTo>
                    <a:pt x="4" y="0"/>
                  </a:lnTo>
                  <a:lnTo>
                    <a:pt x="2" y="2"/>
                  </a:lnTo>
                  <a:lnTo>
                    <a:pt x="0" y="2"/>
                  </a:lnTo>
                  <a:lnTo>
                    <a:pt x="0" y="2"/>
                  </a:lnTo>
                  <a:lnTo>
                    <a:pt x="2" y="2"/>
                  </a:lnTo>
                  <a:lnTo>
                    <a:pt x="2" y="4"/>
                  </a:lnTo>
                  <a:lnTo>
                    <a:pt x="0" y="4"/>
                  </a:lnTo>
                  <a:lnTo>
                    <a:pt x="0" y="4"/>
                  </a:lnTo>
                  <a:lnTo>
                    <a:pt x="0" y="4"/>
                  </a:lnTo>
                  <a:lnTo>
                    <a:pt x="0" y="4"/>
                  </a:lnTo>
                  <a:lnTo>
                    <a:pt x="0" y="4"/>
                  </a:lnTo>
                  <a:lnTo>
                    <a:pt x="2" y="4"/>
                  </a:lnTo>
                  <a:lnTo>
                    <a:pt x="2" y="4"/>
                  </a:lnTo>
                  <a:lnTo>
                    <a:pt x="2" y="4"/>
                  </a:lnTo>
                  <a:lnTo>
                    <a:pt x="2"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3" name="Google Shape;4950;p64">
              <a:extLst>
                <a:ext uri="{FF2B5EF4-FFF2-40B4-BE49-F238E27FC236}">
                  <a16:creationId xmlns:a16="http://schemas.microsoft.com/office/drawing/2014/main" id="{972F3ACF-26A6-D330-008C-4D6979F52213}"/>
                </a:ext>
              </a:extLst>
            </p:cNvPr>
            <p:cNvSpPr/>
            <p:nvPr/>
          </p:nvSpPr>
          <p:spPr>
            <a:xfrm>
              <a:off x="3206430" y="4699359"/>
              <a:ext cx="3281" cy="5251"/>
            </a:xfrm>
            <a:custGeom>
              <a:avLst/>
              <a:gdLst/>
              <a:ahLst/>
              <a:cxnLst/>
              <a:rect l="l" t="t" r="r" b="b"/>
              <a:pathLst>
                <a:path w="10" h="16" extrusionOk="0">
                  <a:moveTo>
                    <a:pt x="8" y="14"/>
                  </a:moveTo>
                  <a:lnTo>
                    <a:pt x="10" y="12"/>
                  </a:lnTo>
                  <a:lnTo>
                    <a:pt x="10" y="6"/>
                  </a:lnTo>
                  <a:lnTo>
                    <a:pt x="10" y="0"/>
                  </a:lnTo>
                  <a:lnTo>
                    <a:pt x="8" y="0"/>
                  </a:lnTo>
                  <a:lnTo>
                    <a:pt x="4" y="2"/>
                  </a:lnTo>
                  <a:lnTo>
                    <a:pt x="2" y="6"/>
                  </a:lnTo>
                  <a:lnTo>
                    <a:pt x="0" y="10"/>
                  </a:lnTo>
                  <a:lnTo>
                    <a:pt x="6" y="16"/>
                  </a:lnTo>
                  <a:lnTo>
                    <a:pt x="8" y="1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84" name="Google Shape;4951;p64">
              <a:extLst>
                <a:ext uri="{FF2B5EF4-FFF2-40B4-BE49-F238E27FC236}">
                  <a16:creationId xmlns:a16="http://schemas.microsoft.com/office/drawing/2014/main" id="{FD53086C-96E4-0495-55AC-421C04B96648}"/>
                </a:ext>
              </a:extLst>
            </p:cNvPr>
            <p:cNvCxnSpPr/>
            <p:nvPr/>
          </p:nvCxnSpPr>
          <p:spPr>
            <a:xfrm>
              <a:off x="3209056" y="4703953"/>
              <a:ext cx="0" cy="0"/>
            </a:xfrm>
            <a:prstGeom prst="straightConnector1">
              <a:avLst/>
            </a:prstGeom>
            <a:grpFill/>
            <a:ln w="9525" cap="flat" cmpd="sng">
              <a:solidFill>
                <a:schemeClr val="bg2"/>
              </a:solidFill>
              <a:prstDash val="solid"/>
              <a:round/>
              <a:headEnd type="none" w="med" len="med"/>
              <a:tailEnd type="none" w="med" len="med"/>
            </a:ln>
          </p:spPr>
        </p:cxnSp>
        <p:cxnSp>
          <p:nvCxnSpPr>
            <p:cNvPr id="485" name="Google Shape;4952;p64">
              <a:extLst>
                <a:ext uri="{FF2B5EF4-FFF2-40B4-BE49-F238E27FC236}">
                  <a16:creationId xmlns:a16="http://schemas.microsoft.com/office/drawing/2014/main" id="{25145B16-C0B5-609E-69D3-CC22D025340B}"/>
                </a:ext>
              </a:extLst>
            </p:cNvPr>
            <p:cNvCxnSpPr/>
            <p:nvPr/>
          </p:nvCxnSpPr>
          <p:spPr>
            <a:xfrm>
              <a:off x="3209056" y="4703953"/>
              <a:ext cx="0" cy="0"/>
            </a:xfrm>
            <a:prstGeom prst="straightConnector1">
              <a:avLst/>
            </a:prstGeom>
            <a:grpFill/>
            <a:ln w="9525" cap="flat" cmpd="sng">
              <a:solidFill>
                <a:schemeClr val="bg2"/>
              </a:solidFill>
              <a:prstDash val="solid"/>
              <a:round/>
              <a:headEnd type="none" w="med" len="med"/>
              <a:tailEnd type="none" w="med" len="med"/>
            </a:ln>
          </p:spPr>
        </p:cxnSp>
        <p:sp>
          <p:nvSpPr>
            <p:cNvPr id="486" name="Google Shape;4953;p64">
              <a:extLst>
                <a:ext uri="{FF2B5EF4-FFF2-40B4-BE49-F238E27FC236}">
                  <a16:creationId xmlns:a16="http://schemas.microsoft.com/office/drawing/2014/main" id="{718B7B10-08A3-14AD-FD92-252EC0D618CE}"/>
                </a:ext>
              </a:extLst>
            </p:cNvPr>
            <p:cNvSpPr/>
            <p:nvPr/>
          </p:nvSpPr>
          <p:spPr>
            <a:xfrm>
              <a:off x="2946530" y="4725611"/>
              <a:ext cx="291403" cy="249400"/>
            </a:xfrm>
            <a:custGeom>
              <a:avLst/>
              <a:gdLst/>
              <a:ahLst/>
              <a:cxnLst/>
              <a:rect l="l" t="t" r="r" b="b"/>
              <a:pathLst>
                <a:path w="2115716" h="1810748" extrusionOk="0">
                  <a:moveTo>
                    <a:pt x="1939408" y="495572"/>
                  </a:moveTo>
                  <a:lnTo>
                    <a:pt x="1944172" y="495572"/>
                  </a:lnTo>
                  <a:lnTo>
                    <a:pt x="1948938" y="495572"/>
                  </a:lnTo>
                  <a:lnTo>
                    <a:pt x="1948938" y="500338"/>
                  </a:lnTo>
                  <a:lnTo>
                    <a:pt x="1953704" y="505104"/>
                  </a:lnTo>
                  <a:lnTo>
                    <a:pt x="1953704" y="514634"/>
                  </a:lnTo>
                  <a:lnTo>
                    <a:pt x="1944172" y="519398"/>
                  </a:lnTo>
                  <a:lnTo>
                    <a:pt x="1934642" y="528928"/>
                  </a:lnTo>
                  <a:lnTo>
                    <a:pt x="1925112" y="528928"/>
                  </a:lnTo>
                  <a:lnTo>
                    <a:pt x="1920348" y="514634"/>
                  </a:lnTo>
                  <a:lnTo>
                    <a:pt x="1925112" y="509868"/>
                  </a:lnTo>
                  <a:close/>
                  <a:moveTo>
                    <a:pt x="1958468" y="471748"/>
                  </a:moveTo>
                  <a:lnTo>
                    <a:pt x="1967998" y="471748"/>
                  </a:lnTo>
                  <a:lnTo>
                    <a:pt x="1972764" y="471748"/>
                  </a:lnTo>
                  <a:lnTo>
                    <a:pt x="1963232" y="476514"/>
                  </a:lnTo>
                  <a:lnTo>
                    <a:pt x="1958468" y="481278"/>
                  </a:lnTo>
                  <a:lnTo>
                    <a:pt x="1944172" y="490808"/>
                  </a:lnTo>
                  <a:lnTo>
                    <a:pt x="1944172" y="486044"/>
                  </a:lnTo>
                  <a:lnTo>
                    <a:pt x="1948938" y="476514"/>
                  </a:lnTo>
                  <a:lnTo>
                    <a:pt x="1958468" y="476514"/>
                  </a:lnTo>
                  <a:close/>
                  <a:moveTo>
                    <a:pt x="1248464" y="190604"/>
                  </a:moveTo>
                  <a:lnTo>
                    <a:pt x="1262760" y="190604"/>
                  </a:lnTo>
                  <a:lnTo>
                    <a:pt x="1272290" y="200136"/>
                  </a:lnTo>
                  <a:lnTo>
                    <a:pt x="1272290" y="204900"/>
                  </a:lnTo>
                  <a:lnTo>
                    <a:pt x="1267524" y="204900"/>
                  </a:lnTo>
                  <a:lnTo>
                    <a:pt x="1248464" y="204900"/>
                  </a:lnTo>
                  <a:lnTo>
                    <a:pt x="1243700" y="200136"/>
                  </a:lnTo>
                  <a:close/>
                  <a:moveTo>
                    <a:pt x="1481954" y="162016"/>
                  </a:moveTo>
                  <a:lnTo>
                    <a:pt x="1486720" y="166780"/>
                  </a:lnTo>
                  <a:lnTo>
                    <a:pt x="1491484" y="185840"/>
                  </a:lnTo>
                  <a:lnTo>
                    <a:pt x="1491484" y="190606"/>
                  </a:lnTo>
                  <a:lnTo>
                    <a:pt x="1477190" y="204900"/>
                  </a:lnTo>
                  <a:lnTo>
                    <a:pt x="1462894" y="204900"/>
                  </a:lnTo>
                  <a:lnTo>
                    <a:pt x="1453364" y="204900"/>
                  </a:lnTo>
                  <a:lnTo>
                    <a:pt x="1448600" y="204900"/>
                  </a:lnTo>
                  <a:lnTo>
                    <a:pt x="1439068" y="195370"/>
                  </a:lnTo>
                  <a:lnTo>
                    <a:pt x="1429538" y="195370"/>
                  </a:lnTo>
                  <a:lnTo>
                    <a:pt x="1405714" y="195370"/>
                  </a:lnTo>
                  <a:lnTo>
                    <a:pt x="1400948" y="190606"/>
                  </a:lnTo>
                  <a:lnTo>
                    <a:pt x="1410478" y="181076"/>
                  </a:lnTo>
                  <a:lnTo>
                    <a:pt x="1424774" y="176310"/>
                  </a:lnTo>
                  <a:lnTo>
                    <a:pt x="1429538" y="176310"/>
                  </a:lnTo>
                  <a:lnTo>
                    <a:pt x="1434304" y="181076"/>
                  </a:lnTo>
                  <a:lnTo>
                    <a:pt x="1443834" y="185840"/>
                  </a:lnTo>
                  <a:lnTo>
                    <a:pt x="1458130" y="185840"/>
                  </a:lnTo>
                  <a:lnTo>
                    <a:pt x="1462894" y="176310"/>
                  </a:lnTo>
                  <a:close/>
                  <a:moveTo>
                    <a:pt x="524164" y="0"/>
                  </a:moveTo>
                  <a:lnTo>
                    <a:pt x="538460" y="9530"/>
                  </a:lnTo>
                  <a:lnTo>
                    <a:pt x="547990" y="19060"/>
                  </a:lnTo>
                  <a:lnTo>
                    <a:pt x="552754" y="28590"/>
                  </a:lnTo>
                  <a:lnTo>
                    <a:pt x="557520" y="57182"/>
                  </a:lnTo>
                  <a:lnTo>
                    <a:pt x="562284" y="81008"/>
                  </a:lnTo>
                  <a:lnTo>
                    <a:pt x="571816" y="100068"/>
                  </a:lnTo>
                  <a:lnTo>
                    <a:pt x="586110" y="109598"/>
                  </a:lnTo>
                  <a:lnTo>
                    <a:pt x="595640" y="109598"/>
                  </a:lnTo>
                  <a:lnTo>
                    <a:pt x="600406" y="109598"/>
                  </a:lnTo>
                  <a:lnTo>
                    <a:pt x="648058" y="104832"/>
                  </a:lnTo>
                  <a:lnTo>
                    <a:pt x="676648" y="114364"/>
                  </a:lnTo>
                  <a:lnTo>
                    <a:pt x="710004" y="119128"/>
                  </a:lnTo>
                  <a:lnTo>
                    <a:pt x="743360" y="138188"/>
                  </a:lnTo>
                  <a:lnTo>
                    <a:pt x="776716" y="162014"/>
                  </a:lnTo>
                  <a:lnTo>
                    <a:pt x="786246" y="181074"/>
                  </a:lnTo>
                  <a:lnTo>
                    <a:pt x="791010" y="195370"/>
                  </a:lnTo>
                  <a:lnTo>
                    <a:pt x="795776" y="204900"/>
                  </a:lnTo>
                  <a:lnTo>
                    <a:pt x="791010" y="219196"/>
                  </a:lnTo>
                  <a:lnTo>
                    <a:pt x="791010" y="238256"/>
                  </a:lnTo>
                  <a:lnTo>
                    <a:pt x="800542" y="257316"/>
                  </a:lnTo>
                  <a:lnTo>
                    <a:pt x="819602" y="266848"/>
                  </a:lnTo>
                  <a:lnTo>
                    <a:pt x="857722" y="271612"/>
                  </a:lnTo>
                  <a:lnTo>
                    <a:pt x="905374" y="262082"/>
                  </a:lnTo>
                  <a:lnTo>
                    <a:pt x="976850" y="257316"/>
                  </a:lnTo>
                  <a:lnTo>
                    <a:pt x="995912" y="252552"/>
                  </a:lnTo>
                  <a:lnTo>
                    <a:pt x="1115040" y="247786"/>
                  </a:lnTo>
                  <a:lnTo>
                    <a:pt x="1134100" y="257316"/>
                  </a:lnTo>
                  <a:lnTo>
                    <a:pt x="1138866" y="266848"/>
                  </a:lnTo>
                  <a:lnTo>
                    <a:pt x="1138866" y="271612"/>
                  </a:lnTo>
                  <a:lnTo>
                    <a:pt x="1172220" y="304968"/>
                  </a:lnTo>
                  <a:lnTo>
                    <a:pt x="1205576" y="309734"/>
                  </a:lnTo>
                  <a:lnTo>
                    <a:pt x="1229402" y="319264"/>
                  </a:lnTo>
                  <a:lnTo>
                    <a:pt x="1257994" y="328794"/>
                  </a:lnTo>
                  <a:lnTo>
                    <a:pt x="1286584" y="333558"/>
                  </a:lnTo>
                  <a:lnTo>
                    <a:pt x="1305644" y="333558"/>
                  </a:lnTo>
                  <a:lnTo>
                    <a:pt x="1315174" y="333558"/>
                  </a:lnTo>
                  <a:lnTo>
                    <a:pt x="1329470" y="333558"/>
                  </a:lnTo>
                  <a:lnTo>
                    <a:pt x="1434304" y="276378"/>
                  </a:lnTo>
                  <a:lnTo>
                    <a:pt x="1491484" y="276378"/>
                  </a:lnTo>
                  <a:lnTo>
                    <a:pt x="1496250" y="271612"/>
                  </a:lnTo>
                  <a:lnTo>
                    <a:pt x="1505780" y="266848"/>
                  </a:lnTo>
                  <a:lnTo>
                    <a:pt x="1486720" y="257316"/>
                  </a:lnTo>
                  <a:lnTo>
                    <a:pt x="1439068" y="257316"/>
                  </a:lnTo>
                  <a:lnTo>
                    <a:pt x="1424772" y="262082"/>
                  </a:lnTo>
                  <a:lnTo>
                    <a:pt x="1415242" y="247786"/>
                  </a:lnTo>
                  <a:lnTo>
                    <a:pt x="1434304" y="247786"/>
                  </a:lnTo>
                  <a:lnTo>
                    <a:pt x="1481954" y="243022"/>
                  </a:lnTo>
                  <a:lnTo>
                    <a:pt x="1543900" y="243022"/>
                  </a:lnTo>
                  <a:lnTo>
                    <a:pt x="1591552" y="233492"/>
                  </a:lnTo>
                  <a:lnTo>
                    <a:pt x="1615378" y="233492"/>
                  </a:lnTo>
                  <a:lnTo>
                    <a:pt x="1629674" y="233492"/>
                  </a:lnTo>
                  <a:lnTo>
                    <a:pt x="1667794" y="228726"/>
                  </a:lnTo>
                  <a:lnTo>
                    <a:pt x="1739272" y="238256"/>
                  </a:lnTo>
                  <a:lnTo>
                    <a:pt x="1796452" y="228726"/>
                  </a:lnTo>
                  <a:lnTo>
                    <a:pt x="1786922" y="238256"/>
                  </a:lnTo>
                  <a:lnTo>
                    <a:pt x="1767862" y="243022"/>
                  </a:lnTo>
                  <a:lnTo>
                    <a:pt x="1739272" y="247786"/>
                  </a:lnTo>
                  <a:lnTo>
                    <a:pt x="1715446" y="262082"/>
                  </a:lnTo>
                  <a:lnTo>
                    <a:pt x="1667794" y="257316"/>
                  </a:lnTo>
                  <a:lnTo>
                    <a:pt x="1634438" y="262082"/>
                  </a:lnTo>
                  <a:lnTo>
                    <a:pt x="1643968" y="266848"/>
                  </a:lnTo>
                  <a:lnTo>
                    <a:pt x="1643968" y="281142"/>
                  </a:lnTo>
                  <a:lnTo>
                    <a:pt x="1648734" y="281142"/>
                  </a:lnTo>
                  <a:lnTo>
                    <a:pt x="1653498" y="281142"/>
                  </a:lnTo>
                  <a:lnTo>
                    <a:pt x="1667794" y="295438"/>
                  </a:lnTo>
                  <a:lnTo>
                    <a:pt x="1667794" y="300202"/>
                  </a:lnTo>
                  <a:lnTo>
                    <a:pt x="1672560" y="314498"/>
                  </a:lnTo>
                  <a:lnTo>
                    <a:pt x="1667794" y="333558"/>
                  </a:lnTo>
                  <a:lnTo>
                    <a:pt x="1658264" y="338324"/>
                  </a:lnTo>
                  <a:lnTo>
                    <a:pt x="1672560" y="333558"/>
                  </a:lnTo>
                  <a:lnTo>
                    <a:pt x="1682090" y="328794"/>
                  </a:lnTo>
                  <a:lnTo>
                    <a:pt x="1682090" y="319264"/>
                  </a:lnTo>
                  <a:lnTo>
                    <a:pt x="1682090" y="309734"/>
                  </a:lnTo>
                  <a:lnTo>
                    <a:pt x="1691620" y="314498"/>
                  </a:lnTo>
                  <a:lnTo>
                    <a:pt x="1696384" y="319264"/>
                  </a:lnTo>
                  <a:lnTo>
                    <a:pt x="1715446" y="362150"/>
                  </a:lnTo>
                  <a:lnTo>
                    <a:pt x="1724976" y="381210"/>
                  </a:lnTo>
                  <a:lnTo>
                    <a:pt x="1729740" y="381210"/>
                  </a:lnTo>
                  <a:lnTo>
                    <a:pt x="1734506" y="381210"/>
                  </a:lnTo>
                  <a:lnTo>
                    <a:pt x="1734506" y="376444"/>
                  </a:lnTo>
                  <a:lnTo>
                    <a:pt x="1739272" y="366914"/>
                  </a:lnTo>
                  <a:lnTo>
                    <a:pt x="1748802" y="371680"/>
                  </a:lnTo>
                  <a:lnTo>
                    <a:pt x="1748802" y="376444"/>
                  </a:lnTo>
                  <a:lnTo>
                    <a:pt x="1753566" y="376444"/>
                  </a:lnTo>
                  <a:lnTo>
                    <a:pt x="1748802" y="366914"/>
                  </a:lnTo>
                  <a:lnTo>
                    <a:pt x="1753566" y="352620"/>
                  </a:lnTo>
                  <a:lnTo>
                    <a:pt x="1753566" y="347854"/>
                  </a:lnTo>
                  <a:lnTo>
                    <a:pt x="1758332" y="347854"/>
                  </a:lnTo>
                  <a:lnTo>
                    <a:pt x="1763096" y="352620"/>
                  </a:lnTo>
                  <a:lnTo>
                    <a:pt x="1772626" y="352620"/>
                  </a:lnTo>
                  <a:lnTo>
                    <a:pt x="1791688" y="366914"/>
                  </a:lnTo>
                  <a:lnTo>
                    <a:pt x="1801218" y="381210"/>
                  </a:lnTo>
                  <a:lnTo>
                    <a:pt x="1801218" y="390740"/>
                  </a:lnTo>
                  <a:lnTo>
                    <a:pt x="1805982" y="395506"/>
                  </a:lnTo>
                  <a:lnTo>
                    <a:pt x="1815512" y="400270"/>
                  </a:lnTo>
                  <a:lnTo>
                    <a:pt x="1815512" y="405036"/>
                  </a:lnTo>
                  <a:lnTo>
                    <a:pt x="1820278" y="395506"/>
                  </a:lnTo>
                  <a:lnTo>
                    <a:pt x="1815512" y="385976"/>
                  </a:lnTo>
                  <a:lnTo>
                    <a:pt x="1810748" y="376444"/>
                  </a:lnTo>
                  <a:lnTo>
                    <a:pt x="1834574" y="376444"/>
                  </a:lnTo>
                  <a:lnTo>
                    <a:pt x="1839338" y="362150"/>
                  </a:lnTo>
                  <a:lnTo>
                    <a:pt x="1853634" y="371680"/>
                  </a:lnTo>
                  <a:lnTo>
                    <a:pt x="1882224" y="405036"/>
                  </a:lnTo>
                  <a:lnTo>
                    <a:pt x="1896520" y="409800"/>
                  </a:lnTo>
                  <a:lnTo>
                    <a:pt x="1929876" y="419332"/>
                  </a:lnTo>
                  <a:lnTo>
                    <a:pt x="1953702" y="433626"/>
                  </a:lnTo>
                  <a:lnTo>
                    <a:pt x="1963232" y="447922"/>
                  </a:lnTo>
                  <a:lnTo>
                    <a:pt x="1958466" y="462218"/>
                  </a:lnTo>
                  <a:lnTo>
                    <a:pt x="1934642" y="471748"/>
                  </a:lnTo>
                  <a:lnTo>
                    <a:pt x="1929876" y="481278"/>
                  </a:lnTo>
                  <a:lnTo>
                    <a:pt x="1925112" y="490808"/>
                  </a:lnTo>
                  <a:lnTo>
                    <a:pt x="1925112" y="500338"/>
                  </a:lnTo>
                  <a:lnTo>
                    <a:pt x="1915580" y="509868"/>
                  </a:lnTo>
                  <a:lnTo>
                    <a:pt x="1915580" y="514634"/>
                  </a:lnTo>
                  <a:lnTo>
                    <a:pt x="1915580" y="528928"/>
                  </a:lnTo>
                  <a:lnTo>
                    <a:pt x="1906050" y="547990"/>
                  </a:lnTo>
                  <a:lnTo>
                    <a:pt x="1891756" y="567050"/>
                  </a:lnTo>
                  <a:lnTo>
                    <a:pt x="1834574" y="567050"/>
                  </a:lnTo>
                  <a:lnTo>
                    <a:pt x="1848868" y="576580"/>
                  </a:lnTo>
                  <a:lnTo>
                    <a:pt x="1863164" y="581346"/>
                  </a:lnTo>
                  <a:lnTo>
                    <a:pt x="1886990" y="600406"/>
                  </a:lnTo>
                  <a:lnTo>
                    <a:pt x="1901286" y="586110"/>
                  </a:lnTo>
                  <a:lnTo>
                    <a:pt x="1925112" y="586110"/>
                  </a:lnTo>
                  <a:lnTo>
                    <a:pt x="1953702" y="571816"/>
                  </a:lnTo>
                  <a:lnTo>
                    <a:pt x="1963232" y="571816"/>
                  </a:lnTo>
                  <a:lnTo>
                    <a:pt x="2015648" y="576580"/>
                  </a:lnTo>
                  <a:lnTo>
                    <a:pt x="2025178" y="567050"/>
                  </a:lnTo>
                  <a:lnTo>
                    <a:pt x="2034708" y="562284"/>
                  </a:lnTo>
                  <a:lnTo>
                    <a:pt x="2063300" y="567050"/>
                  </a:lnTo>
                  <a:lnTo>
                    <a:pt x="2087126" y="576580"/>
                  </a:lnTo>
                  <a:lnTo>
                    <a:pt x="2115716" y="614702"/>
                  </a:lnTo>
                  <a:lnTo>
                    <a:pt x="2115716" y="619466"/>
                  </a:lnTo>
                  <a:lnTo>
                    <a:pt x="2110950" y="624232"/>
                  </a:lnTo>
                  <a:lnTo>
                    <a:pt x="2091890" y="633762"/>
                  </a:lnTo>
                  <a:lnTo>
                    <a:pt x="2091890" y="638526"/>
                  </a:lnTo>
                  <a:lnTo>
                    <a:pt x="2082360" y="652822"/>
                  </a:lnTo>
                  <a:lnTo>
                    <a:pt x="2063300" y="662352"/>
                  </a:lnTo>
                  <a:lnTo>
                    <a:pt x="2044240" y="676648"/>
                  </a:lnTo>
                  <a:lnTo>
                    <a:pt x="2034708" y="686178"/>
                  </a:lnTo>
                  <a:lnTo>
                    <a:pt x="2029944" y="690944"/>
                  </a:lnTo>
                  <a:lnTo>
                    <a:pt x="2010884" y="690944"/>
                  </a:lnTo>
                  <a:lnTo>
                    <a:pt x="2001352" y="700474"/>
                  </a:lnTo>
                  <a:lnTo>
                    <a:pt x="1991822" y="719534"/>
                  </a:lnTo>
                  <a:lnTo>
                    <a:pt x="1987058" y="729064"/>
                  </a:lnTo>
                  <a:lnTo>
                    <a:pt x="1977528" y="733830"/>
                  </a:lnTo>
                  <a:lnTo>
                    <a:pt x="1977528" y="743360"/>
                  </a:lnTo>
                  <a:lnTo>
                    <a:pt x="1991822" y="762420"/>
                  </a:lnTo>
                  <a:lnTo>
                    <a:pt x="1991822" y="771950"/>
                  </a:lnTo>
                  <a:lnTo>
                    <a:pt x="1987058" y="781480"/>
                  </a:lnTo>
                  <a:lnTo>
                    <a:pt x="1991822" y="786246"/>
                  </a:lnTo>
                  <a:lnTo>
                    <a:pt x="1996588" y="795776"/>
                  </a:lnTo>
                  <a:lnTo>
                    <a:pt x="2006118" y="795776"/>
                  </a:lnTo>
                  <a:lnTo>
                    <a:pt x="2015648" y="795776"/>
                  </a:lnTo>
                  <a:lnTo>
                    <a:pt x="2025178" y="795776"/>
                  </a:lnTo>
                  <a:lnTo>
                    <a:pt x="2034708" y="795776"/>
                  </a:lnTo>
                  <a:lnTo>
                    <a:pt x="2039474" y="800542"/>
                  </a:lnTo>
                  <a:lnTo>
                    <a:pt x="2039474" y="805306"/>
                  </a:lnTo>
                  <a:lnTo>
                    <a:pt x="2034708" y="819602"/>
                  </a:lnTo>
                  <a:lnTo>
                    <a:pt x="2025178" y="829132"/>
                  </a:lnTo>
                  <a:lnTo>
                    <a:pt x="1996588" y="843428"/>
                  </a:lnTo>
                  <a:lnTo>
                    <a:pt x="1982292" y="852958"/>
                  </a:lnTo>
                  <a:lnTo>
                    <a:pt x="1977528" y="857722"/>
                  </a:lnTo>
                  <a:lnTo>
                    <a:pt x="1958466" y="852958"/>
                  </a:lnTo>
                  <a:lnTo>
                    <a:pt x="1953702" y="852958"/>
                  </a:lnTo>
                  <a:lnTo>
                    <a:pt x="1944172" y="857722"/>
                  </a:lnTo>
                  <a:lnTo>
                    <a:pt x="1944172" y="862488"/>
                  </a:lnTo>
                  <a:lnTo>
                    <a:pt x="1929876" y="862488"/>
                  </a:lnTo>
                  <a:lnTo>
                    <a:pt x="1915580" y="867252"/>
                  </a:lnTo>
                  <a:lnTo>
                    <a:pt x="1910816" y="867252"/>
                  </a:lnTo>
                  <a:lnTo>
                    <a:pt x="1906050" y="876784"/>
                  </a:lnTo>
                  <a:lnTo>
                    <a:pt x="1901286" y="886314"/>
                  </a:lnTo>
                  <a:lnTo>
                    <a:pt x="1906050" y="895844"/>
                  </a:lnTo>
                  <a:lnTo>
                    <a:pt x="1910816" y="905374"/>
                  </a:lnTo>
                  <a:lnTo>
                    <a:pt x="1910816" y="919670"/>
                  </a:lnTo>
                  <a:lnTo>
                    <a:pt x="1910816" y="943496"/>
                  </a:lnTo>
                  <a:lnTo>
                    <a:pt x="1906050" y="948260"/>
                  </a:lnTo>
                  <a:lnTo>
                    <a:pt x="1896520" y="957790"/>
                  </a:lnTo>
                  <a:lnTo>
                    <a:pt x="1886990" y="972086"/>
                  </a:lnTo>
                  <a:lnTo>
                    <a:pt x="1872694" y="986382"/>
                  </a:lnTo>
                  <a:lnTo>
                    <a:pt x="1872694" y="991146"/>
                  </a:lnTo>
                  <a:lnTo>
                    <a:pt x="1939406" y="1067388"/>
                  </a:lnTo>
                  <a:lnTo>
                    <a:pt x="1972762" y="1105510"/>
                  </a:lnTo>
                  <a:lnTo>
                    <a:pt x="1977528" y="1105510"/>
                  </a:lnTo>
                  <a:lnTo>
                    <a:pt x="1982292" y="1110274"/>
                  </a:lnTo>
                  <a:lnTo>
                    <a:pt x="1991822" y="1119804"/>
                  </a:lnTo>
                  <a:lnTo>
                    <a:pt x="1991822" y="1134100"/>
                  </a:lnTo>
                  <a:lnTo>
                    <a:pt x="1996588" y="1143630"/>
                  </a:lnTo>
                  <a:lnTo>
                    <a:pt x="1991822" y="1153160"/>
                  </a:lnTo>
                  <a:lnTo>
                    <a:pt x="1982292" y="1162690"/>
                  </a:lnTo>
                  <a:lnTo>
                    <a:pt x="1972762" y="1172222"/>
                  </a:lnTo>
                  <a:lnTo>
                    <a:pt x="1958466" y="1176986"/>
                  </a:lnTo>
                  <a:lnTo>
                    <a:pt x="1948936" y="1181752"/>
                  </a:lnTo>
                  <a:lnTo>
                    <a:pt x="1939406" y="1200812"/>
                  </a:lnTo>
                  <a:lnTo>
                    <a:pt x="1929876" y="1205576"/>
                  </a:lnTo>
                  <a:lnTo>
                    <a:pt x="1925112" y="1210342"/>
                  </a:lnTo>
                  <a:lnTo>
                    <a:pt x="1915580" y="1215108"/>
                  </a:lnTo>
                  <a:lnTo>
                    <a:pt x="1901286" y="1210342"/>
                  </a:lnTo>
                  <a:lnTo>
                    <a:pt x="1886990" y="1210342"/>
                  </a:lnTo>
                  <a:lnTo>
                    <a:pt x="1872694" y="1224638"/>
                  </a:lnTo>
                  <a:lnTo>
                    <a:pt x="1858400" y="1229402"/>
                  </a:lnTo>
                  <a:lnTo>
                    <a:pt x="1844104" y="1248464"/>
                  </a:lnTo>
                  <a:lnTo>
                    <a:pt x="1805982" y="1262758"/>
                  </a:lnTo>
                  <a:lnTo>
                    <a:pt x="1763096" y="1272288"/>
                  </a:lnTo>
                  <a:lnTo>
                    <a:pt x="1753566" y="1277054"/>
                  </a:lnTo>
                  <a:lnTo>
                    <a:pt x="1710680" y="1267524"/>
                  </a:lnTo>
                  <a:lnTo>
                    <a:pt x="1701150" y="1272288"/>
                  </a:lnTo>
                  <a:lnTo>
                    <a:pt x="1691620" y="1277054"/>
                  </a:lnTo>
                  <a:lnTo>
                    <a:pt x="1682090" y="1286584"/>
                  </a:lnTo>
                  <a:lnTo>
                    <a:pt x="1672560" y="1286584"/>
                  </a:lnTo>
                  <a:lnTo>
                    <a:pt x="1663028" y="1291350"/>
                  </a:lnTo>
                  <a:lnTo>
                    <a:pt x="1663028" y="1300880"/>
                  </a:lnTo>
                  <a:lnTo>
                    <a:pt x="1658264" y="1343766"/>
                  </a:lnTo>
                  <a:lnTo>
                    <a:pt x="1643968" y="1353296"/>
                  </a:lnTo>
                  <a:lnTo>
                    <a:pt x="1624908" y="1353296"/>
                  </a:lnTo>
                  <a:lnTo>
                    <a:pt x="1615378" y="1339000"/>
                  </a:lnTo>
                  <a:lnTo>
                    <a:pt x="1601082" y="1329470"/>
                  </a:lnTo>
                  <a:lnTo>
                    <a:pt x="1572492" y="1305644"/>
                  </a:lnTo>
                  <a:lnTo>
                    <a:pt x="1567726" y="1300880"/>
                  </a:lnTo>
                  <a:lnTo>
                    <a:pt x="1562962" y="1300880"/>
                  </a:lnTo>
                  <a:lnTo>
                    <a:pt x="1539136" y="1305644"/>
                  </a:lnTo>
                  <a:lnTo>
                    <a:pt x="1524840" y="1305644"/>
                  </a:lnTo>
                  <a:lnTo>
                    <a:pt x="1520076" y="1300880"/>
                  </a:lnTo>
                  <a:lnTo>
                    <a:pt x="1501014" y="1300880"/>
                  </a:lnTo>
                  <a:lnTo>
                    <a:pt x="1462894" y="1300880"/>
                  </a:lnTo>
                  <a:lnTo>
                    <a:pt x="1453364" y="1296114"/>
                  </a:lnTo>
                  <a:lnTo>
                    <a:pt x="1443834" y="1281820"/>
                  </a:lnTo>
                  <a:lnTo>
                    <a:pt x="1439068" y="1277054"/>
                  </a:lnTo>
                  <a:lnTo>
                    <a:pt x="1434304" y="1272288"/>
                  </a:lnTo>
                  <a:lnTo>
                    <a:pt x="1424772" y="1267524"/>
                  </a:lnTo>
                  <a:lnTo>
                    <a:pt x="1381886" y="1272288"/>
                  </a:lnTo>
                  <a:lnTo>
                    <a:pt x="1372356" y="1272288"/>
                  </a:lnTo>
                  <a:lnTo>
                    <a:pt x="1367592" y="1267524"/>
                  </a:lnTo>
                  <a:lnTo>
                    <a:pt x="1358060" y="1253228"/>
                  </a:lnTo>
                  <a:lnTo>
                    <a:pt x="1353296" y="1248464"/>
                  </a:lnTo>
                  <a:lnTo>
                    <a:pt x="1339000" y="1248464"/>
                  </a:lnTo>
                  <a:lnTo>
                    <a:pt x="1334236" y="1253228"/>
                  </a:lnTo>
                  <a:lnTo>
                    <a:pt x="1353296" y="1277054"/>
                  </a:lnTo>
                  <a:lnTo>
                    <a:pt x="1358060" y="1291350"/>
                  </a:lnTo>
                  <a:lnTo>
                    <a:pt x="1377122" y="1305644"/>
                  </a:lnTo>
                  <a:lnTo>
                    <a:pt x="1420008" y="1343766"/>
                  </a:lnTo>
                  <a:lnTo>
                    <a:pt x="1429538" y="1358060"/>
                  </a:lnTo>
                  <a:lnTo>
                    <a:pt x="1429538" y="1372356"/>
                  </a:lnTo>
                  <a:lnTo>
                    <a:pt x="1429538" y="1396182"/>
                  </a:lnTo>
                  <a:lnTo>
                    <a:pt x="1429538" y="1415242"/>
                  </a:lnTo>
                  <a:lnTo>
                    <a:pt x="1443834" y="1448598"/>
                  </a:lnTo>
                  <a:lnTo>
                    <a:pt x="1458128" y="1477190"/>
                  </a:lnTo>
                  <a:lnTo>
                    <a:pt x="1462894" y="1501014"/>
                  </a:lnTo>
                  <a:lnTo>
                    <a:pt x="1458128" y="1515310"/>
                  </a:lnTo>
                  <a:lnTo>
                    <a:pt x="1458128" y="1524840"/>
                  </a:lnTo>
                  <a:lnTo>
                    <a:pt x="1458128" y="1529606"/>
                  </a:lnTo>
                  <a:lnTo>
                    <a:pt x="1477190" y="1534370"/>
                  </a:lnTo>
                  <a:lnTo>
                    <a:pt x="1510544" y="1534370"/>
                  </a:lnTo>
                  <a:lnTo>
                    <a:pt x="1529606" y="1534370"/>
                  </a:lnTo>
                  <a:lnTo>
                    <a:pt x="1558196" y="1539136"/>
                  </a:lnTo>
                  <a:lnTo>
                    <a:pt x="1562962" y="1553432"/>
                  </a:lnTo>
                  <a:lnTo>
                    <a:pt x="1558196" y="1567726"/>
                  </a:lnTo>
                  <a:lnTo>
                    <a:pt x="1553432" y="1582022"/>
                  </a:lnTo>
                  <a:lnTo>
                    <a:pt x="1548666" y="1582022"/>
                  </a:lnTo>
                  <a:lnTo>
                    <a:pt x="1529606" y="1586788"/>
                  </a:lnTo>
                  <a:lnTo>
                    <a:pt x="1515310" y="1596318"/>
                  </a:lnTo>
                  <a:lnTo>
                    <a:pt x="1486720" y="1605848"/>
                  </a:lnTo>
                  <a:lnTo>
                    <a:pt x="1472424" y="1610612"/>
                  </a:lnTo>
                  <a:lnTo>
                    <a:pt x="1467658" y="1610612"/>
                  </a:lnTo>
                  <a:lnTo>
                    <a:pt x="1462894" y="1615378"/>
                  </a:lnTo>
                  <a:lnTo>
                    <a:pt x="1458128" y="1620144"/>
                  </a:lnTo>
                  <a:lnTo>
                    <a:pt x="1453364" y="1639204"/>
                  </a:lnTo>
                  <a:lnTo>
                    <a:pt x="1443834" y="1663030"/>
                  </a:lnTo>
                  <a:lnTo>
                    <a:pt x="1429538" y="1677324"/>
                  </a:lnTo>
                  <a:lnTo>
                    <a:pt x="1415242" y="1691620"/>
                  </a:lnTo>
                  <a:lnTo>
                    <a:pt x="1400948" y="1691620"/>
                  </a:lnTo>
                  <a:lnTo>
                    <a:pt x="1386652" y="1691620"/>
                  </a:lnTo>
                  <a:lnTo>
                    <a:pt x="1381886" y="1691620"/>
                  </a:lnTo>
                  <a:lnTo>
                    <a:pt x="1372356" y="1701150"/>
                  </a:lnTo>
                  <a:lnTo>
                    <a:pt x="1358060" y="1715446"/>
                  </a:lnTo>
                  <a:lnTo>
                    <a:pt x="1348530" y="1720210"/>
                  </a:lnTo>
                  <a:lnTo>
                    <a:pt x="1334236" y="1720210"/>
                  </a:lnTo>
                  <a:lnTo>
                    <a:pt x="1319940" y="1724976"/>
                  </a:lnTo>
                  <a:lnTo>
                    <a:pt x="1305644" y="1734506"/>
                  </a:lnTo>
                  <a:lnTo>
                    <a:pt x="1291350" y="1744036"/>
                  </a:lnTo>
                  <a:lnTo>
                    <a:pt x="1281818" y="1758332"/>
                  </a:lnTo>
                  <a:lnTo>
                    <a:pt x="1267524" y="1772628"/>
                  </a:lnTo>
                  <a:lnTo>
                    <a:pt x="1253228" y="1782158"/>
                  </a:lnTo>
                  <a:lnTo>
                    <a:pt x="1243698" y="1791688"/>
                  </a:lnTo>
                  <a:lnTo>
                    <a:pt x="1234168" y="1810748"/>
                  </a:lnTo>
                  <a:lnTo>
                    <a:pt x="1219872" y="1810748"/>
                  </a:lnTo>
                  <a:lnTo>
                    <a:pt x="1219872" y="1801218"/>
                  </a:lnTo>
                  <a:lnTo>
                    <a:pt x="1224638" y="1786922"/>
                  </a:lnTo>
                  <a:lnTo>
                    <a:pt x="1219872" y="1772628"/>
                  </a:lnTo>
                  <a:lnTo>
                    <a:pt x="1205576" y="1763096"/>
                  </a:lnTo>
                  <a:lnTo>
                    <a:pt x="1200812" y="1763096"/>
                  </a:lnTo>
                  <a:lnTo>
                    <a:pt x="1196046" y="1763096"/>
                  </a:lnTo>
                  <a:lnTo>
                    <a:pt x="1181752" y="1772628"/>
                  </a:lnTo>
                  <a:lnTo>
                    <a:pt x="1162690" y="1782158"/>
                  </a:lnTo>
                  <a:lnTo>
                    <a:pt x="1153160" y="1791688"/>
                  </a:lnTo>
                  <a:lnTo>
                    <a:pt x="1143630" y="1791688"/>
                  </a:lnTo>
                  <a:lnTo>
                    <a:pt x="1119804" y="1796452"/>
                  </a:lnTo>
                  <a:lnTo>
                    <a:pt x="1105510" y="1801218"/>
                  </a:lnTo>
                  <a:lnTo>
                    <a:pt x="1095980" y="1796452"/>
                  </a:lnTo>
                  <a:lnTo>
                    <a:pt x="1086448" y="1786922"/>
                  </a:lnTo>
                  <a:lnTo>
                    <a:pt x="1053092" y="1763096"/>
                  </a:lnTo>
                  <a:lnTo>
                    <a:pt x="1014972" y="1724976"/>
                  </a:lnTo>
                  <a:lnTo>
                    <a:pt x="1010206" y="1715446"/>
                  </a:lnTo>
                  <a:lnTo>
                    <a:pt x="1014972" y="1705916"/>
                  </a:lnTo>
                  <a:lnTo>
                    <a:pt x="1005442" y="1686854"/>
                  </a:lnTo>
                  <a:lnTo>
                    <a:pt x="1000676" y="1672560"/>
                  </a:lnTo>
                  <a:lnTo>
                    <a:pt x="995912" y="1667794"/>
                  </a:lnTo>
                  <a:lnTo>
                    <a:pt x="995912" y="1653498"/>
                  </a:lnTo>
                  <a:lnTo>
                    <a:pt x="986382" y="1629674"/>
                  </a:lnTo>
                  <a:lnTo>
                    <a:pt x="981616" y="1615378"/>
                  </a:lnTo>
                  <a:lnTo>
                    <a:pt x="976850" y="1605848"/>
                  </a:lnTo>
                  <a:lnTo>
                    <a:pt x="976850" y="1596318"/>
                  </a:lnTo>
                  <a:lnTo>
                    <a:pt x="976850" y="1586788"/>
                  </a:lnTo>
                  <a:lnTo>
                    <a:pt x="967320" y="1582022"/>
                  </a:lnTo>
                  <a:lnTo>
                    <a:pt x="962556" y="1562962"/>
                  </a:lnTo>
                  <a:lnTo>
                    <a:pt x="962556" y="1553432"/>
                  </a:lnTo>
                  <a:lnTo>
                    <a:pt x="962556" y="1543900"/>
                  </a:lnTo>
                  <a:lnTo>
                    <a:pt x="957790" y="1539136"/>
                  </a:lnTo>
                  <a:lnTo>
                    <a:pt x="948260" y="1529606"/>
                  </a:lnTo>
                  <a:lnTo>
                    <a:pt x="933964" y="1515310"/>
                  </a:lnTo>
                  <a:lnTo>
                    <a:pt x="919670" y="1505780"/>
                  </a:lnTo>
                  <a:lnTo>
                    <a:pt x="910140" y="1496250"/>
                  </a:lnTo>
                  <a:lnTo>
                    <a:pt x="905374" y="1496250"/>
                  </a:lnTo>
                  <a:lnTo>
                    <a:pt x="900608" y="1486720"/>
                  </a:lnTo>
                  <a:lnTo>
                    <a:pt x="900608" y="1481954"/>
                  </a:lnTo>
                  <a:lnTo>
                    <a:pt x="891078" y="1477190"/>
                  </a:lnTo>
                  <a:lnTo>
                    <a:pt x="876784" y="1472424"/>
                  </a:lnTo>
                  <a:lnTo>
                    <a:pt x="862488" y="1481954"/>
                  </a:lnTo>
                  <a:lnTo>
                    <a:pt x="862488" y="1472424"/>
                  </a:lnTo>
                  <a:lnTo>
                    <a:pt x="867252" y="1462894"/>
                  </a:lnTo>
                  <a:lnTo>
                    <a:pt x="914904" y="1420008"/>
                  </a:lnTo>
                  <a:lnTo>
                    <a:pt x="938730" y="1396182"/>
                  </a:lnTo>
                  <a:lnTo>
                    <a:pt x="943496" y="1396182"/>
                  </a:lnTo>
                  <a:lnTo>
                    <a:pt x="943496" y="1391416"/>
                  </a:lnTo>
                  <a:lnTo>
                    <a:pt x="948260" y="1381886"/>
                  </a:lnTo>
                  <a:lnTo>
                    <a:pt x="938730" y="1377122"/>
                  </a:lnTo>
                  <a:lnTo>
                    <a:pt x="919670" y="1339000"/>
                  </a:lnTo>
                  <a:lnTo>
                    <a:pt x="910140" y="1334236"/>
                  </a:lnTo>
                  <a:lnTo>
                    <a:pt x="900608" y="1329470"/>
                  </a:lnTo>
                  <a:lnTo>
                    <a:pt x="891078" y="1315174"/>
                  </a:lnTo>
                  <a:lnTo>
                    <a:pt x="881548" y="1277054"/>
                  </a:lnTo>
                  <a:lnTo>
                    <a:pt x="872018" y="1262758"/>
                  </a:lnTo>
                  <a:lnTo>
                    <a:pt x="872018" y="1248464"/>
                  </a:lnTo>
                  <a:lnTo>
                    <a:pt x="872018" y="1234168"/>
                  </a:lnTo>
                  <a:lnTo>
                    <a:pt x="867252" y="1219872"/>
                  </a:lnTo>
                  <a:lnTo>
                    <a:pt x="862488" y="1210342"/>
                  </a:lnTo>
                  <a:lnTo>
                    <a:pt x="862488" y="1186516"/>
                  </a:lnTo>
                  <a:lnTo>
                    <a:pt x="867252" y="1143630"/>
                  </a:lnTo>
                  <a:lnTo>
                    <a:pt x="872018" y="1115040"/>
                  </a:lnTo>
                  <a:lnTo>
                    <a:pt x="867252" y="1091214"/>
                  </a:lnTo>
                  <a:lnTo>
                    <a:pt x="872018" y="1076918"/>
                  </a:lnTo>
                  <a:lnTo>
                    <a:pt x="886314" y="1062624"/>
                  </a:lnTo>
                  <a:lnTo>
                    <a:pt x="895844" y="1048328"/>
                  </a:lnTo>
                  <a:lnTo>
                    <a:pt x="895844" y="1024502"/>
                  </a:lnTo>
                  <a:lnTo>
                    <a:pt x="905374" y="1005442"/>
                  </a:lnTo>
                  <a:lnTo>
                    <a:pt x="919670" y="991146"/>
                  </a:lnTo>
                  <a:lnTo>
                    <a:pt x="929200" y="972086"/>
                  </a:lnTo>
                  <a:lnTo>
                    <a:pt x="919670" y="957790"/>
                  </a:lnTo>
                  <a:lnTo>
                    <a:pt x="919670" y="948260"/>
                  </a:lnTo>
                  <a:lnTo>
                    <a:pt x="905374" y="938730"/>
                  </a:lnTo>
                  <a:lnTo>
                    <a:pt x="881548" y="933964"/>
                  </a:lnTo>
                  <a:lnTo>
                    <a:pt x="862488" y="933964"/>
                  </a:lnTo>
                  <a:lnTo>
                    <a:pt x="848192" y="938730"/>
                  </a:lnTo>
                  <a:lnTo>
                    <a:pt x="814836" y="948260"/>
                  </a:lnTo>
                  <a:lnTo>
                    <a:pt x="767186" y="953026"/>
                  </a:lnTo>
                  <a:lnTo>
                    <a:pt x="724300" y="953026"/>
                  </a:lnTo>
                  <a:lnTo>
                    <a:pt x="690944" y="948260"/>
                  </a:lnTo>
                  <a:lnTo>
                    <a:pt x="667118" y="948260"/>
                  </a:lnTo>
                  <a:lnTo>
                    <a:pt x="652822" y="957790"/>
                  </a:lnTo>
                  <a:lnTo>
                    <a:pt x="643292" y="962556"/>
                  </a:lnTo>
                  <a:lnTo>
                    <a:pt x="633762" y="957790"/>
                  </a:lnTo>
                  <a:lnTo>
                    <a:pt x="628996" y="953026"/>
                  </a:lnTo>
                  <a:lnTo>
                    <a:pt x="614702" y="957790"/>
                  </a:lnTo>
                  <a:lnTo>
                    <a:pt x="590876" y="929200"/>
                  </a:lnTo>
                  <a:lnTo>
                    <a:pt x="567050" y="900608"/>
                  </a:lnTo>
                  <a:lnTo>
                    <a:pt x="543224" y="867252"/>
                  </a:lnTo>
                  <a:lnTo>
                    <a:pt x="514634" y="829132"/>
                  </a:lnTo>
                  <a:lnTo>
                    <a:pt x="505104" y="829132"/>
                  </a:lnTo>
                  <a:lnTo>
                    <a:pt x="495574" y="829132"/>
                  </a:lnTo>
                  <a:lnTo>
                    <a:pt x="486042" y="829132"/>
                  </a:lnTo>
                  <a:lnTo>
                    <a:pt x="466982" y="824366"/>
                  </a:lnTo>
                  <a:lnTo>
                    <a:pt x="452686" y="819602"/>
                  </a:lnTo>
                  <a:lnTo>
                    <a:pt x="443156" y="814836"/>
                  </a:lnTo>
                  <a:lnTo>
                    <a:pt x="424096" y="810072"/>
                  </a:lnTo>
                  <a:lnTo>
                    <a:pt x="409800" y="805306"/>
                  </a:lnTo>
                  <a:lnTo>
                    <a:pt x="400270" y="810072"/>
                  </a:lnTo>
                  <a:lnTo>
                    <a:pt x="366914" y="819602"/>
                  </a:lnTo>
                  <a:lnTo>
                    <a:pt x="352620" y="824366"/>
                  </a:lnTo>
                  <a:lnTo>
                    <a:pt x="338324" y="824366"/>
                  </a:lnTo>
                  <a:lnTo>
                    <a:pt x="300202" y="814836"/>
                  </a:lnTo>
                  <a:lnTo>
                    <a:pt x="271612" y="814836"/>
                  </a:lnTo>
                  <a:lnTo>
                    <a:pt x="243022" y="819602"/>
                  </a:lnTo>
                  <a:lnTo>
                    <a:pt x="233492" y="824366"/>
                  </a:lnTo>
                  <a:lnTo>
                    <a:pt x="214430" y="814836"/>
                  </a:lnTo>
                  <a:lnTo>
                    <a:pt x="200136" y="805306"/>
                  </a:lnTo>
                  <a:lnTo>
                    <a:pt x="190606" y="781480"/>
                  </a:lnTo>
                  <a:lnTo>
                    <a:pt x="181074" y="762420"/>
                  </a:lnTo>
                  <a:lnTo>
                    <a:pt x="166780" y="757656"/>
                  </a:lnTo>
                  <a:lnTo>
                    <a:pt x="152484" y="752890"/>
                  </a:lnTo>
                  <a:lnTo>
                    <a:pt x="147718" y="748124"/>
                  </a:lnTo>
                  <a:lnTo>
                    <a:pt x="138188" y="738594"/>
                  </a:lnTo>
                  <a:lnTo>
                    <a:pt x="138188" y="724300"/>
                  </a:lnTo>
                  <a:lnTo>
                    <a:pt x="142954" y="700474"/>
                  </a:lnTo>
                  <a:lnTo>
                    <a:pt x="142954" y="690944"/>
                  </a:lnTo>
                  <a:lnTo>
                    <a:pt x="142954" y="667118"/>
                  </a:lnTo>
                  <a:lnTo>
                    <a:pt x="152484" y="657588"/>
                  </a:lnTo>
                  <a:lnTo>
                    <a:pt x="157250" y="648058"/>
                  </a:lnTo>
                  <a:lnTo>
                    <a:pt x="157250" y="638526"/>
                  </a:lnTo>
                  <a:lnTo>
                    <a:pt x="152484" y="619466"/>
                  </a:lnTo>
                  <a:lnTo>
                    <a:pt x="147718" y="605172"/>
                  </a:lnTo>
                  <a:lnTo>
                    <a:pt x="109598" y="562284"/>
                  </a:lnTo>
                  <a:lnTo>
                    <a:pt x="100068" y="528928"/>
                  </a:lnTo>
                  <a:lnTo>
                    <a:pt x="90538" y="486042"/>
                  </a:lnTo>
                  <a:lnTo>
                    <a:pt x="81008" y="481278"/>
                  </a:lnTo>
                  <a:lnTo>
                    <a:pt x="71476" y="486042"/>
                  </a:lnTo>
                  <a:lnTo>
                    <a:pt x="66712" y="481278"/>
                  </a:lnTo>
                  <a:lnTo>
                    <a:pt x="57182" y="466982"/>
                  </a:lnTo>
                  <a:lnTo>
                    <a:pt x="47652" y="462218"/>
                  </a:lnTo>
                  <a:lnTo>
                    <a:pt x="38122" y="471748"/>
                  </a:lnTo>
                  <a:lnTo>
                    <a:pt x="28590" y="476512"/>
                  </a:lnTo>
                  <a:lnTo>
                    <a:pt x="4766" y="476512"/>
                  </a:lnTo>
                  <a:lnTo>
                    <a:pt x="0" y="476512"/>
                  </a:lnTo>
                  <a:lnTo>
                    <a:pt x="0" y="471748"/>
                  </a:lnTo>
                  <a:lnTo>
                    <a:pt x="14296" y="452688"/>
                  </a:lnTo>
                  <a:lnTo>
                    <a:pt x="23826" y="433626"/>
                  </a:lnTo>
                  <a:lnTo>
                    <a:pt x="38122" y="419332"/>
                  </a:lnTo>
                  <a:lnTo>
                    <a:pt x="47652" y="400270"/>
                  </a:lnTo>
                  <a:lnTo>
                    <a:pt x="57182" y="381210"/>
                  </a:lnTo>
                  <a:lnTo>
                    <a:pt x="61946" y="343090"/>
                  </a:lnTo>
                  <a:lnTo>
                    <a:pt x="66712" y="314498"/>
                  </a:lnTo>
                  <a:lnTo>
                    <a:pt x="76242" y="266848"/>
                  </a:lnTo>
                  <a:lnTo>
                    <a:pt x="100068" y="228726"/>
                  </a:lnTo>
                  <a:lnTo>
                    <a:pt x="104832" y="214430"/>
                  </a:lnTo>
                  <a:lnTo>
                    <a:pt x="123894" y="190606"/>
                  </a:lnTo>
                  <a:lnTo>
                    <a:pt x="133424" y="181074"/>
                  </a:lnTo>
                  <a:lnTo>
                    <a:pt x="142954" y="171544"/>
                  </a:lnTo>
                  <a:lnTo>
                    <a:pt x="176310" y="157250"/>
                  </a:lnTo>
                  <a:lnTo>
                    <a:pt x="214430" y="90538"/>
                  </a:lnTo>
                  <a:lnTo>
                    <a:pt x="219196" y="81008"/>
                  </a:lnTo>
                  <a:lnTo>
                    <a:pt x="257316" y="71476"/>
                  </a:lnTo>
                  <a:lnTo>
                    <a:pt x="285908" y="66712"/>
                  </a:lnTo>
                  <a:lnTo>
                    <a:pt x="309734" y="57182"/>
                  </a:lnTo>
                  <a:lnTo>
                    <a:pt x="314498" y="52416"/>
                  </a:lnTo>
                  <a:lnTo>
                    <a:pt x="319264" y="52416"/>
                  </a:lnTo>
                  <a:lnTo>
                    <a:pt x="314498" y="57182"/>
                  </a:lnTo>
                  <a:lnTo>
                    <a:pt x="304968" y="66712"/>
                  </a:lnTo>
                  <a:lnTo>
                    <a:pt x="295438" y="71476"/>
                  </a:lnTo>
                  <a:lnTo>
                    <a:pt x="233492" y="85772"/>
                  </a:lnTo>
                  <a:lnTo>
                    <a:pt x="228726" y="90538"/>
                  </a:lnTo>
                  <a:lnTo>
                    <a:pt x="219196" y="95302"/>
                  </a:lnTo>
                  <a:lnTo>
                    <a:pt x="219196" y="109598"/>
                  </a:lnTo>
                  <a:lnTo>
                    <a:pt x="223960" y="123894"/>
                  </a:lnTo>
                  <a:lnTo>
                    <a:pt x="238256" y="157250"/>
                  </a:lnTo>
                  <a:lnTo>
                    <a:pt x="247786" y="166780"/>
                  </a:lnTo>
                  <a:lnTo>
                    <a:pt x="271612" y="185840"/>
                  </a:lnTo>
                  <a:lnTo>
                    <a:pt x="266848" y="190606"/>
                  </a:lnTo>
                  <a:lnTo>
                    <a:pt x="257316" y="190606"/>
                  </a:lnTo>
                  <a:lnTo>
                    <a:pt x="262082" y="214430"/>
                  </a:lnTo>
                  <a:lnTo>
                    <a:pt x="276378" y="233492"/>
                  </a:lnTo>
                  <a:lnTo>
                    <a:pt x="276378" y="243022"/>
                  </a:lnTo>
                  <a:lnTo>
                    <a:pt x="266848" y="276378"/>
                  </a:lnTo>
                  <a:lnTo>
                    <a:pt x="247786" y="295438"/>
                  </a:lnTo>
                  <a:lnTo>
                    <a:pt x="233492" y="319264"/>
                  </a:lnTo>
                  <a:lnTo>
                    <a:pt x="223960" y="328794"/>
                  </a:lnTo>
                  <a:lnTo>
                    <a:pt x="195370" y="376444"/>
                  </a:lnTo>
                  <a:lnTo>
                    <a:pt x="214430" y="405036"/>
                  </a:lnTo>
                  <a:lnTo>
                    <a:pt x="219196" y="419332"/>
                  </a:lnTo>
                  <a:lnTo>
                    <a:pt x="233492" y="438392"/>
                  </a:lnTo>
                  <a:lnTo>
                    <a:pt x="243022" y="443156"/>
                  </a:lnTo>
                  <a:lnTo>
                    <a:pt x="252552" y="452688"/>
                  </a:lnTo>
                  <a:lnTo>
                    <a:pt x="247786" y="466982"/>
                  </a:lnTo>
                  <a:lnTo>
                    <a:pt x="252552" y="486042"/>
                  </a:lnTo>
                  <a:lnTo>
                    <a:pt x="262082" y="495574"/>
                  </a:lnTo>
                  <a:lnTo>
                    <a:pt x="271612" y="495574"/>
                  </a:lnTo>
                  <a:lnTo>
                    <a:pt x="285908" y="495574"/>
                  </a:lnTo>
                  <a:lnTo>
                    <a:pt x="324028" y="486042"/>
                  </a:lnTo>
                  <a:lnTo>
                    <a:pt x="333558" y="481278"/>
                  </a:lnTo>
                  <a:lnTo>
                    <a:pt x="338324" y="471748"/>
                  </a:lnTo>
                  <a:lnTo>
                    <a:pt x="357384" y="452688"/>
                  </a:lnTo>
                  <a:lnTo>
                    <a:pt x="357384" y="424096"/>
                  </a:lnTo>
                  <a:lnTo>
                    <a:pt x="362150" y="395506"/>
                  </a:lnTo>
                  <a:lnTo>
                    <a:pt x="357384" y="371680"/>
                  </a:lnTo>
                  <a:lnTo>
                    <a:pt x="338324" y="343090"/>
                  </a:lnTo>
                  <a:lnTo>
                    <a:pt x="328794" y="324028"/>
                  </a:lnTo>
                  <a:lnTo>
                    <a:pt x="309734" y="304968"/>
                  </a:lnTo>
                  <a:lnTo>
                    <a:pt x="300202" y="271612"/>
                  </a:lnTo>
                  <a:lnTo>
                    <a:pt x="295438" y="262082"/>
                  </a:lnTo>
                  <a:lnTo>
                    <a:pt x="290672" y="247786"/>
                  </a:lnTo>
                  <a:lnTo>
                    <a:pt x="285908" y="223960"/>
                  </a:lnTo>
                  <a:lnTo>
                    <a:pt x="300202" y="214430"/>
                  </a:lnTo>
                  <a:lnTo>
                    <a:pt x="295438" y="195370"/>
                  </a:lnTo>
                  <a:lnTo>
                    <a:pt x="328794" y="185840"/>
                  </a:lnTo>
                  <a:lnTo>
                    <a:pt x="400270" y="152484"/>
                  </a:lnTo>
                  <a:lnTo>
                    <a:pt x="443156" y="147718"/>
                  </a:lnTo>
                  <a:lnTo>
                    <a:pt x="490808" y="128658"/>
                  </a:lnTo>
                  <a:lnTo>
                    <a:pt x="500338" y="119128"/>
                  </a:lnTo>
                  <a:lnTo>
                    <a:pt x="509868" y="104832"/>
                  </a:lnTo>
                  <a:lnTo>
                    <a:pt x="519398" y="104832"/>
                  </a:lnTo>
                  <a:lnTo>
                    <a:pt x="543224" y="119128"/>
                  </a:lnTo>
                  <a:lnTo>
                    <a:pt x="557520" y="114364"/>
                  </a:lnTo>
                  <a:lnTo>
                    <a:pt x="562284" y="100068"/>
                  </a:lnTo>
                  <a:lnTo>
                    <a:pt x="557520" y="81008"/>
                  </a:lnTo>
                  <a:lnTo>
                    <a:pt x="538460" y="81008"/>
                  </a:lnTo>
                  <a:lnTo>
                    <a:pt x="495574" y="90538"/>
                  </a:lnTo>
                  <a:lnTo>
                    <a:pt x="490808" y="81008"/>
                  </a:lnTo>
                  <a:lnTo>
                    <a:pt x="490808" y="71476"/>
                  </a:lnTo>
                  <a:lnTo>
                    <a:pt x="481278" y="47652"/>
                  </a:lnTo>
                  <a:lnTo>
                    <a:pt x="486042" y="28590"/>
                  </a:lnTo>
                  <a:lnTo>
                    <a:pt x="495574" y="14296"/>
                  </a:lnTo>
                  <a:lnTo>
                    <a:pt x="509868"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7" name="Google Shape;4954;p64">
              <a:extLst>
                <a:ext uri="{FF2B5EF4-FFF2-40B4-BE49-F238E27FC236}">
                  <a16:creationId xmlns:a16="http://schemas.microsoft.com/office/drawing/2014/main" id="{09565D7D-AC3C-4424-9D1F-733DA75EBB89}"/>
                </a:ext>
              </a:extLst>
            </p:cNvPr>
            <p:cNvSpPr/>
            <p:nvPr/>
          </p:nvSpPr>
          <p:spPr>
            <a:xfrm>
              <a:off x="3132924" y="4578597"/>
              <a:ext cx="9188" cy="8532"/>
            </a:xfrm>
            <a:custGeom>
              <a:avLst/>
              <a:gdLst/>
              <a:ahLst/>
              <a:cxnLst/>
              <a:rect l="l" t="t" r="r" b="b"/>
              <a:pathLst>
                <a:path w="66712" h="61946" extrusionOk="0">
                  <a:moveTo>
                    <a:pt x="9530" y="52416"/>
                  </a:moveTo>
                  <a:lnTo>
                    <a:pt x="23826" y="52416"/>
                  </a:lnTo>
                  <a:lnTo>
                    <a:pt x="19060" y="57180"/>
                  </a:lnTo>
                  <a:lnTo>
                    <a:pt x="4766" y="61946"/>
                  </a:lnTo>
                  <a:lnTo>
                    <a:pt x="0" y="57180"/>
                  </a:lnTo>
                  <a:close/>
                  <a:moveTo>
                    <a:pt x="61948" y="38120"/>
                  </a:moveTo>
                  <a:lnTo>
                    <a:pt x="47652" y="47652"/>
                  </a:lnTo>
                  <a:lnTo>
                    <a:pt x="42888" y="52416"/>
                  </a:lnTo>
                  <a:lnTo>
                    <a:pt x="42888" y="47652"/>
                  </a:lnTo>
                  <a:lnTo>
                    <a:pt x="42888" y="42886"/>
                  </a:lnTo>
                  <a:close/>
                  <a:moveTo>
                    <a:pt x="47652" y="0"/>
                  </a:moveTo>
                  <a:lnTo>
                    <a:pt x="61948" y="0"/>
                  </a:lnTo>
                  <a:lnTo>
                    <a:pt x="66712" y="4764"/>
                  </a:lnTo>
                  <a:lnTo>
                    <a:pt x="66712" y="9530"/>
                  </a:lnTo>
                  <a:lnTo>
                    <a:pt x="57182" y="4764"/>
                  </a:lnTo>
                  <a:lnTo>
                    <a:pt x="52418" y="4764"/>
                  </a:lnTo>
                  <a:lnTo>
                    <a:pt x="47652"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8" name="Google Shape;4955;p64">
              <a:extLst>
                <a:ext uri="{FF2B5EF4-FFF2-40B4-BE49-F238E27FC236}">
                  <a16:creationId xmlns:a16="http://schemas.microsoft.com/office/drawing/2014/main" id="{4E9C6252-CBF0-BE12-0505-31B83897EE9E}"/>
                </a:ext>
              </a:extLst>
            </p:cNvPr>
            <p:cNvSpPr/>
            <p:nvPr/>
          </p:nvSpPr>
          <p:spPr>
            <a:xfrm>
              <a:off x="3126360" y="4587129"/>
              <a:ext cx="9188" cy="15752"/>
            </a:xfrm>
            <a:custGeom>
              <a:avLst/>
              <a:gdLst/>
              <a:ahLst/>
              <a:cxnLst/>
              <a:rect l="l" t="t" r="r" b="b"/>
              <a:pathLst>
                <a:path w="66712" h="114364" extrusionOk="0">
                  <a:moveTo>
                    <a:pt x="38122" y="95302"/>
                  </a:moveTo>
                  <a:lnTo>
                    <a:pt x="52418" y="104834"/>
                  </a:lnTo>
                  <a:lnTo>
                    <a:pt x="66712" y="104834"/>
                  </a:lnTo>
                  <a:lnTo>
                    <a:pt x="52418" y="109598"/>
                  </a:lnTo>
                  <a:lnTo>
                    <a:pt x="19062" y="114364"/>
                  </a:lnTo>
                  <a:lnTo>
                    <a:pt x="19062" y="100068"/>
                  </a:lnTo>
                  <a:close/>
                  <a:moveTo>
                    <a:pt x="42888" y="0"/>
                  </a:moveTo>
                  <a:lnTo>
                    <a:pt x="57184" y="4766"/>
                  </a:lnTo>
                  <a:lnTo>
                    <a:pt x="42888" y="9530"/>
                  </a:lnTo>
                  <a:lnTo>
                    <a:pt x="38122" y="9530"/>
                  </a:lnTo>
                  <a:lnTo>
                    <a:pt x="33356" y="9530"/>
                  </a:lnTo>
                  <a:close/>
                  <a:moveTo>
                    <a:pt x="9532" y="0"/>
                  </a:moveTo>
                  <a:lnTo>
                    <a:pt x="19062" y="0"/>
                  </a:lnTo>
                  <a:lnTo>
                    <a:pt x="23828" y="9530"/>
                  </a:lnTo>
                  <a:lnTo>
                    <a:pt x="14296" y="9530"/>
                  </a:lnTo>
                  <a:lnTo>
                    <a:pt x="0"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89" name="Google Shape;4956;p64">
              <a:extLst>
                <a:ext uri="{FF2B5EF4-FFF2-40B4-BE49-F238E27FC236}">
                  <a16:creationId xmlns:a16="http://schemas.microsoft.com/office/drawing/2014/main" id="{5997DB5C-C346-39AF-1F05-5A04B8B18E4C}"/>
                </a:ext>
              </a:extLst>
            </p:cNvPr>
            <p:cNvSpPr/>
            <p:nvPr/>
          </p:nvSpPr>
          <p:spPr>
            <a:xfrm>
              <a:off x="6721980" y="4472930"/>
              <a:ext cx="157515" cy="331439"/>
            </a:xfrm>
            <a:custGeom>
              <a:avLst/>
              <a:gdLst/>
              <a:ahLst/>
              <a:cxnLst/>
              <a:rect l="l" t="t" r="r" b="b"/>
              <a:pathLst>
                <a:path w="1143628" h="2406392" extrusionOk="0">
                  <a:moveTo>
                    <a:pt x="705236" y="2377800"/>
                  </a:moveTo>
                  <a:lnTo>
                    <a:pt x="705236" y="2382566"/>
                  </a:lnTo>
                  <a:lnTo>
                    <a:pt x="705236" y="2387332"/>
                  </a:lnTo>
                  <a:lnTo>
                    <a:pt x="700472" y="2392096"/>
                  </a:lnTo>
                  <a:lnTo>
                    <a:pt x="695704" y="2392096"/>
                  </a:lnTo>
                  <a:lnTo>
                    <a:pt x="690940" y="2387332"/>
                  </a:lnTo>
                  <a:close/>
                  <a:moveTo>
                    <a:pt x="290672" y="2115720"/>
                  </a:moveTo>
                  <a:lnTo>
                    <a:pt x="295436" y="2115720"/>
                  </a:lnTo>
                  <a:lnTo>
                    <a:pt x="300200" y="2120484"/>
                  </a:lnTo>
                  <a:lnTo>
                    <a:pt x="304968" y="2125250"/>
                  </a:lnTo>
                  <a:lnTo>
                    <a:pt x="304968" y="2144310"/>
                  </a:lnTo>
                  <a:lnTo>
                    <a:pt x="295436" y="2163370"/>
                  </a:lnTo>
                  <a:lnTo>
                    <a:pt x="300200" y="2172900"/>
                  </a:lnTo>
                  <a:lnTo>
                    <a:pt x="295436" y="2177666"/>
                  </a:lnTo>
                  <a:lnTo>
                    <a:pt x="281140" y="2144310"/>
                  </a:lnTo>
                  <a:lnTo>
                    <a:pt x="271612" y="2130014"/>
                  </a:lnTo>
                  <a:lnTo>
                    <a:pt x="266844" y="2120484"/>
                  </a:lnTo>
                  <a:lnTo>
                    <a:pt x="276376" y="2120484"/>
                  </a:lnTo>
                  <a:close/>
                  <a:moveTo>
                    <a:pt x="786244" y="2110954"/>
                  </a:moveTo>
                  <a:lnTo>
                    <a:pt x="791008" y="2110954"/>
                  </a:lnTo>
                  <a:lnTo>
                    <a:pt x="786244" y="2120484"/>
                  </a:lnTo>
                  <a:lnTo>
                    <a:pt x="771948" y="2130016"/>
                  </a:lnTo>
                  <a:lnTo>
                    <a:pt x="771948" y="2120484"/>
                  </a:lnTo>
                  <a:lnTo>
                    <a:pt x="781480" y="2115720"/>
                  </a:lnTo>
                  <a:close/>
                  <a:moveTo>
                    <a:pt x="752888" y="419332"/>
                  </a:moveTo>
                  <a:lnTo>
                    <a:pt x="767184" y="424100"/>
                  </a:lnTo>
                  <a:lnTo>
                    <a:pt x="767184" y="428864"/>
                  </a:lnTo>
                  <a:lnTo>
                    <a:pt x="767184" y="433628"/>
                  </a:lnTo>
                  <a:lnTo>
                    <a:pt x="762420" y="438396"/>
                  </a:lnTo>
                  <a:lnTo>
                    <a:pt x="757652" y="438396"/>
                  </a:lnTo>
                  <a:lnTo>
                    <a:pt x="743360" y="424100"/>
                  </a:lnTo>
                  <a:close/>
                  <a:moveTo>
                    <a:pt x="729064" y="409804"/>
                  </a:moveTo>
                  <a:lnTo>
                    <a:pt x="738592" y="419332"/>
                  </a:lnTo>
                  <a:lnTo>
                    <a:pt x="738592" y="424096"/>
                  </a:lnTo>
                  <a:lnTo>
                    <a:pt x="738592" y="428864"/>
                  </a:lnTo>
                  <a:lnTo>
                    <a:pt x="729064" y="419332"/>
                  </a:lnTo>
                  <a:lnTo>
                    <a:pt x="724296" y="419332"/>
                  </a:lnTo>
                  <a:close/>
                  <a:moveTo>
                    <a:pt x="843424" y="390744"/>
                  </a:moveTo>
                  <a:lnTo>
                    <a:pt x="843424" y="400272"/>
                  </a:lnTo>
                  <a:lnTo>
                    <a:pt x="843424" y="409804"/>
                  </a:lnTo>
                  <a:lnTo>
                    <a:pt x="833896" y="409804"/>
                  </a:lnTo>
                  <a:lnTo>
                    <a:pt x="819600" y="409804"/>
                  </a:lnTo>
                  <a:lnTo>
                    <a:pt x="833896" y="405036"/>
                  </a:lnTo>
                  <a:lnTo>
                    <a:pt x="838660" y="395508"/>
                  </a:lnTo>
                  <a:close/>
                  <a:moveTo>
                    <a:pt x="833896" y="352620"/>
                  </a:moveTo>
                  <a:lnTo>
                    <a:pt x="848192" y="357388"/>
                  </a:lnTo>
                  <a:lnTo>
                    <a:pt x="852956" y="357388"/>
                  </a:lnTo>
                  <a:lnTo>
                    <a:pt x="829132" y="381212"/>
                  </a:lnTo>
                  <a:lnTo>
                    <a:pt x="824364" y="381212"/>
                  </a:lnTo>
                  <a:lnTo>
                    <a:pt x="829132" y="357388"/>
                  </a:lnTo>
                  <a:close/>
                  <a:moveTo>
                    <a:pt x="490808" y="0"/>
                  </a:moveTo>
                  <a:lnTo>
                    <a:pt x="500336" y="4768"/>
                  </a:lnTo>
                  <a:lnTo>
                    <a:pt x="514632" y="19060"/>
                  </a:lnTo>
                  <a:lnTo>
                    <a:pt x="524164" y="28592"/>
                  </a:lnTo>
                  <a:lnTo>
                    <a:pt x="528928" y="38124"/>
                  </a:lnTo>
                  <a:lnTo>
                    <a:pt x="533692" y="47652"/>
                  </a:lnTo>
                  <a:lnTo>
                    <a:pt x="552752" y="52416"/>
                  </a:lnTo>
                  <a:lnTo>
                    <a:pt x="567048" y="61948"/>
                  </a:lnTo>
                  <a:lnTo>
                    <a:pt x="576580" y="71476"/>
                  </a:lnTo>
                  <a:lnTo>
                    <a:pt x="586108" y="71476"/>
                  </a:lnTo>
                  <a:lnTo>
                    <a:pt x="595640" y="71476"/>
                  </a:lnTo>
                  <a:lnTo>
                    <a:pt x="605168" y="61948"/>
                  </a:lnTo>
                  <a:lnTo>
                    <a:pt x="614700" y="61948"/>
                  </a:lnTo>
                  <a:lnTo>
                    <a:pt x="624228" y="61948"/>
                  </a:lnTo>
                  <a:lnTo>
                    <a:pt x="633760" y="66712"/>
                  </a:lnTo>
                  <a:lnTo>
                    <a:pt x="643292" y="81008"/>
                  </a:lnTo>
                  <a:lnTo>
                    <a:pt x="648056" y="81008"/>
                  </a:lnTo>
                  <a:lnTo>
                    <a:pt x="657584" y="81008"/>
                  </a:lnTo>
                  <a:lnTo>
                    <a:pt x="671880" y="76244"/>
                  </a:lnTo>
                  <a:lnTo>
                    <a:pt x="686176" y="76244"/>
                  </a:lnTo>
                  <a:lnTo>
                    <a:pt x="700472" y="81008"/>
                  </a:lnTo>
                  <a:lnTo>
                    <a:pt x="724296" y="95304"/>
                  </a:lnTo>
                  <a:lnTo>
                    <a:pt x="719532" y="104832"/>
                  </a:lnTo>
                  <a:lnTo>
                    <a:pt x="714768" y="119128"/>
                  </a:lnTo>
                  <a:lnTo>
                    <a:pt x="700472" y="128660"/>
                  </a:lnTo>
                  <a:lnTo>
                    <a:pt x="695708" y="128660"/>
                  </a:lnTo>
                  <a:lnTo>
                    <a:pt x="690940" y="142956"/>
                  </a:lnTo>
                  <a:lnTo>
                    <a:pt x="686176" y="162016"/>
                  </a:lnTo>
                  <a:lnTo>
                    <a:pt x="690940" y="171544"/>
                  </a:lnTo>
                  <a:lnTo>
                    <a:pt x="695708" y="171544"/>
                  </a:lnTo>
                  <a:lnTo>
                    <a:pt x="700472" y="181076"/>
                  </a:lnTo>
                  <a:lnTo>
                    <a:pt x="705236" y="185840"/>
                  </a:lnTo>
                  <a:lnTo>
                    <a:pt x="705236" y="204900"/>
                  </a:lnTo>
                  <a:lnTo>
                    <a:pt x="705236" y="223960"/>
                  </a:lnTo>
                  <a:lnTo>
                    <a:pt x="705236" y="233492"/>
                  </a:lnTo>
                  <a:lnTo>
                    <a:pt x="710004" y="228728"/>
                  </a:lnTo>
                  <a:lnTo>
                    <a:pt x="714768" y="228728"/>
                  </a:lnTo>
                  <a:lnTo>
                    <a:pt x="729064" y="228728"/>
                  </a:lnTo>
                  <a:lnTo>
                    <a:pt x="738592" y="233492"/>
                  </a:lnTo>
                  <a:lnTo>
                    <a:pt x="748124" y="243024"/>
                  </a:lnTo>
                  <a:lnTo>
                    <a:pt x="752888" y="238256"/>
                  </a:lnTo>
                  <a:lnTo>
                    <a:pt x="762420" y="243024"/>
                  </a:lnTo>
                  <a:lnTo>
                    <a:pt x="762420" y="257316"/>
                  </a:lnTo>
                  <a:lnTo>
                    <a:pt x="767184" y="262084"/>
                  </a:lnTo>
                  <a:lnTo>
                    <a:pt x="786244" y="276380"/>
                  </a:lnTo>
                  <a:lnTo>
                    <a:pt x="800540" y="276380"/>
                  </a:lnTo>
                  <a:lnTo>
                    <a:pt x="814836" y="295440"/>
                  </a:lnTo>
                  <a:lnTo>
                    <a:pt x="829132" y="285908"/>
                  </a:lnTo>
                  <a:lnTo>
                    <a:pt x="833896" y="295440"/>
                  </a:lnTo>
                  <a:lnTo>
                    <a:pt x="857720" y="290672"/>
                  </a:lnTo>
                  <a:lnTo>
                    <a:pt x="876780" y="285908"/>
                  </a:lnTo>
                  <a:lnTo>
                    <a:pt x="886312" y="285908"/>
                  </a:lnTo>
                  <a:lnTo>
                    <a:pt x="900608" y="300204"/>
                  </a:lnTo>
                  <a:lnTo>
                    <a:pt x="910136" y="309736"/>
                  </a:lnTo>
                  <a:lnTo>
                    <a:pt x="905372" y="309736"/>
                  </a:lnTo>
                  <a:lnTo>
                    <a:pt x="886312" y="314500"/>
                  </a:lnTo>
                  <a:lnTo>
                    <a:pt x="872016" y="328796"/>
                  </a:lnTo>
                  <a:lnTo>
                    <a:pt x="857720" y="333560"/>
                  </a:lnTo>
                  <a:lnTo>
                    <a:pt x="843424" y="338324"/>
                  </a:lnTo>
                  <a:lnTo>
                    <a:pt x="824364" y="347856"/>
                  </a:lnTo>
                  <a:lnTo>
                    <a:pt x="819600" y="362152"/>
                  </a:lnTo>
                  <a:lnTo>
                    <a:pt x="819600" y="371680"/>
                  </a:lnTo>
                  <a:lnTo>
                    <a:pt x="814836" y="385976"/>
                  </a:lnTo>
                  <a:lnTo>
                    <a:pt x="786244" y="405036"/>
                  </a:lnTo>
                  <a:lnTo>
                    <a:pt x="776716" y="400272"/>
                  </a:lnTo>
                  <a:lnTo>
                    <a:pt x="771948" y="395508"/>
                  </a:lnTo>
                  <a:lnTo>
                    <a:pt x="762420" y="395508"/>
                  </a:lnTo>
                  <a:lnTo>
                    <a:pt x="757652" y="400272"/>
                  </a:lnTo>
                  <a:lnTo>
                    <a:pt x="748124" y="400272"/>
                  </a:lnTo>
                  <a:lnTo>
                    <a:pt x="743360" y="405036"/>
                  </a:lnTo>
                  <a:lnTo>
                    <a:pt x="729064" y="400272"/>
                  </a:lnTo>
                  <a:lnTo>
                    <a:pt x="719532" y="395508"/>
                  </a:lnTo>
                  <a:lnTo>
                    <a:pt x="714768" y="395508"/>
                  </a:lnTo>
                  <a:lnTo>
                    <a:pt x="710004" y="395508"/>
                  </a:lnTo>
                  <a:lnTo>
                    <a:pt x="710004" y="400272"/>
                  </a:lnTo>
                  <a:lnTo>
                    <a:pt x="719532" y="428864"/>
                  </a:lnTo>
                  <a:lnTo>
                    <a:pt x="719532" y="438392"/>
                  </a:lnTo>
                  <a:lnTo>
                    <a:pt x="690940" y="476512"/>
                  </a:lnTo>
                  <a:lnTo>
                    <a:pt x="690940" y="495576"/>
                  </a:lnTo>
                  <a:lnTo>
                    <a:pt x="681412" y="514636"/>
                  </a:lnTo>
                  <a:lnTo>
                    <a:pt x="662352" y="528932"/>
                  </a:lnTo>
                  <a:lnTo>
                    <a:pt x="628996" y="562284"/>
                  </a:lnTo>
                  <a:lnTo>
                    <a:pt x="614700" y="562284"/>
                  </a:lnTo>
                  <a:lnTo>
                    <a:pt x="600404" y="571816"/>
                  </a:lnTo>
                  <a:lnTo>
                    <a:pt x="576580" y="628996"/>
                  </a:lnTo>
                  <a:lnTo>
                    <a:pt x="571812" y="652824"/>
                  </a:lnTo>
                  <a:lnTo>
                    <a:pt x="571812" y="667120"/>
                  </a:lnTo>
                  <a:lnTo>
                    <a:pt x="571812" y="681416"/>
                  </a:lnTo>
                  <a:lnTo>
                    <a:pt x="557520" y="705240"/>
                  </a:lnTo>
                  <a:lnTo>
                    <a:pt x="547988" y="719536"/>
                  </a:lnTo>
                  <a:lnTo>
                    <a:pt x="543224" y="733832"/>
                  </a:lnTo>
                  <a:lnTo>
                    <a:pt x="562284" y="762420"/>
                  </a:lnTo>
                  <a:lnTo>
                    <a:pt x="562284" y="767188"/>
                  </a:lnTo>
                  <a:lnTo>
                    <a:pt x="571812" y="786248"/>
                  </a:lnTo>
                  <a:lnTo>
                    <a:pt x="576580" y="800544"/>
                  </a:lnTo>
                  <a:lnTo>
                    <a:pt x="586108" y="810072"/>
                  </a:lnTo>
                  <a:lnTo>
                    <a:pt x="614700" y="838664"/>
                  </a:lnTo>
                  <a:lnTo>
                    <a:pt x="624228" y="848192"/>
                  </a:lnTo>
                  <a:lnTo>
                    <a:pt x="638524" y="857724"/>
                  </a:lnTo>
                  <a:lnTo>
                    <a:pt x="667116" y="881548"/>
                  </a:lnTo>
                  <a:lnTo>
                    <a:pt x="681412" y="900608"/>
                  </a:lnTo>
                  <a:lnTo>
                    <a:pt x="676648" y="914904"/>
                  </a:lnTo>
                  <a:lnTo>
                    <a:pt x="676648" y="938732"/>
                  </a:lnTo>
                  <a:lnTo>
                    <a:pt x="657584" y="929200"/>
                  </a:lnTo>
                  <a:lnTo>
                    <a:pt x="662352" y="933964"/>
                  </a:lnTo>
                  <a:lnTo>
                    <a:pt x="681412" y="948260"/>
                  </a:lnTo>
                  <a:lnTo>
                    <a:pt x="719532" y="995912"/>
                  </a:lnTo>
                  <a:lnTo>
                    <a:pt x="748124" y="1019740"/>
                  </a:lnTo>
                  <a:lnTo>
                    <a:pt x="776716" y="1048328"/>
                  </a:lnTo>
                  <a:lnTo>
                    <a:pt x="786244" y="1072156"/>
                  </a:lnTo>
                  <a:lnTo>
                    <a:pt x="814836" y="1091216"/>
                  </a:lnTo>
                  <a:lnTo>
                    <a:pt x="843424" y="1115040"/>
                  </a:lnTo>
                  <a:lnTo>
                    <a:pt x="843424" y="1119804"/>
                  </a:lnTo>
                  <a:lnTo>
                    <a:pt x="852956" y="1124572"/>
                  </a:lnTo>
                  <a:lnTo>
                    <a:pt x="872016" y="1138868"/>
                  </a:lnTo>
                  <a:lnTo>
                    <a:pt x="886312" y="1153160"/>
                  </a:lnTo>
                  <a:lnTo>
                    <a:pt x="891076" y="1167456"/>
                  </a:lnTo>
                  <a:lnTo>
                    <a:pt x="895844" y="1167456"/>
                  </a:lnTo>
                  <a:lnTo>
                    <a:pt x="905372" y="1167456"/>
                  </a:lnTo>
                  <a:lnTo>
                    <a:pt x="914904" y="1162692"/>
                  </a:lnTo>
                  <a:lnTo>
                    <a:pt x="919668" y="1162692"/>
                  </a:lnTo>
                  <a:lnTo>
                    <a:pt x="929200" y="1181752"/>
                  </a:lnTo>
                  <a:lnTo>
                    <a:pt x="943492" y="1191284"/>
                  </a:lnTo>
                  <a:lnTo>
                    <a:pt x="948260" y="1205580"/>
                  </a:lnTo>
                  <a:lnTo>
                    <a:pt x="953024" y="1200812"/>
                  </a:lnTo>
                  <a:lnTo>
                    <a:pt x="957788" y="1205580"/>
                  </a:lnTo>
                  <a:lnTo>
                    <a:pt x="957788" y="1215108"/>
                  </a:lnTo>
                  <a:lnTo>
                    <a:pt x="962556" y="1219872"/>
                  </a:lnTo>
                  <a:lnTo>
                    <a:pt x="976848" y="1238936"/>
                  </a:lnTo>
                  <a:lnTo>
                    <a:pt x="986380" y="1257996"/>
                  </a:lnTo>
                  <a:lnTo>
                    <a:pt x="1005440" y="1286584"/>
                  </a:lnTo>
                  <a:lnTo>
                    <a:pt x="1019736" y="1305644"/>
                  </a:lnTo>
                  <a:lnTo>
                    <a:pt x="1029264" y="1310412"/>
                  </a:lnTo>
                  <a:lnTo>
                    <a:pt x="1043560" y="1319940"/>
                  </a:lnTo>
                  <a:lnTo>
                    <a:pt x="1057856" y="1353296"/>
                  </a:lnTo>
                  <a:lnTo>
                    <a:pt x="1062620" y="1381888"/>
                  </a:lnTo>
                  <a:lnTo>
                    <a:pt x="1076916" y="1415244"/>
                  </a:lnTo>
                  <a:lnTo>
                    <a:pt x="1086448" y="1429540"/>
                  </a:lnTo>
                  <a:lnTo>
                    <a:pt x="1086448" y="1453364"/>
                  </a:lnTo>
                  <a:lnTo>
                    <a:pt x="1091212" y="1481956"/>
                  </a:lnTo>
                  <a:lnTo>
                    <a:pt x="1100744" y="1501016"/>
                  </a:lnTo>
                  <a:lnTo>
                    <a:pt x="1105508" y="1515312"/>
                  </a:lnTo>
                  <a:lnTo>
                    <a:pt x="1105508" y="1524840"/>
                  </a:lnTo>
                  <a:lnTo>
                    <a:pt x="1110272" y="1534372"/>
                  </a:lnTo>
                  <a:lnTo>
                    <a:pt x="1119804" y="1567728"/>
                  </a:lnTo>
                  <a:lnTo>
                    <a:pt x="1115040" y="1582024"/>
                  </a:lnTo>
                  <a:lnTo>
                    <a:pt x="1110272" y="1567728"/>
                  </a:lnTo>
                  <a:lnTo>
                    <a:pt x="1110272" y="1610612"/>
                  </a:lnTo>
                  <a:lnTo>
                    <a:pt x="1115040" y="1629676"/>
                  </a:lnTo>
                  <a:lnTo>
                    <a:pt x="1115040" y="1658264"/>
                  </a:lnTo>
                  <a:lnTo>
                    <a:pt x="1119804" y="1667796"/>
                  </a:lnTo>
                  <a:lnTo>
                    <a:pt x="1129332" y="1701152"/>
                  </a:lnTo>
                  <a:lnTo>
                    <a:pt x="1138864" y="1710680"/>
                  </a:lnTo>
                  <a:lnTo>
                    <a:pt x="1138864" y="1748804"/>
                  </a:lnTo>
                  <a:lnTo>
                    <a:pt x="1143628" y="1767864"/>
                  </a:lnTo>
                  <a:lnTo>
                    <a:pt x="1129332" y="1758332"/>
                  </a:lnTo>
                  <a:lnTo>
                    <a:pt x="1124568" y="1744036"/>
                  </a:lnTo>
                  <a:lnTo>
                    <a:pt x="1115040" y="1748804"/>
                  </a:lnTo>
                  <a:lnTo>
                    <a:pt x="1105508" y="1758332"/>
                  </a:lnTo>
                  <a:lnTo>
                    <a:pt x="1119804" y="1801220"/>
                  </a:lnTo>
                  <a:lnTo>
                    <a:pt x="1105508" y="1796452"/>
                  </a:lnTo>
                  <a:lnTo>
                    <a:pt x="1105508" y="1853636"/>
                  </a:lnTo>
                  <a:lnTo>
                    <a:pt x="1110272" y="1863164"/>
                  </a:lnTo>
                  <a:lnTo>
                    <a:pt x="1110272" y="1867932"/>
                  </a:lnTo>
                  <a:lnTo>
                    <a:pt x="1110272" y="1877460"/>
                  </a:lnTo>
                  <a:lnTo>
                    <a:pt x="1105508" y="1867932"/>
                  </a:lnTo>
                  <a:lnTo>
                    <a:pt x="1105508" y="1863164"/>
                  </a:lnTo>
                  <a:lnTo>
                    <a:pt x="1100744" y="1863164"/>
                  </a:lnTo>
                  <a:lnTo>
                    <a:pt x="1100744" y="1867932"/>
                  </a:lnTo>
                  <a:lnTo>
                    <a:pt x="1095976" y="1877460"/>
                  </a:lnTo>
                  <a:lnTo>
                    <a:pt x="1095976" y="1891756"/>
                  </a:lnTo>
                  <a:lnTo>
                    <a:pt x="1100744" y="1901288"/>
                  </a:lnTo>
                  <a:lnTo>
                    <a:pt x="1100744" y="1906052"/>
                  </a:lnTo>
                  <a:lnTo>
                    <a:pt x="1100744" y="1915584"/>
                  </a:lnTo>
                  <a:lnTo>
                    <a:pt x="1091212" y="1925112"/>
                  </a:lnTo>
                  <a:lnTo>
                    <a:pt x="1076916" y="1929876"/>
                  </a:lnTo>
                  <a:lnTo>
                    <a:pt x="1072152" y="1948936"/>
                  </a:lnTo>
                  <a:lnTo>
                    <a:pt x="1067388" y="1968000"/>
                  </a:lnTo>
                  <a:lnTo>
                    <a:pt x="1043560" y="1972764"/>
                  </a:lnTo>
                  <a:lnTo>
                    <a:pt x="1024500" y="1991824"/>
                  </a:lnTo>
                  <a:lnTo>
                    <a:pt x="1000676" y="1996588"/>
                  </a:lnTo>
                  <a:lnTo>
                    <a:pt x="981616" y="2015648"/>
                  </a:lnTo>
                  <a:lnTo>
                    <a:pt x="957788" y="2034712"/>
                  </a:lnTo>
                  <a:lnTo>
                    <a:pt x="943492" y="2034712"/>
                  </a:lnTo>
                  <a:lnTo>
                    <a:pt x="929200" y="2039476"/>
                  </a:lnTo>
                  <a:lnTo>
                    <a:pt x="914904" y="2068068"/>
                  </a:lnTo>
                  <a:lnTo>
                    <a:pt x="891076" y="2072832"/>
                  </a:lnTo>
                  <a:lnTo>
                    <a:pt x="848192" y="2091892"/>
                  </a:lnTo>
                  <a:lnTo>
                    <a:pt x="833896" y="2106188"/>
                  </a:lnTo>
                  <a:lnTo>
                    <a:pt x="819600" y="2110952"/>
                  </a:lnTo>
                  <a:lnTo>
                    <a:pt x="800540" y="2120484"/>
                  </a:lnTo>
                  <a:lnTo>
                    <a:pt x="795776" y="2115716"/>
                  </a:lnTo>
                  <a:lnTo>
                    <a:pt x="791008" y="2106188"/>
                  </a:lnTo>
                  <a:lnTo>
                    <a:pt x="771948" y="2101424"/>
                  </a:lnTo>
                  <a:lnTo>
                    <a:pt x="767184" y="2091892"/>
                  </a:lnTo>
                  <a:lnTo>
                    <a:pt x="762420" y="2082360"/>
                  </a:lnTo>
                  <a:lnTo>
                    <a:pt x="762420" y="2077596"/>
                  </a:lnTo>
                  <a:lnTo>
                    <a:pt x="757652" y="2082360"/>
                  </a:lnTo>
                  <a:lnTo>
                    <a:pt x="752888" y="2110952"/>
                  </a:lnTo>
                  <a:lnTo>
                    <a:pt x="752888" y="2115716"/>
                  </a:lnTo>
                  <a:lnTo>
                    <a:pt x="743360" y="2120484"/>
                  </a:lnTo>
                  <a:lnTo>
                    <a:pt x="729064" y="2110952"/>
                  </a:lnTo>
                  <a:lnTo>
                    <a:pt x="714768" y="2096656"/>
                  </a:lnTo>
                  <a:lnTo>
                    <a:pt x="695708" y="2106188"/>
                  </a:lnTo>
                  <a:lnTo>
                    <a:pt x="705236" y="2110952"/>
                  </a:lnTo>
                  <a:lnTo>
                    <a:pt x="710004" y="2106188"/>
                  </a:lnTo>
                  <a:lnTo>
                    <a:pt x="719532" y="2110952"/>
                  </a:lnTo>
                  <a:lnTo>
                    <a:pt x="724296" y="2120484"/>
                  </a:lnTo>
                  <a:lnTo>
                    <a:pt x="724296" y="2130012"/>
                  </a:lnTo>
                  <a:lnTo>
                    <a:pt x="719532" y="2134776"/>
                  </a:lnTo>
                  <a:lnTo>
                    <a:pt x="705236" y="2134776"/>
                  </a:lnTo>
                  <a:lnTo>
                    <a:pt x="681412" y="2134776"/>
                  </a:lnTo>
                  <a:lnTo>
                    <a:pt x="676648" y="2134776"/>
                  </a:lnTo>
                  <a:lnTo>
                    <a:pt x="695708" y="2144308"/>
                  </a:lnTo>
                  <a:lnTo>
                    <a:pt x="714768" y="2149072"/>
                  </a:lnTo>
                  <a:lnTo>
                    <a:pt x="724296" y="2158604"/>
                  </a:lnTo>
                  <a:lnTo>
                    <a:pt x="724296" y="2163368"/>
                  </a:lnTo>
                  <a:lnTo>
                    <a:pt x="714768" y="2172900"/>
                  </a:lnTo>
                  <a:lnTo>
                    <a:pt x="705236" y="2182428"/>
                  </a:lnTo>
                  <a:lnTo>
                    <a:pt x="705236" y="2191960"/>
                  </a:lnTo>
                  <a:lnTo>
                    <a:pt x="705236" y="2196724"/>
                  </a:lnTo>
                  <a:lnTo>
                    <a:pt x="695708" y="2206256"/>
                  </a:lnTo>
                  <a:lnTo>
                    <a:pt x="690940" y="2201488"/>
                  </a:lnTo>
                  <a:lnTo>
                    <a:pt x="671880" y="2191960"/>
                  </a:lnTo>
                  <a:lnTo>
                    <a:pt x="624228" y="2144308"/>
                  </a:lnTo>
                  <a:lnTo>
                    <a:pt x="633760" y="2158604"/>
                  </a:lnTo>
                  <a:lnTo>
                    <a:pt x="681412" y="2211020"/>
                  </a:lnTo>
                  <a:lnTo>
                    <a:pt x="690940" y="2225316"/>
                  </a:lnTo>
                  <a:lnTo>
                    <a:pt x="690940" y="2239612"/>
                  </a:lnTo>
                  <a:lnTo>
                    <a:pt x="686176" y="2244376"/>
                  </a:lnTo>
                  <a:lnTo>
                    <a:pt x="676648" y="2249140"/>
                  </a:lnTo>
                  <a:lnTo>
                    <a:pt x="662352" y="2253908"/>
                  </a:lnTo>
                  <a:lnTo>
                    <a:pt x="633760" y="2234844"/>
                  </a:lnTo>
                  <a:lnTo>
                    <a:pt x="590872" y="2187196"/>
                  </a:lnTo>
                  <a:lnTo>
                    <a:pt x="576580" y="2182428"/>
                  </a:lnTo>
                  <a:lnTo>
                    <a:pt x="619464" y="2234844"/>
                  </a:lnTo>
                  <a:lnTo>
                    <a:pt x="628996" y="2244376"/>
                  </a:lnTo>
                  <a:lnTo>
                    <a:pt x="633760" y="2258672"/>
                  </a:lnTo>
                  <a:lnTo>
                    <a:pt x="633760" y="2268200"/>
                  </a:lnTo>
                  <a:lnTo>
                    <a:pt x="628996" y="2277732"/>
                  </a:lnTo>
                  <a:lnTo>
                    <a:pt x="524164" y="2325384"/>
                  </a:lnTo>
                  <a:lnTo>
                    <a:pt x="509868" y="2344444"/>
                  </a:lnTo>
                  <a:lnTo>
                    <a:pt x="495572" y="2373036"/>
                  </a:lnTo>
                  <a:lnTo>
                    <a:pt x="476512" y="2387328"/>
                  </a:lnTo>
                  <a:lnTo>
                    <a:pt x="466980" y="2396860"/>
                  </a:lnTo>
                  <a:lnTo>
                    <a:pt x="428860" y="2406392"/>
                  </a:lnTo>
                  <a:lnTo>
                    <a:pt x="409800" y="2401624"/>
                  </a:lnTo>
                  <a:lnTo>
                    <a:pt x="428860" y="2377800"/>
                  </a:lnTo>
                  <a:lnTo>
                    <a:pt x="419328" y="2373036"/>
                  </a:lnTo>
                  <a:lnTo>
                    <a:pt x="419328" y="2311088"/>
                  </a:lnTo>
                  <a:lnTo>
                    <a:pt x="424096" y="2244376"/>
                  </a:lnTo>
                  <a:lnTo>
                    <a:pt x="433624" y="2211020"/>
                  </a:lnTo>
                  <a:lnTo>
                    <a:pt x="443156" y="2201488"/>
                  </a:lnTo>
                  <a:lnTo>
                    <a:pt x="462216" y="2196724"/>
                  </a:lnTo>
                  <a:lnTo>
                    <a:pt x="462216" y="2191960"/>
                  </a:lnTo>
                  <a:lnTo>
                    <a:pt x="462216" y="2182428"/>
                  </a:lnTo>
                  <a:lnTo>
                    <a:pt x="452684" y="2172900"/>
                  </a:lnTo>
                  <a:lnTo>
                    <a:pt x="443156" y="2168132"/>
                  </a:lnTo>
                  <a:lnTo>
                    <a:pt x="428860" y="2163368"/>
                  </a:lnTo>
                  <a:lnTo>
                    <a:pt x="414564" y="2149072"/>
                  </a:lnTo>
                  <a:lnTo>
                    <a:pt x="405032" y="2149072"/>
                  </a:lnTo>
                  <a:lnTo>
                    <a:pt x="395504" y="2153840"/>
                  </a:lnTo>
                  <a:lnTo>
                    <a:pt x="385972" y="2149072"/>
                  </a:lnTo>
                  <a:lnTo>
                    <a:pt x="381208" y="2139544"/>
                  </a:lnTo>
                  <a:lnTo>
                    <a:pt x="371680" y="2130012"/>
                  </a:lnTo>
                  <a:lnTo>
                    <a:pt x="357384" y="2115716"/>
                  </a:lnTo>
                  <a:lnTo>
                    <a:pt x="362148" y="2115716"/>
                  </a:lnTo>
                  <a:lnTo>
                    <a:pt x="371680" y="2106188"/>
                  </a:lnTo>
                  <a:lnTo>
                    <a:pt x="381208" y="2101424"/>
                  </a:lnTo>
                  <a:lnTo>
                    <a:pt x="400268" y="2096656"/>
                  </a:lnTo>
                  <a:lnTo>
                    <a:pt x="419328" y="2096656"/>
                  </a:lnTo>
                  <a:lnTo>
                    <a:pt x="424096" y="2096656"/>
                  </a:lnTo>
                  <a:lnTo>
                    <a:pt x="428860" y="2087128"/>
                  </a:lnTo>
                  <a:lnTo>
                    <a:pt x="443156" y="2077596"/>
                  </a:lnTo>
                  <a:lnTo>
                    <a:pt x="452684" y="2068068"/>
                  </a:lnTo>
                  <a:lnTo>
                    <a:pt x="457452" y="2063300"/>
                  </a:lnTo>
                  <a:lnTo>
                    <a:pt x="452684" y="2053772"/>
                  </a:lnTo>
                  <a:lnTo>
                    <a:pt x="452684" y="2039476"/>
                  </a:lnTo>
                  <a:lnTo>
                    <a:pt x="452684" y="2034712"/>
                  </a:lnTo>
                  <a:lnTo>
                    <a:pt x="471744" y="2039476"/>
                  </a:lnTo>
                  <a:lnTo>
                    <a:pt x="490808" y="2044240"/>
                  </a:lnTo>
                  <a:lnTo>
                    <a:pt x="495572" y="2049004"/>
                  </a:lnTo>
                  <a:lnTo>
                    <a:pt x="505100" y="2029944"/>
                  </a:lnTo>
                  <a:lnTo>
                    <a:pt x="509868" y="2029944"/>
                  </a:lnTo>
                  <a:lnTo>
                    <a:pt x="519396" y="2029944"/>
                  </a:lnTo>
                  <a:lnTo>
                    <a:pt x="538456" y="2025180"/>
                  </a:lnTo>
                  <a:lnTo>
                    <a:pt x="557520" y="2025180"/>
                  </a:lnTo>
                  <a:lnTo>
                    <a:pt x="562284" y="2025180"/>
                  </a:lnTo>
                  <a:lnTo>
                    <a:pt x="571812" y="2034712"/>
                  </a:lnTo>
                  <a:lnTo>
                    <a:pt x="581344" y="2044240"/>
                  </a:lnTo>
                  <a:lnTo>
                    <a:pt x="595640" y="2039476"/>
                  </a:lnTo>
                  <a:lnTo>
                    <a:pt x="600404" y="2044240"/>
                  </a:lnTo>
                  <a:lnTo>
                    <a:pt x="619464" y="2053772"/>
                  </a:lnTo>
                  <a:lnTo>
                    <a:pt x="628996" y="2053772"/>
                  </a:lnTo>
                  <a:lnTo>
                    <a:pt x="624228" y="2034712"/>
                  </a:lnTo>
                  <a:lnTo>
                    <a:pt x="628996" y="2020416"/>
                  </a:lnTo>
                  <a:lnTo>
                    <a:pt x="628996" y="2015648"/>
                  </a:lnTo>
                  <a:lnTo>
                    <a:pt x="619464" y="2010884"/>
                  </a:lnTo>
                  <a:lnTo>
                    <a:pt x="586108" y="1982292"/>
                  </a:lnTo>
                  <a:lnTo>
                    <a:pt x="581344" y="1977528"/>
                  </a:lnTo>
                  <a:lnTo>
                    <a:pt x="581344" y="1963232"/>
                  </a:lnTo>
                  <a:lnTo>
                    <a:pt x="581344" y="1944172"/>
                  </a:lnTo>
                  <a:lnTo>
                    <a:pt x="576580" y="1934644"/>
                  </a:lnTo>
                  <a:lnTo>
                    <a:pt x="576580" y="1925112"/>
                  </a:lnTo>
                  <a:lnTo>
                    <a:pt x="581344" y="1920348"/>
                  </a:lnTo>
                  <a:lnTo>
                    <a:pt x="586108" y="1920348"/>
                  </a:lnTo>
                  <a:lnTo>
                    <a:pt x="590872" y="1920348"/>
                  </a:lnTo>
                  <a:lnTo>
                    <a:pt x="595640" y="1915584"/>
                  </a:lnTo>
                  <a:lnTo>
                    <a:pt x="605168" y="1901288"/>
                  </a:lnTo>
                  <a:lnTo>
                    <a:pt x="619464" y="1901288"/>
                  </a:lnTo>
                  <a:lnTo>
                    <a:pt x="638524" y="1910816"/>
                  </a:lnTo>
                  <a:lnTo>
                    <a:pt x="657584" y="1915584"/>
                  </a:lnTo>
                  <a:lnTo>
                    <a:pt x="667116" y="1915584"/>
                  </a:lnTo>
                  <a:lnTo>
                    <a:pt x="667116" y="1910816"/>
                  </a:lnTo>
                  <a:lnTo>
                    <a:pt x="667116" y="1906052"/>
                  </a:lnTo>
                  <a:lnTo>
                    <a:pt x="667116" y="1877460"/>
                  </a:lnTo>
                  <a:lnTo>
                    <a:pt x="667116" y="1872696"/>
                  </a:lnTo>
                  <a:lnTo>
                    <a:pt x="681412" y="1867932"/>
                  </a:lnTo>
                  <a:lnTo>
                    <a:pt x="700472" y="1867932"/>
                  </a:lnTo>
                  <a:lnTo>
                    <a:pt x="714768" y="1867932"/>
                  </a:lnTo>
                  <a:lnTo>
                    <a:pt x="724296" y="1853636"/>
                  </a:lnTo>
                  <a:lnTo>
                    <a:pt x="748124" y="1848872"/>
                  </a:lnTo>
                  <a:lnTo>
                    <a:pt x="767184" y="1834576"/>
                  </a:lnTo>
                  <a:lnTo>
                    <a:pt x="781480" y="1820280"/>
                  </a:lnTo>
                  <a:lnTo>
                    <a:pt x="791008" y="1815516"/>
                  </a:lnTo>
                  <a:lnTo>
                    <a:pt x="805304" y="1810748"/>
                  </a:lnTo>
                  <a:lnTo>
                    <a:pt x="810068" y="1810748"/>
                  </a:lnTo>
                  <a:lnTo>
                    <a:pt x="819600" y="1820280"/>
                  </a:lnTo>
                  <a:lnTo>
                    <a:pt x="829132" y="1815516"/>
                  </a:lnTo>
                  <a:lnTo>
                    <a:pt x="838660" y="1805984"/>
                  </a:lnTo>
                  <a:lnTo>
                    <a:pt x="843424" y="1791688"/>
                  </a:lnTo>
                  <a:lnTo>
                    <a:pt x="848192" y="1777392"/>
                  </a:lnTo>
                  <a:lnTo>
                    <a:pt x="843424" y="1748804"/>
                  </a:lnTo>
                  <a:lnTo>
                    <a:pt x="838660" y="1729744"/>
                  </a:lnTo>
                  <a:lnTo>
                    <a:pt x="833896" y="1715448"/>
                  </a:lnTo>
                  <a:lnTo>
                    <a:pt x="833896" y="1696388"/>
                  </a:lnTo>
                  <a:lnTo>
                    <a:pt x="843424" y="1667796"/>
                  </a:lnTo>
                  <a:lnTo>
                    <a:pt x="852956" y="1634440"/>
                  </a:lnTo>
                  <a:lnTo>
                    <a:pt x="852956" y="1620144"/>
                  </a:lnTo>
                  <a:lnTo>
                    <a:pt x="843424" y="1596320"/>
                  </a:lnTo>
                  <a:lnTo>
                    <a:pt x="833896" y="1572492"/>
                  </a:lnTo>
                  <a:lnTo>
                    <a:pt x="819600" y="1543904"/>
                  </a:lnTo>
                  <a:lnTo>
                    <a:pt x="814836" y="1539136"/>
                  </a:lnTo>
                  <a:lnTo>
                    <a:pt x="814836" y="1529608"/>
                  </a:lnTo>
                  <a:lnTo>
                    <a:pt x="810068" y="1520076"/>
                  </a:lnTo>
                  <a:lnTo>
                    <a:pt x="814836" y="1491484"/>
                  </a:lnTo>
                  <a:lnTo>
                    <a:pt x="814836" y="1481956"/>
                  </a:lnTo>
                  <a:lnTo>
                    <a:pt x="829132" y="1467660"/>
                  </a:lnTo>
                  <a:lnTo>
                    <a:pt x="833896" y="1453364"/>
                  </a:lnTo>
                  <a:lnTo>
                    <a:pt x="843424" y="1439068"/>
                  </a:lnTo>
                  <a:lnTo>
                    <a:pt x="838660" y="1429540"/>
                  </a:lnTo>
                  <a:lnTo>
                    <a:pt x="838660" y="1410480"/>
                  </a:lnTo>
                  <a:lnTo>
                    <a:pt x="843424" y="1400948"/>
                  </a:lnTo>
                  <a:lnTo>
                    <a:pt x="838660" y="1396184"/>
                  </a:lnTo>
                  <a:lnTo>
                    <a:pt x="833896" y="1386652"/>
                  </a:lnTo>
                  <a:lnTo>
                    <a:pt x="838660" y="1377124"/>
                  </a:lnTo>
                  <a:lnTo>
                    <a:pt x="848192" y="1372356"/>
                  </a:lnTo>
                  <a:lnTo>
                    <a:pt x="852956" y="1362828"/>
                  </a:lnTo>
                  <a:lnTo>
                    <a:pt x="857720" y="1348532"/>
                  </a:lnTo>
                  <a:lnTo>
                    <a:pt x="862488" y="1339000"/>
                  </a:lnTo>
                  <a:lnTo>
                    <a:pt x="857720" y="1329472"/>
                  </a:lnTo>
                  <a:lnTo>
                    <a:pt x="848192" y="1319940"/>
                  </a:lnTo>
                  <a:lnTo>
                    <a:pt x="829132" y="1305644"/>
                  </a:lnTo>
                  <a:lnTo>
                    <a:pt x="810068" y="1291352"/>
                  </a:lnTo>
                  <a:lnTo>
                    <a:pt x="805304" y="1281820"/>
                  </a:lnTo>
                  <a:lnTo>
                    <a:pt x="795776" y="1272288"/>
                  </a:lnTo>
                  <a:lnTo>
                    <a:pt x="791008" y="1257996"/>
                  </a:lnTo>
                  <a:lnTo>
                    <a:pt x="786244" y="1253228"/>
                  </a:lnTo>
                  <a:lnTo>
                    <a:pt x="791008" y="1243700"/>
                  </a:lnTo>
                  <a:lnTo>
                    <a:pt x="814836" y="1234168"/>
                  </a:lnTo>
                  <a:lnTo>
                    <a:pt x="819600" y="1229404"/>
                  </a:lnTo>
                  <a:lnTo>
                    <a:pt x="824364" y="1219872"/>
                  </a:lnTo>
                  <a:lnTo>
                    <a:pt x="819600" y="1210344"/>
                  </a:lnTo>
                  <a:lnTo>
                    <a:pt x="814836" y="1210344"/>
                  </a:lnTo>
                  <a:lnTo>
                    <a:pt x="805304" y="1205580"/>
                  </a:lnTo>
                  <a:lnTo>
                    <a:pt x="791008" y="1196048"/>
                  </a:lnTo>
                  <a:lnTo>
                    <a:pt x="771948" y="1172224"/>
                  </a:lnTo>
                  <a:lnTo>
                    <a:pt x="757652" y="1167456"/>
                  </a:lnTo>
                  <a:lnTo>
                    <a:pt x="748124" y="1162692"/>
                  </a:lnTo>
                  <a:lnTo>
                    <a:pt x="743360" y="1153160"/>
                  </a:lnTo>
                  <a:lnTo>
                    <a:pt x="733828" y="1134100"/>
                  </a:lnTo>
                  <a:lnTo>
                    <a:pt x="729064" y="1138868"/>
                  </a:lnTo>
                  <a:lnTo>
                    <a:pt x="719532" y="1143632"/>
                  </a:lnTo>
                  <a:lnTo>
                    <a:pt x="710004" y="1143632"/>
                  </a:lnTo>
                  <a:lnTo>
                    <a:pt x="705236" y="1138868"/>
                  </a:lnTo>
                  <a:lnTo>
                    <a:pt x="700472" y="1134100"/>
                  </a:lnTo>
                  <a:lnTo>
                    <a:pt x="695708" y="1119804"/>
                  </a:lnTo>
                  <a:lnTo>
                    <a:pt x="690940" y="1115040"/>
                  </a:lnTo>
                  <a:lnTo>
                    <a:pt x="686176" y="1086448"/>
                  </a:lnTo>
                  <a:lnTo>
                    <a:pt x="686176" y="1076920"/>
                  </a:lnTo>
                  <a:lnTo>
                    <a:pt x="681412" y="1062624"/>
                  </a:lnTo>
                  <a:lnTo>
                    <a:pt x="676648" y="1057860"/>
                  </a:lnTo>
                  <a:lnTo>
                    <a:pt x="671880" y="1057860"/>
                  </a:lnTo>
                  <a:lnTo>
                    <a:pt x="657584" y="1034032"/>
                  </a:lnTo>
                  <a:lnTo>
                    <a:pt x="643292" y="1019740"/>
                  </a:lnTo>
                  <a:lnTo>
                    <a:pt x="605168" y="986384"/>
                  </a:lnTo>
                  <a:lnTo>
                    <a:pt x="600404" y="981616"/>
                  </a:lnTo>
                  <a:lnTo>
                    <a:pt x="586108" y="967320"/>
                  </a:lnTo>
                  <a:lnTo>
                    <a:pt x="567048" y="948260"/>
                  </a:lnTo>
                  <a:lnTo>
                    <a:pt x="552752" y="933964"/>
                  </a:lnTo>
                  <a:lnTo>
                    <a:pt x="543224" y="919672"/>
                  </a:lnTo>
                  <a:lnTo>
                    <a:pt x="538456" y="905376"/>
                  </a:lnTo>
                  <a:lnTo>
                    <a:pt x="538456" y="895844"/>
                  </a:lnTo>
                  <a:lnTo>
                    <a:pt x="528928" y="881548"/>
                  </a:lnTo>
                  <a:lnTo>
                    <a:pt x="519396" y="867256"/>
                  </a:lnTo>
                  <a:lnTo>
                    <a:pt x="509868" y="862488"/>
                  </a:lnTo>
                  <a:lnTo>
                    <a:pt x="500336" y="862488"/>
                  </a:lnTo>
                  <a:lnTo>
                    <a:pt x="490808" y="852960"/>
                  </a:lnTo>
                  <a:lnTo>
                    <a:pt x="471744" y="838664"/>
                  </a:lnTo>
                  <a:lnTo>
                    <a:pt x="466980" y="824368"/>
                  </a:lnTo>
                  <a:lnTo>
                    <a:pt x="462216" y="819604"/>
                  </a:lnTo>
                  <a:lnTo>
                    <a:pt x="462216" y="810072"/>
                  </a:lnTo>
                  <a:lnTo>
                    <a:pt x="462216" y="800544"/>
                  </a:lnTo>
                  <a:lnTo>
                    <a:pt x="466980" y="791012"/>
                  </a:lnTo>
                  <a:lnTo>
                    <a:pt x="471744" y="786248"/>
                  </a:lnTo>
                  <a:lnTo>
                    <a:pt x="466980" y="781480"/>
                  </a:lnTo>
                  <a:lnTo>
                    <a:pt x="447920" y="771952"/>
                  </a:lnTo>
                  <a:lnTo>
                    <a:pt x="400268" y="762420"/>
                  </a:lnTo>
                  <a:lnTo>
                    <a:pt x="385972" y="752892"/>
                  </a:lnTo>
                  <a:lnTo>
                    <a:pt x="371680" y="738596"/>
                  </a:lnTo>
                  <a:lnTo>
                    <a:pt x="362148" y="729064"/>
                  </a:lnTo>
                  <a:lnTo>
                    <a:pt x="309732" y="695708"/>
                  </a:lnTo>
                  <a:lnTo>
                    <a:pt x="290672" y="690944"/>
                  </a:lnTo>
                  <a:lnTo>
                    <a:pt x="276376" y="681416"/>
                  </a:lnTo>
                  <a:lnTo>
                    <a:pt x="271612" y="676648"/>
                  </a:lnTo>
                  <a:lnTo>
                    <a:pt x="276376" y="671884"/>
                  </a:lnTo>
                  <a:lnTo>
                    <a:pt x="281140" y="667120"/>
                  </a:lnTo>
                  <a:lnTo>
                    <a:pt x="295436" y="657588"/>
                  </a:lnTo>
                  <a:lnTo>
                    <a:pt x="300200" y="648060"/>
                  </a:lnTo>
                  <a:lnTo>
                    <a:pt x="300200" y="633764"/>
                  </a:lnTo>
                  <a:lnTo>
                    <a:pt x="295436" y="619468"/>
                  </a:lnTo>
                  <a:lnTo>
                    <a:pt x="295436" y="614704"/>
                  </a:lnTo>
                  <a:lnTo>
                    <a:pt x="300200" y="614704"/>
                  </a:lnTo>
                  <a:lnTo>
                    <a:pt x="309732" y="614704"/>
                  </a:lnTo>
                  <a:lnTo>
                    <a:pt x="333556" y="614704"/>
                  </a:lnTo>
                  <a:lnTo>
                    <a:pt x="376444" y="628996"/>
                  </a:lnTo>
                  <a:lnTo>
                    <a:pt x="381208" y="624232"/>
                  </a:lnTo>
                  <a:lnTo>
                    <a:pt x="405032" y="605172"/>
                  </a:lnTo>
                  <a:lnTo>
                    <a:pt x="414564" y="590876"/>
                  </a:lnTo>
                  <a:lnTo>
                    <a:pt x="419328" y="576580"/>
                  </a:lnTo>
                  <a:lnTo>
                    <a:pt x="424096" y="571816"/>
                  </a:lnTo>
                  <a:lnTo>
                    <a:pt x="433624" y="557520"/>
                  </a:lnTo>
                  <a:lnTo>
                    <a:pt x="438388" y="547992"/>
                  </a:lnTo>
                  <a:lnTo>
                    <a:pt x="428860" y="533696"/>
                  </a:lnTo>
                  <a:lnTo>
                    <a:pt x="424096" y="528932"/>
                  </a:lnTo>
                  <a:lnTo>
                    <a:pt x="419328" y="524164"/>
                  </a:lnTo>
                  <a:lnTo>
                    <a:pt x="400268" y="528932"/>
                  </a:lnTo>
                  <a:lnTo>
                    <a:pt x="395504" y="524164"/>
                  </a:lnTo>
                  <a:lnTo>
                    <a:pt x="395504" y="514636"/>
                  </a:lnTo>
                  <a:lnTo>
                    <a:pt x="390740" y="509868"/>
                  </a:lnTo>
                  <a:lnTo>
                    <a:pt x="385972" y="500340"/>
                  </a:lnTo>
                  <a:lnTo>
                    <a:pt x="366912" y="490808"/>
                  </a:lnTo>
                  <a:lnTo>
                    <a:pt x="352616" y="490808"/>
                  </a:lnTo>
                  <a:lnTo>
                    <a:pt x="347852" y="490808"/>
                  </a:lnTo>
                  <a:lnTo>
                    <a:pt x="352616" y="481280"/>
                  </a:lnTo>
                  <a:lnTo>
                    <a:pt x="366912" y="471748"/>
                  </a:lnTo>
                  <a:lnTo>
                    <a:pt x="376444" y="471748"/>
                  </a:lnTo>
                  <a:lnTo>
                    <a:pt x="381208" y="462220"/>
                  </a:lnTo>
                  <a:lnTo>
                    <a:pt x="381208" y="452688"/>
                  </a:lnTo>
                  <a:lnTo>
                    <a:pt x="371680" y="447924"/>
                  </a:lnTo>
                  <a:lnTo>
                    <a:pt x="362148" y="438392"/>
                  </a:lnTo>
                  <a:lnTo>
                    <a:pt x="343088" y="424096"/>
                  </a:lnTo>
                  <a:lnTo>
                    <a:pt x="319260" y="409800"/>
                  </a:lnTo>
                  <a:lnTo>
                    <a:pt x="304968" y="405036"/>
                  </a:lnTo>
                  <a:lnTo>
                    <a:pt x="300200" y="405036"/>
                  </a:lnTo>
                  <a:lnTo>
                    <a:pt x="271612" y="419332"/>
                  </a:lnTo>
                  <a:lnTo>
                    <a:pt x="257316" y="428864"/>
                  </a:lnTo>
                  <a:lnTo>
                    <a:pt x="247784" y="443156"/>
                  </a:lnTo>
                  <a:lnTo>
                    <a:pt x="233488" y="447924"/>
                  </a:lnTo>
                  <a:lnTo>
                    <a:pt x="204900" y="433628"/>
                  </a:lnTo>
                  <a:lnTo>
                    <a:pt x="166776" y="419332"/>
                  </a:lnTo>
                  <a:lnTo>
                    <a:pt x="152484" y="414568"/>
                  </a:lnTo>
                  <a:lnTo>
                    <a:pt x="114360" y="362152"/>
                  </a:lnTo>
                  <a:lnTo>
                    <a:pt x="109596" y="352620"/>
                  </a:lnTo>
                  <a:lnTo>
                    <a:pt x="114360" y="338324"/>
                  </a:lnTo>
                  <a:lnTo>
                    <a:pt x="114360" y="319264"/>
                  </a:lnTo>
                  <a:lnTo>
                    <a:pt x="119128" y="309736"/>
                  </a:lnTo>
                  <a:lnTo>
                    <a:pt x="128656" y="300204"/>
                  </a:lnTo>
                  <a:lnTo>
                    <a:pt x="128656" y="290672"/>
                  </a:lnTo>
                  <a:lnTo>
                    <a:pt x="128656" y="281144"/>
                  </a:lnTo>
                  <a:lnTo>
                    <a:pt x="123892" y="276380"/>
                  </a:lnTo>
                  <a:lnTo>
                    <a:pt x="114360" y="276380"/>
                  </a:lnTo>
                  <a:lnTo>
                    <a:pt x="109596" y="271612"/>
                  </a:lnTo>
                  <a:lnTo>
                    <a:pt x="104832" y="262084"/>
                  </a:lnTo>
                  <a:lnTo>
                    <a:pt x="100064" y="276380"/>
                  </a:lnTo>
                  <a:lnTo>
                    <a:pt x="95300" y="281144"/>
                  </a:lnTo>
                  <a:lnTo>
                    <a:pt x="85772" y="285908"/>
                  </a:lnTo>
                  <a:lnTo>
                    <a:pt x="81004" y="281144"/>
                  </a:lnTo>
                  <a:lnTo>
                    <a:pt x="76240" y="276380"/>
                  </a:lnTo>
                  <a:lnTo>
                    <a:pt x="76240" y="266848"/>
                  </a:lnTo>
                  <a:lnTo>
                    <a:pt x="71476" y="252552"/>
                  </a:lnTo>
                  <a:lnTo>
                    <a:pt x="71476" y="243024"/>
                  </a:lnTo>
                  <a:lnTo>
                    <a:pt x="52416" y="233492"/>
                  </a:lnTo>
                  <a:lnTo>
                    <a:pt x="47648" y="223960"/>
                  </a:lnTo>
                  <a:lnTo>
                    <a:pt x="23824" y="195372"/>
                  </a:lnTo>
                  <a:lnTo>
                    <a:pt x="4764" y="181076"/>
                  </a:lnTo>
                  <a:lnTo>
                    <a:pt x="0" y="162016"/>
                  </a:lnTo>
                  <a:lnTo>
                    <a:pt x="4764" y="157252"/>
                  </a:lnTo>
                  <a:lnTo>
                    <a:pt x="14292" y="147720"/>
                  </a:lnTo>
                  <a:lnTo>
                    <a:pt x="23824" y="133424"/>
                  </a:lnTo>
                  <a:lnTo>
                    <a:pt x="38120" y="119128"/>
                  </a:lnTo>
                  <a:lnTo>
                    <a:pt x="42884" y="109600"/>
                  </a:lnTo>
                  <a:lnTo>
                    <a:pt x="47648" y="104832"/>
                  </a:lnTo>
                  <a:lnTo>
                    <a:pt x="52416" y="100068"/>
                  </a:lnTo>
                  <a:lnTo>
                    <a:pt x="57180" y="100068"/>
                  </a:lnTo>
                  <a:lnTo>
                    <a:pt x="71476" y="109600"/>
                  </a:lnTo>
                  <a:lnTo>
                    <a:pt x="90536" y="119128"/>
                  </a:lnTo>
                  <a:lnTo>
                    <a:pt x="109596" y="128660"/>
                  </a:lnTo>
                  <a:lnTo>
                    <a:pt x="114360" y="138188"/>
                  </a:lnTo>
                  <a:lnTo>
                    <a:pt x="123892" y="147720"/>
                  </a:lnTo>
                  <a:lnTo>
                    <a:pt x="133420" y="152484"/>
                  </a:lnTo>
                  <a:lnTo>
                    <a:pt x="147716" y="142956"/>
                  </a:lnTo>
                  <a:lnTo>
                    <a:pt x="157248" y="138188"/>
                  </a:lnTo>
                  <a:lnTo>
                    <a:pt x="157248" y="128660"/>
                  </a:lnTo>
                  <a:lnTo>
                    <a:pt x="166776" y="119128"/>
                  </a:lnTo>
                  <a:lnTo>
                    <a:pt x="176308" y="104832"/>
                  </a:lnTo>
                  <a:lnTo>
                    <a:pt x="181072" y="100068"/>
                  </a:lnTo>
                  <a:lnTo>
                    <a:pt x="185840" y="95304"/>
                  </a:lnTo>
                  <a:lnTo>
                    <a:pt x="190604" y="100068"/>
                  </a:lnTo>
                  <a:lnTo>
                    <a:pt x="209664" y="128660"/>
                  </a:lnTo>
                  <a:lnTo>
                    <a:pt x="219192" y="123896"/>
                  </a:lnTo>
                  <a:lnTo>
                    <a:pt x="223960" y="104832"/>
                  </a:lnTo>
                  <a:lnTo>
                    <a:pt x="233488" y="95304"/>
                  </a:lnTo>
                  <a:lnTo>
                    <a:pt x="276376" y="138188"/>
                  </a:lnTo>
                  <a:lnTo>
                    <a:pt x="281140" y="138188"/>
                  </a:lnTo>
                  <a:lnTo>
                    <a:pt x="285904" y="133424"/>
                  </a:lnTo>
                  <a:lnTo>
                    <a:pt x="290672" y="128660"/>
                  </a:lnTo>
                  <a:lnTo>
                    <a:pt x="295436" y="114364"/>
                  </a:lnTo>
                  <a:lnTo>
                    <a:pt x="300200" y="100068"/>
                  </a:lnTo>
                  <a:lnTo>
                    <a:pt x="314496" y="90540"/>
                  </a:lnTo>
                  <a:lnTo>
                    <a:pt x="324028" y="90540"/>
                  </a:lnTo>
                  <a:lnTo>
                    <a:pt x="328792" y="100068"/>
                  </a:lnTo>
                  <a:lnTo>
                    <a:pt x="338324" y="104832"/>
                  </a:lnTo>
                  <a:lnTo>
                    <a:pt x="347852" y="109600"/>
                  </a:lnTo>
                  <a:lnTo>
                    <a:pt x="371680" y="90540"/>
                  </a:lnTo>
                  <a:lnTo>
                    <a:pt x="381208" y="90540"/>
                  </a:lnTo>
                  <a:lnTo>
                    <a:pt x="390740" y="90540"/>
                  </a:lnTo>
                  <a:lnTo>
                    <a:pt x="400268" y="90540"/>
                  </a:lnTo>
                  <a:lnTo>
                    <a:pt x="405032" y="81008"/>
                  </a:lnTo>
                  <a:lnTo>
                    <a:pt x="414564" y="71476"/>
                  </a:lnTo>
                  <a:lnTo>
                    <a:pt x="419328" y="57184"/>
                  </a:lnTo>
                  <a:lnTo>
                    <a:pt x="419328" y="42888"/>
                  </a:lnTo>
                  <a:lnTo>
                    <a:pt x="424096" y="33356"/>
                  </a:lnTo>
                  <a:lnTo>
                    <a:pt x="433624" y="33356"/>
                  </a:lnTo>
                  <a:lnTo>
                    <a:pt x="447920" y="23828"/>
                  </a:lnTo>
                  <a:lnTo>
                    <a:pt x="476512" y="9532"/>
                  </a:lnTo>
                  <a:lnTo>
                    <a:pt x="486040" y="4768"/>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0" name="Google Shape;4957;p64">
              <a:extLst>
                <a:ext uri="{FF2B5EF4-FFF2-40B4-BE49-F238E27FC236}">
                  <a16:creationId xmlns:a16="http://schemas.microsoft.com/office/drawing/2014/main" id="{377C3428-A45B-07BC-3756-FBA9505DD239}"/>
                </a:ext>
              </a:extLst>
            </p:cNvPr>
            <p:cNvSpPr/>
            <p:nvPr/>
          </p:nvSpPr>
          <p:spPr>
            <a:xfrm>
              <a:off x="8107461" y="5287088"/>
              <a:ext cx="72194" cy="147014"/>
            </a:xfrm>
            <a:custGeom>
              <a:avLst/>
              <a:gdLst/>
              <a:ahLst/>
              <a:cxnLst/>
              <a:rect l="l" t="t" r="r" b="b"/>
              <a:pathLst>
                <a:path w="524160" h="1067388" extrusionOk="0">
                  <a:moveTo>
                    <a:pt x="500336" y="1053092"/>
                  </a:moveTo>
                  <a:lnTo>
                    <a:pt x="514632" y="1053092"/>
                  </a:lnTo>
                  <a:lnTo>
                    <a:pt x="519396" y="1053092"/>
                  </a:lnTo>
                  <a:lnTo>
                    <a:pt x="524160" y="1057856"/>
                  </a:lnTo>
                  <a:lnTo>
                    <a:pt x="519396" y="1067388"/>
                  </a:lnTo>
                  <a:lnTo>
                    <a:pt x="509868" y="1067388"/>
                  </a:lnTo>
                  <a:lnTo>
                    <a:pt x="500336" y="1062622"/>
                  </a:lnTo>
                  <a:close/>
                  <a:moveTo>
                    <a:pt x="428860" y="914904"/>
                  </a:moveTo>
                  <a:lnTo>
                    <a:pt x="438388" y="914904"/>
                  </a:lnTo>
                  <a:lnTo>
                    <a:pt x="438388" y="938728"/>
                  </a:lnTo>
                  <a:lnTo>
                    <a:pt x="462216" y="953024"/>
                  </a:lnTo>
                  <a:lnTo>
                    <a:pt x="452684" y="967320"/>
                  </a:lnTo>
                  <a:lnTo>
                    <a:pt x="438388" y="962554"/>
                  </a:lnTo>
                  <a:lnTo>
                    <a:pt x="424096" y="953024"/>
                  </a:lnTo>
                  <a:lnTo>
                    <a:pt x="419328" y="938728"/>
                  </a:lnTo>
                  <a:lnTo>
                    <a:pt x="424096" y="919668"/>
                  </a:lnTo>
                  <a:close/>
                  <a:moveTo>
                    <a:pt x="385972" y="800540"/>
                  </a:moveTo>
                  <a:lnTo>
                    <a:pt x="400268" y="800540"/>
                  </a:lnTo>
                  <a:lnTo>
                    <a:pt x="405032" y="800540"/>
                  </a:lnTo>
                  <a:lnTo>
                    <a:pt x="414564" y="814836"/>
                  </a:lnTo>
                  <a:lnTo>
                    <a:pt x="424096" y="824366"/>
                  </a:lnTo>
                  <a:lnTo>
                    <a:pt x="414564" y="829132"/>
                  </a:lnTo>
                  <a:lnTo>
                    <a:pt x="428860" y="838662"/>
                  </a:lnTo>
                  <a:lnTo>
                    <a:pt x="438392" y="852956"/>
                  </a:lnTo>
                  <a:lnTo>
                    <a:pt x="428860" y="857722"/>
                  </a:lnTo>
                  <a:lnTo>
                    <a:pt x="424096" y="857722"/>
                  </a:lnTo>
                  <a:lnTo>
                    <a:pt x="381208" y="838662"/>
                  </a:lnTo>
                  <a:lnTo>
                    <a:pt x="385972" y="833896"/>
                  </a:lnTo>
                  <a:lnTo>
                    <a:pt x="381208" y="814836"/>
                  </a:lnTo>
                  <a:close/>
                  <a:moveTo>
                    <a:pt x="295436" y="619466"/>
                  </a:moveTo>
                  <a:lnTo>
                    <a:pt x="314496" y="643292"/>
                  </a:lnTo>
                  <a:lnTo>
                    <a:pt x="319260" y="648056"/>
                  </a:lnTo>
                  <a:lnTo>
                    <a:pt x="309732" y="662352"/>
                  </a:lnTo>
                  <a:lnTo>
                    <a:pt x="290672" y="667116"/>
                  </a:lnTo>
                  <a:lnTo>
                    <a:pt x="266844" y="662352"/>
                  </a:lnTo>
                  <a:lnTo>
                    <a:pt x="276376" y="657586"/>
                  </a:lnTo>
                  <a:lnTo>
                    <a:pt x="271608" y="648056"/>
                  </a:lnTo>
                  <a:lnTo>
                    <a:pt x="262080" y="648056"/>
                  </a:lnTo>
                  <a:lnTo>
                    <a:pt x="257316" y="648056"/>
                  </a:lnTo>
                  <a:lnTo>
                    <a:pt x="252548" y="648056"/>
                  </a:lnTo>
                  <a:lnTo>
                    <a:pt x="257316" y="638526"/>
                  </a:lnTo>
                  <a:lnTo>
                    <a:pt x="271608" y="624232"/>
                  </a:lnTo>
                  <a:lnTo>
                    <a:pt x="276376" y="624232"/>
                  </a:lnTo>
                  <a:lnTo>
                    <a:pt x="281140" y="624232"/>
                  </a:lnTo>
                  <a:close/>
                  <a:moveTo>
                    <a:pt x="257316" y="466980"/>
                  </a:moveTo>
                  <a:lnTo>
                    <a:pt x="262080" y="471746"/>
                  </a:lnTo>
                  <a:lnTo>
                    <a:pt x="266844" y="481276"/>
                  </a:lnTo>
                  <a:lnTo>
                    <a:pt x="276376" y="481276"/>
                  </a:lnTo>
                  <a:lnTo>
                    <a:pt x="285904" y="495572"/>
                  </a:lnTo>
                  <a:lnTo>
                    <a:pt x="300200" y="495572"/>
                  </a:lnTo>
                  <a:lnTo>
                    <a:pt x="300200" y="500336"/>
                  </a:lnTo>
                  <a:lnTo>
                    <a:pt x="300200" y="505102"/>
                  </a:lnTo>
                  <a:lnTo>
                    <a:pt x="276376" y="500336"/>
                  </a:lnTo>
                  <a:lnTo>
                    <a:pt x="262080" y="500336"/>
                  </a:lnTo>
                  <a:lnTo>
                    <a:pt x="257316" y="500336"/>
                  </a:lnTo>
                  <a:lnTo>
                    <a:pt x="252548" y="495572"/>
                  </a:lnTo>
                  <a:lnTo>
                    <a:pt x="247784" y="481276"/>
                  </a:lnTo>
                  <a:lnTo>
                    <a:pt x="247784" y="471746"/>
                  </a:lnTo>
                  <a:close/>
                  <a:moveTo>
                    <a:pt x="252548" y="381208"/>
                  </a:moveTo>
                  <a:lnTo>
                    <a:pt x="257316" y="390740"/>
                  </a:lnTo>
                  <a:lnTo>
                    <a:pt x="266844" y="409800"/>
                  </a:lnTo>
                  <a:lnTo>
                    <a:pt x="271608" y="414564"/>
                  </a:lnTo>
                  <a:lnTo>
                    <a:pt x="276376" y="419330"/>
                  </a:lnTo>
                  <a:lnTo>
                    <a:pt x="276376" y="424094"/>
                  </a:lnTo>
                  <a:lnTo>
                    <a:pt x="257316" y="428860"/>
                  </a:lnTo>
                  <a:lnTo>
                    <a:pt x="233488" y="419330"/>
                  </a:lnTo>
                  <a:lnTo>
                    <a:pt x="219192" y="414564"/>
                  </a:lnTo>
                  <a:lnTo>
                    <a:pt x="219192" y="405034"/>
                  </a:lnTo>
                  <a:lnTo>
                    <a:pt x="223960" y="400270"/>
                  </a:lnTo>
                  <a:lnTo>
                    <a:pt x="238252" y="400270"/>
                  </a:lnTo>
                  <a:close/>
                  <a:moveTo>
                    <a:pt x="109596" y="347852"/>
                  </a:moveTo>
                  <a:lnTo>
                    <a:pt x="123892" y="357384"/>
                  </a:lnTo>
                  <a:lnTo>
                    <a:pt x="133420" y="385974"/>
                  </a:lnTo>
                  <a:lnTo>
                    <a:pt x="142952" y="390740"/>
                  </a:lnTo>
                  <a:lnTo>
                    <a:pt x="147716" y="390740"/>
                  </a:lnTo>
                  <a:lnTo>
                    <a:pt x="147716" y="395504"/>
                  </a:lnTo>
                  <a:lnTo>
                    <a:pt x="171544" y="414564"/>
                  </a:lnTo>
                  <a:lnTo>
                    <a:pt x="176308" y="414564"/>
                  </a:lnTo>
                  <a:lnTo>
                    <a:pt x="181072" y="419330"/>
                  </a:lnTo>
                  <a:lnTo>
                    <a:pt x="195368" y="424096"/>
                  </a:lnTo>
                  <a:lnTo>
                    <a:pt x="195368" y="433626"/>
                  </a:lnTo>
                  <a:lnTo>
                    <a:pt x="200132" y="443156"/>
                  </a:lnTo>
                  <a:lnTo>
                    <a:pt x="190604" y="452686"/>
                  </a:lnTo>
                  <a:lnTo>
                    <a:pt x="166776" y="452686"/>
                  </a:lnTo>
                  <a:lnTo>
                    <a:pt x="152480" y="462216"/>
                  </a:lnTo>
                  <a:lnTo>
                    <a:pt x="142952" y="462216"/>
                  </a:lnTo>
                  <a:lnTo>
                    <a:pt x="138188" y="452686"/>
                  </a:lnTo>
                  <a:lnTo>
                    <a:pt x="142952" y="452686"/>
                  </a:lnTo>
                  <a:lnTo>
                    <a:pt x="133420" y="433626"/>
                  </a:lnTo>
                  <a:lnTo>
                    <a:pt x="128656" y="409800"/>
                  </a:lnTo>
                  <a:lnTo>
                    <a:pt x="123892" y="395504"/>
                  </a:lnTo>
                  <a:lnTo>
                    <a:pt x="119124" y="390740"/>
                  </a:lnTo>
                  <a:lnTo>
                    <a:pt x="109596" y="395504"/>
                  </a:lnTo>
                  <a:lnTo>
                    <a:pt x="104832" y="395504"/>
                  </a:lnTo>
                  <a:lnTo>
                    <a:pt x="95300" y="381208"/>
                  </a:lnTo>
                  <a:lnTo>
                    <a:pt x="100064" y="357384"/>
                  </a:lnTo>
                  <a:lnTo>
                    <a:pt x="104832" y="352618"/>
                  </a:lnTo>
                  <a:close/>
                  <a:moveTo>
                    <a:pt x="90536" y="309732"/>
                  </a:moveTo>
                  <a:lnTo>
                    <a:pt x="109596" y="314498"/>
                  </a:lnTo>
                  <a:lnTo>
                    <a:pt x="104832" y="324028"/>
                  </a:lnTo>
                  <a:lnTo>
                    <a:pt x="104832" y="328792"/>
                  </a:lnTo>
                  <a:lnTo>
                    <a:pt x="85768" y="319262"/>
                  </a:lnTo>
                  <a:close/>
                  <a:moveTo>
                    <a:pt x="252548" y="281142"/>
                  </a:moveTo>
                  <a:lnTo>
                    <a:pt x="257316" y="290672"/>
                  </a:lnTo>
                  <a:lnTo>
                    <a:pt x="271608" y="352618"/>
                  </a:lnTo>
                  <a:lnTo>
                    <a:pt x="266844" y="362148"/>
                  </a:lnTo>
                  <a:lnTo>
                    <a:pt x="262080" y="366914"/>
                  </a:lnTo>
                  <a:lnTo>
                    <a:pt x="257316" y="366914"/>
                  </a:lnTo>
                  <a:lnTo>
                    <a:pt x="257316" y="357384"/>
                  </a:lnTo>
                  <a:lnTo>
                    <a:pt x="247784" y="319262"/>
                  </a:lnTo>
                  <a:close/>
                  <a:moveTo>
                    <a:pt x="228724" y="252552"/>
                  </a:moveTo>
                  <a:lnTo>
                    <a:pt x="214428" y="276376"/>
                  </a:lnTo>
                  <a:lnTo>
                    <a:pt x="204896" y="285908"/>
                  </a:lnTo>
                  <a:lnTo>
                    <a:pt x="185836" y="285908"/>
                  </a:lnTo>
                  <a:lnTo>
                    <a:pt x="176308" y="281142"/>
                  </a:lnTo>
                  <a:lnTo>
                    <a:pt x="200132" y="257316"/>
                  </a:lnTo>
                  <a:close/>
                  <a:moveTo>
                    <a:pt x="247784" y="204900"/>
                  </a:moveTo>
                  <a:lnTo>
                    <a:pt x="257312" y="238256"/>
                  </a:lnTo>
                  <a:lnTo>
                    <a:pt x="257312" y="262082"/>
                  </a:lnTo>
                  <a:lnTo>
                    <a:pt x="257312" y="271612"/>
                  </a:lnTo>
                  <a:lnTo>
                    <a:pt x="247784" y="257316"/>
                  </a:lnTo>
                  <a:lnTo>
                    <a:pt x="243020" y="209666"/>
                  </a:lnTo>
                  <a:close/>
                  <a:moveTo>
                    <a:pt x="9528" y="147718"/>
                  </a:moveTo>
                  <a:lnTo>
                    <a:pt x="19060" y="166778"/>
                  </a:lnTo>
                  <a:lnTo>
                    <a:pt x="33352" y="181074"/>
                  </a:lnTo>
                  <a:lnTo>
                    <a:pt x="42884" y="233490"/>
                  </a:lnTo>
                  <a:lnTo>
                    <a:pt x="52416" y="233490"/>
                  </a:lnTo>
                  <a:lnTo>
                    <a:pt x="61944" y="228724"/>
                  </a:lnTo>
                  <a:lnTo>
                    <a:pt x="66708" y="219194"/>
                  </a:lnTo>
                  <a:lnTo>
                    <a:pt x="71476" y="200134"/>
                  </a:lnTo>
                  <a:lnTo>
                    <a:pt x="76240" y="195370"/>
                  </a:lnTo>
                  <a:lnTo>
                    <a:pt x="85772" y="195370"/>
                  </a:lnTo>
                  <a:lnTo>
                    <a:pt x="81004" y="204900"/>
                  </a:lnTo>
                  <a:lnTo>
                    <a:pt x="81004" y="219194"/>
                  </a:lnTo>
                  <a:lnTo>
                    <a:pt x="90536" y="228724"/>
                  </a:lnTo>
                  <a:lnTo>
                    <a:pt x="100064" y="271612"/>
                  </a:lnTo>
                  <a:lnTo>
                    <a:pt x="104832" y="281142"/>
                  </a:lnTo>
                  <a:lnTo>
                    <a:pt x="104832" y="285906"/>
                  </a:lnTo>
                  <a:lnTo>
                    <a:pt x="85772" y="300202"/>
                  </a:lnTo>
                  <a:lnTo>
                    <a:pt x="61944" y="300202"/>
                  </a:lnTo>
                  <a:lnTo>
                    <a:pt x="42884" y="309732"/>
                  </a:lnTo>
                  <a:lnTo>
                    <a:pt x="33352" y="309732"/>
                  </a:lnTo>
                  <a:lnTo>
                    <a:pt x="33352" y="300202"/>
                  </a:lnTo>
                  <a:lnTo>
                    <a:pt x="23824" y="290672"/>
                  </a:lnTo>
                  <a:lnTo>
                    <a:pt x="14292" y="271612"/>
                  </a:lnTo>
                  <a:lnTo>
                    <a:pt x="14292" y="243020"/>
                  </a:lnTo>
                  <a:lnTo>
                    <a:pt x="0" y="181074"/>
                  </a:lnTo>
                  <a:lnTo>
                    <a:pt x="0" y="171544"/>
                  </a:lnTo>
                  <a:lnTo>
                    <a:pt x="4764" y="152484"/>
                  </a:lnTo>
                  <a:close/>
                  <a:moveTo>
                    <a:pt x="152480" y="71476"/>
                  </a:moveTo>
                  <a:lnTo>
                    <a:pt x="166776" y="76242"/>
                  </a:lnTo>
                  <a:lnTo>
                    <a:pt x="162012" y="90536"/>
                  </a:lnTo>
                  <a:lnTo>
                    <a:pt x="157248" y="95302"/>
                  </a:lnTo>
                  <a:lnTo>
                    <a:pt x="138188" y="95302"/>
                  </a:lnTo>
                  <a:lnTo>
                    <a:pt x="133420" y="90536"/>
                  </a:lnTo>
                  <a:lnTo>
                    <a:pt x="133420" y="76242"/>
                  </a:lnTo>
                  <a:lnTo>
                    <a:pt x="138188" y="76242"/>
                  </a:lnTo>
                  <a:close/>
                  <a:moveTo>
                    <a:pt x="147716" y="0"/>
                  </a:moveTo>
                  <a:lnTo>
                    <a:pt x="157248" y="9530"/>
                  </a:lnTo>
                  <a:lnTo>
                    <a:pt x="157248" y="19060"/>
                  </a:lnTo>
                  <a:lnTo>
                    <a:pt x="157248" y="23824"/>
                  </a:lnTo>
                  <a:lnTo>
                    <a:pt x="147716" y="28590"/>
                  </a:lnTo>
                  <a:lnTo>
                    <a:pt x="147716" y="33356"/>
                  </a:lnTo>
                  <a:lnTo>
                    <a:pt x="142952" y="33356"/>
                  </a:lnTo>
                  <a:lnTo>
                    <a:pt x="133420" y="14294"/>
                  </a:lnTo>
                  <a:lnTo>
                    <a:pt x="13342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1" name="Google Shape;4958;p64">
              <a:extLst>
                <a:ext uri="{FF2B5EF4-FFF2-40B4-BE49-F238E27FC236}">
                  <a16:creationId xmlns:a16="http://schemas.microsoft.com/office/drawing/2014/main" id="{A19FAE5A-FC41-171F-F711-B2E335E5F8CC}"/>
                </a:ext>
              </a:extLst>
            </p:cNvPr>
            <p:cNvSpPr/>
            <p:nvPr/>
          </p:nvSpPr>
          <p:spPr>
            <a:xfrm>
              <a:off x="5442495" y="4573346"/>
              <a:ext cx="255306" cy="148983"/>
            </a:xfrm>
            <a:custGeom>
              <a:avLst/>
              <a:gdLst/>
              <a:ahLst/>
              <a:cxnLst/>
              <a:rect l="l" t="t" r="r" b="b"/>
              <a:pathLst>
                <a:path w="1853632" h="1081684" extrusionOk="0">
                  <a:moveTo>
                    <a:pt x="1701148" y="1019736"/>
                  </a:moveTo>
                  <a:lnTo>
                    <a:pt x="1715444" y="1019736"/>
                  </a:lnTo>
                  <a:lnTo>
                    <a:pt x="1734504" y="1034032"/>
                  </a:lnTo>
                  <a:lnTo>
                    <a:pt x="1744036" y="1034032"/>
                  </a:lnTo>
                  <a:lnTo>
                    <a:pt x="1758332" y="1029266"/>
                  </a:lnTo>
                  <a:lnTo>
                    <a:pt x="1801216" y="1029266"/>
                  </a:lnTo>
                  <a:lnTo>
                    <a:pt x="1853632" y="1048326"/>
                  </a:lnTo>
                  <a:lnTo>
                    <a:pt x="1844104" y="1048326"/>
                  </a:lnTo>
                  <a:lnTo>
                    <a:pt x="1839340" y="1057858"/>
                  </a:lnTo>
                  <a:lnTo>
                    <a:pt x="1815512" y="1062622"/>
                  </a:lnTo>
                  <a:lnTo>
                    <a:pt x="1791688" y="1076918"/>
                  </a:lnTo>
                  <a:lnTo>
                    <a:pt x="1729740" y="1081684"/>
                  </a:lnTo>
                  <a:lnTo>
                    <a:pt x="1710680" y="1076918"/>
                  </a:lnTo>
                  <a:lnTo>
                    <a:pt x="1696384" y="1067388"/>
                  </a:lnTo>
                  <a:lnTo>
                    <a:pt x="1667792" y="1048326"/>
                  </a:lnTo>
                  <a:lnTo>
                    <a:pt x="1677324" y="1038796"/>
                  </a:lnTo>
                  <a:lnTo>
                    <a:pt x="1682088" y="1034032"/>
                  </a:lnTo>
                  <a:lnTo>
                    <a:pt x="1682088" y="1029266"/>
                  </a:lnTo>
                  <a:close/>
                  <a:moveTo>
                    <a:pt x="1458128" y="0"/>
                  </a:moveTo>
                  <a:lnTo>
                    <a:pt x="1462892" y="14294"/>
                  </a:lnTo>
                  <a:lnTo>
                    <a:pt x="1472424" y="33354"/>
                  </a:lnTo>
                  <a:lnTo>
                    <a:pt x="1486720" y="66710"/>
                  </a:lnTo>
                  <a:lnTo>
                    <a:pt x="1491484" y="81006"/>
                  </a:lnTo>
                  <a:lnTo>
                    <a:pt x="1496248" y="100066"/>
                  </a:lnTo>
                  <a:lnTo>
                    <a:pt x="1505780" y="114362"/>
                  </a:lnTo>
                  <a:lnTo>
                    <a:pt x="1510544" y="133422"/>
                  </a:lnTo>
                  <a:lnTo>
                    <a:pt x="1524840" y="162014"/>
                  </a:lnTo>
                  <a:lnTo>
                    <a:pt x="1534372" y="181074"/>
                  </a:lnTo>
                  <a:lnTo>
                    <a:pt x="1539136" y="195370"/>
                  </a:lnTo>
                  <a:lnTo>
                    <a:pt x="1562960" y="247786"/>
                  </a:lnTo>
                  <a:lnTo>
                    <a:pt x="1567728" y="262082"/>
                  </a:lnTo>
                  <a:lnTo>
                    <a:pt x="1572492" y="276376"/>
                  </a:lnTo>
                  <a:lnTo>
                    <a:pt x="1586788" y="285906"/>
                  </a:lnTo>
                  <a:lnTo>
                    <a:pt x="1591552" y="300202"/>
                  </a:lnTo>
                  <a:lnTo>
                    <a:pt x="1601084" y="319262"/>
                  </a:lnTo>
                  <a:lnTo>
                    <a:pt x="1610612" y="343088"/>
                  </a:lnTo>
                  <a:lnTo>
                    <a:pt x="1620144" y="362148"/>
                  </a:lnTo>
                  <a:lnTo>
                    <a:pt x="1629672" y="385974"/>
                  </a:lnTo>
                  <a:lnTo>
                    <a:pt x="1553432" y="414566"/>
                  </a:lnTo>
                  <a:lnTo>
                    <a:pt x="1529604" y="428860"/>
                  </a:lnTo>
                  <a:lnTo>
                    <a:pt x="1510544" y="443156"/>
                  </a:lnTo>
                  <a:lnTo>
                    <a:pt x="1496248" y="462216"/>
                  </a:lnTo>
                  <a:lnTo>
                    <a:pt x="1486720" y="495572"/>
                  </a:lnTo>
                  <a:lnTo>
                    <a:pt x="1496248" y="528928"/>
                  </a:lnTo>
                  <a:lnTo>
                    <a:pt x="1496248" y="547988"/>
                  </a:lnTo>
                  <a:lnTo>
                    <a:pt x="1472424" y="557520"/>
                  </a:lnTo>
                  <a:lnTo>
                    <a:pt x="1453364" y="567050"/>
                  </a:lnTo>
                  <a:lnTo>
                    <a:pt x="1434304" y="576580"/>
                  </a:lnTo>
                  <a:lnTo>
                    <a:pt x="1420008" y="581344"/>
                  </a:lnTo>
                  <a:lnTo>
                    <a:pt x="1410476" y="590874"/>
                  </a:lnTo>
                  <a:lnTo>
                    <a:pt x="1400948" y="595640"/>
                  </a:lnTo>
                  <a:lnTo>
                    <a:pt x="1353296" y="614700"/>
                  </a:lnTo>
                  <a:lnTo>
                    <a:pt x="1305644" y="628996"/>
                  </a:lnTo>
                  <a:lnTo>
                    <a:pt x="1229404" y="648056"/>
                  </a:lnTo>
                  <a:lnTo>
                    <a:pt x="1200812" y="662352"/>
                  </a:lnTo>
                  <a:lnTo>
                    <a:pt x="1176984" y="676648"/>
                  </a:lnTo>
                  <a:lnTo>
                    <a:pt x="1134100" y="681412"/>
                  </a:lnTo>
                  <a:lnTo>
                    <a:pt x="1076920" y="695708"/>
                  </a:lnTo>
                  <a:lnTo>
                    <a:pt x="1048328" y="710004"/>
                  </a:lnTo>
                  <a:lnTo>
                    <a:pt x="1010208" y="733828"/>
                  </a:lnTo>
                  <a:lnTo>
                    <a:pt x="1000676" y="738594"/>
                  </a:lnTo>
                  <a:lnTo>
                    <a:pt x="991144" y="757654"/>
                  </a:lnTo>
                  <a:lnTo>
                    <a:pt x="981616" y="771950"/>
                  </a:lnTo>
                  <a:lnTo>
                    <a:pt x="957788" y="795776"/>
                  </a:lnTo>
                  <a:lnTo>
                    <a:pt x="938728" y="805306"/>
                  </a:lnTo>
                  <a:lnTo>
                    <a:pt x="929200" y="805306"/>
                  </a:lnTo>
                  <a:lnTo>
                    <a:pt x="905372" y="814836"/>
                  </a:lnTo>
                  <a:lnTo>
                    <a:pt x="876784" y="814836"/>
                  </a:lnTo>
                  <a:lnTo>
                    <a:pt x="833896" y="805306"/>
                  </a:lnTo>
                  <a:lnTo>
                    <a:pt x="824368" y="810070"/>
                  </a:lnTo>
                  <a:lnTo>
                    <a:pt x="814836" y="819602"/>
                  </a:lnTo>
                  <a:lnTo>
                    <a:pt x="776716" y="838662"/>
                  </a:lnTo>
                  <a:lnTo>
                    <a:pt x="743360" y="867252"/>
                  </a:lnTo>
                  <a:lnTo>
                    <a:pt x="719532" y="876782"/>
                  </a:lnTo>
                  <a:lnTo>
                    <a:pt x="676648" y="886312"/>
                  </a:lnTo>
                  <a:lnTo>
                    <a:pt x="648056" y="900608"/>
                  </a:lnTo>
                  <a:lnTo>
                    <a:pt x="628996" y="905374"/>
                  </a:lnTo>
                  <a:lnTo>
                    <a:pt x="600404" y="905374"/>
                  </a:lnTo>
                  <a:lnTo>
                    <a:pt x="557520" y="905374"/>
                  </a:lnTo>
                  <a:lnTo>
                    <a:pt x="509868" y="910138"/>
                  </a:lnTo>
                  <a:lnTo>
                    <a:pt x="471748" y="919668"/>
                  </a:lnTo>
                  <a:lnTo>
                    <a:pt x="452688" y="938730"/>
                  </a:lnTo>
                  <a:lnTo>
                    <a:pt x="428860" y="962554"/>
                  </a:lnTo>
                  <a:lnTo>
                    <a:pt x="395504" y="976850"/>
                  </a:lnTo>
                  <a:lnTo>
                    <a:pt x="385976" y="981616"/>
                  </a:lnTo>
                  <a:lnTo>
                    <a:pt x="371680" y="1005442"/>
                  </a:lnTo>
                  <a:lnTo>
                    <a:pt x="347852" y="1010206"/>
                  </a:lnTo>
                  <a:lnTo>
                    <a:pt x="328792" y="1010206"/>
                  </a:lnTo>
                  <a:lnTo>
                    <a:pt x="309732" y="1005442"/>
                  </a:lnTo>
                  <a:lnTo>
                    <a:pt x="266848" y="1029266"/>
                  </a:lnTo>
                  <a:lnTo>
                    <a:pt x="252552" y="1029266"/>
                  </a:lnTo>
                  <a:lnTo>
                    <a:pt x="228724" y="1034032"/>
                  </a:lnTo>
                  <a:lnTo>
                    <a:pt x="209664" y="1038796"/>
                  </a:lnTo>
                  <a:lnTo>
                    <a:pt x="200136" y="1034032"/>
                  </a:lnTo>
                  <a:lnTo>
                    <a:pt x="185840" y="1024502"/>
                  </a:lnTo>
                  <a:lnTo>
                    <a:pt x="152484" y="1014972"/>
                  </a:lnTo>
                  <a:lnTo>
                    <a:pt x="128656" y="1024502"/>
                  </a:lnTo>
                  <a:lnTo>
                    <a:pt x="128656" y="1000676"/>
                  </a:lnTo>
                  <a:lnTo>
                    <a:pt x="90536" y="929200"/>
                  </a:lnTo>
                  <a:lnTo>
                    <a:pt x="100068" y="872018"/>
                  </a:lnTo>
                  <a:lnTo>
                    <a:pt x="100068" y="862488"/>
                  </a:lnTo>
                  <a:lnTo>
                    <a:pt x="90536" y="838662"/>
                  </a:lnTo>
                  <a:lnTo>
                    <a:pt x="66712" y="810070"/>
                  </a:lnTo>
                  <a:lnTo>
                    <a:pt x="71476" y="781480"/>
                  </a:lnTo>
                  <a:lnTo>
                    <a:pt x="61944" y="757654"/>
                  </a:lnTo>
                  <a:lnTo>
                    <a:pt x="57180" y="733828"/>
                  </a:lnTo>
                  <a:lnTo>
                    <a:pt x="57180" y="729064"/>
                  </a:lnTo>
                  <a:lnTo>
                    <a:pt x="57180" y="724298"/>
                  </a:lnTo>
                  <a:lnTo>
                    <a:pt x="47652" y="690942"/>
                  </a:lnTo>
                  <a:lnTo>
                    <a:pt x="42884" y="681412"/>
                  </a:lnTo>
                  <a:lnTo>
                    <a:pt x="42884" y="676648"/>
                  </a:lnTo>
                  <a:lnTo>
                    <a:pt x="42884" y="667116"/>
                  </a:lnTo>
                  <a:lnTo>
                    <a:pt x="42884" y="662352"/>
                  </a:lnTo>
                  <a:lnTo>
                    <a:pt x="38120" y="652822"/>
                  </a:lnTo>
                  <a:lnTo>
                    <a:pt x="33356" y="628996"/>
                  </a:lnTo>
                  <a:lnTo>
                    <a:pt x="0" y="614700"/>
                  </a:lnTo>
                  <a:lnTo>
                    <a:pt x="9528" y="600406"/>
                  </a:lnTo>
                  <a:lnTo>
                    <a:pt x="14296" y="605170"/>
                  </a:lnTo>
                  <a:lnTo>
                    <a:pt x="23824" y="609936"/>
                  </a:lnTo>
                  <a:lnTo>
                    <a:pt x="23824" y="600406"/>
                  </a:lnTo>
                  <a:lnTo>
                    <a:pt x="23824" y="590874"/>
                  </a:lnTo>
                  <a:lnTo>
                    <a:pt x="9528" y="547988"/>
                  </a:lnTo>
                  <a:lnTo>
                    <a:pt x="28588" y="486042"/>
                  </a:lnTo>
                  <a:lnTo>
                    <a:pt x="23824" y="428860"/>
                  </a:lnTo>
                  <a:lnTo>
                    <a:pt x="52416" y="405034"/>
                  </a:lnTo>
                  <a:lnTo>
                    <a:pt x="61944" y="400270"/>
                  </a:lnTo>
                  <a:lnTo>
                    <a:pt x="66712" y="395504"/>
                  </a:lnTo>
                  <a:lnTo>
                    <a:pt x="71476" y="381210"/>
                  </a:lnTo>
                  <a:lnTo>
                    <a:pt x="81008" y="376444"/>
                  </a:lnTo>
                  <a:lnTo>
                    <a:pt x="85772" y="366914"/>
                  </a:lnTo>
                  <a:lnTo>
                    <a:pt x="85772" y="357384"/>
                  </a:lnTo>
                  <a:lnTo>
                    <a:pt x="76240" y="352618"/>
                  </a:lnTo>
                  <a:lnTo>
                    <a:pt x="71476" y="338324"/>
                  </a:lnTo>
                  <a:lnTo>
                    <a:pt x="76240" y="314498"/>
                  </a:lnTo>
                  <a:lnTo>
                    <a:pt x="76240" y="309732"/>
                  </a:lnTo>
                  <a:lnTo>
                    <a:pt x="81008" y="295436"/>
                  </a:lnTo>
                  <a:lnTo>
                    <a:pt x="90536" y="285906"/>
                  </a:lnTo>
                  <a:lnTo>
                    <a:pt x="85772" y="276376"/>
                  </a:lnTo>
                  <a:lnTo>
                    <a:pt x="85772" y="266846"/>
                  </a:lnTo>
                  <a:lnTo>
                    <a:pt x="100068" y="252550"/>
                  </a:lnTo>
                  <a:lnTo>
                    <a:pt x="109596" y="247786"/>
                  </a:lnTo>
                  <a:lnTo>
                    <a:pt x="119128" y="243020"/>
                  </a:lnTo>
                  <a:lnTo>
                    <a:pt x="128656" y="243020"/>
                  </a:lnTo>
                  <a:lnTo>
                    <a:pt x="138188" y="247786"/>
                  </a:lnTo>
                  <a:lnTo>
                    <a:pt x="147716" y="247786"/>
                  </a:lnTo>
                  <a:lnTo>
                    <a:pt x="166780" y="266846"/>
                  </a:lnTo>
                  <a:lnTo>
                    <a:pt x="181072" y="271612"/>
                  </a:lnTo>
                  <a:lnTo>
                    <a:pt x="190604" y="271612"/>
                  </a:lnTo>
                  <a:lnTo>
                    <a:pt x="200136" y="276376"/>
                  </a:lnTo>
                  <a:lnTo>
                    <a:pt x="204900" y="271612"/>
                  </a:lnTo>
                  <a:lnTo>
                    <a:pt x="214428" y="266846"/>
                  </a:lnTo>
                  <a:lnTo>
                    <a:pt x="223960" y="266846"/>
                  </a:lnTo>
                  <a:lnTo>
                    <a:pt x="233492" y="262082"/>
                  </a:lnTo>
                  <a:lnTo>
                    <a:pt x="266848" y="257316"/>
                  </a:lnTo>
                  <a:lnTo>
                    <a:pt x="295436" y="262082"/>
                  </a:lnTo>
                  <a:lnTo>
                    <a:pt x="328792" y="257316"/>
                  </a:lnTo>
                  <a:lnTo>
                    <a:pt x="357384" y="257316"/>
                  </a:lnTo>
                  <a:lnTo>
                    <a:pt x="390740" y="257316"/>
                  </a:lnTo>
                  <a:lnTo>
                    <a:pt x="395504" y="257316"/>
                  </a:lnTo>
                  <a:lnTo>
                    <a:pt x="405036" y="262082"/>
                  </a:lnTo>
                  <a:lnTo>
                    <a:pt x="428860" y="276376"/>
                  </a:lnTo>
                  <a:lnTo>
                    <a:pt x="452688" y="276376"/>
                  </a:lnTo>
                  <a:lnTo>
                    <a:pt x="490808" y="281142"/>
                  </a:lnTo>
                  <a:lnTo>
                    <a:pt x="533692" y="285906"/>
                  </a:lnTo>
                  <a:lnTo>
                    <a:pt x="571816" y="290672"/>
                  </a:lnTo>
                  <a:lnTo>
                    <a:pt x="605172" y="285906"/>
                  </a:lnTo>
                  <a:lnTo>
                    <a:pt x="628996" y="285906"/>
                  </a:lnTo>
                  <a:lnTo>
                    <a:pt x="638528" y="285906"/>
                  </a:lnTo>
                  <a:lnTo>
                    <a:pt x="643292" y="290672"/>
                  </a:lnTo>
                  <a:lnTo>
                    <a:pt x="662352" y="314498"/>
                  </a:lnTo>
                  <a:lnTo>
                    <a:pt x="676648" y="333558"/>
                  </a:lnTo>
                  <a:lnTo>
                    <a:pt x="700472" y="333558"/>
                  </a:lnTo>
                  <a:lnTo>
                    <a:pt x="719532" y="328792"/>
                  </a:lnTo>
                  <a:lnTo>
                    <a:pt x="738592" y="319262"/>
                  </a:lnTo>
                  <a:lnTo>
                    <a:pt x="748124" y="309732"/>
                  </a:lnTo>
                  <a:lnTo>
                    <a:pt x="762420" y="276376"/>
                  </a:lnTo>
                  <a:lnTo>
                    <a:pt x="771948" y="252550"/>
                  </a:lnTo>
                  <a:lnTo>
                    <a:pt x="791012" y="228726"/>
                  </a:lnTo>
                  <a:lnTo>
                    <a:pt x="805304" y="209664"/>
                  </a:lnTo>
                  <a:lnTo>
                    <a:pt x="829132" y="181074"/>
                  </a:lnTo>
                  <a:lnTo>
                    <a:pt x="838660" y="166778"/>
                  </a:lnTo>
                  <a:lnTo>
                    <a:pt x="862488" y="138188"/>
                  </a:lnTo>
                  <a:lnTo>
                    <a:pt x="886312" y="128658"/>
                  </a:lnTo>
                  <a:lnTo>
                    <a:pt x="929200" y="104832"/>
                  </a:lnTo>
                  <a:lnTo>
                    <a:pt x="972084" y="81006"/>
                  </a:lnTo>
                  <a:lnTo>
                    <a:pt x="1000676" y="66710"/>
                  </a:lnTo>
                  <a:lnTo>
                    <a:pt x="1024500" y="61946"/>
                  </a:lnTo>
                  <a:lnTo>
                    <a:pt x="1062624" y="57180"/>
                  </a:lnTo>
                  <a:lnTo>
                    <a:pt x="1105508" y="47650"/>
                  </a:lnTo>
                  <a:lnTo>
                    <a:pt x="1153160" y="42886"/>
                  </a:lnTo>
                  <a:lnTo>
                    <a:pt x="1205576" y="33354"/>
                  </a:lnTo>
                  <a:lnTo>
                    <a:pt x="1257992" y="28590"/>
                  </a:lnTo>
                  <a:lnTo>
                    <a:pt x="1296112" y="23824"/>
                  </a:lnTo>
                  <a:lnTo>
                    <a:pt x="1343764" y="14294"/>
                  </a:lnTo>
                  <a:lnTo>
                    <a:pt x="1386652" y="9530"/>
                  </a:lnTo>
                  <a:lnTo>
                    <a:pt x="1420008"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2" name="Google Shape;4959;p64">
              <a:extLst>
                <a:ext uri="{FF2B5EF4-FFF2-40B4-BE49-F238E27FC236}">
                  <a16:creationId xmlns:a16="http://schemas.microsoft.com/office/drawing/2014/main" id="{6FBD487C-A70B-1852-B0AB-89CC57B6C089}"/>
                </a:ext>
              </a:extLst>
            </p:cNvPr>
            <p:cNvSpPr/>
            <p:nvPr/>
          </p:nvSpPr>
          <p:spPr>
            <a:xfrm>
              <a:off x="5443151" y="4690827"/>
              <a:ext cx="2625" cy="1969"/>
            </a:xfrm>
            <a:custGeom>
              <a:avLst/>
              <a:gdLst/>
              <a:ahLst/>
              <a:cxnLst/>
              <a:rect l="l" t="t" r="r" b="b"/>
              <a:pathLst>
                <a:path w="8" h="6" extrusionOk="0">
                  <a:moveTo>
                    <a:pt x="4" y="4"/>
                  </a:moveTo>
                  <a:lnTo>
                    <a:pt x="8" y="0"/>
                  </a:lnTo>
                  <a:lnTo>
                    <a:pt x="6" y="0"/>
                  </a:lnTo>
                  <a:lnTo>
                    <a:pt x="4" y="0"/>
                  </a:lnTo>
                  <a:lnTo>
                    <a:pt x="0" y="6"/>
                  </a:lnTo>
                  <a:lnTo>
                    <a:pt x="4" y="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3" name="Google Shape;4960;p64">
              <a:extLst>
                <a:ext uri="{FF2B5EF4-FFF2-40B4-BE49-F238E27FC236}">
                  <a16:creationId xmlns:a16="http://schemas.microsoft.com/office/drawing/2014/main" id="{604F66CF-0410-439B-71E2-920D3B549BD9}"/>
                </a:ext>
              </a:extLst>
            </p:cNvPr>
            <p:cNvSpPr/>
            <p:nvPr/>
          </p:nvSpPr>
          <p:spPr>
            <a:xfrm>
              <a:off x="5443807" y="4683607"/>
              <a:ext cx="1969" cy="2625"/>
            </a:xfrm>
            <a:custGeom>
              <a:avLst/>
              <a:gdLst/>
              <a:ahLst/>
              <a:cxnLst/>
              <a:rect l="l" t="t" r="r" b="b"/>
              <a:pathLst>
                <a:path w="6" h="8" extrusionOk="0">
                  <a:moveTo>
                    <a:pt x="6" y="8"/>
                  </a:moveTo>
                  <a:lnTo>
                    <a:pt x="6" y="4"/>
                  </a:lnTo>
                  <a:lnTo>
                    <a:pt x="4" y="0"/>
                  </a:lnTo>
                  <a:lnTo>
                    <a:pt x="0" y="6"/>
                  </a:lnTo>
                  <a:lnTo>
                    <a:pt x="2" y="8"/>
                  </a:lnTo>
                  <a:lnTo>
                    <a:pt x="4"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4" name="Google Shape;4961;p64">
              <a:extLst>
                <a:ext uri="{FF2B5EF4-FFF2-40B4-BE49-F238E27FC236}">
                  <a16:creationId xmlns:a16="http://schemas.microsoft.com/office/drawing/2014/main" id="{2B430CF3-5092-6F9B-4FF9-C239CBF1EF3F}"/>
                </a:ext>
              </a:extLst>
            </p:cNvPr>
            <p:cNvSpPr/>
            <p:nvPr/>
          </p:nvSpPr>
          <p:spPr>
            <a:xfrm>
              <a:off x="5440525" y="4653417"/>
              <a:ext cx="1313" cy="3281"/>
            </a:xfrm>
            <a:custGeom>
              <a:avLst/>
              <a:gdLst/>
              <a:ahLst/>
              <a:cxnLst/>
              <a:rect l="l" t="t" r="r" b="b"/>
              <a:pathLst>
                <a:path w="4" h="10" extrusionOk="0">
                  <a:moveTo>
                    <a:pt x="2" y="10"/>
                  </a:moveTo>
                  <a:lnTo>
                    <a:pt x="4" y="8"/>
                  </a:lnTo>
                  <a:lnTo>
                    <a:pt x="4" y="4"/>
                  </a:lnTo>
                  <a:lnTo>
                    <a:pt x="2" y="0"/>
                  </a:lnTo>
                  <a:lnTo>
                    <a:pt x="0" y="2"/>
                  </a:lnTo>
                  <a:lnTo>
                    <a:pt x="0" y="8"/>
                  </a:lnTo>
                  <a:lnTo>
                    <a:pt x="0" y="10"/>
                  </a:lnTo>
                  <a:lnTo>
                    <a:pt x="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495" name="Google Shape;4962;p64">
              <a:extLst>
                <a:ext uri="{FF2B5EF4-FFF2-40B4-BE49-F238E27FC236}">
                  <a16:creationId xmlns:a16="http://schemas.microsoft.com/office/drawing/2014/main" id="{833A002D-A677-1CCF-9E7C-23FCF9EDAEFD}"/>
                </a:ext>
              </a:extLst>
            </p:cNvPr>
            <p:cNvCxnSpPr/>
            <p:nvPr/>
          </p:nvCxnSpPr>
          <p:spPr>
            <a:xfrm>
              <a:off x="5663016" y="4617319"/>
              <a:ext cx="0" cy="0"/>
            </a:xfrm>
            <a:prstGeom prst="straightConnector1">
              <a:avLst/>
            </a:prstGeom>
            <a:grpFill/>
            <a:ln w="9525" cap="flat" cmpd="sng">
              <a:solidFill>
                <a:schemeClr val="bg2"/>
              </a:solidFill>
              <a:prstDash val="solid"/>
              <a:round/>
              <a:headEnd type="none" w="med" len="med"/>
              <a:tailEnd type="none" w="med" len="med"/>
            </a:ln>
          </p:spPr>
        </p:cxnSp>
        <p:cxnSp>
          <p:nvCxnSpPr>
            <p:cNvPr id="496" name="Google Shape;4963;p64">
              <a:extLst>
                <a:ext uri="{FF2B5EF4-FFF2-40B4-BE49-F238E27FC236}">
                  <a16:creationId xmlns:a16="http://schemas.microsoft.com/office/drawing/2014/main" id="{6E1AA521-5B22-2157-1465-011A7E3EFB40}"/>
                </a:ext>
              </a:extLst>
            </p:cNvPr>
            <p:cNvCxnSpPr/>
            <p:nvPr/>
          </p:nvCxnSpPr>
          <p:spPr>
            <a:xfrm>
              <a:off x="5663016" y="4617319"/>
              <a:ext cx="0" cy="0"/>
            </a:xfrm>
            <a:prstGeom prst="straightConnector1">
              <a:avLst/>
            </a:prstGeom>
            <a:grpFill/>
            <a:ln w="9525" cap="flat" cmpd="sng">
              <a:solidFill>
                <a:schemeClr val="bg2"/>
              </a:solidFill>
              <a:prstDash val="solid"/>
              <a:round/>
              <a:headEnd type="none" w="med" len="med"/>
              <a:tailEnd type="none" w="med" len="med"/>
            </a:ln>
          </p:spPr>
        </p:cxnSp>
        <p:sp>
          <p:nvSpPr>
            <p:cNvPr id="497" name="Google Shape;4964;p64">
              <a:extLst>
                <a:ext uri="{FF2B5EF4-FFF2-40B4-BE49-F238E27FC236}">
                  <a16:creationId xmlns:a16="http://schemas.microsoft.com/office/drawing/2014/main" id="{CE256031-2FB6-374F-67F3-E171CAFC7DE5}"/>
                </a:ext>
              </a:extLst>
            </p:cNvPr>
            <p:cNvSpPr/>
            <p:nvPr/>
          </p:nvSpPr>
          <p:spPr>
            <a:xfrm>
              <a:off x="5333546" y="6132421"/>
              <a:ext cx="6563" cy="3938"/>
            </a:xfrm>
            <a:custGeom>
              <a:avLst/>
              <a:gdLst/>
              <a:ahLst/>
              <a:cxnLst/>
              <a:rect l="l" t="t" r="r" b="b"/>
              <a:pathLst>
                <a:path w="20" h="12" extrusionOk="0">
                  <a:moveTo>
                    <a:pt x="18" y="10"/>
                  </a:moveTo>
                  <a:lnTo>
                    <a:pt x="20" y="6"/>
                  </a:lnTo>
                  <a:lnTo>
                    <a:pt x="18" y="4"/>
                  </a:lnTo>
                  <a:lnTo>
                    <a:pt x="14" y="0"/>
                  </a:lnTo>
                  <a:lnTo>
                    <a:pt x="6" y="0"/>
                  </a:lnTo>
                  <a:lnTo>
                    <a:pt x="4" y="2"/>
                  </a:lnTo>
                  <a:lnTo>
                    <a:pt x="0" y="8"/>
                  </a:lnTo>
                  <a:lnTo>
                    <a:pt x="2" y="10"/>
                  </a:lnTo>
                  <a:lnTo>
                    <a:pt x="16" y="12"/>
                  </a:lnTo>
                  <a:lnTo>
                    <a:pt x="18"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8" name="Google Shape;4965;p64">
              <a:extLst>
                <a:ext uri="{FF2B5EF4-FFF2-40B4-BE49-F238E27FC236}">
                  <a16:creationId xmlns:a16="http://schemas.microsoft.com/office/drawing/2014/main" id="{2140F10D-865A-A334-1F0F-F8B0A2BF6C4C}"/>
                </a:ext>
              </a:extLst>
            </p:cNvPr>
            <p:cNvSpPr/>
            <p:nvPr/>
          </p:nvSpPr>
          <p:spPr>
            <a:xfrm>
              <a:off x="4878720" y="5478076"/>
              <a:ext cx="353754" cy="310437"/>
            </a:xfrm>
            <a:custGeom>
              <a:avLst/>
              <a:gdLst/>
              <a:ahLst/>
              <a:cxnLst/>
              <a:rect l="l" t="t" r="r" b="b"/>
              <a:pathLst>
                <a:path w="1078" h="946" extrusionOk="0">
                  <a:moveTo>
                    <a:pt x="902" y="10"/>
                  </a:moveTo>
                  <a:lnTo>
                    <a:pt x="882" y="2"/>
                  </a:lnTo>
                  <a:lnTo>
                    <a:pt x="866" y="0"/>
                  </a:lnTo>
                  <a:lnTo>
                    <a:pt x="848" y="4"/>
                  </a:lnTo>
                  <a:lnTo>
                    <a:pt x="848" y="4"/>
                  </a:lnTo>
                  <a:lnTo>
                    <a:pt x="832" y="4"/>
                  </a:lnTo>
                  <a:lnTo>
                    <a:pt x="824" y="10"/>
                  </a:lnTo>
                  <a:lnTo>
                    <a:pt x="820" y="18"/>
                  </a:lnTo>
                  <a:lnTo>
                    <a:pt x="812" y="24"/>
                  </a:lnTo>
                  <a:lnTo>
                    <a:pt x="804" y="28"/>
                  </a:lnTo>
                  <a:lnTo>
                    <a:pt x="794" y="30"/>
                  </a:lnTo>
                  <a:lnTo>
                    <a:pt x="782" y="32"/>
                  </a:lnTo>
                  <a:lnTo>
                    <a:pt x="772" y="38"/>
                  </a:lnTo>
                  <a:lnTo>
                    <a:pt x="760" y="52"/>
                  </a:lnTo>
                  <a:lnTo>
                    <a:pt x="754" y="60"/>
                  </a:lnTo>
                  <a:lnTo>
                    <a:pt x="754" y="64"/>
                  </a:lnTo>
                  <a:lnTo>
                    <a:pt x="750" y="66"/>
                  </a:lnTo>
                  <a:lnTo>
                    <a:pt x="746" y="68"/>
                  </a:lnTo>
                  <a:lnTo>
                    <a:pt x="742" y="72"/>
                  </a:lnTo>
                  <a:lnTo>
                    <a:pt x="742" y="74"/>
                  </a:lnTo>
                  <a:lnTo>
                    <a:pt x="740" y="76"/>
                  </a:lnTo>
                  <a:lnTo>
                    <a:pt x="734" y="76"/>
                  </a:lnTo>
                  <a:lnTo>
                    <a:pt x="730" y="78"/>
                  </a:lnTo>
                  <a:lnTo>
                    <a:pt x="730" y="84"/>
                  </a:lnTo>
                  <a:lnTo>
                    <a:pt x="724" y="86"/>
                  </a:lnTo>
                  <a:lnTo>
                    <a:pt x="718" y="88"/>
                  </a:lnTo>
                  <a:lnTo>
                    <a:pt x="712" y="90"/>
                  </a:lnTo>
                  <a:lnTo>
                    <a:pt x="708" y="96"/>
                  </a:lnTo>
                  <a:lnTo>
                    <a:pt x="704" y="98"/>
                  </a:lnTo>
                  <a:lnTo>
                    <a:pt x="702" y="98"/>
                  </a:lnTo>
                  <a:lnTo>
                    <a:pt x="698" y="102"/>
                  </a:lnTo>
                  <a:lnTo>
                    <a:pt x="692" y="110"/>
                  </a:lnTo>
                  <a:lnTo>
                    <a:pt x="690" y="116"/>
                  </a:lnTo>
                  <a:lnTo>
                    <a:pt x="682" y="150"/>
                  </a:lnTo>
                  <a:lnTo>
                    <a:pt x="676" y="154"/>
                  </a:lnTo>
                  <a:lnTo>
                    <a:pt x="668" y="160"/>
                  </a:lnTo>
                  <a:lnTo>
                    <a:pt x="660" y="170"/>
                  </a:lnTo>
                  <a:lnTo>
                    <a:pt x="656" y="174"/>
                  </a:lnTo>
                  <a:lnTo>
                    <a:pt x="652" y="176"/>
                  </a:lnTo>
                  <a:lnTo>
                    <a:pt x="636" y="180"/>
                  </a:lnTo>
                  <a:lnTo>
                    <a:pt x="628" y="182"/>
                  </a:lnTo>
                  <a:lnTo>
                    <a:pt x="620" y="186"/>
                  </a:lnTo>
                  <a:lnTo>
                    <a:pt x="618" y="188"/>
                  </a:lnTo>
                  <a:lnTo>
                    <a:pt x="616" y="200"/>
                  </a:lnTo>
                  <a:lnTo>
                    <a:pt x="612" y="214"/>
                  </a:lnTo>
                  <a:lnTo>
                    <a:pt x="608" y="226"/>
                  </a:lnTo>
                  <a:lnTo>
                    <a:pt x="604" y="236"/>
                  </a:lnTo>
                  <a:lnTo>
                    <a:pt x="600" y="248"/>
                  </a:lnTo>
                  <a:lnTo>
                    <a:pt x="596" y="252"/>
                  </a:lnTo>
                  <a:lnTo>
                    <a:pt x="590" y="256"/>
                  </a:lnTo>
                  <a:lnTo>
                    <a:pt x="584" y="258"/>
                  </a:lnTo>
                  <a:lnTo>
                    <a:pt x="574" y="258"/>
                  </a:lnTo>
                  <a:lnTo>
                    <a:pt x="566" y="258"/>
                  </a:lnTo>
                  <a:lnTo>
                    <a:pt x="562" y="258"/>
                  </a:lnTo>
                  <a:lnTo>
                    <a:pt x="552" y="264"/>
                  </a:lnTo>
                  <a:lnTo>
                    <a:pt x="544" y="264"/>
                  </a:lnTo>
                  <a:lnTo>
                    <a:pt x="532" y="260"/>
                  </a:lnTo>
                  <a:lnTo>
                    <a:pt x="522" y="258"/>
                  </a:lnTo>
                  <a:lnTo>
                    <a:pt x="518" y="258"/>
                  </a:lnTo>
                  <a:lnTo>
                    <a:pt x="508" y="250"/>
                  </a:lnTo>
                  <a:lnTo>
                    <a:pt x="502" y="250"/>
                  </a:lnTo>
                  <a:lnTo>
                    <a:pt x="494" y="250"/>
                  </a:lnTo>
                  <a:lnTo>
                    <a:pt x="488" y="248"/>
                  </a:lnTo>
                  <a:lnTo>
                    <a:pt x="484" y="244"/>
                  </a:lnTo>
                  <a:lnTo>
                    <a:pt x="474" y="236"/>
                  </a:lnTo>
                  <a:lnTo>
                    <a:pt x="464" y="230"/>
                  </a:lnTo>
                  <a:lnTo>
                    <a:pt x="456" y="226"/>
                  </a:lnTo>
                  <a:lnTo>
                    <a:pt x="448" y="224"/>
                  </a:lnTo>
                  <a:lnTo>
                    <a:pt x="440" y="224"/>
                  </a:lnTo>
                  <a:lnTo>
                    <a:pt x="434" y="226"/>
                  </a:lnTo>
                  <a:lnTo>
                    <a:pt x="432" y="228"/>
                  </a:lnTo>
                  <a:lnTo>
                    <a:pt x="426" y="230"/>
                  </a:lnTo>
                  <a:lnTo>
                    <a:pt x="422" y="238"/>
                  </a:lnTo>
                  <a:lnTo>
                    <a:pt x="418" y="248"/>
                  </a:lnTo>
                  <a:lnTo>
                    <a:pt x="416" y="254"/>
                  </a:lnTo>
                  <a:lnTo>
                    <a:pt x="412" y="266"/>
                  </a:lnTo>
                  <a:lnTo>
                    <a:pt x="406" y="282"/>
                  </a:lnTo>
                  <a:lnTo>
                    <a:pt x="404" y="286"/>
                  </a:lnTo>
                  <a:lnTo>
                    <a:pt x="400" y="290"/>
                  </a:lnTo>
                  <a:lnTo>
                    <a:pt x="396" y="292"/>
                  </a:lnTo>
                  <a:lnTo>
                    <a:pt x="378" y="306"/>
                  </a:lnTo>
                  <a:lnTo>
                    <a:pt x="370" y="320"/>
                  </a:lnTo>
                  <a:lnTo>
                    <a:pt x="366" y="324"/>
                  </a:lnTo>
                  <a:lnTo>
                    <a:pt x="358" y="324"/>
                  </a:lnTo>
                  <a:lnTo>
                    <a:pt x="354" y="326"/>
                  </a:lnTo>
                  <a:lnTo>
                    <a:pt x="350" y="328"/>
                  </a:lnTo>
                  <a:lnTo>
                    <a:pt x="348" y="336"/>
                  </a:lnTo>
                  <a:lnTo>
                    <a:pt x="344" y="338"/>
                  </a:lnTo>
                  <a:lnTo>
                    <a:pt x="342" y="340"/>
                  </a:lnTo>
                  <a:lnTo>
                    <a:pt x="332" y="338"/>
                  </a:lnTo>
                  <a:lnTo>
                    <a:pt x="328" y="338"/>
                  </a:lnTo>
                  <a:lnTo>
                    <a:pt x="304" y="338"/>
                  </a:lnTo>
                  <a:lnTo>
                    <a:pt x="296" y="336"/>
                  </a:lnTo>
                  <a:lnTo>
                    <a:pt x="290" y="336"/>
                  </a:lnTo>
                  <a:lnTo>
                    <a:pt x="282" y="338"/>
                  </a:lnTo>
                  <a:lnTo>
                    <a:pt x="278" y="336"/>
                  </a:lnTo>
                  <a:lnTo>
                    <a:pt x="276" y="330"/>
                  </a:lnTo>
                  <a:lnTo>
                    <a:pt x="274" y="320"/>
                  </a:lnTo>
                  <a:lnTo>
                    <a:pt x="274" y="310"/>
                  </a:lnTo>
                  <a:lnTo>
                    <a:pt x="278" y="302"/>
                  </a:lnTo>
                  <a:lnTo>
                    <a:pt x="282" y="296"/>
                  </a:lnTo>
                  <a:lnTo>
                    <a:pt x="286" y="288"/>
                  </a:lnTo>
                  <a:lnTo>
                    <a:pt x="288" y="286"/>
                  </a:lnTo>
                  <a:lnTo>
                    <a:pt x="286" y="282"/>
                  </a:lnTo>
                  <a:lnTo>
                    <a:pt x="286" y="276"/>
                  </a:lnTo>
                  <a:lnTo>
                    <a:pt x="286" y="270"/>
                  </a:lnTo>
                  <a:lnTo>
                    <a:pt x="280" y="258"/>
                  </a:lnTo>
                  <a:lnTo>
                    <a:pt x="274" y="240"/>
                  </a:lnTo>
                  <a:lnTo>
                    <a:pt x="264" y="220"/>
                  </a:lnTo>
                  <a:lnTo>
                    <a:pt x="262" y="214"/>
                  </a:lnTo>
                  <a:lnTo>
                    <a:pt x="256" y="206"/>
                  </a:lnTo>
                  <a:lnTo>
                    <a:pt x="236" y="190"/>
                  </a:lnTo>
                  <a:lnTo>
                    <a:pt x="232" y="188"/>
                  </a:lnTo>
                  <a:lnTo>
                    <a:pt x="232" y="458"/>
                  </a:lnTo>
                  <a:lnTo>
                    <a:pt x="226" y="458"/>
                  </a:lnTo>
                  <a:lnTo>
                    <a:pt x="212" y="462"/>
                  </a:lnTo>
                  <a:lnTo>
                    <a:pt x="204" y="466"/>
                  </a:lnTo>
                  <a:lnTo>
                    <a:pt x="200" y="474"/>
                  </a:lnTo>
                  <a:lnTo>
                    <a:pt x="194" y="478"/>
                  </a:lnTo>
                  <a:lnTo>
                    <a:pt x="188" y="478"/>
                  </a:lnTo>
                  <a:lnTo>
                    <a:pt x="186" y="482"/>
                  </a:lnTo>
                  <a:lnTo>
                    <a:pt x="186" y="486"/>
                  </a:lnTo>
                  <a:lnTo>
                    <a:pt x="184" y="492"/>
                  </a:lnTo>
                  <a:lnTo>
                    <a:pt x="178" y="494"/>
                  </a:lnTo>
                  <a:lnTo>
                    <a:pt x="170" y="494"/>
                  </a:lnTo>
                  <a:lnTo>
                    <a:pt x="156" y="488"/>
                  </a:lnTo>
                  <a:lnTo>
                    <a:pt x="142" y="488"/>
                  </a:lnTo>
                  <a:lnTo>
                    <a:pt x="122" y="490"/>
                  </a:lnTo>
                  <a:lnTo>
                    <a:pt x="108" y="488"/>
                  </a:lnTo>
                  <a:lnTo>
                    <a:pt x="100" y="484"/>
                  </a:lnTo>
                  <a:lnTo>
                    <a:pt x="92" y="482"/>
                  </a:lnTo>
                  <a:lnTo>
                    <a:pt x="82" y="482"/>
                  </a:lnTo>
                  <a:lnTo>
                    <a:pt x="78" y="480"/>
                  </a:lnTo>
                  <a:lnTo>
                    <a:pt x="66" y="476"/>
                  </a:lnTo>
                  <a:lnTo>
                    <a:pt x="64" y="470"/>
                  </a:lnTo>
                  <a:lnTo>
                    <a:pt x="62" y="466"/>
                  </a:lnTo>
                  <a:lnTo>
                    <a:pt x="60" y="462"/>
                  </a:lnTo>
                  <a:lnTo>
                    <a:pt x="58" y="458"/>
                  </a:lnTo>
                  <a:lnTo>
                    <a:pt x="62" y="454"/>
                  </a:lnTo>
                  <a:lnTo>
                    <a:pt x="62" y="450"/>
                  </a:lnTo>
                  <a:lnTo>
                    <a:pt x="60" y="444"/>
                  </a:lnTo>
                  <a:lnTo>
                    <a:pt x="56" y="440"/>
                  </a:lnTo>
                  <a:lnTo>
                    <a:pt x="52" y="442"/>
                  </a:lnTo>
                  <a:lnTo>
                    <a:pt x="50" y="438"/>
                  </a:lnTo>
                  <a:lnTo>
                    <a:pt x="48" y="434"/>
                  </a:lnTo>
                  <a:lnTo>
                    <a:pt x="46" y="430"/>
                  </a:lnTo>
                  <a:lnTo>
                    <a:pt x="40" y="426"/>
                  </a:lnTo>
                  <a:lnTo>
                    <a:pt x="32" y="428"/>
                  </a:lnTo>
                  <a:lnTo>
                    <a:pt x="28" y="434"/>
                  </a:lnTo>
                  <a:lnTo>
                    <a:pt x="26" y="440"/>
                  </a:lnTo>
                  <a:lnTo>
                    <a:pt x="24" y="444"/>
                  </a:lnTo>
                  <a:lnTo>
                    <a:pt x="24" y="450"/>
                  </a:lnTo>
                  <a:lnTo>
                    <a:pt x="22" y="454"/>
                  </a:lnTo>
                  <a:lnTo>
                    <a:pt x="20" y="458"/>
                  </a:lnTo>
                  <a:lnTo>
                    <a:pt x="18" y="460"/>
                  </a:lnTo>
                  <a:lnTo>
                    <a:pt x="16" y="458"/>
                  </a:lnTo>
                  <a:lnTo>
                    <a:pt x="12" y="460"/>
                  </a:lnTo>
                  <a:lnTo>
                    <a:pt x="4" y="466"/>
                  </a:lnTo>
                  <a:lnTo>
                    <a:pt x="0" y="470"/>
                  </a:lnTo>
                  <a:lnTo>
                    <a:pt x="2" y="472"/>
                  </a:lnTo>
                  <a:lnTo>
                    <a:pt x="20" y="500"/>
                  </a:lnTo>
                  <a:lnTo>
                    <a:pt x="34" y="528"/>
                  </a:lnTo>
                  <a:lnTo>
                    <a:pt x="48" y="582"/>
                  </a:lnTo>
                  <a:lnTo>
                    <a:pt x="60" y="608"/>
                  </a:lnTo>
                  <a:lnTo>
                    <a:pt x="80" y="652"/>
                  </a:lnTo>
                  <a:lnTo>
                    <a:pt x="98" y="680"/>
                  </a:lnTo>
                  <a:lnTo>
                    <a:pt x="112" y="700"/>
                  </a:lnTo>
                  <a:lnTo>
                    <a:pt x="116" y="706"/>
                  </a:lnTo>
                  <a:lnTo>
                    <a:pt x="122" y="736"/>
                  </a:lnTo>
                  <a:lnTo>
                    <a:pt x="124" y="748"/>
                  </a:lnTo>
                  <a:lnTo>
                    <a:pt x="124" y="766"/>
                  </a:lnTo>
                  <a:lnTo>
                    <a:pt x="118" y="778"/>
                  </a:lnTo>
                  <a:lnTo>
                    <a:pt x="110" y="786"/>
                  </a:lnTo>
                  <a:lnTo>
                    <a:pt x="104" y="786"/>
                  </a:lnTo>
                  <a:lnTo>
                    <a:pt x="100" y="782"/>
                  </a:lnTo>
                  <a:lnTo>
                    <a:pt x="96" y="786"/>
                  </a:lnTo>
                  <a:lnTo>
                    <a:pt x="92" y="790"/>
                  </a:lnTo>
                  <a:lnTo>
                    <a:pt x="94" y="802"/>
                  </a:lnTo>
                  <a:lnTo>
                    <a:pt x="100" y="808"/>
                  </a:lnTo>
                  <a:lnTo>
                    <a:pt x="102" y="816"/>
                  </a:lnTo>
                  <a:lnTo>
                    <a:pt x="106" y="820"/>
                  </a:lnTo>
                  <a:lnTo>
                    <a:pt x="112" y="832"/>
                  </a:lnTo>
                  <a:lnTo>
                    <a:pt x="120" y="838"/>
                  </a:lnTo>
                  <a:lnTo>
                    <a:pt x="122" y="844"/>
                  </a:lnTo>
                  <a:lnTo>
                    <a:pt x="130" y="860"/>
                  </a:lnTo>
                  <a:lnTo>
                    <a:pt x="132" y="868"/>
                  </a:lnTo>
                  <a:lnTo>
                    <a:pt x="132" y="874"/>
                  </a:lnTo>
                  <a:lnTo>
                    <a:pt x="126" y="878"/>
                  </a:lnTo>
                  <a:lnTo>
                    <a:pt x="124" y="888"/>
                  </a:lnTo>
                  <a:lnTo>
                    <a:pt x="126" y="898"/>
                  </a:lnTo>
                  <a:lnTo>
                    <a:pt x="130" y="906"/>
                  </a:lnTo>
                  <a:lnTo>
                    <a:pt x="132" y="910"/>
                  </a:lnTo>
                  <a:lnTo>
                    <a:pt x="132" y="896"/>
                  </a:lnTo>
                  <a:lnTo>
                    <a:pt x="136" y="892"/>
                  </a:lnTo>
                  <a:lnTo>
                    <a:pt x="138" y="890"/>
                  </a:lnTo>
                  <a:lnTo>
                    <a:pt x="142" y="890"/>
                  </a:lnTo>
                  <a:lnTo>
                    <a:pt x="148" y="888"/>
                  </a:lnTo>
                  <a:lnTo>
                    <a:pt x="152" y="890"/>
                  </a:lnTo>
                  <a:lnTo>
                    <a:pt x="156" y="892"/>
                  </a:lnTo>
                  <a:lnTo>
                    <a:pt x="156" y="898"/>
                  </a:lnTo>
                  <a:lnTo>
                    <a:pt x="156" y="904"/>
                  </a:lnTo>
                  <a:lnTo>
                    <a:pt x="156" y="906"/>
                  </a:lnTo>
                  <a:lnTo>
                    <a:pt x="156" y="912"/>
                  </a:lnTo>
                  <a:lnTo>
                    <a:pt x="162" y="912"/>
                  </a:lnTo>
                  <a:lnTo>
                    <a:pt x="164" y="910"/>
                  </a:lnTo>
                  <a:lnTo>
                    <a:pt x="174" y="910"/>
                  </a:lnTo>
                  <a:lnTo>
                    <a:pt x="178" y="916"/>
                  </a:lnTo>
                  <a:lnTo>
                    <a:pt x="184" y="916"/>
                  </a:lnTo>
                  <a:lnTo>
                    <a:pt x="186" y="918"/>
                  </a:lnTo>
                  <a:lnTo>
                    <a:pt x="190" y="922"/>
                  </a:lnTo>
                  <a:lnTo>
                    <a:pt x="188" y="928"/>
                  </a:lnTo>
                  <a:lnTo>
                    <a:pt x="188" y="932"/>
                  </a:lnTo>
                  <a:lnTo>
                    <a:pt x="194" y="932"/>
                  </a:lnTo>
                  <a:lnTo>
                    <a:pt x="210" y="944"/>
                  </a:lnTo>
                  <a:lnTo>
                    <a:pt x="224" y="944"/>
                  </a:lnTo>
                  <a:lnTo>
                    <a:pt x="228" y="944"/>
                  </a:lnTo>
                  <a:lnTo>
                    <a:pt x="234" y="946"/>
                  </a:lnTo>
                  <a:lnTo>
                    <a:pt x="262" y="924"/>
                  </a:lnTo>
                  <a:lnTo>
                    <a:pt x="268" y="920"/>
                  </a:lnTo>
                  <a:lnTo>
                    <a:pt x="284" y="918"/>
                  </a:lnTo>
                  <a:lnTo>
                    <a:pt x="292" y="914"/>
                  </a:lnTo>
                  <a:lnTo>
                    <a:pt x="298" y="912"/>
                  </a:lnTo>
                  <a:lnTo>
                    <a:pt x="302" y="912"/>
                  </a:lnTo>
                  <a:lnTo>
                    <a:pt x="316" y="916"/>
                  </a:lnTo>
                  <a:lnTo>
                    <a:pt x="322" y="916"/>
                  </a:lnTo>
                  <a:lnTo>
                    <a:pt x="336" y="912"/>
                  </a:lnTo>
                  <a:lnTo>
                    <a:pt x="350" y="912"/>
                  </a:lnTo>
                  <a:lnTo>
                    <a:pt x="380" y="888"/>
                  </a:lnTo>
                  <a:lnTo>
                    <a:pt x="392" y="888"/>
                  </a:lnTo>
                  <a:lnTo>
                    <a:pt x="400" y="884"/>
                  </a:lnTo>
                  <a:lnTo>
                    <a:pt x="412" y="884"/>
                  </a:lnTo>
                  <a:lnTo>
                    <a:pt x="426" y="888"/>
                  </a:lnTo>
                  <a:lnTo>
                    <a:pt x="448" y="890"/>
                  </a:lnTo>
                  <a:lnTo>
                    <a:pt x="452" y="888"/>
                  </a:lnTo>
                  <a:lnTo>
                    <a:pt x="468" y="882"/>
                  </a:lnTo>
                  <a:lnTo>
                    <a:pt x="476" y="882"/>
                  </a:lnTo>
                  <a:lnTo>
                    <a:pt x="508" y="888"/>
                  </a:lnTo>
                  <a:lnTo>
                    <a:pt x="534" y="896"/>
                  </a:lnTo>
                  <a:lnTo>
                    <a:pt x="550" y="896"/>
                  </a:lnTo>
                  <a:lnTo>
                    <a:pt x="554" y="888"/>
                  </a:lnTo>
                  <a:lnTo>
                    <a:pt x="562" y="880"/>
                  </a:lnTo>
                  <a:lnTo>
                    <a:pt x="572" y="880"/>
                  </a:lnTo>
                  <a:lnTo>
                    <a:pt x="592" y="886"/>
                  </a:lnTo>
                  <a:lnTo>
                    <a:pt x="598" y="886"/>
                  </a:lnTo>
                  <a:lnTo>
                    <a:pt x="602" y="884"/>
                  </a:lnTo>
                  <a:lnTo>
                    <a:pt x="604" y="872"/>
                  </a:lnTo>
                  <a:lnTo>
                    <a:pt x="614" y="862"/>
                  </a:lnTo>
                  <a:lnTo>
                    <a:pt x="626" y="860"/>
                  </a:lnTo>
                  <a:lnTo>
                    <a:pt x="654" y="864"/>
                  </a:lnTo>
                  <a:lnTo>
                    <a:pt x="666" y="860"/>
                  </a:lnTo>
                  <a:lnTo>
                    <a:pt x="698" y="846"/>
                  </a:lnTo>
                  <a:lnTo>
                    <a:pt x="716" y="832"/>
                  </a:lnTo>
                  <a:lnTo>
                    <a:pt x="742" y="812"/>
                  </a:lnTo>
                  <a:lnTo>
                    <a:pt x="748" y="808"/>
                  </a:lnTo>
                  <a:lnTo>
                    <a:pt x="772" y="786"/>
                  </a:lnTo>
                  <a:lnTo>
                    <a:pt x="788" y="776"/>
                  </a:lnTo>
                  <a:lnTo>
                    <a:pt x="814" y="750"/>
                  </a:lnTo>
                  <a:lnTo>
                    <a:pt x="832" y="728"/>
                  </a:lnTo>
                  <a:lnTo>
                    <a:pt x="854" y="702"/>
                  </a:lnTo>
                  <a:lnTo>
                    <a:pt x="872" y="686"/>
                  </a:lnTo>
                  <a:lnTo>
                    <a:pt x="878" y="682"/>
                  </a:lnTo>
                  <a:lnTo>
                    <a:pt x="886" y="674"/>
                  </a:lnTo>
                  <a:lnTo>
                    <a:pt x="908" y="648"/>
                  </a:lnTo>
                  <a:lnTo>
                    <a:pt x="920" y="628"/>
                  </a:lnTo>
                  <a:lnTo>
                    <a:pt x="932" y="606"/>
                  </a:lnTo>
                  <a:lnTo>
                    <a:pt x="946" y="580"/>
                  </a:lnTo>
                  <a:lnTo>
                    <a:pt x="956" y="566"/>
                  </a:lnTo>
                  <a:lnTo>
                    <a:pt x="966" y="542"/>
                  </a:lnTo>
                  <a:lnTo>
                    <a:pt x="976" y="526"/>
                  </a:lnTo>
                  <a:lnTo>
                    <a:pt x="1006" y="494"/>
                  </a:lnTo>
                  <a:lnTo>
                    <a:pt x="1012" y="492"/>
                  </a:lnTo>
                  <a:lnTo>
                    <a:pt x="1016" y="490"/>
                  </a:lnTo>
                  <a:lnTo>
                    <a:pt x="1022" y="486"/>
                  </a:lnTo>
                  <a:lnTo>
                    <a:pt x="1038" y="470"/>
                  </a:lnTo>
                  <a:lnTo>
                    <a:pt x="1044" y="460"/>
                  </a:lnTo>
                  <a:lnTo>
                    <a:pt x="1056" y="438"/>
                  </a:lnTo>
                  <a:lnTo>
                    <a:pt x="1064" y="394"/>
                  </a:lnTo>
                  <a:lnTo>
                    <a:pt x="1066" y="382"/>
                  </a:lnTo>
                  <a:lnTo>
                    <a:pt x="1076" y="356"/>
                  </a:lnTo>
                  <a:lnTo>
                    <a:pt x="1078" y="338"/>
                  </a:lnTo>
                  <a:lnTo>
                    <a:pt x="1070" y="338"/>
                  </a:lnTo>
                  <a:lnTo>
                    <a:pt x="1058" y="340"/>
                  </a:lnTo>
                  <a:lnTo>
                    <a:pt x="1052" y="340"/>
                  </a:lnTo>
                  <a:lnTo>
                    <a:pt x="1044" y="340"/>
                  </a:lnTo>
                  <a:lnTo>
                    <a:pt x="1032" y="338"/>
                  </a:lnTo>
                  <a:lnTo>
                    <a:pt x="1028" y="338"/>
                  </a:lnTo>
                  <a:lnTo>
                    <a:pt x="1026" y="338"/>
                  </a:lnTo>
                  <a:lnTo>
                    <a:pt x="1022" y="336"/>
                  </a:lnTo>
                  <a:lnTo>
                    <a:pt x="1020" y="336"/>
                  </a:lnTo>
                  <a:lnTo>
                    <a:pt x="1018" y="346"/>
                  </a:lnTo>
                  <a:lnTo>
                    <a:pt x="1016" y="362"/>
                  </a:lnTo>
                  <a:lnTo>
                    <a:pt x="1018" y="372"/>
                  </a:lnTo>
                  <a:lnTo>
                    <a:pt x="1002" y="372"/>
                  </a:lnTo>
                  <a:lnTo>
                    <a:pt x="986" y="372"/>
                  </a:lnTo>
                  <a:lnTo>
                    <a:pt x="972" y="368"/>
                  </a:lnTo>
                  <a:lnTo>
                    <a:pt x="958" y="358"/>
                  </a:lnTo>
                  <a:lnTo>
                    <a:pt x="950" y="344"/>
                  </a:lnTo>
                  <a:lnTo>
                    <a:pt x="946" y="334"/>
                  </a:lnTo>
                  <a:lnTo>
                    <a:pt x="942" y="334"/>
                  </a:lnTo>
                  <a:lnTo>
                    <a:pt x="940" y="332"/>
                  </a:lnTo>
                  <a:lnTo>
                    <a:pt x="940" y="322"/>
                  </a:lnTo>
                  <a:lnTo>
                    <a:pt x="940" y="310"/>
                  </a:lnTo>
                  <a:lnTo>
                    <a:pt x="942" y="306"/>
                  </a:lnTo>
                  <a:lnTo>
                    <a:pt x="950" y="292"/>
                  </a:lnTo>
                  <a:lnTo>
                    <a:pt x="956" y="284"/>
                  </a:lnTo>
                  <a:lnTo>
                    <a:pt x="960" y="276"/>
                  </a:lnTo>
                  <a:lnTo>
                    <a:pt x="968" y="266"/>
                  </a:lnTo>
                  <a:lnTo>
                    <a:pt x="976" y="258"/>
                  </a:lnTo>
                  <a:lnTo>
                    <a:pt x="980" y="258"/>
                  </a:lnTo>
                  <a:lnTo>
                    <a:pt x="982" y="258"/>
                  </a:lnTo>
                  <a:lnTo>
                    <a:pt x="996" y="268"/>
                  </a:lnTo>
                  <a:lnTo>
                    <a:pt x="1012" y="276"/>
                  </a:lnTo>
                  <a:lnTo>
                    <a:pt x="1014" y="274"/>
                  </a:lnTo>
                  <a:lnTo>
                    <a:pt x="1016" y="274"/>
                  </a:lnTo>
                  <a:lnTo>
                    <a:pt x="1016" y="268"/>
                  </a:lnTo>
                  <a:lnTo>
                    <a:pt x="1014" y="260"/>
                  </a:lnTo>
                  <a:lnTo>
                    <a:pt x="1018" y="250"/>
                  </a:lnTo>
                  <a:lnTo>
                    <a:pt x="1018" y="230"/>
                  </a:lnTo>
                  <a:lnTo>
                    <a:pt x="1018" y="224"/>
                  </a:lnTo>
                  <a:lnTo>
                    <a:pt x="1018" y="192"/>
                  </a:lnTo>
                  <a:lnTo>
                    <a:pt x="1018" y="178"/>
                  </a:lnTo>
                  <a:lnTo>
                    <a:pt x="1018" y="166"/>
                  </a:lnTo>
                  <a:lnTo>
                    <a:pt x="1018" y="158"/>
                  </a:lnTo>
                  <a:lnTo>
                    <a:pt x="1016" y="156"/>
                  </a:lnTo>
                  <a:lnTo>
                    <a:pt x="1014" y="148"/>
                  </a:lnTo>
                  <a:lnTo>
                    <a:pt x="1010" y="136"/>
                  </a:lnTo>
                  <a:lnTo>
                    <a:pt x="1006" y="124"/>
                  </a:lnTo>
                  <a:lnTo>
                    <a:pt x="1002" y="118"/>
                  </a:lnTo>
                  <a:lnTo>
                    <a:pt x="1000" y="114"/>
                  </a:lnTo>
                  <a:lnTo>
                    <a:pt x="998" y="108"/>
                  </a:lnTo>
                  <a:lnTo>
                    <a:pt x="994" y="100"/>
                  </a:lnTo>
                  <a:lnTo>
                    <a:pt x="990" y="96"/>
                  </a:lnTo>
                  <a:lnTo>
                    <a:pt x="990" y="90"/>
                  </a:lnTo>
                  <a:lnTo>
                    <a:pt x="990" y="80"/>
                  </a:lnTo>
                  <a:lnTo>
                    <a:pt x="984" y="62"/>
                  </a:lnTo>
                  <a:lnTo>
                    <a:pt x="982" y="48"/>
                  </a:lnTo>
                  <a:lnTo>
                    <a:pt x="978" y="34"/>
                  </a:lnTo>
                  <a:lnTo>
                    <a:pt x="974" y="24"/>
                  </a:lnTo>
                  <a:lnTo>
                    <a:pt x="974" y="22"/>
                  </a:lnTo>
                  <a:lnTo>
                    <a:pt x="974" y="18"/>
                  </a:lnTo>
                  <a:lnTo>
                    <a:pt x="968" y="14"/>
                  </a:lnTo>
                  <a:lnTo>
                    <a:pt x="960" y="12"/>
                  </a:lnTo>
                  <a:lnTo>
                    <a:pt x="948" y="10"/>
                  </a:lnTo>
                  <a:lnTo>
                    <a:pt x="936" y="10"/>
                  </a:lnTo>
                  <a:lnTo>
                    <a:pt x="918" y="12"/>
                  </a:lnTo>
                  <a:lnTo>
                    <a:pt x="902" y="1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499" name="Google Shape;4966;p64">
              <a:extLst>
                <a:ext uri="{FF2B5EF4-FFF2-40B4-BE49-F238E27FC236}">
                  <a16:creationId xmlns:a16="http://schemas.microsoft.com/office/drawing/2014/main" id="{C618D068-6174-E909-7597-BE169995608D}"/>
                </a:ext>
              </a:extLst>
            </p:cNvPr>
            <p:cNvSpPr/>
            <p:nvPr/>
          </p:nvSpPr>
          <p:spPr>
            <a:xfrm>
              <a:off x="4998169" y="5167311"/>
              <a:ext cx="250712" cy="216912"/>
            </a:xfrm>
            <a:custGeom>
              <a:avLst/>
              <a:gdLst/>
              <a:ahLst/>
              <a:cxnLst/>
              <a:rect l="l" t="t" r="r" b="b"/>
              <a:pathLst>
                <a:path w="764" h="661" extrusionOk="0">
                  <a:moveTo>
                    <a:pt x="556" y="18"/>
                  </a:moveTo>
                  <a:lnTo>
                    <a:pt x="554" y="14"/>
                  </a:lnTo>
                  <a:lnTo>
                    <a:pt x="554" y="10"/>
                  </a:lnTo>
                  <a:lnTo>
                    <a:pt x="556" y="8"/>
                  </a:lnTo>
                  <a:lnTo>
                    <a:pt x="558" y="6"/>
                  </a:lnTo>
                  <a:lnTo>
                    <a:pt x="560" y="6"/>
                  </a:lnTo>
                  <a:lnTo>
                    <a:pt x="562" y="2"/>
                  </a:lnTo>
                  <a:lnTo>
                    <a:pt x="562" y="0"/>
                  </a:lnTo>
                  <a:lnTo>
                    <a:pt x="546" y="2"/>
                  </a:lnTo>
                  <a:lnTo>
                    <a:pt x="528" y="4"/>
                  </a:lnTo>
                  <a:lnTo>
                    <a:pt x="510" y="8"/>
                  </a:lnTo>
                  <a:lnTo>
                    <a:pt x="490" y="10"/>
                  </a:lnTo>
                  <a:lnTo>
                    <a:pt x="474" y="12"/>
                  </a:lnTo>
                  <a:lnTo>
                    <a:pt x="458" y="16"/>
                  </a:lnTo>
                  <a:lnTo>
                    <a:pt x="452" y="16"/>
                  </a:lnTo>
                  <a:lnTo>
                    <a:pt x="454" y="24"/>
                  </a:lnTo>
                  <a:lnTo>
                    <a:pt x="454" y="32"/>
                  </a:lnTo>
                  <a:lnTo>
                    <a:pt x="450" y="36"/>
                  </a:lnTo>
                  <a:lnTo>
                    <a:pt x="446" y="44"/>
                  </a:lnTo>
                  <a:lnTo>
                    <a:pt x="444" y="46"/>
                  </a:lnTo>
                  <a:lnTo>
                    <a:pt x="438" y="52"/>
                  </a:lnTo>
                  <a:lnTo>
                    <a:pt x="434" y="56"/>
                  </a:lnTo>
                  <a:lnTo>
                    <a:pt x="426" y="62"/>
                  </a:lnTo>
                  <a:lnTo>
                    <a:pt x="420" y="66"/>
                  </a:lnTo>
                  <a:lnTo>
                    <a:pt x="420" y="70"/>
                  </a:lnTo>
                  <a:lnTo>
                    <a:pt x="430" y="84"/>
                  </a:lnTo>
                  <a:lnTo>
                    <a:pt x="434" y="96"/>
                  </a:lnTo>
                  <a:lnTo>
                    <a:pt x="436" y="106"/>
                  </a:lnTo>
                  <a:lnTo>
                    <a:pt x="436" y="112"/>
                  </a:lnTo>
                  <a:lnTo>
                    <a:pt x="434" y="124"/>
                  </a:lnTo>
                  <a:lnTo>
                    <a:pt x="434" y="138"/>
                  </a:lnTo>
                  <a:lnTo>
                    <a:pt x="434" y="144"/>
                  </a:lnTo>
                  <a:lnTo>
                    <a:pt x="436" y="154"/>
                  </a:lnTo>
                  <a:lnTo>
                    <a:pt x="436" y="162"/>
                  </a:lnTo>
                  <a:lnTo>
                    <a:pt x="430" y="172"/>
                  </a:lnTo>
                  <a:lnTo>
                    <a:pt x="428" y="180"/>
                  </a:lnTo>
                  <a:lnTo>
                    <a:pt x="424" y="192"/>
                  </a:lnTo>
                  <a:lnTo>
                    <a:pt x="420" y="208"/>
                  </a:lnTo>
                  <a:lnTo>
                    <a:pt x="418" y="216"/>
                  </a:lnTo>
                  <a:lnTo>
                    <a:pt x="418" y="222"/>
                  </a:lnTo>
                  <a:lnTo>
                    <a:pt x="420" y="226"/>
                  </a:lnTo>
                  <a:lnTo>
                    <a:pt x="422" y="230"/>
                  </a:lnTo>
                  <a:lnTo>
                    <a:pt x="426" y="238"/>
                  </a:lnTo>
                  <a:lnTo>
                    <a:pt x="430" y="242"/>
                  </a:lnTo>
                  <a:lnTo>
                    <a:pt x="432" y="244"/>
                  </a:lnTo>
                  <a:lnTo>
                    <a:pt x="444" y="254"/>
                  </a:lnTo>
                  <a:lnTo>
                    <a:pt x="450" y="260"/>
                  </a:lnTo>
                  <a:lnTo>
                    <a:pt x="458" y="268"/>
                  </a:lnTo>
                  <a:lnTo>
                    <a:pt x="464" y="274"/>
                  </a:lnTo>
                  <a:lnTo>
                    <a:pt x="472" y="276"/>
                  </a:lnTo>
                  <a:lnTo>
                    <a:pt x="482" y="278"/>
                  </a:lnTo>
                  <a:lnTo>
                    <a:pt x="488" y="280"/>
                  </a:lnTo>
                  <a:lnTo>
                    <a:pt x="490" y="278"/>
                  </a:lnTo>
                  <a:lnTo>
                    <a:pt x="492" y="276"/>
                  </a:lnTo>
                  <a:lnTo>
                    <a:pt x="492" y="272"/>
                  </a:lnTo>
                  <a:lnTo>
                    <a:pt x="492" y="268"/>
                  </a:lnTo>
                  <a:lnTo>
                    <a:pt x="492" y="266"/>
                  </a:lnTo>
                  <a:lnTo>
                    <a:pt x="496" y="264"/>
                  </a:lnTo>
                  <a:lnTo>
                    <a:pt x="504" y="264"/>
                  </a:lnTo>
                  <a:lnTo>
                    <a:pt x="508" y="262"/>
                  </a:lnTo>
                  <a:lnTo>
                    <a:pt x="512" y="262"/>
                  </a:lnTo>
                  <a:lnTo>
                    <a:pt x="512" y="343"/>
                  </a:lnTo>
                  <a:lnTo>
                    <a:pt x="510" y="347"/>
                  </a:lnTo>
                  <a:lnTo>
                    <a:pt x="506" y="347"/>
                  </a:lnTo>
                  <a:lnTo>
                    <a:pt x="502" y="345"/>
                  </a:lnTo>
                  <a:lnTo>
                    <a:pt x="502" y="343"/>
                  </a:lnTo>
                  <a:lnTo>
                    <a:pt x="500" y="337"/>
                  </a:lnTo>
                  <a:lnTo>
                    <a:pt x="498" y="335"/>
                  </a:lnTo>
                  <a:lnTo>
                    <a:pt x="496" y="333"/>
                  </a:lnTo>
                  <a:lnTo>
                    <a:pt x="490" y="335"/>
                  </a:lnTo>
                  <a:lnTo>
                    <a:pt x="484" y="339"/>
                  </a:lnTo>
                  <a:lnTo>
                    <a:pt x="476" y="343"/>
                  </a:lnTo>
                  <a:lnTo>
                    <a:pt x="472" y="343"/>
                  </a:lnTo>
                  <a:lnTo>
                    <a:pt x="466" y="343"/>
                  </a:lnTo>
                  <a:lnTo>
                    <a:pt x="460" y="341"/>
                  </a:lnTo>
                  <a:lnTo>
                    <a:pt x="456" y="337"/>
                  </a:lnTo>
                  <a:lnTo>
                    <a:pt x="454" y="331"/>
                  </a:lnTo>
                  <a:lnTo>
                    <a:pt x="450" y="325"/>
                  </a:lnTo>
                  <a:lnTo>
                    <a:pt x="444" y="316"/>
                  </a:lnTo>
                  <a:lnTo>
                    <a:pt x="442" y="314"/>
                  </a:lnTo>
                  <a:lnTo>
                    <a:pt x="438" y="308"/>
                  </a:lnTo>
                  <a:lnTo>
                    <a:pt x="434" y="308"/>
                  </a:lnTo>
                  <a:lnTo>
                    <a:pt x="430" y="308"/>
                  </a:lnTo>
                  <a:lnTo>
                    <a:pt x="428" y="300"/>
                  </a:lnTo>
                  <a:lnTo>
                    <a:pt x="424" y="292"/>
                  </a:lnTo>
                  <a:lnTo>
                    <a:pt x="424" y="290"/>
                  </a:lnTo>
                  <a:lnTo>
                    <a:pt x="420" y="286"/>
                  </a:lnTo>
                  <a:lnTo>
                    <a:pt x="418" y="284"/>
                  </a:lnTo>
                  <a:lnTo>
                    <a:pt x="410" y="280"/>
                  </a:lnTo>
                  <a:lnTo>
                    <a:pt x="398" y="276"/>
                  </a:lnTo>
                  <a:lnTo>
                    <a:pt x="384" y="270"/>
                  </a:lnTo>
                  <a:lnTo>
                    <a:pt x="378" y="270"/>
                  </a:lnTo>
                  <a:lnTo>
                    <a:pt x="370" y="268"/>
                  </a:lnTo>
                  <a:lnTo>
                    <a:pt x="366" y="266"/>
                  </a:lnTo>
                  <a:lnTo>
                    <a:pt x="364" y="264"/>
                  </a:lnTo>
                  <a:lnTo>
                    <a:pt x="360" y="256"/>
                  </a:lnTo>
                  <a:lnTo>
                    <a:pt x="356" y="248"/>
                  </a:lnTo>
                  <a:lnTo>
                    <a:pt x="344" y="236"/>
                  </a:lnTo>
                  <a:lnTo>
                    <a:pt x="340" y="224"/>
                  </a:lnTo>
                  <a:lnTo>
                    <a:pt x="338" y="222"/>
                  </a:lnTo>
                  <a:lnTo>
                    <a:pt x="334" y="224"/>
                  </a:lnTo>
                  <a:lnTo>
                    <a:pt x="332" y="226"/>
                  </a:lnTo>
                  <a:lnTo>
                    <a:pt x="330" y="228"/>
                  </a:lnTo>
                  <a:lnTo>
                    <a:pt x="326" y="240"/>
                  </a:lnTo>
                  <a:lnTo>
                    <a:pt x="324" y="244"/>
                  </a:lnTo>
                  <a:lnTo>
                    <a:pt x="324" y="246"/>
                  </a:lnTo>
                  <a:lnTo>
                    <a:pt x="322" y="248"/>
                  </a:lnTo>
                  <a:lnTo>
                    <a:pt x="316" y="248"/>
                  </a:lnTo>
                  <a:lnTo>
                    <a:pt x="310" y="250"/>
                  </a:lnTo>
                  <a:lnTo>
                    <a:pt x="302" y="250"/>
                  </a:lnTo>
                  <a:lnTo>
                    <a:pt x="290" y="248"/>
                  </a:lnTo>
                  <a:lnTo>
                    <a:pt x="284" y="246"/>
                  </a:lnTo>
                  <a:lnTo>
                    <a:pt x="268" y="244"/>
                  </a:lnTo>
                  <a:lnTo>
                    <a:pt x="264" y="244"/>
                  </a:lnTo>
                  <a:lnTo>
                    <a:pt x="258" y="242"/>
                  </a:lnTo>
                  <a:lnTo>
                    <a:pt x="252" y="240"/>
                  </a:lnTo>
                  <a:lnTo>
                    <a:pt x="238" y="234"/>
                  </a:lnTo>
                  <a:lnTo>
                    <a:pt x="230" y="234"/>
                  </a:lnTo>
                  <a:lnTo>
                    <a:pt x="228" y="232"/>
                  </a:lnTo>
                  <a:lnTo>
                    <a:pt x="224" y="230"/>
                  </a:lnTo>
                  <a:lnTo>
                    <a:pt x="220" y="226"/>
                  </a:lnTo>
                  <a:lnTo>
                    <a:pt x="218" y="222"/>
                  </a:lnTo>
                  <a:lnTo>
                    <a:pt x="216" y="212"/>
                  </a:lnTo>
                  <a:lnTo>
                    <a:pt x="216" y="206"/>
                  </a:lnTo>
                  <a:lnTo>
                    <a:pt x="218" y="200"/>
                  </a:lnTo>
                  <a:lnTo>
                    <a:pt x="216" y="198"/>
                  </a:lnTo>
                  <a:lnTo>
                    <a:pt x="214" y="198"/>
                  </a:lnTo>
                  <a:lnTo>
                    <a:pt x="210" y="200"/>
                  </a:lnTo>
                  <a:lnTo>
                    <a:pt x="202" y="202"/>
                  </a:lnTo>
                  <a:lnTo>
                    <a:pt x="190" y="204"/>
                  </a:lnTo>
                  <a:lnTo>
                    <a:pt x="184" y="206"/>
                  </a:lnTo>
                  <a:lnTo>
                    <a:pt x="180" y="206"/>
                  </a:lnTo>
                  <a:lnTo>
                    <a:pt x="176" y="208"/>
                  </a:lnTo>
                  <a:lnTo>
                    <a:pt x="166" y="214"/>
                  </a:lnTo>
                  <a:lnTo>
                    <a:pt x="162" y="214"/>
                  </a:lnTo>
                  <a:lnTo>
                    <a:pt x="156" y="212"/>
                  </a:lnTo>
                  <a:lnTo>
                    <a:pt x="154" y="208"/>
                  </a:lnTo>
                  <a:lnTo>
                    <a:pt x="156" y="206"/>
                  </a:lnTo>
                  <a:lnTo>
                    <a:pt x="158" y="202"/>
                  </a:lnTo>
                  <a:lnTo>
                    <a:pt x="156" y="192"/>
                  </a:lnTo>
                  <a:lnTo>
                    <a:pt x="152" y="190"/>
                  </a:lnTo>
                  <a:lnTo>
                    <a:pt x="144" y="186"/>
                  </a:lnTo>
                  <a:lnTo>
                    <a:pt x="140" y="186"/>
                  </a:lnTo>
                  <a:lnTo>
                    <a:pt x="140" y="182"/>
                  </a:lnTo>
                  <a:lnTo>
                    <a:pt x="136" y="176"/>
                  </a:lnTo>
                  <a:lnTo>
                    <a:pt x="132" y="176"/>
                  </a:lnTo>
                  <a:lnTo>
                    <a:pt x="130" y="176"/>
                  </a:lnTo>
                  <a:lnTo>
                    <a:pt x="130" y="184"/>
                  </a:lnTo>
                  <a:lnTo>
                    <a:pt x="132" y="196"/>
                  </a:lnTo>
                  <a:lnTo>
                    <a:pt x="134" y="206"/>
                  </a:lnTo>
                  <a:lnTo>
                    <a:pt x="134" y="210"/>
                  </a:lnTo>
                  <a:lnTo>
                    <a:pt x="134" y="212"/>
                  </a:lnTo>
                  <a:lnTo>
                    <a:pt x="134" y="214"/>
                  </a:lnTo>
                  <a:lnTo>
                    <a:pt x="132" y="218"/>
                  </a:lnTo>
                  <a:lnTo>
                    <a:pt x="130" y="224"/>
                  </a:lnTo>
                  <a:lnTo>
                    <a:pt x="130" y="226"/>
                  </a:lnTo>
                  <a:lnTo>
                    <a:pt x="130" y="232"/>
                  </a:lnTo>
                  <a:lnTo>
                    <a:pt x="130" y="242"/>
                  </a:lnTo>
                  <a:lnTo>
                    <a:pt x="128" y="250"/>
                  </a:lnTo>
                  <a:lnTo>
                    <a:pt x="128" y="258"/>
                  </a:lnTo>
                  <a:lnTo>
                    <a:pt x="132" y="274"/>
                  </a:lnTo>
                  <a:lnTo>
                    <a:pt x="132" y="280"/>
                  </a:lnTo>
                  <a:lnTo>
                    <a:pt x="128" y="288"/>
                  </a:lnTo>
                  <a:lnTo>
                    <a:pt x="126" y="294"/>
                  </a:lnTo>
                  <a:lnTo>
                    <a:pt x="124" y="300"/>
                  </a:lnTo>
                  <a:lnTo>
                    <a:pt x="124" y="304"/>
                  </a:lnTo>
                  <a:lnTo>
                    <a:pt x="130" y="316"/>
                  </a:lnTo>
                  <a:lnTo>
                    <a:pt x="128" y="317"/>
                  </a:lnTo>
                  <a:lnTo>
                    <a:pt x="124" y="317"/>
                  </a:lnTo>
                  <a:lnTo>
                    <a:pt x="122" y="317"/>
                  </a:lnTo>
                  <a:lnTo>
                    <a:pt x="0" y="317"/>
                  </a:lnTo>
                  <a:lnTo>
                    <a:pt x="0" y="517"/>
                  </a:lnTo>
                  <a:lnTo>
                    <a:pt x="2" y="539"/>
                  </a:lnTo>
                  <a:lnTo>
                    <a:pt x="10" y="561"/>
                  </a:lnTo>
                  <a:lnTo>
                    <a:pt x="14" y="563"/>
                  </a:lnTo>
                  <a:lnTo>
                    <a:pt x="20" y="567"/>
                  </a:lnTo>
                  <a:lnTo>
                    <a:pt x="30" y="577"/>
                  </a:lnTo>
                  <a:lnTo>
                    <a:pt x="36" y="583"/>
                  </a:lnTo>
                  <a:lnTo>
                    <a:pt x="48" y="593"/>
                  </a:lnTo>
                  <a:lnTo>
                    <a:pt x="62" y="609"/>
                  </a:lnTo>
                  <a:lnTo>
                    <a:pt x="78" y="621"/>
                  </a:lnTo>
                  <a:lnTo>
                    <a:pt x="90" y="633"/>
                  </a:lnTo>
                  <a:lnTo>
                    <a:pt x="104" y="629"/>
                  </a:lnTo>
                  <a:lnTo>
                    <a:pt x="118" y="627"/>
                  </a:lnTo>
                  <a:lnTo>
                    <a:pt x="134" y="625"/>
                  </a:lnTo>
                  <a:lnTo>
                    <a:pt x="146" y="623"/>
                  </a:lnTo>
                  <a:lnTo>
                    <a:pt x="150" y="621"/>
                  </a:lnTo>
                  <a:lnTo>
                    <a:pt x="180" y="625"/>
                  </a:lnTo>
                  <a:lnTo>
                    <a:pt x="192" y="627"/>
                  </a:lnTo>
                  <a:lnTo>
                    <a:pt x="198" y="627"/>
                  </a:lnTo>
                  <a:lnTo>
                    <a:pt x="202" y="633"/>
                  </a:lnTo>
                  <a:lnTo>
                    <a:pt x="214" y="643"/>
                  </a:lnTo>
                  <a:lnTo>
                    <a:pt x="226" y="647"/>
                  </a:lnTo>
                  <a:lnTo>
                    <a:pt x="234" y="647"/>
                  </a:lnTo>
                  <a:lnTo>
                    <a:pt x="240" y="645"/>
                  </a:lnTo>
                  <a:lnTo>
                    <a:pt x="246" y="647"/>
                  </a:lnTo>
                  <a:lnTo>
                    <a:pt x="254" y="655"/>
                  </a:lnTo>
                  <a:lnTo>
                    <a:pt x="262" y="655"/>
                  </a:lnTo>
                  <a:lnTo>
                    <a:pt x="272" y="651"/>
                  </a:lnTo>
                  <a:lnTo>
                    <a:pt x="284" y="653"/>
                  </a:lnTo>
                  <a:lnTo>
                    <a:pt x="300" y="659"/>
                  </a:lnTo>
                  <a:lnTo>
                    <a:pt x="314" y="661"/>
                  </a:lnTo>
                  <a:lnTo>
                    <a:pt x="330" y="655"/>
                  </a:lnTo>
                  <a:lnTo>
                    <a:pt x="330" y="653"/>
                  </a:lnTo>
                  <a:lnTo>
                    <a:pt x="332" y="649"/>
                  </a:lnTo>
                  <a:lnTo>
                    <a:pt x="334" y="647"/>
                  </a:lnTo>
                  <a:lnTo>
                    <a:pt x="334" y="645"/>
                  </a:lnTo>
                  <a:lnTo>
                    <a:pt x="336" y="641"/>
                  </a:lnTo>
                  <a:lnTo>
                    <a:pt x="340" y="637"/>
                  </a:lnTo>
                  <a:lnTo>
                    <a:pt x="344" y="631"/>
                  </a:lnTo>
                  <a:lnTo>
                    <a:pt x="348" y="629"/>
                  </a:lnTo>
                  <a:lnTo>
                    <a:pt x="348" y="627"/>
                  </a:lnTo>
                  <a:lnTo>
                    <a:pt x="350" y="627"/>
                  </a:lnTo>
                  <a:lnTo>
                    <a:pt x="352" y="625"/>
                  </a:lnTo>
                  <a:lnTo>
                    <a:pt x="352" y="623"/>
                  </a:lnTo>
                  <a:lnTo>
                    <a:pt x="352" y="621"/>
                  </a:lnTo>
                  <a:lnTo>
                    <a:pt x="350" y="621"/>
                  </a:lnTo>
                  <a:lnTo>
                    <a:pt x="352" y="615"/>
                  </a:lnTo>
                  <a:lnTo>
                    <a:pt x="356" y="609"/>
                  </a:lnTo>
                  <a:lnTo>
                    <a:pt x="358" y="605"/>
                  </a:lnTo>
                  <a:lnTo>
                    <a:pt x="364" y="599"/>
                  </a:lnTo>
                  <a:lnTo>
                    <a:pt x="368" y="593"/>
                  </a:lnTo>
                  <a:lnTo>
                    <a:pt x="370" y="593"/>
                  </a:lnTo>
                  <a:lnTo>
                    <a:pt x="372" y="593"/>
                  </a:lnTo>
                  <a:lnTo>
                    <a:pt x="374" y="593"/>
                  </a:lnTo>
                  <a:lnTo>
                    <a:pt x="374" y="591"/>
                  </a:lnTo>
                  <a:lnTo>
                    <a:pt x="374" y="589"/>
                  </a:lnTo>
                  <a:lnTo>
                    <a:pt x="376" y="585"/>
                  </a:lnTo>
                  <a:lnTo>
                    <a:pt x="374" y="585"/>
                  </a:lnTo>
                  <a:lnTo>
                    <a:pt x="376" y="583"/>
                  </a:lnTo>
                  <a:lnTo>
                    <a:pt x="378" y="583"/>
                  </a:lnTo>
                  <a:lnTo>
                    <a:pt x="380" y="583"/>
                  </a:lnTo>
                  <a:lnTo>
                    <a:pt x="382" y="583"/>
                  </a:lnTo>
                  <a:lnTo>
                    <a:pt x="382" y="579"/>
                  </a:lnTo>
                  <a:lnTo>
                    <a:pt x="380" y="577"/>
                  </a:lnTo>
                  <a:lnTo>
                    <a:pt x="380" y="577"/>
                  </a:lnTo>
                  <a:lnTo>
                    <a:pt x="382" y="575"/>
                  </a:lnTo>
                  <a:lnTo>
                    <a:pt x="384" y="575"/>
                  </a:lnTo>
                  <a:lnTo>
                    <a:pt x="386" y="573"/>
                  </a:lnTo>
                  <a:lnTo>
                    <a:pt x="388" y="573"/>
                  </a:lnTo>
                  <a:lnTo>
                    <a:pt x="388" y="573"/>
                  </a:lnTo>
                  <a:lnTo>
                    <a:pt x="390" y="575"/>
                  </a:lnTo>
                  <a:lnTo>
                    <a:pt x="392" y="577"/>
                  </a:lnTo>
                  <a:lnTo>
                    <a:pt x="394" y="577"/>
                  </a:lnTo>
                  <a:lnTo>
                    <a:pt x="396" y="577"/>
                  </a:lnTo>
                  <a:lnTo>
                    <a:pt x="398" y="575"/>
                  </a:lnTo>
                  <a:lnTo>
                    <a:pt x="400" y="571"/>
                  </a:lnTo>
                  <a:lnTo>
                    <a:pt x="402" y="571"/>
                  </a:lnTo>
                  <a:lnTo>
                    <a:pt x="404" y="569"/>
                  </a:lnTo>
                  <a:lnTo>
                    <a:pt x="406" y="567"/>
                  </a:lnTo>
                  <a:lnTo>
                    <a:pt x="406" y="565"/>
                  </a:lnTo>
                  <a:lnTo>
                    <a:pt x="408" y="565"/>
                  </a:lnTo>
                  <a:lnTo>
                    <a:pt x="410" y="563"/>
                  </a:lnTo>
                  <a:lnTo>
                    <a:pt x="412" y="561"/>
                  </a:lnTo>
                  <a:lnTo>
                    <a:pt x="414" y="559"/>
                  </a:lnTo>
                  <a:lnTo>
                    <a:pt x="412" y="557"/>
                  </a:lnTo>
                  <a:lnTo>
                    <a:pt x="414" y="557"/>
                  </a:lnTo>
                  <a:lnTo>
                    <a:pt x="416" y="559"/>
                  </a:lnTo>
                  <a:lnTo>
                    <a:pt x="418" y="559"/>
                  </a:lnTo>
                  <a:lnTo>
                    <a:pt x="420" y="561"/>
                  </a:lnTo>
                  <a:lnTo>
                    <a:pt x="422" y="559"/>
                  </a:lnTo>
                  <a:lnTo>
                    <a:pt x="426" y="557"/>
                  </a:lnTo>
                  <a:lnTo>
                    <a:pt x="428" y="557"/>
                  </a:lnTo>
                  <a:lnTo>
                    <a:pt x="430" y="557"/>
                  </a:lnTo>
                  <a:lnTo>
                    <a:pt x="430" y="555"/>
                  </a:lnTo>
                  <a:lnTo>
                    <a:pt x="432" y="555"/>
                  </a:lnTo>
                  <a:lnTo>
                    <a:pt x="434" y="555"/>
                  </a:lnTo>
                  <a:lnTo>
                    <a:pt x="438" y="555"/>
                  </a:lnTo>
                  <a:lnTo>
                    <a:pt x="444" y="557"/>
                  </a:lnTo>
                  <a:lnTo>
                    <a:pt x="448" y="549"/>
                  </a:lnTo>
                  <a:lnTo>
                    <a:pt x="450" y="541"/>
                  </a:lnTo>
                  <a:lnTo>
                    <a:pt x="450" y="529"/>
                  </a:lnTo>
                  <a:lnTo>
                    <a:pt x="452" y="523"/>
                  </a:lnTo>
                  <a:lnTo>
                    <a:pt x="454" y="519"/>
                  </a:lnTo>
                  <a:lnTo>
                    <a:pt x="458" y="517"/>
                  </a:lnTo>
                  <a:lnTo>
                    <a:pt x="462" y="513"/>
                  </a:lnTo>
                  <a:lnTo>
                    <a:pt x="478" y="505"/>
                  </a:lnTo>
                  <a:lnTo>
                    <a:pt x="492" y="499"/>
                  </a:lnTo>
                  <a:lnTo>
                    <a:pt x="506" y="497"/>
                  </a:lnTo>
                  <a:lnTo>
                    <a:pt x="542" y="497"/>
                  </a:lnTo>
                  <a:lnTo>
                    <a:pt x="550" y="495"/>
                  </a:lnTo>
                  <a:lnTo>
                    <a:pt x="550" y="487"/>
                  </a:lnTo>
                  <a:lnTo>
                    <a:pt x="548" y="477"/>
                  </a:lnTo>
                  <a:lnTo>
                    <a:pt x="544" y="471"/>
                  </a:lnTo>
                  <a:lnTo>
                    <a:pt x="542" y="465"/>
                  </a:lnTo>
                  <a:lnTo>
                    <a:pt x="540" y="457"/>
                  </a:lnTo>
                  <a:lnTo>
                    <a:pt x="540" y="453"/>
                  </a:lnTo>
                  <a:lnTo>
                    <a:pt x="540" y="451"/>
                  </a:lnTo>
                  <a:lnTo>
                    <a:pt x="554" y="447"/>
                  </a:lnTo>
                  <a:lnTo>
                    <a:pt x="560" y="443"/>
                  </a:lnTo>
                  <a:lnTo>
                    <a:pt x="568" y="439"/>
                  </a:lnTo>
                  <a:lnTo>
                    <a:pt x="584" y="435"/>
                  </a:lnTo>
                  <a:lnTo>
                    <a:pt x="600" y="431"/>
                  </a:lnTo>
                  <a:lnTo>
                    <a:pt x="612" y="427"/>
                  </a:lnTo>
                  <a:lnTo>
                    <a:pt x="626" y="423"/>
                  </a:lnTo>
                  <a:lnTo>
                    <a:pt x="632" y="421"/>
                  </a:lnTo>
                  <a:lnTo>
                    <a:pt x="638" y="419"/>
                  </a:lnTo>
                  <a:lnTo>
                    <a:pt x="654" y="413"/>
                  </a:lnTo>
                  <a:lnTo>
                    <a:pt x="660" y="411"/>
                  </a:lnTo>
                  <a:lnTo>
                    <a:pt x="668" y="407"/>
                  </a:lnTo>
                  <a:lnTo>
                    <a:pt x="674" y="407"/>
                  </a:lnTo>
                  <a:lnTo>
                    <a:pt x="692" y="399"/>
                  </a:lnTo>
                  <a:lnTo>
                    <a:pt x="714" y="393"/>
                  </a:lnTo>
                  <a:lnTo>
                    <a:pt x="720" y="391"/>
                  </a:lnTo>
                  <a:lnTo>
                    <a:pt x="734" y="385"/>
                  </a:lnTo>
                  <a:lnTo>
                    <a:pt x="732" y="381"/>
                  </a:lnTo>
                  <a:lnTo>
                    <a:pt x="728" y="381"/>
                  </a:lnTo>
                  <a:lnTo>
                    <a:pt x="724" y="385"/>
                  </a:lnTo>
                  <a:lnTo>
                    <a:pt x="722" y="387"/>
                  </a:lnTo>
                  <a:lnTo>
                    <a:pt x="720" y="387"/>
                  </a:lnTo>
                  <a:lnTo>
                    <a:pt x="720" y="385"/>
                  </a:lnTo>
                  <a:lnTo>
                    <a:pt x="720" y="383"/>
                  </a:lnTo>
                  <a:lnTo>
                    <a:pt x="716" y="377"/>
                  </a:lnTo>
                  <a:lnTo>
                    <a:pt x="712" y="373"/>
                  </a:lnTo>
                  <a:lnTo>
                    <a:pt x="710" y="371"/>
                  </a:lnTo>
                  <a:lnTo>
                    <a:pt x="706" y="369"/>
                  </a:lnTo>
                  <a:lnTo>
                    <a:pt x="708" y="367"/>
                  </a:lnTo>
                  <a:lnTo>
                    <a:pt x="708" y="365"/>
                  </a:lnTo>
                  <a:lnTo>
                    <a:pt x="708" y="363"/>
                  </a:lnTo>
                  <a:lnTo>
                    <a:pt x="706" y="361"/>
                  </a:lnTo>
                  <a:lnTo>
                    <a:pt x="700" y="359"/>
                  </a:lnTo>
                  <a:lnTo>
                    <a:pt x="700" y="357"/>
                  </a:lnTo>
                  <a:lnTo>
                    <a:pt x="706" y="355"/>
                  </a:lnTo>
                  <a:lnTo>
                    <a:pt x="710" y="351"/>
                  </a:lnTo>
                  <a:lnTo>
                    <a:pt x="712" y="347"/>
                  </a:lnTo>
                  <a:lnTo>
                    <a:pt x="714" y="341"/>
                  </a:lnTo>
                  <a:lnTo>
                    <a:pt x="718" y="335"/>
                  </a:lnTo>
                  <a:lnTo>
                    <a:pt x="720" y="333"/>
                  </a:lnTo>
                  <a:lnTo>
                    <a:pt x="720" y="327"/>
                  </a:lnTo>
                  <a:lnTo>
                    <a:pt x="720" y="323"/>
                  </a:lnTo>
                  <a:lnTo>
                    <a:pt x="720" y="317"/>
                  </a:lnTo>
                  <a:lnTo>
                    <a:pt x="722" y="312"/>
                  </a:lnTo>
                  <a:lnTo>
                    <a:pt x="720" y="310"/>
                  </a:lnTo>
                  <a:lnTo>
                    <a:pt x="718" y="306"/>
                  </a:lnTo>
                  <a:lnTo>
                    <a:pt x="720" y="298"/>
                  </a:lnTo>
                  <a:lnTo>
                    <a:pt x="722" y="294"/>
                  </a:lnTo>
                  <a:lnTo>
                    <a:pt x="738" y="288"/>
                  </a:lnTo>
                  <a:lnTo>
                    <a:pt x="748" y="284"/>
                  </a:lnTo>
                  <a:lnTo>
                    <a:pt x="750" y="282"/>
                  </a:lnTo>
                  <a:lnTo>
                    <a:pt x="754" y="278"/>
                  </a:lnTo>
                  <a:lnTo>
                    <a:pt x="756" y="274"/>
                  </a:lnTo>
                  <a:lnTo>
                    <a:pt x="754" y="274"/>
                  </a:lnTo>
                  <a:lnTo>
                    <a:pt x="746" y="274"/>
                  </a:lnTo>
                  <a:lnTo>
                    <a:pt x="744" y="272"/>
                  </a:lnTo>
                  <a:lnTo>
                    <a:pt x="738" y="258"/>
                  </a:lnTo>
                  <a:lnTo>
                    <a:pt x="742" y="244"/>
                  </a:lnTo>
                  <a:lnTo>
                    <a:pt x="742" y="238"/>
                  </a:lnTo>
                  <a:lnTo>
                    <a:pt x="742" y="230"/>
                  </a:lnTo>
                  <a:lnTo>
                    <a:pt x="740" y="224"/>
                  </a:lnTo>
                  <a:lnTo>
                    <a:pt x="738" y="222"/>
                  </a:lnTo>
                  <a:lnTo>
                    <a:pt x="736" y="220"/>
                  </a:lnTo>
                  <a:lnTo>
                    <a:pt x="736" y="212"/>
                  </a:lnTo>
                  <a:lnTo>
                    <a:pt x="740" y="212"/>
                  </a:lnTo>
                  <a:lnTo>
                    <a:pt x="744" y="200"/>
                  </a:lnTo>
                  <a:lnTo>
                    <a:pt x="746" y="194"/>
                  </a:lnTo>
                  <a:lnTo>
                    <a:pt x="744" y="190"/>
                  </a:lnTo>
                  <a:lnTo>
                    <a:pt x="740" y="182"/>
                  </a:lnTo>
                  <a:lnTo>
                    <a:pt x="740" y="178"/>
                  </a:lnTo>
                  <a:lnTo>
                    <a:pt x="738" y="176"/>
                  </a:lnTo>
                  <a:lnTo>
                    <a:pt x="740" y="174"/>
                  </a:lnTo>
                  <a:lnTo>
                    <a:pt x="744" y="172"/>
                  </a:lnTo>
                  <a:lnTo>
                    <a:pt x="748" y="172"/>
                  </a:lnTo>
                  <a:lnTo>
                    <a:pt x="752" y="170"/>
                  </a:lnTo>
                  <a:lnTo>
                    <a:pt x="764" y="156"/>
                  </a:lnTo>
                  <a:lnTo>
                    <a:pt x="764" y="154"/>
                  </a:lnTo>
                  <a:lnTo>
                    <a:pt x="762" y="150"/>
                  </a:lnTo>
                  <a:lnTo>
                    <a:pt x="758" y="144"/>
                  </a:lnTo>
                  <a:lnTo>
                    <a:pt x="756" y="140"/>
                  </a:lnTo>
                  <a:lnTo>
                    <a:pt x="756" y="134"/>
                  </a:lnTo>
                  <a:lnTo>
                    <a:pt x="754" y="130"/>
                  </a:lnTo>
                  <a:lnTo>
                    <a:pt x="748" y="126"/>
                  </a:lnTo>
                  <a:lnTo>
                    <a:pt x="742" y="120"/>
                  </a:lnTo>
                  <a:lnTo>
                    <a:pt x="744" y="114"/>
                  </a:lnTo>
                  <a:lnTo>
                    <a:pt x="744" y="108"/>
                  </a:lnTo>
                  <a:lnTo>
                    <a:pt x="742" y="104"/>
                  </a:lnTo>
                  <a:lnTo>
                    <a:pt x="738" y="102"/>
                  </a:lnTo>
                  <a:lnTo>
                    <a:pt x="736" y="96"/>
                  </a:lnTo>
                  <a:lnTo>
                    <a:pt x="734" y="92"/>
                  </a:lnTo>
                  <a:lnTo>
                    <a:pt x="732" y="92"/>
                  </a:lnTo>
                  <a:lnTo>
                    <a:pt x="728" y="92"/>
                  </a:lnTo>
                  <a:lnTo>
                    <a:pt x="726" y="94"/>
                  </a:lnTo>
                  <a:lnTo>
                    <a:pt x="724" y="94"/>
                  </a:lnTo>
                  <a:lnTo>
                    <a:pt x="722" y="92"/>
                  </a:lnTo>
                  <a:lnTo>
                    <a:pt x="720" y="88"/>
                  </a:lnTo>
                  <a:lnTo>
                    <a:pt x="720" y="86"/>
                  </a:lnTo>
                  <a:lnTo>
                    <a:pt x="718" y="84"/>
                  </a:lnTo>
                  <a:lnTo>
                    <a:pt x="716" y="80"/>
                  </a:lnTo>
                  <a:lnTo>
                    <a:pt x="716" y="78"/>
                  </a:lnTo>
                  <a:lnTo>
                    <a:pt x="712" y="76"/>
                  </a:lnTo>
                  <a:lnTo>
                    <a:pt x="706" y="72"/>
                  </a:lnTo>
                  <a:lnTo>
                    <a:pt x="696" y="68"/>
                  </a:lnTo>
                  <a:lnTo>
                    <a:pt x="688" y="64"/>
                  </a:lnTo>
                  <a:lnTo>
                    <a:pt x="684" y="62"/>
                  </a:lnTo>
                  <a:lnTo>
                    <a:pt x="676" y="60"/>
                  </a:lnTo>
                  <a:lnTo>
                    <a:pt x="670" y="60"/>
                  </a:lnTo>
                  <a:lnTo>
                    <a:pt x="664" y="56"/>
                  </a:lnTo>
                  <a:lnTo>
                    <a:pt x="658" y="56"/>
                  </a:lnTo>
                  <a:lnTo>
                    <a:pt x="652" y="54"/>
                  </a:lnTo>
                  <a:lnTo>
                    <a:pt x="650" y="52"/>
                  </a:lnTo>
                  <a:lnTo>
                    <a:pt x="650" y="48"/>
                  </a:lnTo>
                  <a:lnTo>
                    <a:pt x="648" y="46"/>
                  </a:lnTo>
                  <a:lnTo>
                    <a:pt x="644" y="44"/>
                  </a:lnTo>
                  <a:lnTo>
                    <a:pt x="640" y="44"/>
                  </a:lnTo>
                  <a:lnTo>
                    <a:pt x="636" y="46"/>
                  </a:lnTo>
                  <a:lnTo>
                    <a:pt x="634" y="44"/>
                  </a:lnTo>
                  <a:lnTo>
                    <a:pt x="630" y="42"/>
                  </a:lnTo>
                  <a:lnTo>
                    <a:pt x="626" y="38"/>
                  </a:lnTo>
                  <a:lnTo>
                    <a:pt x="626" y="32"/>
                  </a:lnTo>
                  <a:lnTo>
                    <a:pt x="620" y="28"/>
                  </a:lnTo>
                  <a:lnTo>
                    <a:pt x="614" y="26"/>
                  </a:lnTo>
                  <a:lnTo>
                    <a:pt x="602" y="26"/>
                  </a:lnTo>
                  <a:lnTo>
                    <a:pt x="604" y="28"/>
                  </a:lnTo>
                  <a:lnTo>
                    <a:pt x="602" y="34"/>
                  </a:lnTo>
                  <a:lnTo>
                    <a:pt x="602" y="34"/>
                  </a:lnTo>
                  <a:lnTo>
                    <a:pt x="602" y="34"/>
                  </a:lnTo>
                  <a:lnTo>
                    <a:pt x="600" y="32"/>
                  </a:lnTo>
                  <a:lnTo>
                    <a:pt x="600" y="32"/>
                  </a:lnTo>
                  <a:lnTo>
                    <a:pt x="598" y="34"/>
                  </a:lnTo>
                  <a:lnTo>
                    <a:pt x="596" y="36"/>
                  </a:lnTo>
                  <a:lnTo>
                    <a:pt x="594" y="38"/>
                  </a:lnTo>
                  <a:lnTo>
                    <a:pt x="592" y="36"/>
                  </a:lnTo>
                  <a:lnTo>
                    <a:pt x="588" y="34"/>
                  </a:lnTo>
                  <a:lnTo>
                    <a:pt x="578" y="22"/>
                  </a:lnTo>
                  <a:lnTo>
                    <a:pt x="578" y="22"/>
                  </a:lnTo>
                  <a:lnTo>
                    <a:pt x="572" y="20"/>
                  </a:lnTo>
                  <a:lnTo>
                    <a:pt x="570" y="18"/>
                  </a:lnTo>
                  <a:lnTo>
                    <a:pt x="568" y="18"/>
                  </a:lnTo>
                  <a:lnTo>
                    <a:pt x="568" y="18"/>
                  </a:lnTo>
                  <a:lnTo>
                    <a:pt x="566" y="20"/>
                  </a:lnTo>
                  <a:lnTo>
                    <a:pt x="562" y="22"/>
                  </a:lnTo>
                  <a:lnTo>
                    <a:pt x="560" y="22"/>
                  </a:lnTo>
                  <a:lnTo>
                    <a:pt x="562" y="22"/>
                  </a:lnTo>
                  <a:lnTo>
                    <a:pt x="562" y="20"/>
                  </a:lnTo>
                  <a:lnTo>
                    <a:pt x="562" y="18"/>
                  </a:lnTo>
                  <a:lnTo>
                    <a:pt x="560" y="18"/>
                  </a:lnTo>
                  <a:lnTo>
                    <a:pt x="558" y="18"/>
                  </a:lnTo>
                  <a:lnTo>
                    <a:pt x="556"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0" name="Google Shape;4967;p64">
              <a:extLst>
                <a:ext uri="{FF2B5EF4-FFF2-40B4-BE49-F238E27FC236}">
                  <a16:creationId xmlns:a16="http://schemas.microsoft.com/office/drawing/2014/main" id="{9961E501-1F9F-3047-0A67-B81D0B7F30AC}"/>
                </a:ext>
              </a:extLst>
            </p:cNvPr>
            <p:cNvSpPr/>
            <p:nvPr/>
          </p:nvSpPr>
          <p:spPr>
            <a:xfrm>
              <a:off x="5067738" y="5329748"/>
              <a:ext cx="167360" cy="154234"/>
            </a:xfrm>
            <a:custGeom>
              <a:avLst/>
              <a:gdLst/>
              <a:ahLst/>
              <a:cxnLst/>
              <a:rect l="l" t="t" r="r" b="b"/>
              <a:pathLst>
                <a:path w="510" h="470" extrusionOk="0">
                  <a:moveTo>
                    <a:pt x="232" y="62"/>
                  </a:moveTo>
                  <a:lnTo>
                    <a:pt x="238" y="64"/>
                  </a:lnTo>
                  <a:lnTo>
                    <a:pt x="240" y="64"/>
                  </a:lnTo>
                  <a:lnTo>
                    <a:pt x="244" y="64"/>
                  </a:lnTo>
                  <a:lnTo>
                    <a:pt x="246" y="68"/>
                  </a:lnTo>
                  <a:lnTo>
                    <a:pt x="246" y="68"/>
                  </a:lnTo>
                  <a:lnTo>
                    <a:pt x="244" y="70"/>
                  </a:lnTo>
                  <a:lnTo>
                    <a:pt x="242" y="72"/>
                  </a:lnTo>
                  <a:lnTo>
                    <a:pt x="240" y="72"/>
                  </a:lnTo>
                  <a:lnTo>
                    <a:pt x="238" y="72"/>
                  </a:lnTo>
                  <a:lnTo>
                    <a:pt x="238" y="74"/>
                  </a:lnTo>
                  <a:lnTo>
                    <a:pt x="236" y="78"/>
                  </a:lnTo>
                  <a:lnTo>
                    <a:pt x="234" y="80"/>
                  </a:lnTo>
                  <a:lnTo>
                    <a:pt x="232" y="80"/>
                  </a:lnTo>
                  <a:lnTo>
                    <a:pt x="230" y="80"/>
                  </a:lnTo>
                  <a:lnTo>
                    <a:pt x="228" y="78"/>
                  </a:lnTo>
                  <a:lnTo>
                    <a:pt x="228" y="76"/>
                  </a:lnTo>
                  <a:lnTo>
                    <a:pt x="226" y="74"/>
                  </a:lnTo>
                  <a:lnTo>
                    <a:pt x="224" y="74"/>
                  </a:lnTo>
                  <a:lnTo>
                    <a:pt x="222" y="74"/>
                  </a:lnTo>
                  <a:lnTo>
                    <a:pt x="220" y="76"/>
                  </a:lnTo>
                  <a:lnTo>
                    <a:pt x="218" y="76"/>
                  </a:lnTo>
                  <a:lnTo>
                    <a:pt x="216" y="78"/>
                  </a:lnTo>
                  <a:lnTo>
                    <a:pt x="212" y="80"/>
                  </a:lnTo>
                  <a:lnTo>
                    <a:pt x="212" y="82"/>
                  </a:lnTo>
                  <a:lnTo>
                    <a:pt x="212" y="84"/>
                  </a:lnTo>
                  <a:lnTo>
                    <a:pt x="212" y="84"/>
                  </a:lnTo>
                  <a:lnTo>
                    <a:pt x="210" y="82"/>
                  </a:lnTo>
                  <a:lnTo>
                    <a:pt x="206" y="80"/>
                  </a:lnTo>
                  <a:lnTo>
                    <a:pt x="204" y="80"/>
                  </a:lnTo>
                  <a:lnTo>
                    <a:pt x="198" y="82"/>
                  </a:lnTo>
                  <a:lnTo>
                    <a:pt x="192" y="82"/>
                  </a:lnTo>
                  <a:lnTo>
                    <a:pt x="190" y="84"/>
                  </a:lnTo>
                  <a:lnTo>
                    <a:pt x="188" y="86"/>
                  </a:lnTo>
                  <a:lnTo>
                    <a:pt x="188" y="90"/>
                  </a:lnTo>
                  <a:lnTo>
                    <a:pt x="188" y="92"/>
                  </a:lnTo>
                  <a:lnTo>
                    <a:pt x="188" y="94"/>
                  </a:lnTo>
                  <a:lnTo>
                    <a:pt x="188" y="94"/>
                  </a:lnTo>
                  <a:lnTo>
                    <a:pt x="186" y="96"/>
                  </a:lnTo>
                  <a:lnTo>
                    <a:pt x="184" y="98"/>
                  </a:lnTo>
                  <a:lnTo>
                    <a:pt x="182" y="98"/>
                  </a:lnTo>
                  <a:lnTo>
                    <a:pt x="178" y="96"/>
                  </a:lnTo>
                  <a:lnTo>
                    <a:pt x="178" y="98"/>
                  </a:lnTo>
                  <a:lnTo>
                    <a:pt x="174" y="102"/>
                  </a:lnTo>
                  <a:lnTo>
                    <a:pt x="172" y="104"/>
                  </a:lnTo>
                  <a:lnTo>
                    <a:pt x="170" y="104"/>
                  </a:lnTo>
                  <a:lnTo>
                    <a:pt x="166" y="106"/>
                  </a:lnTo>
                  <a:lnTo>
                    <a:pt x="162" y="108"/>
                  </a:lnTo>
                  <a:lnTo>
                    <a:pt x="160" y="110"/>
                  </a:lnTo>
                  <a:lnTo>
                    <a:pt x="160" y="110"/>
                  </a:lnTo>
                  <a:lnTo>
                    <a:pt x="160" y="114"/>
                  </a:lnTo>
                  <a:lnTo>
                    <a:pt x="154" y="124"/>
                  </a:lnTo>
                  <a:lnTo>
                    <a:pt x="154" y="124"/>
                  </a:lnTo>
                  <a:lnTo>
                    <a:pt x="152" y="126"/>
                  </a:lnTo>
                  <a:lnTo>
                    <a:pt x="150" y="128"/>
                  </a:lnTo>
                  <a:lnTo>
                    <a:pt x="146" y="130"/>
                  </a:lnTo>
                  <a:lnTo>
                    <a:pt x="144" y="132"/>
                  </a:lnTo>
                  <a:lnTo>
                    <a:pt x="146" y="132"/>
                  </a:lnTo>
                  <a:lnTo>
                    <a:pt x="146" y="132"/>
                  </a:lnTo>
                  <a:lnTo>
                    <a:pt x="146" y="132"/>
                  </a:lnTo>
                  <a:lnTo>
                    <a:pt x="142" y="134"/>
                  </a:lnTo>
                  <a:lnTo>
                    <a:pt x="140" y="134"/>
                  </a:lnTo>
                  <a:lnTo>
                    <a:pt x="134" y="140"/>
                  </a:lnTo>
                  <a:lnTo>
                    <a:pt x="130" y="146"/>
                  </a:lnTo>
                  <a:lnTo>
                    <a:pt x="128" y="148"/>
                  </a:lnTo>
                  <a:lnTo>
                    <a:pt x="126" y="152"/>
                  </a:lnTo>
                  <a:lnTo>
                    <a:pt x="124" y="156"/>
                  </a:lnTo>
                  <a:lnTo>
                    <a:pt x="122" y="160"/>
                  </a:lnTo>
                  <a:lnTo>
                    <a:pt x="120" y="160"/>
                  </a:lnTo>
                  <a:lnTo>
                    <a:pt x="118" y="160"/>
                  </a:lnTo>
                  <a:lnTo>
                    <a:pt x="102" y="166"/>
                  </a:lnTo>
                  <a:lnTo>
                    <a:pt x="88" y="164"/>
                  </a:lnTo>
                  <a:lnTo>
                    <a:pt x="72" y="158"/>
                  </a:lnTo>
                  <a:lnTo>
                    <a:pt x="60" y="156"/>
                  </a:lnTo>
                  <a:lnTo>
                    <a:pt x="50" y="160"/>
                  </a:lnTo>
                  <a:lnTo>
                    <a:pt x="42" y="160"/>
                  </a:lnTo>
                  <a:lnTo>
                    <a:pt x="34" y="152"/>
                  </a:lnTo>
                  <a:lnTo>
                    <a:pt x="28" y="150"/>
                  </a:lnTo>
                  <a:lnTo>
                    <a:pt x="22" y="152"/>
                  </a:lnTo>
                  <a:lnTo>
                    <a:pt x="14" y="152"/>
                  </a:lnTo>
                  <a:lnTo>
                    <a:pt x="2" y="148"/>
                  </a:lnTo>
                  <a:lnTo>
                    <a:pt x="0" y="152"/>
                  </a:lnTo>
                  <a:lnTo>
                    <a:pt x="0" y="156"/>
                  </a:lnTo>
                  <a:lnTo>
                    <a:pt x="2" y="160"/>
                  </a:lnTo>
                  <a:lnTo>
                    <a:pt x="4" y="166"/>
                  </a:lnTo>
                  <a:lnTo>
                    <a:pt x="8" y="170"/>
                  </a:lnTo>
                  <a:lnTo>
                    <a:pt x="10" y="172"/>
                  </a:lnTo>
                  <a:lnTo>
                    <a:pt x="14" y="178"/>
                  </a:lnTo>
                  <a:lnTo>
                    <a:pt x="16" y="186"/>
                  </a:lnTo>
                  <a:lnTo>
                    <a:pt x="22" y="192"/>
                  </a:lnTo>
                  <a:lnTo>
                    <a:pt x="36" y="208"/>
                  </a:lnTo>
                  <a:lnTo>
                    <a:pt x="36" y="212"/>
                  </a:lnTo>
                  <a:lnTo>
                    <a:pt x="38" y="218"/>
                  </a:lnTo>
                  <a:lnTo>
                    <a:pt x="46" y="228"/>
                  </a:lnTo>
                  <a:lnTo>
                    <a:pt x="48" y="230"/>
                  </a:lnTo>
                  <a:lnTo>
                    <a:pt x="48" y="238"/>
                  </a:lnTo>
                  <a:lnTo>
                    <a:pt x="56" y="258"/>
                  </a:lnTo>
                  <a:lnTo>
                    <a:pt x="62" y="270"/>
                  </a:lnTo>
                  <a:lnTo>
                    <a:pt x="66" y="272"/>
                  </a:lnTo>
                  <a:lnTo>
                    <a:pt x="82" y="284"/>
                  </a:lnTo>
                  <a:lnTo>
                    <a:pt x="96" y="294"/>
                  </a:lnTo>
                  <a:lnTo>
                    <a:pt x="110" y="300"/>
                  </a:lnTo>
                  <a:lnTo>
                    <a:pt x="122" y="304"/>
                  </a:lnTo>
                  <a:lnTo>
                    <a:pt x="128" y="308"/>
                  </a:lnTo>
                  <a:lnTo>
                    <a:pt x="130" y="312"/>
                  </a:lnTo>
                  <a:lnTo>
                    <a:pt x="134" y="318"/>
                  </a:lnTo>
                  <a:lnTo>
                    <a:pt x="134" y="328"/>
                  </a:lnTo>
                  <a:lnTo>
                    <a:pt x="134" y="334"/>
                  </a:lnTo>
                  <a:lnTo>
                    <a:pt x="146" y="334"/>
                  </a:lnTo>
                  <a:lnTo>
                    <a:pt x="158" y="334"/>
                  </a:lnTo>
                  <a:lnTo>
                    <a:pt x="160" y="336"/>
                  </a:lnTo>
                  <a:lnTo>
                    <a:pt x="162" y="338"/>
                  </a:lnTo>
                  <a:lnTo>
                    <a:pt x="162" y="342"/>
                  </a:lnTo>
                  <a:lnTo>
                    <a:pt x="162" y="350"/>
                  </a:lnTo>
                  <a:lnTo>
                    <a:pt x="162" y="354"/>
                  </a:lnTo>
                  <a:lnTo>
                    <a:pt x="162" y="360"/>
                  </a:lnTo>
                  <a:lnTo>
                    <a:pt x="160" y="368"/>
                  </a:lnTo>
                  <a:lnTo>
                    <a:pt x="160" y="376"/>
                  </a:lnTo>
                  <a:lnTo>
                    <a:pt x="162" y="378"/>
                  </a:lnTo>
                  <a:lnTo>
                    <a:pt x="172" y="390"/>
                  </a:lnTo>
                  <a:lnTo>
                    <a:pt x="176" y="396"/>
                  </a:lnTo>
                  <a:lnTo>
                    <a:pt x="180" y="406"/>
                  </a:lnTo>
                  <a:lnTo>
                    <a:pt x="182" y="410"/>
                  </a:lnTo>
                  <a:lnTo>
                    <a:pt x="184" y="412"/>
                  </a:lnTo>
                  <a:lnTo>
                    <a:pt x="194" y="412"/>
                  </a:lnTo>
                  <a:lnTo>
                    <a:pt x="216" y="418"/>
                  </a:lnTo>
                  <a:lnTo>
                    <a:pt x="230" y="420"/>
                  </a:lnTo>
                  <a:lnTo>
                    <a:pt x="242" y="426"/>
                  </a:lnTo>
                  <a:lnTo>
                    <a:pt x="246" y="426"/>
                  </a:lnTo>
                  <a:lnTo>
                    <a:pt x="248" y="428"/>
                  </a:lnTo>
                  <a:lnTo>
                    <a:pt x="250" y="428"/>
                  </a:lnTo>
                  <a:lnTo>
                    <a:pt x="248" y="438"/>
                  </a:lnTo>
                  <a:lnTo>
                    <a:pt x="248" y="440"/>
                  </a:lnTo>
                  <a:lnTo>
                    <a:pt x="250" y="442"/>
                  </a:lnTo>
                  <a:lnTo>
                    <a:pt x="252" y="444"/>
                  </a:lnTo>
                  <a:lnTo>
                    <a:pt x="254" y="446"/>
                  </a:lnTo>
                  <a:lnTo>
                    <a:pt x="262" y="448"/>
                  </a:lnTo>
                  <a:lnTo>
                    <a:pt x="268" y="452"/>
                  </a:lnTo>
                  <a:lnTo>
                    <a:pt x="272" y="456"/>
                  </a:lnTo>
                  <a:lnTo>
                    <a:pt x="272" y="456"/>
                  </a:lnTo>
                  <a:lnTo>
                    <a:pt x="290" y="452"/>
                  </a:lnTo>
                  <a:lnTo>
                    <a:pt x="306" y="454"/>
                  </a:lnTo>
                  <a:lnTo>
                    <a:pt x="326" y="462"/>
                  </a:lnTo>
                  <a:lnTo>
                    <a:pt x="342" y="464"/>
                  </a:lnTo>
                  <a:lnTo>
                    <a:pt x="360" y="462"/>
                  </a:lnTo>
                  <a:lnTo>
                    <a:pt x="372" y="462"/>
                  </a:lnTo>
                  <a:lnTo>
                    <a:pt x="384" y="464"/>
                  </a:lnTo>
                  <a:lnTo>
                    <a:pt x="392" y="466"/>
                  </a:lnTo>
                  <a:lnTo>
                    <a:pt x="398" y="470"/>
                  </a:lnTo>
                  <a:lnTo>
                    <a:pt x="406" y="462"/>
                  </a:lnTo>
                  <a:lnTo>
                    <a:pt x="416" y="452"/>
                  </a:lnTo>
                  <a:lnTo>
                    <a:pt x="426" y="440"/>
                  </a:lnTo>
                  <a:lnTo>
                    <a:pt x="436" y="430"/>
                  </a:lnTo>
                  <a:lnTo>
                    <a:pt x="446" y="420"/>
                  </a:lnTo>
                  <a:lnTo>
                    <a:pt x="456" y="408"/>
                  </a:lnTo>
                  <a:lnTo>
                    <a:pt x="468" y="394"/>
                  </a:lnTo>
                  <a:lnTo>
                    <a:pt x="472" y="394"/>
                  </a:lnTo>
                  <a:lnTo>
                    <a:pt x="472" y="392"/>
                  </a:lnTo>
                  <a:lnTo>
                    <a:pt x="468" y="380"/>
                  </a:lnTo>
                  <a:lnTo>
                    <a:pt x="476" y="368"/>
                  </a:lnTo>
                  <a:lnTo>
                    <a:pt x="476" y="360"/>
                  </a:lnTo>
                  <a:lnTo>
                    <a:pt x="476" y="352"/>
                  </a:lnTo>
                  <a:lnTo>
                    <a:pt x="476" y="348"/>
                  </a:lnTo>
                  <a:lnTo>
                    <a:pt x="478" y="344"/>
                  </a:lnTo>
                  <a:lnTo>
                    <a:pt x="488" y="338"/>
                  </a:lnTo>
                  <a:lnTo>
                    <a:pt x="496" y="326"/>
                  </a:lnTo>
                  <a:lnTo>
                    <a:pt x="502" y="316"/>
                  </a:lnTo>
                  <a:lnTo>
                    <a:pt x="508" y="300"/>
                  </a:lnTo>
                  <a:lnTo>
                    <a:pt x="510" y="296"/>
                  </a:lnTo>
                  <a:lnTo>
                    <a:pt x="510" y="292"/>
                  </a:lnTo>
                  <a:lnTo>
                    <a:pt x="508" y="286"/>
                  </a:lnTo>
                  <a:lnTo>
                    <a:pt x="502" y="278"/>
                  </a:lnTo>
                  <a:lnTo>
                    <a:pt x="498" y="270"/>
                  </a:lnTo>
                  <a:lnTo>
                    <a:pt x="494" y="258"/>
                  </a:lnTo>
                  <a:lnTo>
                    <a:pt x="498" y="248"/>
                  </a:lnTo>
                  <a:lnTo>
                    <a:pt x="500" y="242"/>
                  </a:lnTo>
                  <a:lnTo>
                    <a:pt x="500" y="238"/>
                  </a:lnTo>
                  <a:lnTo>
                    <a:pt x="498" y="236"/>
                  </a:lnTo>
                  <a:lnTo>
                    <a:pt x="494" y="234"/>
                  </a:lnTo>
                  <a:lnTo>
                    <a:pt x="490" y="232"/>
                  </a:lnTo>
                  <a:lnTo>
                    <a:pt x="490" y="228"/>
                  </a:lnTo>
                  <a:lnTo>
                    <a:pt x="490" y="222"/>
                  </a:lnTo>
                  <a:lnTo>
                    <a:pt x="492" y="220"/>
                  </a:lnTo>
                  <a:lnTo>
                    <a:pt x="500" y="216"/>
                  </a:lnTo>
                  <a:lnTo>
                    <a:pt x="502" y="212"/>
                  </a:lnTo>
                  <a:lnTo>
                    <a:pt x="504" y="210"/>
                  </a:lnTo>
                  <a:lnTo>
                    <a:pt x="504" y="206"/>
                  </a:lnTo>
                  <a:lnTo>
                    <a:pt x="506" y="196"/>
                  </a:lnTo>
                  <a:lnTo>
                    <a:pt x="508" y="188"/>
                  </a:lnTo>
                  <a:lnTo>
                    <a:pt x="510" y="184"/>
                  </a:lnTo>
                  <a:lnTo>
                    <a:pt x="508" y="182"/>
                  </a:lnTo>
                  <a:lnTo>
                    <a:pt x="508" y="176"/>
                  </a:lnTo>
                  <a:lnTo>
                    <a:pt x="506" y="168"/>
                  </a:lnTo>
                  <a:lnTo>
                    <a:pt x="506" y="146"/>
                  </a:lnTo>
                  <a:lnTo>
                    <a:pt x="508" y="124"/>
                  </a:lnTo>
                  <a:lnTo>
                    <a:pt x="508" y="110"/>
                  </a:lnTo>
                  <a:lnTo>
                    <a:pt x="502" y="96"/>
                  </a:lnTo>
                  <a:lnTo>
                    <a:pt x="502" y="86"/>
                  </a:lnTo>
                  <a:lnTo>
                    <a:pt x="506" y="78"/>
                  </a:lnTo>
                  <a:lnTo>
                    <a:pt x="506" y="74"/>
                  </a:lnTo>
                  <a:lnTo>
                    <a:pt x="504" y="74"/>
                  </a:lnTo>
                  <a:lnTo>
                    <a:pt x="498" y="74"/>
                  </a:lnTo>
                  <a:lnTo>
                    <a:pt x="492" y="72"/>
                  </a:lnTo>
                  <a:lnTo>
                    <a:pt x="486" y="66"/>
                  </a:lnTo>
                  <a:lnTo>
                    <a:pt x="474" y="60"/>
                  </a:lnTo>
                  <a:lnTo>
                    <a:pt x="460" y="56"/>
                  </a:lnTo>
                  <a:lnTo>
                    <a:pt x="440" y="54"/>
                  </a:lnTo>
                  <a:lnTo>
                    <a:pt x="424" y="40"/>
                  </a:lnTo>
                  <a:lnTo>
                    <a:pt x="410" y="38"/>
                  </a:lnTo>
                  <a:lnTo>
                    <a:pt x="406" y="36"/>
                  </a:lnTo>
                  <a:lnTo>
                    <a:pt x="394" y="26"/>
                  </a:lnTo>
                  <a:lnTo>
                    <a:pt x="374" y="26"/>
                  </a:lnTo>
                  <a:lnTo>
                    <a:pt x="354" y="26"/>
                  </a:lnTo>
                  <a:lnTo>
                    <a:pt x="342" y="26"/>
                  </a:lnTo>
                  <a:lnTo>
                    <a:pt x="340" y="24"/>
                  </a:lnTo>
                  <a:lnTo>
                    <a:pt x="338" y="12"/>
                  </a:lnTo>
                  <a:lnTo>
                    <a:pt x="338" y="0"/>
                  </a:lnTo>
                  <a:lnTo>
                    <a:pt x="330" y="2"/>
                  </a:lnTo>
                  <a:lnTo>
                    <a:pt x="294" y="2"/>
                  </a:lnTo>
                  <a:lnTo>
                    <a:pt x="280" y="4"/>
                  </a:lnTo>
                  <a:lnTo>
                    <a:pt x="266" y="10"/>
                  </a:lnTo>
                  <a:lnTo>
                    <a:pt x="250" y="18"/>
                  </a:lnTo>
                  <a:lnTo>
                    <a:pt x="246" y="22"/>
                  </a:lnTo>
                  <a:lnTo>
                    <a:pt x="242" y="24"/>
                  </a:lnTo>
                  <a:lnTo>
                    <a:pt x="240" y="28"/>
                  </a:lnTo>
                  <a:lnTo>
                    <a:pt x="238" y="34"/>
                  </a:lnTo>
                  <a:lnTo>
                    <a:pt x="238" y="46"/>
                  </a:lnTo>
                  <a:lnTo>
                    <a:pt x="236" y="54"/>
                  </a:lnTo>
                  <a:lnTo>
                    <a:pt x="232" y="6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1" name="Google Shape;4968;p64">
              <a:extLst>
                <a:ext uri="{FF2B5EF4-FFF2-40B4-BE49-F238E27FC236}">
                  <a16:creationId xmlns:a16="http://schemas.microsoft.com/office/drawing/2014/main" id="{997C986A-5144-6A24-2AD6-AC5639EE5FBD}"/>
                </a:ext>
              </a:extLst>
            </p:cNvPr>
            <p:cNvSpPr/>
            <p:nvPr/>
          </p:nvSpPr>
          <p:spPr>
            <a:xfrm>
              <a:off x="5494343" y="5263789"/>
              <a:ext cx="3282" cy="7548"/>
            </a:xfrm>
            <a:custGeom>
              <a:avLst/>
              <a:gdLst/>
              <a:ahLst/>
              <a:cxnLst/>
              <a:rect l="l" t="t" r="r" b="b"/>
              <a:pathLst>
                <a:path w="23828" h="54800" extrusionOk="0">
                  <a:moveTo>
                    <a:pt x="4764" y="0"/>
                  </a:moveTo>
                  <a:lnTo>
                    <a:pt x="9532" y="9530"/>
                  </a:lnTo>
                  <a:lnTo>
                    <a:pt x="14296" y="9530"/>
                  </a:lnTo>
                  <a:lnTo>
                    <a:pt x="23828" y="19060"/>
                  </a:lnTo>
                  <a:lnTo>
                    <a:pt x="23828" y="28592"/>
                  </a:lnTo>
                  <a:lnTo>
                    <a:pt x="23828" y="33356"/>
                  </a:lnTo>
                  <a:lnTo>
                    <a:pt x="19060" y="42886"/>
                  </a:lnTo>
                  <a:lnTo>
                    <a:pt x="19060" y="52416"/>
                  </a:lnTo>
                  <a:lnTo>
                    <a:pt x="19060" y="52418"/>
                  </a:lnTo>
                  <a:lnTo>
                    <a:pt x="9532" y="54800"/>
                  </a:lnTo>
                  <a:lnTo>
                    <a:pt x="4764" y="52418"/>
                  </a:lnTo>
                  <a:lnTo>
                    <a:pt x="0" y="42886"/>
                  </a:lnTo>
                  <a:lnTo>
                    <a:pt x="4764" y="33356"/>
                  </a:lnTo>
                  <a:lnTo>
                    <a:pt x="4764" y="23826"/>
                  </a:lnTo>
                  <a:lnTo>
                    <a:pt x="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2" name="Google Shape;4969;p64">
              <a:extLst>
                <a:ext uri="{FF2B5EF4-FFF2-40B4-BE49-F238E27FC236}">
                  <a16:creationId xmlns:a16="http://schemas.microsoft.com/office/drawing/2014/main" id="{8E5F4F4D-2814-1A04-AD3E-30B479F48459}"/>
                </a:ext>
              </a:extLst>
            </p:cNvPr>
            <p:cNvSpPr/>
            <p:nvPr/>
          </p:nvSpPr>
          <p:spPr>
            <a:xfrm>
              <a:off x="3350164" y="4864750"/>
              <a:ext cx="63662" cy="79414"/>
            </a:xfrm>
            <a:custGeom>
              <a:avLst/>
              <a:gdLst/>
              <a:ahLst/>
              <a:cxnLst/>
              <a:rect l="l" t="t" r="r" b="b"/>
              <a:pathLst>
                <a:path w="194" h="242" extrusionOk="0">
                  <a:moveTo>
                    <a:pt x="152" y="60"/>
                  </a:moveTo>
                  <a:lnTo>
                    <a:pt x="152" y="56"/>
                  </a:lnTo>
                  <a:lnTo>
                    <a:pt x="142" y="52"/>
                  </a:lnTo>
                  <a:lnTo>
                    <a:pt x="122" y="34"/>
                  </a:lnTo>
                  <a:lnTo>
                    <a:pt x="112" y="24"/>
                  </a:lnTo>
                  <a:lnTo>
                    <a:pt x="88" y="16"/>
                  </a:lnTo>
                  <a:lnTo>
                    <a:pt x="76" y="16"/>
                  </a:lnTo>
                  <a:lnTo>
                    <a:pt x="50" y="0"/>
                  </a:lnTo>
                  <a:lnTo>
                    <a:pt x="46" y="2"/>
                  </a:lnTo>
                  <a:lnTo>
                    <a:pt x="40" y="8"/>
                  </a:lnTo>
                  <a:lnTo>
                    <a:pt x="34" y="26"/>
                  </a:lnTo>
                  <a:lnTo>
                    <a:pt x="30" y="28"/>
                  </a:lnTo>
                  <a:lnTo>
                    <a:pt x="24" y="34"/>
                  </a:lnTo>
                  <a:lnTo>
                    <a:pt x="18" y="40"/>
                  </a:lnTo>
                  <a:lnTo>
                    <a:pt x="10" y="52"/>
                  </a:lnTo>
                  <a:lnTo>
                    <a:pt x="10" y="56"/>
                  </a:lnTo>
                  <a:lnTo>
                    <a:pt x="8" y="58"/>
                  </a:lnTo>
                  <a:lnTo>
                    <a:pt x="8" y="64"/>
                  </a:lnTo>
                  <a:lnTo>
                    <a:pt x="10" y="68"/>
                  </a:lnTo>
                  <a:lnTo>
                    <a:pt x="12" y="72"/>
                  </a:lnTo>
                  <a:lnTo>
                    <a:pt x="12" y="80"/>
                  </a:lnTo>
                  <a:lnTo>
                    <a:pt x="10" y="86"/>
                  </a:lnTo>
                  <a:lnTo>
                    <a:pt x="12" y="90"/>
                  </a:lnTo>
                  <a:lnTo>
                    <a:pt x="12" y="96"/>
                  </a:lnTo>
                  <a:lnTo>
                    <a:pt x="14" y="102"/>
                  </a:lnTo>
                  <a:lnTo>
                    <a:pt x="14" y="104"/>
                  </a:lnTo>
                  <a:lnTo>
                    <a:pt x="18" y="110"/>
                  </a:lnTo>
                  <a:lnTo>
                    <a:pt x="16" y="114"/>
                  </a:lnTo>
                  <a:lnTo>
                    <a:pt x="24" y="124"/>
                  </a:lnTo>
                  <a:lnTo>
                    <a:pt x="26" y="128"/>
                  </a:lnTo>
                  <a:lnTo>
                    <a:pt x="32" y="134"/>
                  </a:lnTo>
                  <a:lnTo>
                    <a:pt x="34" y="138"/>
                  </a:lnTo>
                  <a:lnTo>
                    <a:pt x="38" y="142"/>
                  </a:lnTo>
                  <a:lnTo>
                    <a:pt x="40" y="144"/>
                  </a:lnTo>
                  <a:lnTo>
                    <a:pt x="40" y="146"/>
                  </a:lnTo>
                  <a:lnTo>
                    <a:pt x="40" y="148"/>
                  </a:lnTo>
                  <a:lnTo>
                    <a:pt x="40" y="154"/>
                  </a:lnTo>
                  <a:lnTo>
                    <a:pt x="36" y="160"/>
                  </a:lnTo>
                  <a:lnTo>
                    <a:pt x="28" y="172"/>
                  </a:lnTo>
                  <a:lnTo>
                    <a:pt x="26" y="174"/>
                  </a:lnTo>
                  <a:lnTo>
                    <a:pt x="28" y="184"/>
                  </a:lnTo>
                  <a:lnTo>
                    <a:pt x="28" y="192"/>
                  </a:lnTo>
                  <a:lnTo>
                    <a:pt x="28" y="196"/>
                  </a:lnTo>
                  <a:lnTo>
                    <a:pt x="24" y="202"/>
                  </a:lnTo>
                  <a:lnTo>
                    <a:pt x="14" y="220"/>
                  </a:lnTo>
                  <a:lnTo>
                    <a:pt x="8" y="222"/>
                  </a:lnTo>
                  <a:lnTo>
                    <a:pt x="4" y="226"/>
                  </a:lnTo>
                  <a:lnTo>
                    <a:pt x="2" y="226"/>
                  </a:lnTo>
                  <a:lnTo>
                    <a:pt x="0" y="228"/>
                  </a:lnTo>
                  <a:lnTo>
                    <a:pt x="0" y="228"/>
                  </a:lnTo>
                  <a:lnTo>
                    <a:pt x="2" y="228"/>
                  </a:lnTo>
                  <a:lnTo>
                    <a:pt x="4" y="230"/>
                  </a:lnTo>
                  <a:lnTo>
                    <a:pt x="6" y="234"/>
                  </a:lnTo>
                  <a:lnTo>
                    <a:pt x="12" y="236"/>
                  </a:lnTo>
                  <a:lnTo>
                    <a:pt x="20" y="240"/>
                  </a:lnTo>
                  <a:lnTo>
                    <a:pt x="26" y="240"/>
                  </a:lnTo>
                  <a:lnTo>
                    <a:pt x="30" y="240"/>
                  </a:lnTo>
                  <a:lnTo>
                    <a:pt x="32" y="242"/>
                  </a:lnTo>
                  <a:lnTo>
                    <a:pt x="34" y="240"/>
                  </a:lnTo>
                  <a:lnTo>
                    <a:pt x="44" y="234"/>
                  </a:lnTo>
                  <a:lnTo>
                    <a:pt x="48" y="232"/>
                  </a:lnTo>
                  <a:lnTo>
                    <a:pt x="52" y="228"/>
                  </a:lnTo>
                  <a:lnTo>
                    <a:pt x="54" y="226"/>
                  </a:lnTo>
                  <a:lnTo>
                    <a:pt x="56" y="226"/>
                  </a:lnTo>
                  <a:lnTo>
                    <a:pt x="56" y="228"/>
                  </a:lnTo>
                  <a:lnTo>
                    <a:pt x="58" y="230"/>
                  </a:lnTo>
                  <a:lnTo>
                    <a:pt x="60" y="230"/>
                  </a:lnTo>
                  <a:lnTo>
                    <a:pt x="68" y="232"/>
                  </a:lnTo>
                  <a:lnTo>
                    <a:pt x="72" y="232"/>
                  </a:lnTo>
                  <a:lnTo>
                    <a:pt x="78" y="232"/>
                  </a:lnTo>
                  <a:lnTo>
                    <a:pt x="82" y="228"/>
                  </a:lnTo>
                  <a:lnTo>
                    <a:pt x="84" y="228"/>
                  </a:lnTo>
                  <a:lnTo>
                    <a:pt x="86" y="230"/>
                  </a:lnTo>
                  <a:lnTo>
                    <a:pt x="90" y="234"/>
                  </a:lnTo>
                  <a:lnTo>
                    <a:pt x="90" y="236"/>
                  </a:lnTo>
                  <a:lnTo>
                    <a:pt x="94" y="236"/>
                  </a:lnTo>
                  <a:lnTo>
                    <a:pt x="100" y="236"/>
                  </a:lnTo>
                  <a:lnTo>
                    <a:pt x="104" y="238"/>
                  </a:lnTo>
                  <a:lnTo>
                    <a:pt x="108" y="238"/>
                  </a:lnTo>
                  <a:lnTo>
                    <a:pt x="112" y="236"/>
                  </a:lnTo>
                  <a:lnTo>
                    <a:pt x="114" y="232"/>
                  </a:lnTo>
                  <a:lnTo>
                    <a:pt x="120" y="228"/>
                  </a:lnTo>
                  <a:lnTo>
                    <a:pt x="126" y="226"/>
                  </a:lnTo>
                  <a:lnTo>
                    <a:pt x="128" y="222"/>
                  </a:lnTo>
                  <a:lnTo>
                    <a:pt x="132" y="214"/>
                  </a:lnTo>
                  <a:lnTo>
                    <a:pt x="134" y="212"/>
                  </a:lnTo>
                  <a:lnTo>
                    <a:pt x="134" y="206"/>
                  </a:lnTo>
                  <a:lnTo>
                    <a:pt x="142" y="192"/>
                  </a:lnTo>
                  <a:lnTo>
                    <a:pt x="144" y="190"/>
                  </a:lnTo>
                  <a:lnTo>
                    <a:pt x="146" y="186"/>
                  </a:lnTo>
                  <a:lnTo>
                    <a:pt x="148" y="180"/>
                  </a:lnTo>
                  <a:lnTo>
                    <a:pt x="148" y="176"/>
                  </a:lnTo>
                  <a:lnTo>
                    <a:pt x="150" y="172"/>
                  </a:lnTo>
                  <a:lnTo>
                    <a:pt x="154" y="168"/>
                  </a:lnTo>
                  <a:lnTo>
                    <a:pt x="156" y="166"/>
                  </a:lnTo>
                  <a:lnTo>
                    <a:pt x="160" y="160"/>
                  </a:lnTo>
                  <a:lnTo>
                    <a:pt x="164" y="154"/>
                  </a:lnTo>
                  <a:lnTo>
                    <a:pt x="172" y="142"/>
                  </a:lnTo>
                  <a:lnTo>
                    <a:pt x="172" y="138"/>
                  </a:lnTo>
                  <a:lnTo>
                    <a:pt x="174" y="136"/>
                  </a:lnTo>
                  <a:lnTo>
                    <a:pt x="176" y="132"/>
                  </a:lnTo>
                  <a:lnTo>
                    <a:pt x="180" y="130"/>
                  </a:lnTo>
                  <a:lnTo>
                    <a:pt x="182" y="126"/>
                  </a:lnTo>
                  <a:lnTo>
                    <a:pt x="184" y="122"/>
                  </a:lnTo>
                  <a:lnTo>
                    <a:pt x="186" y="118"/>
                  </a:lnTo>
                  <a:lnTo>
                    <a:pt x="192" y="116"/>
                  </a:lnTo>
                  <a:lnTo>
                    <a:pt x="194" y="114"/>
                  </a:lnTo>
                  <a:lnTo>
                    <a:pt x="194" y="112"/>
                  </a:lnTo>
                  <a:lnTo>
                    <a:pt x="194" y="110"/>
                  </a:lnTo>
                  <a:lnTo>
                    <a:pt x="194" y="104"/>
                  </a:lnTo>
                  <a:lnTo>
                    <a:pt x="190" y="100"/>
                  </a:lnTo>
                  <a:lnTo>
                    <a:pt x="186" y="80"/>
                  </a:lnTo>
                  <a:lnTo>
                    <a:pt x="182" y="76"/>
                  </a:lnTo>
                  <a:lnTo>
                    <a:pt x="180" y="76"/>
                  </a:lnTo>
                  <a:lnTo>
                    <a:pt x="176" y="84"/>
                  </a:lnTo>
                  <a:lnTo>
                    <a:pt x="176" y="90"/>
                  </a:lnTo>
                  <a:lnTo>
                    <a:pt x="174" y="92"/>
                  </a:lnTo>
                  <a:lnTo>
                    <a:pt x="170" y="94"/>
                  </a:lnTo>
                  <a:lnTo>
                    <a:pt x="172" y="92"/>
                  </a:lnTo>
                  <a:lnTo>
                    <a:pt x="172" y="90"/>
                  </a:lnTo>
                  <a:lnTo>
                    <a:pt x="174" y="84"/>
                  </a:lnTo>
                  <a:lnTo>
                    <a:pt x="170" y="76"/>
                  </a:lnTo>
                  <a:lnTo>
                    <a:pt x="168" y="70"/>
                  </a:lnTo>
                  <a:lnTo>
                    <a:pt x="156" y="62"/>
                  </a:lnTo>
                  <a:lnTo>
                    <a:pt x="150" y="68"/>
                  </a:lnTo>
                  <a:lnTo>
                    <a:pt x="152" y="6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3" name="Google Shape;4970;p64">
              <a:extLst>
                <a:ext uri="{FF2B5EF4-FFF2-40B4-BE49-F238E27FC236}">
                  <a16:creationId xmlns:a16="http://schemas.microsoft.com/office/drawing/2014/main" id="{0D94B6D9-F155-211F-5EEC-62A7B2FB9E93}"/>
                </a:ext>
              </a:extLst>
            </p:cNvPr>
            <p:cNvSpPr/>
            <p:nvPr/>
          </p:nvSpPr>
          <p:spPr>
            <a:xfrm>
              <a:off x="3207744" y="4665886"/>
              <a:ext cx="8532" cy="9844"/>
            </a:xfrm>
            <a:custGeom>
              <a:avLst/>
              <a:gdLst/>
              <a:ahLst/>
              <a:cxnLst/>
              <a:rect l="l" t="t" r="r" b="b"/>
              <a:pathLst>
                <a:path w="26" h="30" extrusionOk="0">
                  <a:moveTo>
                    <a:pt x="26" y="26"/>
                  </a:moveTo>
                  <a:lnTo>
                    <a:pt x="24" y="18"/>
                  </a:lnTo>
                  <a:lnTo>
                    <a:pt x="22" y="16"/>
                  </a:lnTo>
                  <a:lnTo>
                    <a:pt x="20" y="14"/>
                  </a:lnTo>
                  <a:lnTo>
                    <a:pt x="20" y="10"/>
                  </a:lnTo>
                  <a:lnTo>
                    <a:pt x="20" y="8"/>
                  </a:lnTo>
                  <a:lnTo>
                    <a:pt x="18" y="8"/>
                  </a:lnTo>
                  <a:lnTo>
                    <a:pt x="14" y="4"/>
                  </a:lnTo>
                  <a:lnTo>
                    <a:pt x="6" y="0"/>
                  </a:lnTo>
                  <a:lnTo>
                    <a:pt x="4" y="0"/>
                  </a:lnTo>
                  <a:lnTo>
                    <a:pt x="2" y="2"/>
                  </a:lnTo>
                  <a:lnTo>
                    <a:pt x="0" y="4"/>
                  </a:lnTo>
                  <a:lnTo>
                    <a:pt x="6" y="16"/>
                  </a:lnTo>
                  <a:lnTo>
                    <a:pt x="8" y="18"/>
                  </a:lnTo>
                  <a:lnTo>
                    <a:pt x="14" y="18"/>
                  </a:lnTo>
                  <a:lnTo>
                    <a:pt x="10" y="24"/>
                  </a:lnTo>
                  <a:lnTo>
                    <a:pt x="10" y="26"/>
                  </a:lnTo>
                  <a:lnTo>
                    <a:pt x="10" y="28"/>
                  </a:lnTo>
                  <a:lnTo>
                    <a:pt x="22" y="28"/>
                  </a:lnTo>
                  <a:lnTo>
                    <a:pt x="24" y="30"/>
                  </a:lnTo>
                  <a:lnTo>
                    <a:pt x="26" y="30"/>
                  </a:lnTo>
                  <a:lnTo>
                    <a:pt x="26" y="2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04" name="Google Shape;4971;p64">
              <a:extLst>
                <a:ext uri="{FF2B5EF4-FFF2-40B4-BE49-F238E27FC236}">
                  <a16:creationId xmlns:a16="http://schemas.microsoft.com/office/drawing/2014/main" id="{B1FE9B7A-833A-700E-8721-566D211FDF16}"/>
                </a:ext>
              </a:extLst>
            </p:cNvPr>
            <p:cNvCxnSpPr/>
            <p:nvPr/>
          </p:nvCxnSpPr>
          <p:spPr>
            <a:xfrm>
              <a:off x="3216275" y="4674419"/>
              <a:ext cx="0" cy="0"/>
            </a:xfrm>
            <a:prstGeom prst="straightConnector1">
              <a:avLst/>
            </a:prstGeom>
            <a:grpFill/>
            <a:ln w="9525" cap="flat" cmpd="sng">
              <a:solidFill>
                <a:schemeClr val="bg2"/>
              </a:solidFill>
              <a:prstDash val="solid"/>
              <a:round/>
              <a:headEnd type="none" w="med" len="med"/>
              <a:tailEnd type="none" w="med" len="med"/>
            </a:ln>
          </p:spPr>
        </p:cxnSp>
        <p:cxnSp>
          <p:nvCxnSpPr>
            <p:cNvPr id="505" name="Google Shape;4972;p64">
              <a:extLst>
                <a:ext uri="{FF2B5EF4-FFF2-40B4-BE49-F238E27FC236}">
                  <a16:creationId xmlns:a16="http://schemas.microsoft.com/office/drawing/2014/main" id="{A7CC4518-4BA0-C0B0-79D7-CB5B7935A88A}"/>
                </a:ext>
              </a:extLst>
            </p:cNvPr>
            <p:cNvCxnSpPr/>
            <p:nvPr/>
          </p:nvCxnSpPr>
          <p:spPr>
            <a:xfrm>
              <a:off x="3216275" y="4674419"/>
              <a:ext cx="0" cy="0"/>
            </a:xfrm>
            <a:prstGeom prst="straightConnector1">
              <a:avLst/>
            </a:prstGeom>
            <a:grpFill/>
            <a:ln w="9525" cap="flat" cmpd="sng">
              <a:solidFill>
                <a:schemeClr val="bg2"/>
              </a:solidFill>
              <a:prstDash val="solid"/>
              <a:round/>
              <a:headEnd type="none" w="med" len="med"/>
              <a:tailEnd type="none" w="med" len="med"/>
            </a:ln>
          </p:spPr>
        </p:cxnSp>
        <p:sp>
          <p:nvSpPr>
            <p:cNvPr id="506" name="Google Shape;4973;p64">
              <a:extLst>
                <a:ext uri="{FF2B5EF4-FFF2-40B4-BE49-F238E27FC236}">
                  <a16:creationId xmlns:a16="http://schemas.microsoft.com/office/drawing/2014/main" id="{5973CF6D-2F10-EBD2-F3ED-CA90A4385407}"/>
                </a:ext>
              </a:extLst>
            </p:cNvPr>
            <p:cNvSpPr/>
            <p:nvPr/>
          </p:nvSpPr>
          <p:spPr>
            <a:xfrm>
              <a:off x="3205774" y="4640946"/>
              <a:ext cx="2625" cy="2625"/>
            </a:xfrm>
            <a:custGeom>
              <a:avLst/>
              <a:gdLst/>
              <a:ahLst/>
              <a:cxnLst/>
              <a:rect l="l" t="t" r="r" b="b"/>
              <a:pathLst>
                <a:path w="8" h="8" extrusionOk="0">
                  <a:moveTo>
                    <a:pt x="6" y="8"/>
                  </a:moveTo>
                  <a:lnTo>
                    <a:pt x="8" y="6"/>
                  </a:lnTo>
                  <a:lnTo>
                    <a:pt x="8" y="2"/>
                  </a:lnTo>
                  <a:lnTo>
                    <a:pt x="4" y="0"/>
                  </a:lnTo>
                  <a:lnTo>
                    <a:pt x="4" y="0"/>
                  </a:lnTo>
                  <a:lnTo>
                    <a:pt x="0" y="2"/>
                  </a:lnTo>
                  <a:lnTo>
                    <a:pt x="0" y="6"/>
                  </a:lnTo>
                  <a:lnTo>
                    <a:pt x="2"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07" name="Google Shape;4974;p64">
              <a:extLst>
                <a:ext uri="{FF2B5EF4-FFF2-40B4-BE49-F238E27FC236}">
                  <a16:creationId xmlns:a16="http://schemas.microsoft.com/office/drawing/2014/main" id="{19ED201F-A08A-56AF-B9DC-B36D6B1E0D07}"/>
                </a:ext>
              </a:extLst>
            </p:cNvPr>
            <p:cNvCxnSpPr/>
            <p:nvPr/>
          </p:nvCxnSpPr>
          <p:spPr>
            <a:xfrm>
              <a:off x="3207744" y="4643572"/>
              <a:ext cx="0" cy="0"/>
            </a:xfrm>
            <a:prstGeom prst="straightConnector1">
              <a:avLst/>
            </a:prstGeom>
            <a:grpFill/>
            <a:ln w="9525" cap="flat" cmpd="sng">
              <a:solidFill>
                <a:schemeClr val="bg2"/>
              </a:solidFill>
              <a:prstDash val="solid"/>
              <a:round/>
              <a:headEnd type="none" w="med" len="med"/>
              <a:tailEnd type="none" w="med" len="med"/>
            </a:ln>
          </p:spPr>
        </p:cxnSp>
        <p:sp>
          <p:nvSpPr>
            <p:cNvPr id="508" name="Google Shape;4975;p64">
              <a:extLst>
                <a:ext uri="{FF2B5EF4-FFF2-40B4-BE49-F238E27FC236}">
                  <a16:creationId xmlns:a16="http://schemas.microsoft.com/office/drawing/2014/main" id="{E3132A7C-32F5-2629-344D-7EA407B6E73C}"/>
                </a:ext>
              </a:extLst>
            </p:cNvPr>
            <p:cNvSpPr/>
            <p:nvPr/>
          </p:nvSpPr>
          <p:spPr>
            <a:xfrm>
              <a:off x="3205774" y="4640946"/>
              <a:ext cx="2625" cy="2625"/>
            </a:xfrm>
            <a:custGeom>
              <a:avLst/>
              <a:gdLst/>
              <a:ahLst/>
              <a:cxnLst/>
              <a:rect l="l" t="t" r="r" b="b"/>
              <a:pathLst>
                <a:path w="8" h="8" extrusionOk="0">
                  <a:moveTo>
                    <a:pt x="6" y="8"/>
                  </a:moveTo>
                  <a:lnTo>
                    <a:pt x="8" y="6"/>
                  </a:lnTo>
                  <a:lnTo>
                    <a:pt x="8" y="2"/>
                  </a:lnTo>
                  <a:lnTo>
                    <a:pt x="4" y="0"/>
                  </a:lnTo>
                  <a:lnTo>
                    <a:pt x="4" y="0"/>
                  </a:lnTo>
                  <a:lnTo>
                    <a:pt x="0" y="2"/>
                  </a:lnTo>
                  <a:lnTo>
                    <a:pt x="0" y="6"/>
                  </a:lnTo>
                  <a:lnTo>
                    <a:pt x="2" y="8"/>
                  </a:lnTo>
                  <a:lnTo>
                    <a:pt x="6" y="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09" name="Google Shape;4976;p64">
              <a:extLst>
                <a:ext uri="{FF2B5EF4-FFF2-40B4-BE49-F238E27FC236}">
                  <a16:creationId xmlns:a16="http://schemas.microsoft.com/office/drawing/2014/main" id="{B47CEE8A-46D5-1557-761D-06227127932F}"/>
                </a:ext>
              </a:extLst>
            </p:cNvPr>
            <p:cNvSpPr/>
            <p:nvPr/>
          </p:nvSpPr>
          <p:spPr>
            <a:xfrm>
              <a:off x="3195929" y="4633071"/>
              <a:ext cx="5251" cy="8532"/>
            </a:xfrm>
            <a:custGeom>
              <a:avLst/>
              <a:gdLst/>
              <a:ahLst/>
              <a:cxnLst/>
              <a:rect l="l" t="t" r="r" b="b"/>
              <a:pathLst>
                <a:path w="16" h="26" extrusionOk="0">
                  <a:moveTo>
                    <a:pt x="12" y="24"/>
                  </a:moveTo>
                  <a:lnTo>
                    <a:pt x="14" y="20"/>
                  </a:lnTo>
                  <a:lnTo>
                    <a:pt x="14" y="8"/>
                  </a:lnTo>
                  <a:lnTo>
                    <a:pt x="16" y="6"/>
                  </a:lnTo>
                  <a:lnTo>
                    <a:pt x="12" y="4"/>
                  </a:lnTo>
                  <a:lnTo>
                    <a:pt x="10" y="2"/>
                  </a:lnTo>
                  <a:lnTo>
                    <a:pt x="2" y="0"/>
                  </a:lnTo>
                  <a:lnTo>
                    <a:pt x="0" y="0"/>
                  </a:lnTo>
                  <a:lnTo>
                    <a:pt x="0" y="4"/>
                  </a:lnTo>
                  <a:lnTo>
                    <a:pt x="2" y="20"/>
                  </a:lnTo>
                  <a:lnTo>
                    <a:pt x="4" y="26"/>
                  </a:lnTo>
                  <a:lnTo>
                    <a:pt x="8" y="26"/>
                  </a:lnTo>
                  <a:lnTo>
                    <a:pt x="12" y="24"/>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10" name="Google Shape;4977;p64">
              <a:extLst>
                <a:ext uri="{FF2B5EF4-FFF2-40B4-BE49-F238E27FC236}">
                  <a16:creationId xmlns:a16="http://schemas.microsoft.com/office/drawing/2014/main" id="{2AB4A0F7-198F-4494-D901-845C271F158C}"/>
                </a:ext>
              </a:extLst>
            </p:cNvPr>
            <p:cNvCxnSpPr/>
            <p:nvPr/>
          </p:nvCxnSpPr>
          <p:spPr>
            <a:xfrm>
              <a:off x="3199867" y="4640946"/>
              <a:ext cx="0" cy="0"/>
            </a:xfrm>
            <a:prstGeom prst="straightConnector1">
              <a:avLst/>
            </a:prstGeom>
            <a:grpFill/>
            <a:ln w="9525" cap="flat" cmpd="sng">
              <a:solidFill>
                <a:schemeClr val="bg2"/>
              </a:solidFill>
              <a:prstDash val="solid"/>
              <a:round/>
              <a:headEnd type="none" w="med" len="med"/>
              <a:tailEnd type="none" w="med" len="med"/>
            </a:ln>
          </p:spPr>
        </p:cxnSp>
        <p:cxnSp>
          <p:nvCxnSpPr>
            <p:cNvPr id="511" name="Google Shape;4978;p64">
              <a:extLst>
                <a:ext uri="{FF2B5EF4-FFF2-40B4-BE49-F238E27FC236}">
                  <a16:creationId xmlns:a16="http://schemas.microsoft.com/office/drawing/2014/main" id="{47CEB795-951F-463F-2FF2-AEAF45F6C3C1}"/>
                </a:ext>
              </a:extLst>
            </p:cNvPr>
            <p:cNvCxnSpPr/>
            <p:nvPr/>
          </p:nvCxnSpPr>
          <p:spPr>
            <a:xfrm>
              <a:off x="3199867" y="4640946"/>
              <a:ext cx="0" cy="0"/>
            </a:xfrm>
            <a:prstGeom prst="straightConnector1">
              <a:avLst/>
            </a:prstGeom>
            <a:grpFill/>
            <a:ln w="9525" cap="flat" cmpd="sng">
              <a:solidFill>
                <a:schemeClr val="bg2"/>
              </a:solidFill>
              <a:prstDash val="solid"/>
              <a:round/>
              <a:headEnd type="none" w="med" len="med"/>
              <a:tailEnd type="none" w="med" len="med"/>
            </a:ln>
          </p:spPr>
        </p:cxnSp>
        <p:sp>
          <p:nvSpPr>
            <p:cNvPr id="512" name="Google Shape;4979;p64">
              <a:extLst>
                <a:ext uri="{FF2B5EF4-FFF2-40B4-BE49-F238E27FC236}">
                  <a16:creationId xmlns:a16="http://schemas.microsoft.com/office/drawing/2014/main" id="{46758020-3079-8A0C-6BFE-34F19E67E7A6}"/>
                </a:ext>
              </a:extLst>
            </p:cNvPr>
            <p:cNvSpPr/>
            <p:nvPr/>
          </p:nvSpPr>
          <p:spPr>
            <a:xfrm>
              <a:off x="3201180" y="4629789"/>
              <a:ext cx="7876" cy="5907"/>
            </a:xfrm>
            <a:custGeom>
              <a:avLst/>
              <a:gdLst/>
              <a:ahLst/>
              <a:cxnLst/>
              <a:rect l="l" t="t" r="r" b="b"/>
              <a:pathLst>
                <a:path w="24" h="18" extrusionOk="0">
                  <a:moveTo>
                    <a:pt x="14" y="18"/>
                  </a:moveTo>
                  <a:lnTo>
                    <a:pt x="24" y="16"/>
                  </a:lnTo>
                  <a:lnTo>
                    <a:pt x="12" y="8"/>
                  </a:lnTo>
                  <a:lnTo>
                    <a:pt x="10" y="6"/>
                  </a:lnTo>
                  <a:lnTo>
                    <a:pt x="8" y="2"/>
                  </a:lnTo>
                  <a:lnTo>
                    <a:pt x="4" y="0"/>
                  </a:lnTo>
                  <a:lnTo>
                    <a:pt x="2" y="2"/>
                  </a:lnTo>
                  <a:lnTo>
                    <a:pt x="0" y="4"/>
                  </a:lnTo>
                  <a:lnTo>
                    <a:pt x="2" y="10"/>
                  </a:lnTo>
                  <a:lnTo>
                    <a:pt x="0" y="14"/>
                  </a:lnTo>
                  <a:lnTo>
                    <a:pt x="0" y="18"/>
                  </a:lnTo>
                  <a:lnTo>
                    <a:pt x="6" y="18"/>
                  </a:lnTo>
                  <a:lnTo>
                    <a:pt x="14" y="18"/>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cxnSp>
          <p:nvCxnSpPr>
            <p:cNvPr id="513" name="Google Shape;4980;p64">
              <a:extLst>
                <a:ext uri="{FF2B5EF4-FFF2-40B4-BE49-F238E27FC236}">
                  <a16:creationId xmlns:a16="http://schemas.microsoft.com/office/drawing/2014/main" id="{BDB8C6E1-5F40-90CC-2939-CF3C8439DB56}"/>
                </a:ext>
              </a:extLst>
            </p:cNvPr>
            <p:cNvCxnSpPr/>
            <p:nvPr/>
          </p:nvCxnSpPr>
          <p:spPr>
            <a:xfrm>
              <a:off x="3205774" y="4635696"/>
              <a:ext cx="0" cy="0"/>
            </a:xfrm>
            <a:prstGeom prst="straightConnector1">
              <a:avLst/>
            </a:prstGeom>
            <a:grpFill/>
            <a:ln w="9525" cap="flat" cmpd="sng">
              <a:solidFill>
                <a:schemeClr val="bg2"/>
              </a:solidFill>
              <a:prstDash val="solid"/>
              <a:round/>
              <a:headEnd type="none" w="med" len="med"/>
              <a:tailEnd type="none" w="med" len="med"/>
            </a:ln>
          </p:spPr>
        </p:cxnSp>
        <p:grpSp>
          <p:nvGrpSpPr>
            <p:cNvPr id="514" name="Google Shape;4981;p64">
              <a:extLst>
                <a:ext uri="{FF2B5EF4-FFF2-40B4-BE49-F238E27FC236}">
                  <a16:creationId xmlns:a16="http://schemas.microsoft.com/office/drawing/2014/main" id="{6B18AAD7-2FA6-A99B-563D-644DD1EE2173}"/>
                </a:ext>
              </a:extLst>
            </p:cNvPr>
            <p:cNvGrpSpPr/>
            <p:nvPr/>
          </p:nvGrpSpPr>
          <p:grpSpPr>
            <a:xfrm>
              <a:off x="4422582" y="3706355"/>
              <a:ext cx="307811" cy="303873"/>
              <a:chOff x="27883513" y="17724450"/>
              <a:chExt cx="2234843" cy="2206254"/>
            </a:xfrm>
            <a:grpFill/>
          </p:grpSpPr>
          <p:sp>
            <p:nvSpPr>
              <p:cNvPr id="515" name="Google Shape;4982;p64">
                <a:extLst>
                  <a:ext uri="{FF2B5EF4-FFF2-40B4-BE49-F238E27FC236}">
                    <a16:creationId xmlns:a16="http://schemas.microsoft.com/office/drawing/2014/main" id="{EBA9A964-0E75-38FC-9A2F-797EE3497812}"/>
                  </a:ext>
                </a:extLst>
              </p:cNvPr>
              <p:cNvSpPr/>
              <p:nvPr/>
            </p:nvSpPr>
            <p:spPr>
              <a:xfrm>
                <a:off x="27883513" y="17724450"/>
                <a:ext cx="2015648" cy="2006118"/>
              </a:xfrm>
              <a:custGeom>
                <a:avLst/>
                <a:gdLst/>
                <a:ahLst/>
                <a:cxnLst/>
                <a:rect l="l" t="t" r="r" b="b"/>
                <a:pathLst>
                  <a:path w="2015648" h="2006118" extrusionOk="0">
                    <a:moveTo>
                      <a:pt x="528928" y="1196046"/>
                    </a:moveTo>
                    <a:lnTo>
                      <a:pt x="543222" y="1205576"/>
                    </a:lnTo>
                    <a:lnTo>
                      <a:pt x="557520" y="1229402"/>
                    </a:lnTo>
                    <a:lnTo>
                      <a:pt x="552756" y="1248462"/>
                    </a:lnTo>
                    <a:lnTo>
                      <a:pt x="543222" y="1229402"/>
                    </a:lnTo>
                    <a:lnTo>
                      <a:pt x="528928" y="1215108"/>
                    </a:lnTo>
                    <a:lnTo>
                      <a:pt x="528928" y="1200812"/>
                    </a:lnTo>
                    <a:close/>
                    <a:moveTo>
                      <a:pt x="1138864" y="0"/>
                    </a:moveTo>
                    <a:lnTo>
                      <a:pt x="1138864" y="14296"/>
                    </a:lnTo>
                    <a:lnTo>
                      <a:pt x="1148396" y="28590"/>
                    </a:lnTo>
                    <a:lnTo>
                      <a:pt x="1148396" y="38122"/>
                    </a:lnTo>
                    <a:lnTo>
                      <a:pt x="1148396" y="47652"/>
                    </a:lnTo>
                    <a:lnTo>
                      <a:pt x="1148396" y="57182"/>
                    </a:lnTo>
                    <a:lnTo>
                      <a:pt x="1157926" y="71476"/>
                    </a:lnTo>
                    <a:lnTo>
                      <a:pt x="1172220" y="90538"/>
                    </a:lnTo>
                    <a:lnTo>
                      <a:pt x="1186516" y="100068"/>
                    </a:lnTo>
                    <a:lnTo>
                      <a:pt x="1191280" y="95302"/>
                    </a:lnTo>
                    <a:lnTo>
                      <a:pt x="1200812" y="95302"/>
                    </a:lnTo>
                    <a:lnTo>
                      <a:pt x="1215106" y="85772"/>
                    </a:lnTo>
                    <a:lnTo>
                      <a:pt x="1229400" y="81008"/>
                    </a:lnTo>
                    <a:lnTo>
                      <a:pt x="1238934" y="95302"/>
                    </a:lnTo>
                    <a:lnTo>
                      <a:pt x="1248462" y="109598"/>
                    </a:lnTo>
                    <a:lnTo>
                      <a:pt x="1253228" y="128658"/>
                    </a:lnTo>
                    <a:lnTo>
                      <a:pt x="1253228" y="142954"/>
                    </a:lnTo>
                    <a:lnTo>
                      <a:pt x="1262758" y="147718"/>
                    </a:lnTo>
                    <a:lnTo>
                      <a:pt x="1286582" y="152484"/>
                    </a:lnTo>
                    <a:lnTo>
                      <a:pt x="1305642" y="157250"/>
                    </a:lnTo>
                    <a:lnTo>
                      <a:pt x="1310410" y="162014"/>
                    </a:lnTo>
                    <a:lnTo>
                      <a:pt x="1315176" y="190606"/>
                    </a:lnTo>
                    <a:lnTo>
                      <a:pt x="1319940" y="195370"/>
                    </a:lnTo>
                    <a:lnTo>
                      <a:pt x="1324704" y="195370"/>
                    </a:lnTo>
                    <a:lnTo>
                      <a:pt x="1329470" y="190606"/>
                    </a:lnTo>
                    <a:lnTo>
                      <a:pt x="1334236" y="185840"/>
                    </a:lnTo>
                    <a:lnTo>
                      <a:pt x="1348530" y="190606"/>
                    </a:lnTo>
                    <a:lnTo>
                      <a:pt x="1358060" y="190606"/>
                    </a:lnTo>
                    <a:lnTo>
                      <a:pt x="1377120" y="195370"/>
                    </a:lnTo>
                    <a:lnTo>
                      <a:pt x="1396182" y="209666"/>
                    </a:lnTo>
                    <a:lnTo>
                      <a:pt x="1396182" y="219196"/>
                    </a:lnTo>
                    <a:lnTo>
                      <a:pt x="1391418" y="228726"/>
                    </a:lnTo>
                    <a:lnTo>
                      <a:pt x="1391418" y="238256"/>
                    </a:lnTo>
                    <a:lnTo>
                      <a:pt x="1391418" y="243022"/>
                    </a:lnTo>
                    <a:lnTo>
                      <a:pt x="1396182" y="247786"/>
                    </a:lnTo>
                    <a:lnTo>
                      <a:pt x="1396182" y="257316"/>
                    </a:lnTo>
                    <a:lnTo>
                      <a:pt x="1391418" y="266848"/>
                    </a:lnTo>
                    <a:lnTo>
                      <a:pt x="1391418" y="271612"/>
                    </a:lnTo>
                    <a:lnTo>
                      <a:pt x="1391418" y="276378"/>
                    </a:lnTo>
                    <a:lnTo>
                      <a:pt x="1391418" y="281142"/>
                    </a:lnTo>
                    <a:lnTo>
                      <a:pt x="1396182" y="281142"/>
                    </a:lnTo>
                    <a:lnTo>
                      <a:pt x="1424772" y="285908"/>
                    </a:lnTo>
                    <a:lnTo>
                      <a:pt x="1453364" y="281142"/>
                    </a:lnTo>
                    <a:lnTo>
                      <a:pt x="1472424" y="271612"/>
                    </a:lnTo>
                    <a:lnTo>
                      <a:pt x="1472424" y="262082"/>
                    </a:lnTo>
                    <a:lnTo>
                      <a:pt x="1477188" y="247786"/>
                    </a:lnTo>
                    <a:lnTo>
                      <a:pt x="1486720" y="238256"/>
                    </a:lnTo>
                    <a:lnTo>
                      <a:pt x="1496248" y="233492"/>
                    </a:lnTo>
                    <a:lnTo>
                      <a:pt x="1501014" y="238256"/>
                    </a:lnTo>
                    <a:lnTo>
                      <a:pt x="1491484" y="281142"/>
                    </a:lnTo>
                    <a:lnTo>
                      <a:pt x="1501014" y="290672"/>
                    </a:lnTo>
                    <a:lnTo>
                      <a:pt x="1501014" y="309734"/>
                    </a:lnTo>
                    <a:lnTo>
                      <a:pt x="1505780" y="324028"/>
                    </a:lnTo>
                    <a:lnTo>
                      <a:pt x="1515308" y="324028"/>
                    </a:lnTo>
                    <a:lnTo>
                      <a:pt x="1524842" y="324028"/>
                    </a:lnTo>
                    <a:lnTo>
                      <a:pt x="1534368" y="328794"/>
                    </a:lnTo>
                    <a:lnTo>
                      <a:pt x="1543902" y="338324"/>
                    </a:lnTo>
                    <a:lnTo>
                      <a:pt x="1558196" y="347854"/>
                    </a:lnTo>
                    <a:lnTo>
                      <a:pt x="1567726" y="347854"/>
                    </a:lnTo>
                    <a:lnTo>
                      <a:pt x="1572490" y="357384"/>
                    </a:lnTo>
                    <a:lnTo>
                      <a:pt x="1582024" y="362150"/>
                    </a:lnTo>
                    <a:lnTo>
                      <a:pt x="1591550" y="381210"/>
                    </a:lnTo>
                    <a:lnTo>
                      <a:pt x="1605848" y="390740"/>
                    </a:lnTo>
                    <a:lnTo>
                      <a:pt x="1610610" y="390740"/>
                    </a:lnTo>
                    <a:lnTo>
                      <a:pt x="1620144" y="385976"/>
                    </a:lnTo>
                    <a:lnTo>
                      <a:pt x="1634438" y="385976"/>
                    </a:lnTo>
                    <a:lnTo>
                      <a:pt x="1648732" y="385976"/>
                    </a:lnTo>
                    <a:lnTo>
                      <a:pt x="1653498" y="390740"/>
                    </a:lnTo>
                    <a:lnTo>
                      <a:pt x="1663028" y="395506"/>
                    </a:lnTo>
                    <a:lnTo>
                      <a:pt x="1667792" y="400270"/>
                    </a:lnTo>
                    <a:lnTo>
                      <a:pt x="1672558" y="405036"/>
                    </a:lnTo>
                    <a:lnTo>
                      <a:pt x="1682090" y="405036"/>
                    </a:lnTo>
                    <a:lnTo>
                      <a:pt x="1691620" y="405036"/>
                    </a:lnTo>
                    <a:lnTo>
                      <a:pt x="1701150" y="395506"/>
                    </a:lnTo>
                    <a:lnTo>
                      <a:pt x="1710680" y="390740"/>
                    </a:lnTo>
                    <a:lnTo>
                      <a:pt x="1720210" y="395506"/>
                    </a:lnTo>
                    <a:lnTo>
                      <a:pt x="1724974" y="400270"/>
                    </a:lnTo>
                    <a:lnTo>
                      <a:pt x="1734508" y="405036"/>
                    </a:lnTo>
                    <a:lnTo>
                      <a:pt x="1739270" y="405036"/>
                    </a:lnTo>
                    <a:lnTo>
                      <a:pt x="1753568" y="405036"/>
                    </a:lnTo>
                    <a:lnTo>
                      <a:pt x="1763094" y="419332"/>
                    </a:lnTo>
                    <a:lnTo>
                      <a:pt x="1767862" y="428862"/>
                    </a:lnTo>
                    <a:lnTo>
                      <a:pt x="1772628" y="438392"/>
                    </a:lnTo>
                    <a:lnTo>
                      <a:pt x="1777392" y="443156"/>
                    </a:lnTo>
                    <a:lnTo>
                      <a:pt x="1796452" y="476512"/>
                    </a:lnTo>
                    <a:lnTo>
                      <a:pt x="1801216" y="476512"/>
                    </a:lnTo>
                    <a:lnTo>
                      <a:pt x="1810748" y="471748"/>
                    </a:lnTo>
                    <a:lnTo>
                      <a:pt x="1815512" y="462218"/>
                    </a:lnTo>
                    <a:lnTo>
                      <a:pt x="1820276" y="462218"/>
                    </a:lnTo>
                    <a:lnTo>
                      <a:pt x="1829810" y="466982"/>
                    </a:lnTo>
                    <a:lnTo>
                      <a:pt x="1839336" y="471748"/>
                    </a:lnTo>
                    <a:lnTo>
                      <a:pt x="1839336" y="481278"/>
                    </a:lnTo>
                    <a:lnTo>
                      <a:pt x="1844104" y="486042"/>
                    </a:lnTo>
                    <a:lnTo>
                      <a:pt x="1848870" y="481278"/>
                    </a:lnTo>
                    <a:lnTo>
                      <a:pt x="1853634" y="481278"/>
                    </a:lnTo>
                    <a:lnTo>
                      <a:pt x="1867930" y="486042"/>
                    </a:lnTo>
                    <a:lnTo>
                      <a:pt x="1886992" y="481278"/>
                    </a:lnTo>
                    <a:lnTo>
                      <a:pt x="1901284" y="476512"/>
                    </a:lnTo>
                    <a:lnTo>
                      <a:pt x="1906052" y="476512"/>
                    </a:lnTo>
                    <a:lnTo>
                      <a:pt x="1920346" y="490808"/>
                    </a:lnTo>
                    <a:lnTo>
                      <a:pt x="1934640" y="500338"/>
                    </a:lnTo>
                    <a:lnTo>
                      <a:pt x="1963234" y="500338"/>
                    </a:lnTo>
                    <a:lnTo>
                      <a:pt x="1991820" y="509868"/>
                    </a:lnTo>
                    <a:lnTo>
                      <a:pt x="2006118" y="514634"/>
                    </a:lnTo>
                    <a:lnTo>
                      <a:pt x="2015648" y="519398"/>
                    </a:lnTo>
                    <a:lnTo>
                      <a:pt x="2015648" y="538460"/>
                    </a:lnTo>
                    <a:lnTo>
                      <a:pt x="2010882" y="543224"/>
                    </a:lnTo>
                    <a:lnTo>
                      <a:pt x="1982294" y="586110"/>
                    </a:lnTo>
                    <a:lnTo>
                      <a:pt x="1967996" y="600406"/>
                    </a:lnTo>
                    <a:lnTo>
                      <a:pt x="1963234" y="619466"/>
                    </a:lnTo>
                    <a:lnTo>
                      <a:pt x="1958466" y="652822"/>
                    </a:lnTo>
                    <a:lnTo>
                      <a:pt x="1948936" y="681414"/>
                    </a:lnTo>
                    <a:lnTo>
                      <a:pt x="1934640" y="710004"/>
                    </a:lnTo>
                    <a:lnTo>
                      <a:pt x="1929876" y="733830"/>
                    </a:lnTo>
                    <a:lnTo>
                      <a:pt x="1929876" y="748124"/>
                    </a:lnTo>
                    <a:lnTo>
                      <a:pt x="1929876" y="771950"/>
                    </a:lnTo>
                    <a:lnTo>
                      <a:pt x="1920346" y="800542"/>
                    </a:lnTo>
                    <a:lnTo>
                      <a:pt x="1920346" y="824366"/>
                    </a:lnTo>
                    <a:lnTo>
                      <a:pt x="1925112" y="838662"/>
                    </a:lnTo>
                    <a:lnTo>
                      <a:pt x="1934640" y="843428"/>
                    </a:lnTo>
                    <a:lnTo>
                      <a:pt x="1915578" y="852958"/>
                    </a:lnTo>
                    <a:lnTo>
                      <a:pt x="1910816" y="862488"/>
                    </a:lnTo>
                    <a:lnTo>
                      <a:pt x="1901284" y="876784"/>
                    </a:lnTo>
                    <a:lnTo>
                      <a:pt x="1891754" y="881548"/>
                    </a:lnTo>
                    <a:lnTo>
                      <a:pt x="1877458" y="881548"/>
                    </a:lnTo>
                    <a:lnTo>
                      <a:pt x="1867930" y="881548"/>
                    </a:lnTo>
                    <a:lnTo>
                      <a:pt x="1863164" y="876784"/>
                    </a:lnTo>
                    <a:lnTo>
                      <a:pt x="1863164" y="872018"/>
                    </a:lnTo>
                    <a:lnTo>
                      <a:pt x="1858398" y="867252"/>
                    </a:lnTo>
                    <a:lnTo>
                      <a:pt x="1844104" y="867252"/>
                    </a:lnTo>
                    <a:lnTo>
                      <a:pt x="1834574" y="876784"/>
                    </a:lnTo>
                    <a:lnTo>
                      <a:pt x="1820276" y="891078"/>
                    </a:lnTo>
                    <a:lnTo>
                      <a:pt x="1825044" y="895844"/>
                    </a:lnTo>
                    <a:lnTo>
                      <a:pt x="1834574" y="900608"/>
                    </a:lnTo>
                    <a:lnTo>
                      <a:pt x="1839336" y="900608"/>
                    </a:lnTo>
                    <a:lnTo>
                      <a:pt x="1839336" y="905374"/>
                    </a:lnTo>
                    <a:lnTo>
                      <a:pt x="1834574" y="910140"/>
                    </a:lnTo>
                    <a:lnTo>
                      <a:pt x="1829810" y="919670"/>
                    </a:lnTo>
                    <a:lnTo>
                      <a:pt x="1810748" y="943494"/>
                    </a:lnTo>
                    <a:lnTo>
                      <a:pt x="1786922" y="967320"/>
                    </a:lnTo>
                    <a:lnTo>
                      <a:pt x="1786922" y="972086"/>
                    </a:lnTo>
                    <a:lnTo>
                      <a:pt x="1777392" y="976850"/>
                    </a:lnTo>
                    <a:lnTo>
                      <a:pt x="1753568" y="991146"/>
                    </a:lnTo>
                    <a:lnTo>
                      <a:pt x="1748800" y="995912"/>
                    </a:lnTo>
                    <a:lnTo>
                      <a:pt x="1748800" y="1019736"/>
                    </a:lnTo>
                    <a:lnTo>
                      <a:pt x="1744034" y="1034032"/>
                    </a:lnTo>
                    <a:lnTo>
                      <a:pt x="1724974" y="1053092"/>
                    </a:lnTo>
                    <a:lnTo>
                      <a:pt x="1705914" y="1067388"/>
                    </a:lnTo>
                    <a:lnTo>
                      <a:pt x="1701150" y="1076918"/>
                    </a:lnTo>
                    <a:lnTo>
                      <a:pt x="1696386" y="1091214"/>
                    </a:lnTo>
                    <a:lnTo>
                      <a:pt x="1691620" y="1105510"/>
                    </a:lnTo>
                    <a:lnTo>
                      <a:pt x="1691620" y="1110274"/>
                    </a:lnTo>
                    <a:lnTo>
                      <a:pt x="1701150" y="1119804"/>
                    </a:lnTo>
                    <a:lnTo>
                      <a:pt x="1701150" y="1129334"/>
                    </a:lnTo>
                    <a:lnTo>
                      <a:pt x="1696386" y="1143630"/>
                    </a:lnTo>
                    <a:lnTo>
                      <a:pt x="1686852" y="1153160"/>
                    </a:lnTo>
                    <a:lnTo>
                      <a:pt x="1677326" y="1157926"/>
                    </a:lnTo>
                    <a:lnTo>
                      <a:pt x="1677326" y="1172222"/>
                    </a:lnTo>
                    <a:lnTo>
                      <a:pt x="1682090" y="1176986"/>
                    </a:lnTo>
                    <a:lnTo>
                      <a:pt x="1696386" y="1172222"/>
                    </a:lnTo>
                    <a:lnTo>
                      <a:pt x="1710680" y="1162690"/>
                    </a:lnTo>
                    <a:lnTo>
                      <a:pt x="1724974" y="1148396"/>
                    </a:lnTo>
                    <a:lnTo>
                      <a:pt x="1715446" y="1138866"/>
                    </a:lnTo>
                    <a:lnTo>
                      <a:pt x="1715446" y="1134100"/>
                    </a:lnTo>
                    <a:lnTo>
                      <a:pt x="1715446" y="1129334"/>
                    </a:lnTo>
                    <a:lnTo>
                      <a:pt x="1729740" y="1115040"/>
                    </a:lnTo>
                    <a:lnTo>
                      <a:pt x="1748800" y="1110274"/>
                    </a:lnTo>
                    <a:lnTo>
                      <a:pt x="1772628" y="1105510"/>
                    </a:lnTo>
                    <a:lnTo>
                      <a:pt x="1801216" y="1110274"/>
                    </a:lnTo>
                    <a:lnTo>
                      <a:pt x="1801216" y="1115040"/>
                    </a:lnTo>
                    <a:lnTo>
                      <a:pt x="1801216" y="1124570"/>
                    </a:lnTo>
                    <a:lnTo>
                      <a:pt x="1801216" y="1134100"/>
                    </a:lnTo>
                    <a:lnTo>
                      <a:pt x="1810748" y="1143630"/>
                    </a:lnTo>
                    <a:lnTo>
                      <a:pt x="1801216" y="1167456"/>
                    </a:lnTo>
                    <a:lnTo>
                      <a:pt x="1805982" y="1176986"/>
                    </a:lnTo>
                    <a:lnTo>
                      <a:pt x="1815512" y="1186516"/>
                    </a:lnTo>
                    <a:lnTo>
                      <a:pt x="1820276" y="1196046"/>
                    </a:lnTo>
                    <a:lnTo>
                      <a:pt x="1829810" y="1200812"/>
                    </a:lnTo>
                    <a:lnTo>
                      <a:pt x="1839336" y="1215108"/>
                    </a:lnTo>
                    <a:lnTo>
                      <a:pt x="1839336" y="1224638"/>
                    </a:lnTo>
                    <a:lnTo>
                      <a:pt x="1825044" y="1234168"/>
                    </a:lnTo>
                    <a:lnTo>
                      <a:pt x="1805982" y="1248462"/>
                    </a:lnTo>
                    <a:lnTo>
                      <a:pt x="1805982" y="1257994"/>
                    </a:lnTo>
                    <a:lnTo>
                      <a:pt x="1805982" y="1262758"/>
                    </a:lnTo>
                    <a:lnTo>
                      <a:pt x="1805982" y="1272288"/>
                    </a:lnTo>
                    <a:lnTo>
                      <a:pt x="1820276" y="1281818"/>
                    </a:lnTo>
                    <a:lnTo>
                      <a:pt x="1829810" y="1300880"/>
                    </a:lnTo>
                    <a:lnTo>
                      <a:pt x="1839336" y="1319940"/>
                    </a:lnTo>
                    <a:lnTo>
                      <a:pt x="1863164" y="1339000"/>
                    </a:lnTo>
                    <a:lnTo>
                      <a:pt x="1858398" y="1343766"/>
                    </a:lnTo>
                    <a:lnTo>
                      <a:pt x="1853634" y="1353296"/>
                    </a:lnTo>
                    <a:lnTo>
                      <a:pt x="1848870" y="1377122"/>
                    </a:lnTo>
                    <a:lnTo>
                      <a:pt x="1844104" y="1381886"/>
                    </a:lnTo>
                    <a:lnTo>
                      <a:pt x="1834574" y="1381886"/>
                    </a:lnTo>
                    <a:lnTo>
                      <a:pt x="1810748" y="1400946"/>
                    </a:lnTo>
                    <a:lnTo>
                      <a:pt x="1801216" y="1396182"/>
                    </a:lnTo>
                    <a:lnTo>
                      <a:pt x="1786922" y="1396182"/>
                    </a:lnTo>
                    <a:lnTo>
                      <a:pt x="1777392" y="1400946"/>
                    </a:lnTo>
                    <a:lnTo>
                      <a:pt x="1782156" y="1415242"/>
                    </a:lnTo>
                    <a:lnTo>
                      <a:pt x="1786922" y="1424772"/>
                    </a:lnTo>
                    <a:lnTo>
                      <a:pt x="1796452" y="1434302"/>
                    </a:lnTo>
                    <a:lnTo>
                      <a:pt x="1796452" y="1448598"/>
                    </a:lnTo>
                    <a:lnTo>
                      <a:pt x="1805982" y="1453364"/>
                    </a:lnTo>
                    <a:lnTo>
                      <a:pt x="1820276" y="1458128"/>
                    </a:lnTo>
                    <a:lnTo>
                      <a:pt x="1825044" y="1462894"/>
                    </a:lnTo>
                    <a:lnTo>
                      <a:pt x="1834574" y="1462894"/>
                    </a:lnTo>
                    <a:lnTo>
                      <a:pt x="1834574" y="1467658"/>
                    </a:lnTo>
                    <a:lnTo>
                      <a:pt x="1839336" y="1491484"/>
                    </a:lnTo>
                    <a:lnTo>
                      <a:pt x="1839336" y="1496250"/>
                    </a:lnTo>
                    <a:lnTo>
                      <a:pt x="1829810" y="1501014"/>
                    </a:lnTo>
                    <a:lnTo>
                      <a:pt x="1825044" y="1510544"/>
                    </a:lnTo>
                    <a:lnTo>
                      <a:pt x="1815512" y="1524840"/>
                    </a:lnTo>
                    <a:lnTo>
                      <a:pt x="1810748" y="1539136"/>
                    </a:lnTo>
                    <a:lnTo>
                      <a:pt x="1820276" y="1548666"/>
                    </a:lnTo>
                    <a:lnTo>
                      <a:pt x="1820276" y="1553430"/>
                    </a:lnTo>
                    <a:lnTo>
                      <a:pt x="1815512" y="1562962"/>
                    </a:lnTo>
                    <a:lnTo>
                      <a:pt x="1820276" y="1577256"/>
                    </a:lnTo>
                    <a:lnTo>
                      <a:pt x="1829810" y="1586786"/>
                    </a:lnTo>
                    <a:lnTo>
                      <a:pt x="1858398" y="1605848"/>
                    </a:lnTo>
                    <a:lnTo>
                      <a:pt x="1886992" y="1620142"/>
                    </a:lnTo>
                    <a:lnTo>
                      <a:pt x="1896518" y="1620142"/>
                    </a:lnTo>
                    <a:lnTo>
                      <a:pt x="1929876" y="1610612"/>
                    </a:lnTo>
                    <a:lnTo>
                      <a:pt x="1934640" y="1610612"/>
                    </a:lnTo>
                    <a:lnTo>
                      <a:pt x="1939406" y="1624908"/>
                    </a:lnTo>
                    <a:lnTo>
                      <a:pt x="1944172" y="1629674"/>
                    </a:lnTo>
                    <a:lnTo>
                      <a:pt x="1939406" y="1639204"/>
                    </a:lnTo>
                    <a:lnTo>
                      <a:pt x="1929876" y="1658264"/>
                    </a:lnTo>
                    <a:lnTo>
                      <a:pt x="1920346" y="1667794"/>
                    </a:lnTo>
                    <a:lnTo>
                      <a:pt x="1910816" y="1677324"/>
                    </a:lnTo>
                    <a:lnTo>
                      <a:pt x="1915578" y="1686854"/>
                    </a:lnTo>
                    <a:lnTo>
                      <a:pt x="1915578" y="1696384"/>
                    </a:lnTo>
                    <a:lnTo>
                      <a:pt x="1906052" y="1701150"/>
                    </a:lnTo>
                    <a:lnTo>
                      <a:pt x="1901284" y="1696384"/>
                    </a:lnTo>
                    <a:lnTo>
                      <a:pt x="1896518" y="1701150"/>
                    </a:lnTo>
                    <a:lnTo>
                      <a:pt x="1896518" y="1705916"/>
                    </a:lnTo>
                    <a:lnTo>
                      <a:pt x="1877458" y="1715446"/>
                    </a:lnTo>
                    <a:lnTo>
                      <a:pt x="1863164" y="1724976"/>
                    </a:lnTo>
                    <a:lnTo>
                      <a:pt x="1815512" y="1767862"/>
                    </a:lnTo>
                    <a:lnTo>
                      <a:pt x="1791688" y="1782158"/>
                    </a:lnTo>
                    <a:lnTo>
                      <a:pt x="1786922" y="1791688"/>
                    </a:lnTo>
                    <a:lnTo>
                      <a:pt x="1782156" y="1805982"/>
                    </a:lnTo>
                    <a:lnTo>
                      <a:pt x="1767862" y="1820278"/>
                    </a:lnTo>
                    <a:lnTo>
                      <a:pt x="1758332" y="1829808"/>
                    </a:lnTo>
                    <a:lnTo>
                      <a:pt x="1729740" y="1834574"/>
                    </a:lnTo>
                    <a:lnTo>
                      <a:pt x="1701150" y="1848868"/>
                    </a:lnTo>
                    <a:lnTo>
                      <a:pt x="1686852" y="1844104"/>
                    </a:lnTo>
                    <a:lnTo>
                      <a:pt x="1653498" y="1844104"/>
                    </a:lnTo>
                    <a:lnTo>
                      <a:pt x="1629672" y="1825044"/>
                    </a:lnTo>
                    <a:lnTo>
                      <a:pt x="1586786" y="1815514"/>
                    </a:lnTo>
                    <a:lnTo>
                      <a:pt x="1577256" y="1791688"/>
                    </a:lnTo>
                    <a:lnTo>
                      <a:pt x="1553430" y="1786922"/>
                    </a:lnTo>
                    <a:lnTo>
                      <a:pt x="1543902" y="1786922"/>
                    </a:lnTo>
                    <a:lnTo>
                      <a:pt x="1534368" y="1786922"/>
                    </a:lnTo>
                    <a:lnTo>
                      <a:pt x="1534368" y="1777392"/>
                    </a:lnTo>
                    <a:lnTo>
                      <a:pt x="1534368" y="1767862"/>
                    </a:lnTo>
                    <a:lnTo>
                      <a:pt x="1520074" y="1772626"/>
                    </a:lnTo>
                    <a:lnTo>
                      <a:pt x="1510544" y="1772626"/>
                    </a:lnTo>
                    <a:lnTo>
                      <a:pt x="1505780" y="1777392"/>
                    </a:lnTo>
                    <a:lnTo>
                      <a:pt x="1501014" y="1777392"/>
                    </a:lnTo>
                    <a:lnTo>
                      <a:pt x="1496248" y="1777392"/>
                    </a:lnTo>
                    <a:lnTo>
                      <a:pt x="1491484" y="1777392"/>
                    </a:lnTo>
                    <a:lnTo>
                      <a:pt x="1491484" y="1782158"/>
                    </a:lnTo>
                    <a:lnTo>
                      <a:pt x="1481954" y="1782158"/>
                    </a:lnTo>
                    <a:lnTo>
                      <a:pt x="1467660" y="1782158"/>
                    </a:lnTo>
                    <a:lnTo>
                      <a:pt x="1434302" y="1767862"/>
                    </a:lnTo>
                    <a:lnTo>
                      <a:pt x="1424772" y="1767862"/>
                    </a:lnTo>
                    <a:lnTo>
                      <a:pt x="1405712" y="1758332"/>
                    </a:lnTo>
                    <a:lnTo>
                      <a:pt x="1391418" y="1753566"/>
                    </a:lnTo>
                    <a:lnTo>
                      <a:pt x="1386652" y="1744036"/>
                    </a:lnTo>
                    <a:lnTo>
                      <a:pt x="1381884" y="1739270"/>
                    </a:lnTo>
                    <a:lnTo>
                      <a:pt x="1377120" y="1734506"/>
                    </a:lnTo>
                    <a:lnTo>
                      <a:pt x="1353296" y="1744036"/>
                    </a:lnTo>
                    <a:lnTo>
                      <a:pt x="1348530" y="1753566"/>
                    </a:lnTo>
                    <a:lnTo>
                      <a:pt x="1334236" y="1763096"/>
                    </a:lnTo>
                    <a:lnTo>
                      <a:pt x="1253228" y="1820278"/>
                    </a:lnTo>
                    <a:lnTo>
                      <a:pt x="1238934" y="1848868"/>
                    </a:lnTo>
                    <a:lnTo>
                      <a:pt x="1219874" y="1882224"/>
                    </a:lnTo>
                    <a:lnTo>
                      <a:pt x="1219874" y="1896520"/>
                    </a:lnTo>
                    <a:lnTo>
                      <a:pt x="1224636" y="1948936"/>
                    </a:lnTo>
                    <a:lnTo>
                      <a:pt x="1243698" y="1977528"/>
                    </a:lnTo>
                    <a:lnTo>
                      <a:pt x="1243698" y="1987058"/>
                    </a:lnTo>
                    <a:lnTo>
                      <a:pt x="1234168" y="1987058"/>
                    </a:lnTo>
                    <a:lnTo>
                      <a:pt x="1219874" y="1982292"/>
                    </a:lnTo>
                    <a:lnTo>
                      <a:pt x="1205576" y="1977528"/>
                    </a:lnTo>
                    <a:lnTo>
                      <a:pt x="1196046" y="1977528"/>
                    </a:lnTo>
                    <a:lnTo>
                      <a:pt x="1181752" y="1987058"/>
                    </a:lnTo>
                    <a:lnTo>
                      <a:pt x="1172220" y="1987058"/>
                    </a:lnTo>
                    <a:lnTo>
                      <a:pt x="1167456" y="1987058"/>
                    </a:lnTo>
                    <a:lnTo>
                      <a:pt x="1162692" y="1991822"/>
                    </a:lnTo>
                    <a:lnTo>
                      <a:pt x="1157926" y="2001352"/>
                    </a:lnTo>
                    <a:lnTo>
                      <a:pt x="1157926" y="2006118"/>
                    </a:lnTo>
                    <a:lnTo>
                      <a:pt x="1143632" y="2001352"/>
                    </a:lnTo>
                    <a:lnTo>
                      <a:pt x="1115038" y="1991822"/>
                    </a:lnTo>
                    <a:lnTo>
                      <a:pt x="1086450" y="1987058"/>
                    </a:lnTo>
                    <a:lnTo>
                      <a:pt x="1072152" y="1991822"/>
                    </a:lnTo>
                    <a:lnTo>
                      <a:pt x="1062622" y="2001352"/>
                    </a:lnTo>
                    <a:lnTo>
                      <a:pt x="1053092" y="2001352"/>
                    </a:lnTo>
                    <a:lnTo>
                      <a:pt x="1048328" y="1991822"/>
                    </a:lnTo>
                    <a:lnTo>
                      <a:pt x="1043562" y="1987058"/>
                    </a:lnTo>
                    <a:lnTo>
                      <a:pt x="1034032" y="1977528"/>
                    </a:lnTo>
                    <a:lnTo>
                      <a:pt x="1010208" y="1967998"/>
                    </a:lnTo>
                    <a:lnTo>
                      <a:pt x="1010208" y="1963232"/>
                    </a:lnTo>
                    <a:lnTo>
                      <a:pt x="1014972" y="1958466"/>
                    </a:lnTo>
                    <a:lnTo>
                      <a:pt x="1014972" y="1953702"/>
                    </a:lnTo>
                    <a:lnTo>
                      <a:pt x="1010208" y="1948936"/>
                    </a:lnTo>
                    <a:lnTo>
                      <a:pt x="991148" y="1939406"/>
                    </a:lnTo>
                    <a:lnTo>
                      <a:pt x="976850" y="1939406"/>
                    </a:lnTo>
                    <a:lnTo>
                      <a:pt x="972086" y="1944172"/>
                    </a:lnTo>
                    <a:lnTo>
                      <a:pt x="967320" y="1948936"/>
                    </a:lnTo>
                    <a:lnTo>
                      <a:pt x="953026" y="1929876"/>
                    </a:lnTo>
                    <a:lnTo>
                      <a:pt x="943494" y="1925110"/>
                    </a:lnTo>
                    <a:lnTo>
                      <a:pt x="933966" y="1925110"/>
                    </a:lnTo>
                    <a:lnTo>
                      <a:pt x="914906" y="1920346"/>
                    </a:lnTo>
                    <a:lnTo>
                      <a:pt x="900608" y="1910816"/>
                    </a:lnTo>
                    <a:lnTo>
                      <a:pt x="862488" y="1896520"/>
                    </a:lnTo>
                    <a:lnTo>
                      <a:pt x="852958" y="1896520"/>
                    </a:lnTo>
                    <a:lnTo>
                      <a:pt x="848190" y="1896520"/>
                    </a:lnTo>
                    <a:lnTo>
                      <a:pt x="843426" y="1906050"/>
                    </a:lnTo>
                    <a:lnTo>
                      <a:pt x="843426" y="1929876"/>
                    </a:lnTo>
                    <a:lnTo>
                      <a:pt x="824366" y="1929876"/>
                    </a:lnTo>
                    <a:lnTo>
                      <a:pt x="800542" y="1929876"/>
                    </a:lnTo>
                    <a:lnTo>
                      <a:pt x="791008" y="1929876"/>
                    </a:lnTo>
                    <a:lnTo>
                      <a:pt x="781482" y="1929876"/>
                    </a:lnTo>
                    <a:lnTo>
                      <a:pt x="776716" y="1925110"/>
                    </a:lnTo>
                    <a:lnTo>
                      <a:pt x="738594" y="1929876"/>
                    </a:lnTo>
                    <a:lnTo>
                      <a:pt x="729064" y="1925110"/>
                    </a:lnTo>
                    <a:lnTo>
                      <a:pt x="719534" y="1915580"/>
                    </a:lnTo>
                    <a:lnTo>
                      <a:pt x="710004" y="1910816"/>
                    </a:lnTo>
                    <a:lnTo>
                      <a:pt x="705240" y="1906050"/>
                    </a:lnTo>
                    <a:lnTo>
                      <a:pt x="695706" y="1901286"/>
                    </a:lnTo>
                    <a:lnTo>
                      <a:pt x="690942" y="1901286"/>
                    </a:lnTo>
                    <a:lnTo>
                      <a:pt x="681412" y="1906050"/>
                    </a:lnTo>
                    <a:lnTo>
                      <a:pt x="667118" y="1906050"/>
                    </a:lnTo>
                    <a:lnTo>
                      <a:pt x="657586" y="1906050"/>
                    </a:lnTo>
                    <a:lnTo>
                      <a:pt x="652822" y="1906050"/>
                    </a:lnTo>
                    <a:lnTo>
                      <a:pt x="628998" y="1882224"/>
                    </a:lnTo>
                    <a:lnTo>
                      <a:pt x="624232" y="1877460"/>
                    </a:lnTo>
                    <a:lnTo>
                      <a:pt x="609938" y="1872694"/>
                    </a:lnTo>
                    <a:lnTo>
                      <a:pt x="595640" y="1872694"/>
                    </a:lnTo>
                    <a:lnTo>
                      <a:pt x="562282" y="1858400"/>
                    </a:lnTo>
                    <a:lnTo>
                      <a:pt x="543222" y="1848868"/>
                    </a:lnTo>
                    <a:lnTo>
                      <a:pt x="538458" y="1844104"/>
                    </a:lnTo>
                    <a:lnTo>
                      <a:pt x="533696" y="1848868"/>
                    </a:lnTo>
                    <a:lnTo>
                      <a:pt x="528928" y="1853634"/>
                    </a:lnTo>
                    <a:lnTo>
                      <a:pt x="524162" y="1858400"/>
                    </a:lnTo>
                    <a:lnTo>
                      <a:pt x="519398" y="1853634"/>
                    </a:lnTo>
                    <a:lnTo>
                      <a:pt x="514634" y="1853634"/>
                    </a:lnTo>
                    <a:lnTo>
                      <a:pt x="509868" y="1848868"/>
                    </a:lnTo>
                    <a:lnTo>
                      <a:pt x="514634" y="1839338"/>
                    </a:lnTo>
                    <a:lnTo>
                      <a:pt x="519398" y="1829808"/>
                    </a:lnTo>
                    <a:lnTo>
                      <a:pt x="524162" y="1820278"/>
                    </a:lnTo>
                    <a:lnTo>
                      <a:pt x="524162" y="1810748"/>
                    </a:lnTo>
                    <a:lnTo>
                      <a:pt x="514634" y="1805982"/>
                    </a:lnTo>
                    <a:lnTo>
                      <a:pt x="500338" y="1805982"/>
                    </a:lnTo>
                    <a:lnTo>
                      <a:pt x="490808" y="1801218"/>
                    </a:lnTo>
                    <a:lnTo>
                      <a:pt x="476514" y="1796452"/>
                    </a:lnTo>
                    <a:lnTo>
                      <a:pt x="471748" y="1796452"/>
                    </a:lnTo>
                    <a:lnTo>
                      <a:pt x="462216" y="1782158"/>
                    </a:lnTo>
                    <a:lnTo>
                      <a:pt x="462216" y="1777392"/>
                    </a:lnTo>
                    <a:lnTo>
                      <a:pt x="490808" y="1767862"/>
                    </a:lnTo>
                    <a:lnTo>
                      <a:pt x="509868" y="1744036"/>
                    </a:lnTo>
                    <a:lnTo>
                      <a:pt x="533696" y="1643968"/>
                    </a:lnTo>
                    <a:lnTo>
                      <a:pt x="547990" y="1524840"/>
                    </a:lnTo>
                    <a:lnTo>
                      <a:pt x="562282" y="1505780"/>
                    </a:lnTo>
                    <a:lnTo>
                      <a:pt x="576580" y="1496250"/>
                    </a:lnTo>
                    <a:lnTo>
                      <a:pt x="562282" y="1481954"/>
                    </a:lnTo>
                    <a:lnTo>
                      <a:pt x="557520" y="1491484"/>
                    </a:lnTo>
                    <a:lnTo>
                      <a:pt x="552756" y="1496250"/>
                    </a:lnTo>
                    <a:lnTo>
                      <a:pt x="547990" y="1501014"/>
                    </a:lnTo>
                    <a:lnTo>
                      <a:pt x="557520" y="1396182"/>
                    </a:lnTo>
                    <a:lnTo>
                      <a:pt x="562282" y="1353296"/>
                    </a:lnTo>
                    <a:lnTo>
                      <a:pt x="576580" y="1310410"/>
                    </a:lnTo>
                    <a:lnTo>
                      <a:pt x="595640" y="1329470"/>
                    </a:lnTo>
                    <a:lnTo>
                      <a:pt x="614700" y="1343766"/>
                    </a:lnTo>
                    <a:lnTo>
                      <a:pt x="624232" y="1358060"/>
                    </a:lnTo>
                    <a:lnTo>
                      <a:pt x="633762" y="1410478"/>
                    </a:lnTo>
                    <a:lnTo>
                      <a:pt x="643292" y="1420008"/>
                    </a:lnTo>
                    <a:lnTo>
                      <a:pt x="657586" y="1429538"/>
                    </a:lnTo>
                    <a:lnTo>
                      <a:pt x="652822" y="1420008"/>
                    </a:lnTo>
                    <a:lnTo>
                      <a:pt x="643292" y="1410478"/>
                    </a:lnTo>
                    <a:lnTo>
                      <a:pt x="628998" y="1343766"/>
                    </a:lnTo>
                    <a:lnTo>
                      <a:pt x="619464" y="1324706"/>
                    </a:lnTo>
                    <a:lnTo>
                      <a:pt x="605170" y="1310410"/>
                    </a:lnTo>
                    <a:lnTo>
                      <a:pt x="562282" y="1277054"/>
                    </a:lnTo>
                    <a:lnTo>
                      <a:pt x="557520" y="1272288"/>
                    </a:lnTo>
                    <a:lnTo>
                      <a:pt x="552756" y="1257994"/>
                    </a:lnTo>
                    <a:lnTo>
                      <a:pt x="571816" y="1257994"/>
                    </a:lnTo>
                    <a:lnTo>
                      <a:pt x="581344" y="1262758"/>
                    </a:lnTo>
                    <a:lnTo>
                      <a:pt x="581344" y="1257994"/>
                    </a:lnTo>
                    <a:lnTo>
                      <a:pt x="576580" y="1248462"/>
                    </a:lnTo>
                    <a:lnTo>
                      <a:pt x="571816" y="1224638"/>
                    </a:lnTo>
                    <a:lnTo>
                      <a:pt x="567050" y="1162690"/>
                    </a:lnTo>
                    <a:lnTo>
                      <a:pt x="567050" y="1148396"/>
                    </a:lnTo>
                    <a:lnTo>
                      <a:pt x="562282" y="1138866"/>
                    </a:lnTo>
                    <a:lnTo>
                      <a:pt x="547990" y="1134100"/>
                    </a:lnTo>
                    <a:lnTo>
                      <a:pt x="538458" y="1134100"/>
                    </a:lnTo>
                    <a:lnTo>
                      <a:pt x="524162" y="1129334"/>
                    </a:lnTo>
                    <a:lnTo>
                      <a:pt x="466980" y="1091214"/>
                    </a:lnTo>
                    <a:lnTo>
                      <a:pt x="443156" y="1053092"/>
                    </a:lnTo>
                    <a:lnTo>
                      <a:pt x="424096" y="1024502"/>
                    </a:lnTo>
                    <a:lnTo>
                      <a:pt x="414566" y="1010206"/>
                    </a:lnTo>
                    <a:lnTo>
                      <a:pt x="414566" y="995912"/>
                    </a:lnTo>
                    <a:lnTo>
                      <a:pt x="428860" y="972086"/>
                    </a:lnTo>
                    <a:lnTo>
                      <a:pt x="419332" y="953026"/>
                    </a:lnTo>
                    <a:lnTo>
                      <a:pt x="409798" y="953026"/>
                    </a:lnTo>
                    <a:lnTo>
                      <a:pt x="400272" y="943494"/>
                    </a:lnTo>
                    <a:lnTo>
                      <a:pt x="409798" y="929200"/>
                    </a:lnTo>
                    <a:lnTo>
                      <a:pt x="414566" y="919670"/>
                    </a:lnTo>
                    <a:lnTo>
                      <a:pt x="428860" y="914904"/>
                    </a:lnTo>
                    <a:lnTo>
                      <a:pt x="443156" y="919670"/>
                    </a:lnTo>
                    <a:lnTo>
                      <a:pt x="457454" y="929200"/>
                    </a:lnTo>
                    <a:lnTo>
                      <a:pt x="471748" y="929200"/>
                    </a:lnTo>
                    <a:lnTo>
                      <a:pt x="433626" y="910140"/>
                    </a:lnTo>
                    <a:lnTo>
                      <a:pt x="376444" y="914904"/>
                    </a:lnTo>
                    <a:lnTo>
                      <a:pt x="362150" y="914904"/>
                    </a:lnTo>
                    <a:lnTo>
                      <a:pt x="352618" y="910140"/>
                    </a:lnTo>
                    <a:lnTo>
                      <a:pt x="347854" y="891078"/>
                    </a:lnTo>
                    <a:lnTo>
                      <a:pt x="357384" y="886314"/>
                    </a:lnTo>
                    <a:lnTo>
                      <a:pt x="366914" y="872018"/>
                    </a:lnTo>
                    <a:lnTo>
                      <a:pt x="357384" y="862488"/>
                    </a:lnTo>
                    <a:lnTo>
                      <a:pt x="343090" y="857722"/>
                    </a:lnTo>
                    <a:lnTo>
                      <a:pt x="328794" y="857722"/>
                    </a:lnTo>
                    <a:lnTo>
                      <a:pt x="309732" y="862488"/>
                    </a:lnTo>
                    <a:lnTo>
                      <a:pt x="304970" y="857722"/>
                    </a:lnTo>
                    <a:lnTo>
                      <a:pt x="314496" y="838662"/>
                    </a:lnTo>
                    <a:lnTo>
                      <a:pt x="309732" y="833898"/>
                    </a:lnTo>
                    <a:lnTo>
                      <a:pt x="295436" y="838662"/>
                    </a:lnTo>
                    <a:lnTo>
                      <a:pt x="281142" y="838662"/>
                    </a:lnTo>
                    <a:lnTo>
                      <a:pt x="266848" y="838662"/>
                    </a:lnTo>
                    <a:lnTo>
                      <a:pt x="252552" y="819602"/>
                    </a:lnTo>
                    <a:lnTo>
                      <a:pt x="238254" y="819602"/>
                    </a:lnTo>
                    <a:lnTo>
                      <a:pt x="233490" y="819602"/>
                    </a:lnTo>
                    <a:lnTo>
                      <a:pt x="223960" y="814836"/>
                    </a:lnTo>
                    <a:lnTo>
                      <a:pt x="214430" y="814836"/>
                    </a:lnTo>
                    <a:lnTo>
                      <a:pt x="204900" y="814836"/>
                    </a:lnTo>
                    <a:lnTo>
                      <a:pt x="195370" y="805306"/>
                    </a:lnTo>
                    <a:lnTo>
                      <a:pt x="133424" y="786246"/>
                    </a:lnTo>
                    <a:lnTo>
                      <a:pt x="109598" y="781480"/>
                    </a:lnTo>
                    <a:lnTo>
                      <a:pt x="81006" y="791010"/>
                    </a:lnTo>
                    <a:lnTo>
                      <a:pt x="71476" y="791010"/>
                    </a:lnTo>
                    <a:lnTo>
                      <a:pt x="61946" y="776716"/>
                    </a:lnTo>
                    <a:lnTo>
                      <a:pt x="52416" y="757654"/>
                    </a:lnTo>
                    <a:lnTo>
                      <a:pt x="14294" y="738594"/>
                    </a:lnTo>
                    <a:lnTo>
                      <a:pt x="19062" y="729064"/>
                    </a:lnTo>
                    <a:lnTo>
                      <a:pt x="38122" y="724300"/>
                    </a:lnTo>
                    <a:lnTo>
                      <a:pt x="61946" y="719534"/>
                    </a:lnTo>
                    <a:lnTo>
                      <a:pt x="66710" y="710004"/>
                    </a:lnTo>
                    <a:lnTo>
                      <a:pt x="52416" y="695708"/>
                    </a:lnTo>
                    <a:lnTo>
                      <a:pt x="38122" y="695708"/>
                    </a:lnTo>
                    <a:lnTo>
                      <a:pt x="33356" y="690944"/>
                    </a:lnTo>
                    <a:lnTo>
                      <a:pt x="28588" y="681414"/>
                    </a:lnTo>
                    <a:lnTo>
                      <a:pt x="38122" y="676648"/>
                    </a:lnTo>
                    <a:lnTo>
                      <a:pt x="42886" y="676648"/>
                    </a:lnTo>
                    <a:lnTo>
                      <a:pt x="57182" y="681414"/>
                    </a:lnTo>
                    <a:lnTo>
                      <a:pt x="81006" y="676648"/>
                    </a:lnTo>
                    <a:lnTo>
                      <a:pt x="71476" y="667118"/>
                    </a:lnTo>
                    <a:lnTo>
                      <a:pt x="61946" y="662352"/>
                    </a:lnTo>
                    <a:lnTo>
                      <a:pt x="57182" y="662352"/>
                    </a:lnTo>
                    <a:lnTo>
                      <a:pt x="38122" y="662352"/>
                    </a:lnTo>
                    <a:lnTo>
                      <a:pt x="28588" y="662352"/>
                    </a:lnTo>
                    <a:lnTo>
                      <a:pt x="4764" y="662352"/>
                    </a:lnTo>
                    <a:lnTo>
                      <a:pt x="0" y="652822"/>
                    </a:lnTo>
                    <a:lnTo>
                      <a:pt x="0" y="643292"/>
                    </a:lnTo>
                    <a:lnTo>
                      <a:pt x="4764" y="619466"/>
                    </a:lnTo>
                    <a:lnTo>
                      <a:pt x="38122" y="600406"/>
                    </a:lnTo>
                    <a:lnTo>
                      <a:pt x="109598" y="581346"/>
                    </a:lnTo>
                    <a:lnTo>
                      <a:pt x="142952" y="586110"/>
                    </a:lnTo>
                    <a:lnTo>
                      <a:pt x="162012" y="581346"/>
                    </a:lnTo>
                    <a:lnTo>
                      <a:pt x="190606" y="567050"/>
                    </a:lnTo>
                    <a:lnTo>
                      <a:pt x="200134" y="557520"/>
                    </a:lnTo>
                    <a:lnTo>
                      <a:pt x="238254" y="547990"/>
                    </a:lnTo>
                    <a:lnTo>
                      <a:pt x="276376" y="562284"/>
                    </a:lnTo>
                    <a:lnTo>
                      <a:pt x="309732" y="605170"/>
                    </a:lnTo>
                    <a:lnTo>
                      <a:pt x="324030" y="624232"/>
                    </a:lnTo>
                    <a:lnTo>
                      <a:pt x="362150" y="595640"/>
                    </a:lnTo>
                    <a:lnTo>
                      <a:pt x="419332" y="595640"/>
                    </a:lnTo>
                    <a:lnTo>
                      <a:pt x="428860" y="609936"/>
                    </a:lnTo>
                    <a:lnTo>
                      <a:pt x="433626" y="600406"/>
                    </a:lnTo>
                    <a:lnTo>
                      <a:pt x="447920" y="586110"/>
                    </a:lnTo>
                    <a:lnTo>
                      <a:pt x="452686" y="590876"/>
                    </a:lnTo>
                    <a:lnTo>
                      <a:pt x="457454" y="600406"/>
                    </a:lnTo>
                    <a:lnTo>
                      <a:pt x="519398" y="595640"/>
                    </a:lnTo>
                    <a:lnTo>
                      <a:pt x="528928" y="595640"/>
                    </a:lnTo>
                    <a:lnTo>
                      <a:pt x="509868" y="586110"/>
                    </a:lnTo>
                    <a:lnTo>
                      <a:pt x="500338" y="557520"/>
                    </a:lnTo>
                    <a:lnTo>
                      <a:pt x="495574" y="462218"/>
                    </a:lnTo>
                    <a:lnTo>
                      <a:pt x="481278" y="438392"/>
                    </a:lnTo>
                    <a:lnTo>
                      <a:pt x="462216" y="395506"/>
                    </a:lnTo>
                    <a:lnTo>
                      <a:pt x="452686" y="371680"/>
                    </a:lnTo>
                    <a:lnTo>
                      <a:pt x="452686" y="362150"/>
                    </a:lnTo>
                    <a:lnTo>
                      <a:pt x="452686" y="347854"/>
                    </a:lnTo>
                    <a:lnTo>
                      <a:pt x="476514" y="347854"/>
                    </a:lnTo>
                    <a:lnTo>
                      <a:pt x="495574" y="352620"/>
                    </a:lnTo>
                    <a:lnTo>
                      <a:pt x="528928" y="343090"/>
                    </a:lnTo>
                    <a:lnTo>
                      <a:pt x="547990" y="347854"/>
                    </a:lnTo>
                    <a:lnTo>
                      <a:pt x="547990" y="366914"/>
                    </a:lnTo>
                    <a:lnTo>
                      <a:pt x="552756" y="395506"/>
                    </a:lnTo>
                    <a:lnTo>
                      <a:pt x="557520" y="405036"/>
                    </a:lnTo>
                    <a:lnTo>
                      <a:pt x="567050" y="419332"/>
                    </a:lnTo>
                    <a:lnTo>
                      <a:pt x="595640" y="419332"/>
                    </a:lnTo>
                    <a:lnTo>
                      <a:pt x="624232" y="428862"/>
                    </a:lnTo>
                    <a:lnTo>
                      <a:pt x="662352" y="428862"/>
                    </a:lnTo>
                    <a:lnTo>
                      <a:pt x="719534" y="443156"/>
                    </a:lnTo>
                    <a:lnTo>
                      <a:pt x="743360" y="433626"/>
                    </a:lnTo>
                    <a:lnTo>
                      <a:pt x="762422" y="419332"/>
                    </a:lnTo>
                    <a:lnTo>
                      <a:pt x="810070" y="405036"/>
                    </a:lnTo>
                    <a:lnTo>
                      <a:pt x="814836" y="400270"/>
                    </a:lnTo>
                    <a:lnTo>
                      <a:pt x="786246" y="400270"/>
                    </a:lnTo>
                    <a:lnTo>
                      <a:pt x="762422" y="390740"/>
                    </a:lnTo>
                    <a:lnTo>
                      <a:pt x="762422" y="381210"/>
                    </a:lnTo>
                    <a:lnTo>
                      <a:pt x="762422" y="366914"/>
                    </a:lnTo>
                    <a:lnTo>
                      <a:pt x="771948" y="343090"/>
                    </a:lnTo>
                    <a:lnTo>
                      <a:pt x="838664" y="304968"/>
                    </a:lnTo>
                    <a:lnTo>
                      <a:pt x="886312" y="295438"/>
                    </a:lnTo>
                    <a:lnTo>
                      <a:pt x="938730" y="271612"/>
                    </a:lnTo>
                    <a:lnTo>
                      <a:pt x="962554" y="252552"/>
                    </a:lnTo>
                    <a:lnTo>
                      <a:pt x="981614" y="223960"/>
                    </a:lnTo>
                    <a:lnTo>
                      <a:pt x="986380" y="214430"/>
                    </a:lnTo>
                    <a:lnTo>
                      <a:pt x="991148" y="209666"/>
                    </a:lnTo>
                    <a:lnTo>
                      <a:pt x="986380" y="200136"/>
                    </a:lnTo>
                    <a:lnTo>
                      <a:pt x="991148" y="90538"/>
                    </a:lnTo>
                    <a:lnTo>
                      <a:pt x="995910" y="71476"/>
                    </a:lnTo>
                    <a:lnTo>
                      <a:pt x="1005442" y="57182"/>
                    </a:lnTo>
                    <a:lnTo>
                      <a:pt x="1019736" y="42886"/>
                    </a:lnTo>
                    <a:lnTo>
                      <a:pt x="1043562" y="28590"/>
                    </a:lnTo>
                    <a:lnTo>
                      <a:pt x="112457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16" name="Google Shape;4983;p64">
                <a:extLst>
                  <a:ext uri="{FF2B5EF4-FFF2-40B4-BE49-F238E27FC236}">
                    <a16:creationId xmlns:a16="http://schemas.microsoft.com/office/drawing/2014/main" id="{C8889A48-EDF7-BB33-5106-980B7807970E}"/>
                  </a:ext>
                </a:extLst>
              </p:cNvPr>
              <p:cNvSpPr/>
              <p:nvPr/>
            </p:nvSpPr>
            <p:spPr>
              <a:xfrm>
                <a:off x="29965872" y="19582850"/>
                <a:ext cx="152484" cy="347854"/>
              </a:xfrm>
              <a:custGeom>
                <a:avLst/>
                <a:gdLst/>
                <a:ahLst/>
                <a:cxnLst/>
                <a:rect l="l" t="t" r="r" b="b"/>
                <a:pathLst>
                  <a:path w="64" h="146" extrusionOk="0">
                    <a:moveTo>
                      <a:pt x="60" y="20"/>
                    </a:moveTo>
                    <a:lnTo>
                      <a:pt x="60" y="14"/>
                    </a:lnTo>
                    <a:lnTo>
                      <a:pt x="58" y="8"/>
                    </a:lnTo>
                    <a:lnTo>
                      <a:pt x="58" y="4"/>
                    </a:lnTo>
                    <a:lnTo>
                      <a:pt x="56" y="0"/>
                    </a:lnTo>
                    <a:lnTo>
                      <a:pt x="52" y="0"/>
                    </a:lnTo>
                    <a:lnTo>
                      <a:pt x="50" y="8"/>
                    </a:lnTo>
                    <a:lnTo>
                      <a:pt x="50" y="18"/>
                    </a:lnTo>
                    <a:lnTo>
                      <a:pt x="50" y="24"/>
                    </a:lnTo>
                    <a:lnTo>
                      <a:pt x="48" y="28"/>
                    </a:lnTo>
                    <a:lnTo>
                      <a:pt x="46" y="30"/>
                    </a:lnTo>
                    <a:lnTo>
                      <a:pt x="44" y="28"/>
                    </a:lnTo>
                    <a:lnTo>
                      <a:pt x="40" y="26"/>
                    </a:lnTo>
                    <a:lnTo>
                      <a:pt x="38" y="26"/>
                    </a:lnTo>
                    <a:lnTo>
                      <a:pt x="34" y="28"/>
                    </a:lnTo>
                    <a:lnTo>
                      <a:pt x="30" y="32"/>
                    </a:lnTo>
                    <a:lnTo>
                      <a:pt x="28" y="34"/>
                    </a:lnTo>
                    <a:lnTo>
                      <a:pt x="16" y="38"/>
                    </a:lnTo>
                    <a:lnTo>
                      <a:pt x="10" y="42"/>
                    </a:lnTo>
                    <a:lnTo>
                      <a:pt x="4" y="54"/>
                    </a:lnTo>
                    <a:lnTo>
                      <a:pt x="2" y="56"/>
                    </a:lnTo>
                    <a:lnTo>
                      <a:pt x="0" y="60"/>
                    </a:lnTo>
                    <a:lnTo>
                      <a:pt x="2" y="60"/>
                    </a:lnTo>
                    <a:lnTo>
                      <a:pt x="4" y="60"/>
                    </a:lnTo>
                    <a:lnTo>
                      <a:pt x="6" y="66"/>
                    </a:lnTo>
                    <a:lnTo>
                      <a:pt x="2" y="68"/>
                    </a:lnTo>
                    <a:lnTo>
                      <a:pt x="0" y="72"/>
                    </a:lnTo>
                    <a:lnTo>
                      <a:pt x="2" y="78"/>
                    </a:lnTo>
                    <a:lnTo>
                      <a:pt x="4" y="80"/>
                    </a:lnTo>
                    <a:lnTo>
                      <a:pt x="8" y="82"/>
                    </a:lnTo>
                    <a:lnTo>
                      <a:pt x="8" y="88"/>
                    </a:lnTo>
                    <a:lnTo>
                      <a:pt x="6" y="92"/>
                    </a:lnTo>
                    <a:lnTo>
                      <a:pt x="2" y="94"/>
                    </a:lnTo>
                    <a:lnTo>
                      <a:pt x="4" y="98"/>
                    </a:lnTo>
                    <a:lnTo>
                      <a:pt x="6" y="98"/>
                    </a:lnTo>
                    <a:lnTo>
                      <a:pt x="12" y="98"/>
                    </a:lnTo>
                    <a:lnTo>
                      <a:pt x="12" y="102"/>
                    </a:lnTo>
                    <a:lnTo>
                      <a:pt x="10" y="108"/>
                    </a:lnTo>
                    <a:lnTo>
                      <a:pt x="10" y="112"/>
                    </a:lnTo>
                    <a:lnTo>
                      <a:pt x="14" y="114"/>
                    </a:lnTo>
                    <a:lnTo>
                      <a:pt x="20" y="118"/>
                    </a:lnTo>
                    <a:lnTo>
                      <a:pt x="20" y="120"/>
                    </a:lnTo>
                    <a:lnTo>
                      <a:pt x="18" y="124"/>
                    </a:lnTo>
                    <a:lnTo>
                      <a:pt x="16" y="128"/>
                    </a:lnTo>
                    <a:lnTo>
                      <a:pt x="18" y="130"/>
                    </a:lnTo>
                    <a:lnTo>
                      <a:pt x="22" y="134"/>
                    </a:lnTo>
                    <a:lnTo>
                      <a:pt x="28" y="138"/>
                    </a:lnTo>
                    <a:lnTo>
                      <a:pt x="40" y="146"/>
                    </a:lnTo>
                    <a:lnTo>
                      <a:pt x="44" y="138"/>
                    </a:lnTo>
                    <a:lnTo>
                      <a:pt x="50" y="124"/>
                    </a:lnTo>
                    <a:lnTo>
                      <a:pt x="52" y="120"/>
                    </a:lnTo>
                    <a:lnTo>
                      <a:pt x="54" y="114"/>
                    </a:lnTo>
                    <a:lnTo>
                      <a:pt x="54" y="98"/>
                    </a:lnTo>
                    <a:lnTo>
                      <a:pt x="56" y="94"/>
                    </a:lnTo>
                    <a:lnTo>
                      <a:pt x="64" y="80"/>
                    </a:lnTo>
                    <a:lnTo>
                      <a:pt x="64" y="78"/>
                    </a:lnTo>
                    <a:lnTo>
                      <a:pt x="62" y="42"/>
                    </a:lnTo>
                    <a:lnTo>
                      <a:pt x="62" y="40"/>
                    </a:lnTo>
                    <a:lnTo>
                      <a:pt x="60" y="36"/>
                    </a:lnTo>
                    <a:lnTo>
                      <a:pt x="58" y="32"/>
                    </a:lnTo>
                    <a:lnTo>
                      <a:pt x="60" y="2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517" name="Google Shape;4984;p64">
              <a:extLst>
                <a:ext uri="{FF2B5EF4-FFF2-40B4-BE49-F238E27FC236}">
                  <a16:creationId xmlns:a16="http://schemas.microsoft.com/office/drawing/2014/main" id="{9C7B189B-FFC6-0BFE-9A80-F3D76F9C464E}"/>
                </a:ext>
              </a:extLst>
            </p:cNvPr>
            <p:cNvSpPr/>
            <p:nvPr/>
          </p:nvSpPr>
          <p:spPr>
            <a:xfrm>
              <a:off x="7185338" y="3886842"/>
              <a:ext cx="541460" cy="564430"/>
            </a:xfrm>
            <a:custGeom>
              <a:avLst/>
              <a:gdLst/>
              <a:ahLst/>
              <a:cxnLst/>
              <a:rect l="l" t="t" r="r" b="b"/>
              <a:pathLst>
                <a:path w="3931228" h="4098010" extrusionOk="0">
                  <a:moveTo>
                    <a:pt x="14296" y="4074184"/>
                  </a:moveTo>
                  <a:lnTo>
                    <a:pt x="38120" y="4083714"/>
                  </a:lnTo>
                  <a:lnTo>
                    <a:pt x="38120" y="4088480"/>
                  </a:lnTo>
                  <a:lnTo>
                    <a:pt x="33356" y="4093244"/>
                  </a:lnTo>
                  <a:lnTo>
                    <a:pt x="23824" y="4098010"/>
                  </a:lnTo>
                  <a:lnTo>
                    <a:pt x="9528" y="4093244"/>
                  </a:lnTo>
                  <a:lnTo>
                    <a:pt x="0" y="4093244"/>
                  </a:lnTo>
                  <a:lnTo>
                    <a:pt x="0" y="4088480"/>
                  </a:lnTo>
                  <a:lnTo>
                    <a:pt x="9528" y="4083714"/>
                  </a:lnTo>
                  <a:close/>
                  <a:moveTo>
                    <a:pt x="95300" y="4040828"/>
                  </a:moveTo>
                  <a:lnTo>
                    <a:pt x="100068" y="4045594"/>
                  </a:lnTo>
                  <a:lnTo>
                    <a:pt x="95300" y="4055124"/>
                  </a:lnTo>
                  <a:lnTo>
                    <a:pt x="85772" y="4083714"/>
                  </a:lnTo>
                  <a:lnTo>
                    <a:pt x="81008" y="4083714"/>
                  </a:lnTo>
                  <a:lnTo>
                    <a:pt x="71476" y="4083714"/>
                  </a:lnTo>
                  <a:lnTo>
                    <a:pt x="61948" y="4069418"/>
                  </a:lnTo>
                  <a:lnTo>
                    <a:pt x="71476" y="4064654"/>
                  </a:lnTo>
                  <a:lnTo>
                    <a:pt x="76240" y="4064654"/>
                  </a:lnTo>
                  <a:lnTo>
                    <a:pt x="85772" y="4064654"/>
                  </a:lnTo>
                  <a:close/>
                  <a:moveTo>
                    <a:pt x="252552" y="3993176"/>
                  </a:moveTo>
                  <a:lnTo>
                    <a:pt x="257316" y="3997942"/>
                  </a:lnTo>
                  <a:lnTo>
                    <a:pt x="257316" y="4007472"/>
                  </a:lnTo>
                  <a:lnTo>
                    <a:pt x="271612" y="4007472"/>
                  </a:lnTo>
                  <a:lnTo>
                    <a:pt x="276376" y="4017002"/>
                  </a:lnTo>
                  <a:lnTo>
                    <a:pt x="262080" y="4021768"/>
                  </a:lnTo>
                  <a:lnTo>
                    <a:pt x="247788" y="4017002"/>
                  </a:lnTo>
                  <a:close/>
                  <a:moveTo>
                    <a:pt x="714768" y="3645322"/>
                  </a:moveTo>
                  <a:lnTo>
                    <a:pt x="729064" y="3654852"/>
                  </a:lnTo>
                  <a:lnTo>
                    <a:pt x="724300" y="3673912"/>
                  </a:lnTo>
                  <a:lnTo>
                    <a:pt x="714768" y="3683444"/>
                  </a:lnTo>
                  <a:lnTo>
                    <a:pt x="700472" y="3692974"/>
                  </a:lnTo>
                  <a:lnTo>
                    <a:pt x="695708" y="3702504"/>
                  </a:lnTo>
                  <a:lnTo>
                    <a:pt x="681412" y="3707268"/>
                  </a:lnTo>
                  <a:lnTo>
                    <a:pt x="667116" y="3716800"/>
                  </a:lnTo>
                  <a:lnTo>
                    <a:pt x="652820" y="3721564"/>
                  </a:lnTo>
                  <a:lnTo>
                    <a:pt x="652820" y="3731094"/>
                  </a:lnTo>
                  <a:lnTo>
                    <a:pt x="662352" y="3740624"/>
                  </a:lnTo>
                  <a:lnTo>
                    <a:pt x="652820" y="3745390"/>
                  </a:lnTo>
                  <a:lnTo>
                    <a:pt x="643292" y="3754920"/>
                  </a:lnTo>
                  <a:lnTo>
                    <a:pt x="643292" y="3764450"/>
                  </a:lnTo>
                  <a:lnTo>
                    <a:pt x="643292" y="3769216"/>
                  </a:lnTo>
                  <a:lnTo>
                    <a:pt x="643292" y="3773980"/>
                  </a:lnTo>
                  <a:lnTo>
                    <a:pt x="633760" y="3783512"/>
                  </a:lnTo>
                  <a:lnTo>
                    <a:pt x="619468" y="3783512"/>
                  </a:lnTo>
                  <a:lnTo>
                    <a:pt x="619468" y="3773980"/>
                  </a:lnTo>
                  <a:lnTo>
                    <a:pt x="619468" y="3764450"/>
                  </a:lnTo>
                  <a:lnTo>
                    <a:pt x="633760" y="3745390"/>
                  </a:lnTo>
                  <a:lnTo>
                    <a:pt x="633760" y="3721564"/>
                  </a:lnTo>
                  <a:lnTo>
                    <a:pt x="643292" y="3721564"/>
                  </a:lnTo>
                  <a:lnTo>
                    <a:pt x="648056" y="3716800"/>
                  </a:lnTo>
                  <a:lnTo>
                    <a:pt x="662352" y="3702504"/>
                  </a:lnTo>
                  <a:lnTo>
                    <a:pt x="667116" y="3692974"/>
                  </a:lnTo>
                  <a:lnTo>
                    <a:pt x="657588" y="3688208"/>
                  </a:lnTo>
                  <a:lnTo>
                    <a:pt x="657588" y="3678678"/>
                  </a:lnTo>
                  <a:lnTo>
                    <a:pt x="662352" y="3678678"/>
                  </a:lnTo>
                  <a:lnTo>
                    <a:pt x="676648" y="3678678"/>
                  </a:lnTo>
                  <a:lnTo>
                    <a:pt x="681412" y="3688208"/>
                  </a:lnTo>
                  <a:lnTo>
                    <a:pt x="690944" y="3683444"/>
                  </a:lnTo>
                  <a:lnTo>
                    <a:pt x="695708" y="3673912"/>
                  </a:lnTo>
                  <a:lnTo>
                    <a:pt x="710004" y="3659618"/>
                  </a:lnTo>
                  <a:close/>
                  <a:moveTo>
                    <a:pt x="814836" y="3464248"/>
                  </a:moveTo>
                  <a:lnTo>
                    <a:pt x="824368" y="3464248"/>
                  </a:lnTo>
                  <a:lnTo>
                    <a:pt x="829132" y="3483308"/>
                  </a:lnTo>
                  <a:lnTo>
                    <a:pt x="833896" y="3488072"/>
                  </a:lnTo>
                  <a:lnTo>
                    <a:pt x="829132" y="3497602"/>
                  </a:lnTo>
                  <a:lnTo>
                    <a:pt x="824368" y="3502368"/>
                  </a:lnTo>
                  <a:lnTo>
                    <a:pt x="814836" y="3497602"/>
                  </a:lnTo>
                  <a:lnTo>
                    <a:pt x="814836" y="3473778"/>
                  </a:lnTo>
                  <a:close/>
                  <a:moveTo>
                    <a:pt x="862488" y="3411832"/>
                  </a:moveTo>
                  <a:lnTo>
                    <a:pt x="872016" y="3416596"/>
                  </a:lnTo>
                  <a:lnTo>
                    <a:pt x="876784" y="3421362"/>
                  </a:lnTo>
                  <a:lnTo>
                    <a:pt x="881548" y="3430892"/>
                  </a:lnTo>
                  <a:lnTo>
                    <a:pt x="881548" y="3435656"/>
                  </a:lnTo>
                  <a:lnTo>
                    <a:pt x="867252" y="3430892"/>
                  </a:lnTo>
                  <a:close/>
                  <a:moveTo>
                    <a:pt x="938728" y="3354648"/>
                  </a:moveTo>
                  <a:lnTo>
                    <a:pt x="943492" y="3364180"/>
                  </a:lnTo>
                  <a:lnTo>
                    <a:pt x="943492" y="3373710"/>
                  </a:lnTo>
                  <a:lnTo>
                    <a:pt x="933964" y="3373710"/>
                  </a:lnTo>
                  <a:lnTo>
                    <a:pt x="919668" y="3383240"/>
                  </a:lnTo>
                  <a:lnTo>
                    <a:pt x="910140" y="3392770"/>
                  </a:lnTo>
                  <a:lnTo>
                    <a:pt x="900608" y="3397536"/>
                  </a:lnTo>
                  <a:lnTo>
                    <a:pt x="900608" y="3402300"/>
                  </a:lnTo>
                  <a:lnTo>
                    <a:pt x="900608" y="3411830"/>
                  </a:lnTo>
                  <a:lnTo>
                    <a:pt x="891076" y="3426126"/>
                  </a:lnTo>
                  <a:lnTo>
                    <a:pt x="872016" y="3411830"/>
                  </a:lnTo>
                  <a:lnTo>
                    <a:pt x="857724" y="3402300"/>
                  </a:lnTo>
                  <a:lnTo>
                    <a:pt x="867252" y="3402300"/>
                  </a:lnTo>
                  <a:lnTo>
                    <a:pt x="872016" y="3397536"/>
                  </a:lnTo>
                  <a:lnTo>
                    <a:pt x="872016" y="3392770"/>
                  </a:lnTo>
                  <a:lnTo>
                    <a:pt x="881548" y="3383240"/>
                  </a:lnTo>
                  <a:lnTo>
                    <a:pt x="905372" y="3378474"/>
                  </a:lnTo>
                  <a:lnTo>
                    <a:pt x="910140" y="3378474"/>
                  </a:lnTo>
                  <a:lnTo>
                    <a:pt x="919668" y="3373710"/>
                  </a:lnTo>
                  <a:lnTo>
                    <a:pt x="919668" y="3364180"/>
                  </a:lnTo>
                  <a:lnTo>
                    <a:pt x="924432" y="3364180"/>
                  </a:lnTo>
                  <a:close/>
                  <a:moveTo>
                    <a:pt x="1067388" y="3006796"/>
                  </a:moveTo>
                  <a:lnTo>
                    <a:pt x="1086448" y="3021090"/>
                  </a:lnTo>
                  <a:lnTo>
                    <a:pt x="1091212" y="3025856"/>
                  </a:lnTo>
                  <a:lnTo>
                    <a:pt x="1086448" y="3044916"/>
                  </a:lnTo>
                  <a:lnTo>
                    <a:pt x="1067388" y="3044916"/>
                  </a:lnTo>
                  <a:lnTo>
                    <a:pt x="1057856" y="3044916"/>
                  </a:lnTo>
                  <a:lnTo>
                    <a:pt x="1048328" y="3021090"/>
                  </a:lnTo>
                  <a:close/>
                  <a:moveTo>
                    <a:pt x="1153160" y="2940084"/>
                  </a:moveTo>
                  <a:lnTo>
                    <a:pt x="1157924" y="2949614"/>
                  </a:lnTo>
                  <a:lnTo>
                    <a:pt x="1153160" y="2973438"/>
                  </a:lnTo>
                  <a:lnTo>
                    <a:pt x="1143628" y="2992500"/>
                  </a:lnTo>
                  <a:lnTo>
                    <a:pt x="1138864" y="3021090"/>
                  </a:lnTo>
                  <a:lnTo>
                    <a:pt x="1124568" y="3021090"/>
                  </a:lnTo>
                  <a:lnTo>
                    <a:pt x="1124568" y="3011560"/>
                  </a:lnTo>
                  <a:lnTo>
                    <a:pt x="1134100" y="2987734"/>
                  </a:lnTo>
                  <a:lnTo>
                    <a:pt x="1134100" y="2968674"/>
                  </a:lnTo>
                  <a:lnTo>
                    <a:pt x="1143628" y="2949614"/>
                  </a:lnTo>
                  <a:lnTo>
                    <a:pt x="1148396" y="2944848"/>
                  </a:lnTo>
                  <a:close/>
                  <a:moveTo>
                    <a:pt x="953024" y="2763774"/>
                  </a:moveTo>
                  <a:lnTo>
                    <a:pt x="953024" y="2773304"/>
                  </a:lnTo>
                  <a:lnTo>
                    <a:pt x="943492" y="2787600"/>
                  </a:lnTo>
                  <a:lnTo>
                    <a:pt x="938728" y="2792364"/>
                  </a:lnTo>
                  <a:lnTo>
                    <a:pt x="943492" y="2778070"/>
                  </a:lnTo>
                  <a:close/>
                  <a:moveTo>
                    <a:pt x="1043564" y="2630350"/>
                  </a:moveTo>
                  <a:lnTo>
                    <a:pt x="1057860" y="2630350"/>
                  </a:lnTo>
                  <a:lnTo>
                    <a:pt x="1053092" y="2639880"/>
                  </a:lnTo>
                  <a:lnTo>
                    <a:pt x="1048328" y="2649412"/>
                  </a:lnTo>
                  <a:lnTo>
                    <a:pt x="1034032" y="2649412"/>
                  </a:lnTo>
                  <a:lnTo>
                    <a:pt x="1029268" y="2644646"/>
                  </a:lnTo>
                  <a:lnTo>
                    <a:pt x="1024500" y="2639880"/>
                  </a:lnTo>
                  <a:close/>
                  <a:moveTo>
                    <a:pt x="1014972" y="2625584"/>
                  </a:moveTo>
                  <a:lnTo>
                    <a:pt x="1019736" y="2635116"/>
                  </a:lnTo>
                  <a:lnTo>
                    <a:pt x="1019736" y="2663706"/>
                  </a:lnTo>
                  <a:lnTo>
                    <a:pt x="1000676" y="2682766"/>
                  </a:lnTo>
                  <a:lnTo>
                    <a:pt x="986380" y="2692296"/>
                  </a:lnTo>
                  <a:lnTo>
                    <a:pt x="986380" y="2682766"/>
                  </a:lnTo>
                  <a:lnTo>
                    <a:pt x="981616" y="2682766"/>
                  </a:lnTo>
                  <a:lnTo>
                    <a:pt x="991144" y="2673236"/>
                  </a:lnTo>
                  <a:lnTo>
                    <a:pt x="991144" y="2668472"/>
                  </a:lnTo>
                  <a:lnTo>
                    <a:pt x="986380" y="2663706"/>
                  </a:lnTo>
                  <a:lnTo>
                    <a:pt x="991144" y="2639880"/>
                  </a:lnTo>
                  <a:lnTo>
                    <a:pt x="991144" y="2630350"/>
                  </a:lnTo>
                  <a:close/>
                  <a:moveTo>
                    <a:pt x="776716" y="2582700"/>
                  </a:moveTo>
                  <a:lnTo>
                    <a:pt x="786244" y="2587464"/>
                  </a:lnTo>
                  <a:lnTo>
                    <a:pt x="795776" y="2582700"/>
                  </a:lnTo>
                  <a:lnTo>
                    <a:pt x="800540" y="2582700"/>
                  </a:lnTo>
                  <a:lnTo>
                    <a:pt x="805304" y="2587464"/>
                  </a:lnTo>
                  <a:lnTo>
                    <a:pt x="814836" y="2596994"/>
                  </a:lnTo>
                  <a:lnTo>
                    <a:pt x="814836" y="2606524"/>
                  </a:lnTo>
                  <a:lnTo>
                    <a:pt x="805304" y="2606524"/>
                  </a:lnTo>
                  <a:lnTo>
                    <a:pt x="800540" y="2606524"/>
                  </a:lnTo>
                  <a:lnTo>
                    <a:pt x="791012" y="2616056"/>
                  </a:lnTo>
                  <a:lnTo>
                    <a:pt x="781480" y="2616056"/>
                  </a:lnTo>
                  <a:lnTo>
                    <a:pt x="776716" y="2611290"/>
                  </a:lnTo>
                  <a:lnTo>
                    <a:pt x="776716" y="2601760"/>
                  </a:lnTo>
                  <a:close/>
                  <a:moveTo>
                    <a:pt x="2515988" y="2515988"/>
                  </a:moveTo>
                  <a:lnTo>
                    <a:pt x="2520752" y="2515988"/>
                  </a:lnTo>
                  <a:lnTo>
                    <a:pt x="2530284" y="2525518"/>
                  </a:lnTo>
                  <a:lnTo>
                    <a:pt x="2525516" y="2530282"/>
                  </a:lnTo>
                  <a:lnTo>
                    <a:pt x="2520752" y="2535048"/>
                  </a:lnTo>
                  <a:lnTo>
                    <a:pt x="2515988" y="2525518"/>
                  </a:lnTo>
                  <a:lnTo>
                    <a:pt x="2511220" y="2520752"/>
                  </a:lnTo>
                  <a:close/>
                  <a:moveTo>
                    <a:pt x="848192" y="2515988"/>
                  </a:moveTo>
                  <a:lnTo>
                    <a:pt x="852956" y="2530282"/>
                  </a:lnTo>
                  <a:lnTo>
                    <a:pt x="852956" y="2539812"/>
                  </a:lnTo>
                  <a:lnTo>
                    <a:pt x="857724" y="2539812"/>
                  </a:lnTo>
                  <a:lnTo>
                    <a:pt x="852956" y="2549344"/>
                  </a:lnTo>
                  <a:lnTo>
                    <a:pt x="848192" y="2554108"/>
                  </a:lnTo>
                  <a:lnTo>
                    <a:pt x="843428" y="2573168"/>
                  </a:lnTo>
                  <a:lnTo>
                    <a:pt x="838660" y="2573168"/>
                  </a:lnTo>
                  <a:lnTo>
                    <a:pt x="833896" y="2554108"/>
                  </a:lnTo>
                  <a:lnTo>
                    <a:pt x="829132" y="2549344"/>
                  </a:lnTo>
                  <a:lnTo>
                    <a:pt x="838660" y="2549344"/>
                  </a:lnTo>
                  <a:close/>
                  <a:moveTo>
                    <a:pt x="914904" y="2473100"/>
                  </a:moveTo>
                  <a:lnTo>
                    <a:pt x="919668" y="2473100"/>
                  </a:lnTo>
                  <a:lnTo>
                    <a:pt x="910140" y="2487396"/>
                  </a:lnTo>
                  <a:lnTo>
                    <a:pt x="910140" y="2501692"/>
                  </a:lnTo>
                  <a:lnTo>
                    <a:pt x="895844" y="2506456"/>
                  </a:lnTo>
                  <a:lnTo>
                    <a:pt x="891076" y="2506456"/>
                  </a:lnTo>
                  <a:lnTo>
                    <a:pt x="895844" y="2496926"/>
                  </a:lnTo>
                  <a:lnTo>
                    <a:pt x="895844" y="2492162"/>
                  </a:lnTo>
                  <a:lnTo>
                    <a:pt x="905372" y="2477866"/>
                  </a:lnTo>
                  <a:close/>
                  <a:moveTo>
                    <a:pt x="943496" y="2382564"/>
                  </a:moveTo>
                  <a:lnTo>
                    <a:pt x="953024" y="2387330"/>
                  </a:lnTo>
                  <a:lnTo>
                    <a:pt x="957788" y="2401624"/>
                  </a:lnTo>
                  <a:lnTo>
                    <a:pt x="943496" y="2406390"/>
                  </a:lnTo>
                  <a:lnTo>
                    <a:pt x="938728" y="2401624"/>
                  </a:lnTo>
                  <a:lnTo>
                    <a:pt x="938728" y="2387330"/>
                  </a:lnTo>
                  <a:close/>
                  <a:moveTo>
                    <a:pt x="1091212" y="2368268"/>
                  </a:moveTo>
                  <a:lnTo>
                    <a:pt x="1100744" y="2368268"/>
                  </a:lnTo>
                  <a:lnTo>
                    <a:pt x="1119804" y="2368268"/>
                  </a:lnTo>
                  <a:lnTo>
                    <a:pt x="1134100" y="2377798"/>
                  </a:lnTo>
                  <a:lnTo>
                    <a:pt x="1143628" y="2396858"/>
                  </a:lnTo>
                  <a:lnTo>
                    <a:pt x="1153160" y="2415920"/>
                  </a:lnTo>
                  <a:lnTo>
                    <a:pt x="1172220" y="2430214"/>
                  </a:lnTo>
                  <a:lnTo>
                    <a:pt x="1191280" y="2434980"/>
                  </a:lnTo>
                  <a:lnTo>
                    <a:pt x="1200812" y="2434980"/>
                  </a:lnTo>
                  <a:lnTo>
                    <a:pt x="1210340" y="2430214"/>
                  </a:lnTo>
                  <a:lnTo>
                    <a:pt x="1219872" y="2425450"/>
                  </a:lnTo>
                  <a:lnTo>
                    <a:pt x="1234168" y="2420684"/>
                  </a:lnTo>
                  <a:lnTo>
                    <a:pt x="1243696" y="2420684"/>
                  </a:lnTo>
                  <a:lnTo>
                    <a:pt x="1253228" y="2430214"/>
                  </a:lnTo>
                  <a:lnTo>
                    <a:pt x="1257992" y="2439744"/>
                  </a:lnTo>
                  <a:lnTo>
                    <a:pt x="1253228" y="2449276"/>
                  </a:lnTo>
                  <a:lnTo>
                    <a:pt x="1238932" y="2468336"/>
                  </a:lnTo>
                  <a:lnTo>
                    <a:pt x="1229404" y="2492162"/>
                  </a:lnTo>
                  <a:lnTo>
                    <a:pt x="1257992" y="2492162"/>
                  </a:lnTo>
                  <a:lnTo>
                    <a:pt x="1281820" y="2492162"/>
                  </a:lnTo>
                  <a:lnTo>
                    <a:pt x="1277052" y="2506456"/>
                  </a:lnTo>
                  <a:lnTo>
                    <a:pt x="1277052" y="2520752"/>
                  </a:lnTo>
                  <a:lnTo>
                    <a:pt x="1286584" y="2525518"/>
                  </a:lnTo>
                  <a:lnTo>
                    <a:pt x="1291348" y="2530282"/>
                  </a:lnTo>
                  <a:lnTo>
                    <a:pt x="1291348" y="2539812"/>
                  </a:lnTo>
                  <a:lnTo>
                    <a:pt x="1286584" y="2544578"/>
                  </a:lnTo>
                  <a:lnTo>
                    <a:pt x="1300880" y="2554108"/>
                  </a:lnTo>
                  <a:lnTo>
                    <a:pt x="1300880" y="2563638"/>
                  </a:lnTo>
                  <a:lnTo>
                    <a:pt x="1296112" y="2568404"/>
                  </a:lnTo>
                  <a:lnTo>
                    <a:pt x="1257992" y="2616054"/>
                  </a:lnTo>
                  <a:lnTo>
                    <a:pt x="1248464" y="2639880"/>
                  </a:lnTo>
                  <a:lnTo>
                    <a:pt x="1238932" y="2668470"/>
                  </a:lnTo>
                  <a:lnTo>
                    <a:pt x="1229404" y="2687532"/>
                  </a:lnTo>
                  <a:lnTo>
                    <a:pt x="1224636" y="2706592"/>
                  </a:lnTo>
                  <a:lnTo>
                    <a:pt x="1224636" y="2725652"/>
                  </a:lnTo>
                  <a:lnTo>
                    <a:pt x="1215108" y="2749478"/>
                  </a:lnTo>
                  <a:lnTo>
                    <a:pt x="1219872" y="2768538"/>
                  </a:lnTo>
                  <a:lnTo>
                    <a:pt x="1215108" y="2787598"/>
                  </a:lnTo>
                  <a:lnTo>
                    <a:pt x="1196048" y="2835250"/>
                  </a:lnTo>
                  <a:lnTo>
                    <a:pt x="1181752" y="2835250"/>
                  </a:lnTo>
                  <a:lnTo>
                    <a:pt x="1167456" y="2830486"/>
                  </a:lnTo>
                  <a:lnTo>
                    <a:pt x="1153160" y="2830486"/>
                  </a:lnTo>
                  <a:lnTo>
                    <a:pt x="1148396" y="2840016"/>
                  </a:lnTo>
                  <a:lnTo>
                    <a:pt x="1157924" y="2863840"/>
                  </a:lnTo>
                  <a:lnTo>
                    <a:pt x="1129336" y="2887666"/>
                  </a:lnTo>
                  <a:lnTo>
                    <a:pt x="1095980" y="2906728"/>
                  </a:lnTo>
                  <a:lnTo>
                    <a:pt x="1095980" y="2897196"/>
                  </a:lnTo>
                  <a:lnTo>
                    <a:pt x="1095980" y="2892432"/>
                  </a:lnTo>
                  <a:lnTo>
                    <a:pt x="1100744" y="2887666"/>
                  </a:lnTo>
                  <a:lnTo>
                    <a:pt x="1105508" y="2882902"/>
                  </a:lnTo>
                  <a:lnTo>
                    <a:pt x="1110272" y="2859076"/>
                  </a:lnTo>
                  <a:lnTo>
                    <a:pt x="1110272" y="2840016"/>
                  </a:lnTo>
                  <a:lnTo>
                    <a:pt x="1095980" y="2811424"/>
                  </a:lnTo>
                  <a:lnTo>
                    <a:pt x="1095980" y="2801894"/>
                  </a:lnTo>
                  <a:lnTo>
                    <a:pt x="1105508" y="2801894"/>
                  </a:lnTo>
                  <a:lnTo>
                    <a:pt x="1110272" y="2797130"/>
                  </a:lnTo>
                  <a:lnTo>
                    <a:pt x="1110272" y="2787598"/>
                  </a:lnTo>
                  <a:lnTo>
                    <a:pt x="1110272" y="2782834"/>
                  </a:lnTo>
                  <a:lnTo>
                    <a:pt x="1100744" y="2778068"/>
                  </a:lnTo>
                  <a:lnTo>
                    <a:pt x="1091212" y="2778068"/>
                  </a:lnTo>
                  <a:lnTo>
                    <a:pt x="1081684" y="2787598"/>
                  </a:lnTo>
                  <a:lnTo>
                    <a:pt x="1072152" y="2806660"/>
                  </a:lnTo>
                  <a:lnTo>
                    <a:pt x="1072152" y="2825720"/>
                  </a:lnTo>
                  <a:lnTo>
                    <a:pt x="1072152" y="2835250"/>
                  </a:lnTo>
                  <a:lnTo>
                    <a:pt x="1076920" y="2844780"/>
                  </a:lnTo>
                  <a:lnTo>
                    <a:pt x="1086448" y="2859076"/>
                  </a:lnTo>
                  <a:lnTo>
                    <a:pt x="1086448" y="2868606"/>
                  </a:lnTo>
                  <a:lnTo>
                    <a:pt x="1081684" y="2878136"/>
                  </a:lnTo>
                  <a:lnTo>
                    <a:pt x="1034032" y="2859076"/>
                  </a:lnTo>
                  <a:lnTo>
                    <a:pt x="1024500" y="2859076"/>
                  </a:lnTo>
                  <a:lnTo>
                    <a:pt x="1019736" y="2854310"/>
                  </a:lnTo>
                  <a:lnTo>
                    <a:pt x="1010208" y="2835250"/>
                  </a:lnTo>
                  <a:lnTo>
                    <a:pt x="1029268" y="2830486"/>
                  </a:lnTo>
                  <a:lnTo>
                    <a:pt x="1034032" y="2825720"/>
                  </a:lnTo>
                  <a:lnTo>
                    <a:pt x="1034032" y="2820954"/>
                  </a:lnTo>
                  <a:lnTo>
                    <a:pt x="1038796" y="2797130"/>
                  </a:lnTo>
                  <a:lnTo>
                    <a:pt x="1029268" y="2782834"/>
                  </a:lnTo>
                  <a:lnTo>
                    <a:pt x="1024500" y="2778068"/>
                  </a:lnTo>
                  <a:lnTo>
                    <a:pt x="1014972" y="2768538"/>
                  </a:lnTo>
                  <a:lnTo>
                    <a:pt x="1019736" y="2754244"/>
                  </a:lnTo>
                  <a:lnTo>
                    <a:pt x="1019736" y="2735182"/>
                  </a:lnTo>
                  <a:lnTo>
                    <a:pt x="1019736" y="2711356"/>
                  </a:lnTo>
                  <a:lnTo>
                    <a:pt x="1019736" y="2706592"/>
                  </a:lnTo>
                  <a:lnTo>
                    <a:pt x="1038796" y="2701826"/>
                  </a:lnTo>
                  <a:lnTo>
                    <a:pt x="1048328" y="2687532"/>
                  </a:lnTo>
                  <a:lnTo>
                    <a:pt x="1057856" y="2668470"/>
                  </a:lnTo>
                  <a:lnTo>
                    <a:pt x="1076920" y="2639880"/>
                  </a:lnTo>
                  <a:lnTo>
                    <a:pt x="1086448" y="2611290"/>
                  </a:lnTo>
                  <a:lnTo>
                    <a:pt x="1076920" y="2611290"/>
                  </a:lnTo>
                  <a:lnTo>
                    <a:pt x="1067388" y="2606524"/>
                  </a:lnTo>
                  <a:lnTo>
                    <a:pt x="1076920" y="2592228"/>
                  </a:lnTo>
                  <a:lnTo>
                    <a:pt x="1072152" y="2573168"/>
                  </a:lnTo>
                  <a:lnTo>
                    <a:pt x="1057856" y="2549342"/>
                  </a:lnTo>
                  <a:lnTo>
                    <a:pt x="1048328" y="2525518"/>
                  </a:lnTo>
                  <a:lnTo>
                    <a:pt x="1034032" y="2511222"/>
                  </a:lnTo>
                  <a:lnTo>
                    <a:pt x="1024500" y="2506456"/>
                  </a:lnTo>
                  <a:lnTo>
                    <a:pt x="1014972" y="2515986"/>
                  </a:lnTo>
                  <a:lnTo>
                    <a:pt x="1005440" y="2520752"/>
                  </a:lnTo>
                  <a:lnTo>
                    <a:pt x="1014972" y="2539812"/>
                  </a:lnTo>
                  <a:lnTo>
                    <a:pt x="1014972" y="2554108"/>
                  </a:lnTo>
                  <a:lnTo>
                    <a:pt x="1014972" y="2568404"/>
                  </a:lnTo>
                  <a:lnTo>
                    <a:pt x="1024500" y="2568404"/>
                  </a:lnTo>
                  <a:lnTo>
                    <a:pt x="1029268" y="2563638"/>
                  </a:lnTo>
                  <a:lnTo>
                    <a:pt x="1038796" y="2568404"/>
                  </a:lnTo>
                  <a:lnTo>
                    <a:pt x="1043564" y="2577934"/>
                  </a:lnTo>
                  <a:lnTo>
                    <a:pt x="1043564" y="2587464"/>
                  </a:lnTo>
                  <a:lnTo>
                    <a:pt x="1038796" y="2596994"/>
                  </a:lnTo>
                  <a:lnTo>
                    <a:pt x="1034032" y="2601760"/>
                  </a:lnTo>
                  <a:lnTo>
                    <a:pt x="1024500" y="2601760"/>
                  </a:lnTo>
                  <a:lnTo>
                    <a:pt x="1019736" y="2596994"/>
                  </a:lnTo>
                  <a:lnTo>
                    <a:pt x="1010208" y="2587464"/>
                  </a:lnTo>
                  <a:lnTo>
                    <a:pt x="995912" y="2582698"/>
                  </a:lnTo>
                  <a:lnTo>
                    <a:pt x="981616" y="2592228"/>
                  </a:lnTo>
                  <a:lnTo>
                    <a:pt x="962556" y="2611290"/>
                  </a:lnTo>
                  <a:lnTo>
                    <a:pt x="953024" y="2620820"/>
                  </a:lnTo>
                  <a:lnTo>
                    <a:pt x="957788" y="2606524"/>
                  </a:lnTo>
                  <a:lnTo>
                    <a:pt x="962556" y="2592228"/>
                  </a:lnTo>
                  <a:lnTo>
                    <a:pt x="953024" y="2582698"/>
                  </a:lnTo>
                  <a:lnTo>
                    <a:pt x="938728" y="2563638"/>
                  </a:lnTo>
                  <a:lnTo>
                    <a:pt x="933964" y="2554108"/>
                  </a:lnTo>
                  <a:lnTo>
                    <a:pt x="933964" y="2539812"/>
                  </a:lnTo>
                  <a:lnTo>
                    <a:pt x="938728" y="2530282"/>
                  </a:lnTo>
                  <a:lnTo>
                    <a:pt x="953024" y="2544578"/>
                  </a:lnTo>
                  <a:lnTo>
                    <a:pt x="962556" y="2558872"/>
                  </a:lnTo>
                  <a:lnTo>
                    <a:pt x="972084" y="2568404"/>
                  </a:lnTo>
                  <a:lnTo>
                    <a:pt x="986380" y="2568404"/>
                  </a:lnTo>
                  <a:lnTo>
                    <a:pt x="976852" y="2544578"/>
                  </a:lnTo>
                  <a:lnTo>
                    <a:pt x="972084" y="2535048"/>
                  </a:lnTo>
                  <a:lnTo>
                    <a:pt x="957788" y="2525518"/>
                  </a:lnTo>
                  <a:lnTo>
                    <a:pt x="933964" y="2506456"/>
                  </a:lnTo>
                  <a:lnTo>
                    <a:pt x="924436" y="2496926"/>
                  </a:lnTo>
                  <a:lnTo>
                    <a:pt x="929200" y="2477866"/>
                  </a:lnTo>
                  <a:lnTo>
                    <a:pt x="933964" y="2473100"/>
                  </a:lnTo>
                  <a:lnTo>
                    <a:pt x="938728" y="2473100"/>
                  </a:lnTo>
                  <a:lnTo>
                    <a:pt x="962556" y="2482630"/>
                  </a:lnTo>
                  <a:lnTo>
                    <a:pt x="967320" y="2473100"/>
                  </a:lnTo>
                  <a:lnTo>
                    <a:pt x="962556" y="2468336"/>
                  </a:lnTo>
                  <a:lnTo>
                    <a:pt x="962556" y="2458806"/>
                  </a:lnTo>
                  <a:lnTo>
                    <a:pt x="976852" y="2449276"/>
                  </a:lnTo>
                  <a:lnTo>
                    <a:pt x="1000676" y="2444510"/>
                  </a:lnTo>
                  <a:lnTo>
                    <a:pt x="1005440" y="2439744"/>
                  </a:lnTo>
                  <a:lnTo>
                    <a:pt x="1010208" y="2434980"/>
                  </a:lnTo>
                  <a:lnTo>
                    <a:pt x="1014972" y="2430214"/>
                  </a:lnTo>
                  <a:lnTo>
                    <a:pt x="1029268" y="2430214"/>
                  </a:lnTo>
                  <a:lnTo>
                    <a:pt x="1043564" y="2420684"/>
                  </a:lnTo>
                  <a:lnTo>
                    <a:pt x="1057856" y="2401624"/>
                  </a:lnTo>
                  <a:lnTo>
                    <a:pt x="1057856" y="2392094"/>
                  </a:lnTo>
                  <a:lnTo>
                    <a:pt x="1062624" y="2382564"/>
                  </a:lnTo>
                  <a:close/>
                  <a:moveTo>
                    <a:pt x="1334236" y="2363504"/>
                  </a:moveTo>
                  <a:lnTo>
                    <a:pt x="1343764" y="2363504"/>
                  </a:lnTo>
                  <a:lnTo>
                    <a:pt x="1348532" y="2368268"/>
                  </a:lnTo>
                  <a:lnTo>
                    <a:pt x="1367592" y="2368268"/>
                  </a:lnTo>
                  <a:lnTo>
                    <a:pt x="1362824" y="2377798"/>
                  </a:lnTo>
                  <a:lnTo>
                    <a:pt x="1358060" y="2382564"/>
                  </a:lnTo>
                  <a:lnTo>
                    <a:pt x="1343764" y="2377798"/>
                  </a:lnTo>
                  <a:lnTo>
                    <a:pt x="1334236" y="2377798"/>
                  </a:lnTo>
                  <a:lnTo>
                    <a:pt x="1329468" y="2368268"/>
                  </a:lnTo>
                  <a:close/>
                  <a:moveTo>
                    <a:pt x="867252" y="2292026"/>
                  </a:moveTo>
                  <a:lnTo>
                    <a:pt x="886312" y="2301556"/>
                  </a:lnTo>
                  <a:lnTo>
                    <a:pt x="886312" y="2311086"/>
                  </a:lnTo>
                  <a:lnTo>
                    <a:pt x="876784" y="2330146"/>
                  </a:lnTo>
                  <a:lnTo>
                    <a:pt x="867252" y="2339676"/>
                  </a:lnTo>
                  <a:lnTo>
                    <a:pt x="862488" y="2325382"/>
                  </a:lnTo>
                  <a:close/>
                  <a:moveTo>
                    <a:pt x="1605848" y="2287260"/>
                  </a:moveTo>
                  <a:lnTo>
                    <a:pt x="1624908" y="2287260"/>
                  </a:lnTo>
                  <a:lnTo>
                    <a:pt x="1648732" y="2292026"/>
                  </a:lnTo>
                  <a:lnTo>
                    <a:pt x="1667792" y="2306322"/>
                  </a:lnTo>
                  <a:lnTo>
                    <a:pt x="1691620" y="2315852"/>
                  </a:lnTo>
                  <a:lnTo>
                    <a:pt x="1710680" y="2311086"/>
                  </a:lnTo>
                  <a:lnTo>
                    <a:pt x="1710680" y="2344442"/>
                  </a:lnTo>
                  <a:lnTo>
                    <a:pt x="1715444" y="2358738"/>
                  </a:lnTo>
                  <a:lnTo>
                    <a:pt x="1720208" y="2368268"/>
                  </a:lnTo>
                  <a:lnTo>
                    <a:pt x="1715444" y="2382564"/>
                  </a:lnTo>
                  <a:lnTo>
                    <a:pt x="1729740" y="2387328"/>
                  </a:lnTo>
                  <a:lnTo>
                    <a:pt x="1696384" y="2406390"/>
                  </a:lnTo>
                  <a:lnTo>
                    <a:pt x="1672560" y="2425450"/>
                  </a:lnTo>
                  <a:lnTo>
                    <a:pt x="1658264" y="2444510"/>
                  </a:lnTo>
                  <a:lnTo>
                    <a:pt x="1648732" y="2458806"/>
                  </a:lnTo>
                  <a:lnTo>
                    <a:pt x="1643968" y="2477866"/>
                  </a:lnTo>
                  <a:lnTo>
                    <a:pt x="1639204" y="2496926"/>
                  </a:lnTo>
                  <a:lnTo>
                    <a:pt x="1629672" y="2487396"/>
                  </a:lnTo>
                  <a:lnTo>
                    <a:pt x="1605848" y="2458806"/>
                  </a:lnTo>
                  <a:lnTo>
                    <a:pt x="1591552" y="2449276"/>
                  </a:lnTo>
                  <a:lnTo>
                    <a:pt x="1562960" y="2444510"/>
                  </a:lnTo>
                  <a:lnTo>
                    <a:pt x="1553432" y="2444510"/>
                  </a:lnTo>
                  <a:lnTo>
                    <a:pt x="1501016" y="2473100"/>
                  </a:lnTo>
                  <a:lnTo>
                    <a:pt x="1491484" y="2496926"/>
                  </a:lnTo>
                  <a:lnTo>
                    <a:pt x="1477188" y="2525518"/>
                  </a:lnTo>
                  <a:lnTo>
                    <a:pt x="1472424" y="2535048"/>
                  </a:lnTo>
                  <a:lnTo>
                    <a:pt x="1462892" y="2539812"/>
                  </a:lnTo>
                  <a:lnTo>
                    <a:pt x="1458128" y="2544578"/>
                  </a:lnTo>
                  <a:lnTo>
                    <a:pt x="1453364" y="2568404"/>
                  </a:lnTo>
                  <a:lnTo>
                    <a:pt x="1434304" y="2587464"/>
                  </a:lnTo>
                  <a:lnTo>
                    <a:pt x="1424772" y="2587464"/>
                  </a:lnTo>
                  <a:lnTo>
                    <a:pt x="1405712" y="2582698"/>
                  </a:lnTo>
                  <a:lnTo>
                    <a:pt x="1400948" y="2587464"/>
                  </a:lnTo>
                  <a:lnTo>
                    <a:pt x="1410476" y="2558874"/>
                  </a:lnTo>
                  <a:lnTo>
                    <a:pt x="1396180" y="2554108"/>
                  </a:lnTo>
                  <a:lnTo>
                    <a:pt x="1377120" y="2558874"/>
                  </a:lnTo>
                  <a:lnTo>
                    <a:pt x="1377120" y="2539812"/>
                  </a:lnTo>
                  <a:lnTo>
                    <a:pt x="1367592" y="2530282"/>
                  </a:lnTo>
                  <a:lnTo>
                    <a:pt x="1372356" y="2515988"/>
                  </a:lnTo>
                  <a:lnTo>
                    <a:pt x="1372356" y="2506456"/>
                  </a:lnTo>
                  <a:lnTo>
                    <a:pt x="1377120" y="2501692"/>
                  </a:lnTo>
                  <a:lnTo>
                    <a:pt x="1381884" y="2492162"/>
                  </a:lnTo>
                  <a:lnTo>
                    <a:pt x="1381884" y="2487396"/>
                  </a:lnTo>
                  <a:lnTo>
                    <a:pt x="1367592" y="2482632"/>
                  </a:lnTo>
                  <a:lnTo>
                    <a:pt x="1362824" y="2477866"/>
                  </a:lnTo>
                  <a:lnTo>
                    <a:pt x="1362824" y="2458806"/>
                  </a:lnTo>
                  <a:lnTo>
                    <a:pt x="1358060" y="2458806"/>
                  </a:lnTo>
                  <a:lnTo>
                    <a:pt x="1343764" y="2463570"/>
                  </a:lnTo>
                  <a:lnTo>
                    <a:pt x="1315176" y="2477866"/>
                  </a:lnTo>
                  <a:lnTo>
                    <a:pt x="1305644" y="2477866"/>
                  </a:lnTo>
                  <a:lnTo>
                    <a:pt x="1319940" y="2468336"/>
                  </a:lnTo>
                  <a:lnTo>
                    <a:pt x="1343764" y="2454040"/>
                  </a:lnTo>
                  <a:lnTo>
                    <a:pt x="1358060" y="2444510"/>
                  </a:lnTo>
                  <a:lnTo>
                    <a:pt x="1381884" y="2420684"/>
                  </a:lnTo>
                  <a:lnTo>
                    <a:pt x="1400948" y="2411154"/>
                  </a:lnTo>
                  <a:lnTo>
                    <a:pt x="1410476" y="2392094"/>
                  </a:lnTo>
                  <a:lnTo>
                    <a:pt x="1410476" y="2382564"/>
                  </a:lnTo>
                  <a:lnTo>
                    <a:pt x="1415240" y="2373034"/>
                  </a:lnTo>
                  <a:lnTo>
                    <a:pt x="1424772" y="2353972"/>
                  </a:lnTo>
                  <a:lnTo>
                    <a:pt x="1429536" y="2349208"/>
                  </a:lnTo>
                  <a:lnTo>
                    <a:pt x="1443832" y="2334912"/>
                  </a:lnTo>
                  <a:lnTo>
                    <a:pt x="1453364" y="2334912"/>
                  </a:lnTo>
                  <a:lnTo>
                    <a:pt x="1462892" y="2353972"/>
                  </a:lnTo>
                  <a:lnTo>
                    <a:pt x="1477188" y="2368268"/>
                  </a:lnTo>
                  <a:lnTo>
                    <a:pt x="1486720" y="2368268"/>
                  </a:lnTo>
                  <a:lnTo>
                    <a:pt x="1501016" y="2358738"/>
                  </a:lnTo>
                  <a:lnTo>
                    <a:pt x="1510544" y="2358738"/>
                  </a:lnTo>
                  <a:lnTo>
                    <a:pt x="1529604" y="2358738"/>
                  </a:lnTo>
                  <a:lnTo>
                    <a:pt x="1548664" y="2349208"/>
                  </a:lnTo>
                  <a:lnTo>
                    <a:pt x="1553432" y="2339678"/>
                  </a:lnTo>
                  <a:lnTo>
                    <a:pt x="1558196" y="2330148"/>
                  </a:lnTo>
                  <a:lnTo>
                    <a:pt x="1548664" y="2306322"/>
                  </a:lnTo>
                  <a:lnTo>
                    <a:pt x="1558196" y="2311086"/>
                  </a:lnTo>
                  <a:lnTo>
                    <a:pt x="1567724" y="2311086"/>
                  </a:lnTo>
                  <a:lnTo>
                    <a:pt x="1586788" y="2296792"/>
                  </a:lnTo>
                  <a:close/>
                  <a:moveTo>
                    <a:pt x="1639204" y="2253904"/>
                  </a:moveTo>
                  <a:lnTo>
                    <a:pt x="1663028" y="2253904"/>
                  </a:lnTo>
                  <a:lnTo>
                    <a:pt x="1672560" y="2253904"/>
                  </a:lnTo>
                  <a:lnTo>
                    <a:pt x="1667792" y="2263436"/>
                  </a:lnTo>
                  <a:lnTo>
                    <a:pt x="1663028" y="2268200"/>
                  </a:lnTo>
                  <a:lnTo>
                    <a:pt x="1663028" y="2263436"/>
                  </a:lnTo>
                  <a:lnTo>
                    <a:pt x="1653500" y="2272966"/>
                  </a:lnTo>
                  <a:lnTo>
                    <a:pt x="1648732" y="2263436"/>
                  </a:lnTo>
                  <a:lnTo>
                    <a:pt x="1639204" y="2258670"/>
                  </a:lnTo>
                  <a:close/>
                  <a:moveTo>
                    <a:pt x="1763096" y="2249140"/>
                  </a:moveTo>
                  <a:lnTo>
                    <a:pt x="1767860" y="2249140"/>
                  </a:lnTo>
                  <a:lnTo>
                    <a:pt x="1753564" y="2277730"/>
                  </a:lnTo>
                  <a:lnTo>
                    <a:pt x="1758332" y="2301556"/>
                  </a:lnTo>
                  <a:lnTo>
                    <a:pt x="1739272" y="2315852"/>
                  </a:lnTo>
                  <a:lnTo>
                    <a:pt x="1724976" y="2315852"/>
                  </a:lnTo>
                  <a:lnTo>
                    <a:pt x="1720212" y="2306322"/>
                  </a:lnTo>
                  <a:lnTo>
                    <a:pt x="1715444" y="2296792"/>
                  </a:lnTo>
                  <a:lnTo>
                    <a:pt x="1729740" y="2282496"/>
                  </a:lnTo>
                  <a:lnTo>
                    <a:pt x="1744036" y="2263436"/>
                  </a:lnTo>
                  <a:lnTo>
                    <a:pt x="1753564" y="2253906"/>
                  </a:lnTo>
                  <a:close/>
                  <a:moveTo>
                    <a:pt x="900608" y="2225314"/>
                  </a:moveTo>
                  <a:lnTo>
                    <a:pt x="905372" y="2225314"/>
                  </a:lnTo>
                  <a:lnTo>
                    <a:pt x="905372" y="2230080"/>
                  </a:lnTo>
                  <a:lnTo>
                    <a:pt x="905372" y="2239610"/>
                  </a:lnTo>
                  <a:lnTo>
                    <a:pt x="905372" y="2249140"/>
                  </a:lnTo>
                  <a:lnTo>
                    <a:pt x="891080" y="2277730"/>
                  </a:lnTo>
                  <a:lnTo>
                    <a:pt x="891080" y="2287260"/>
                  </a:lnTo>
                  <a:lnTo>
                    <a:pt x="886312" y="2296792"/>
                  </a:lnTo>
                  <a:lnTo>
                    <a:pt x="876784" y="2287260"/>
                  </a:lnTo>
                  <a:lnTo>
                    <a:pt x="872020" y="2282496"/>
                  </a:lnTo>
                  <a:lnTo>
                    <a:pt x="881548" y="2253904"/>
                  </a:lnTo>
                  <a:lnTo>
                    <a:pt x="881548" y="2244374"/>
                  </a:lnTo>
                  <a:lnTo>
                    <a:pt x="881548" y="2239610"/>
                  </a:lnTo>
                  <a:close/>
                  <a:moveTo>
                    <a:pt x="2449276" y="2206254"/>
                  </a:moveTo>
                  <a:lnTo>
                    <a:pt x="2458804" y="2206254"/>
                  </a:lnTo>
                  <a:lnTo>
                    <a:pt x="2463572" y="2215784"/>
                  </a:lnTo>
                  <a:lnTo>
                    <a:pt x="2463572" y="2225316"/>
                  </a:lnTo>
                  <a:lnTo>
                    <a:pt x="2454040" y="2225316"/>
                  </a:lnTo>
                  <a:lnTo>
                    <a:pt x="2449276" y="2215784"/>
                  </a:lnTo>
                  <a:close/>
                  <a:moveTo>
                    <a:pt x="1501016" y="1906052"/>
                  </a:moveTo>
                  <a:lnTo>
                    <a:pt x="1515308" y="1925112"/>
                  </a:lnTo>
                  <a:lnTo>
                    <a:pt x="1515308" y="1934642"/>
                  </a:lnTo>
                  <a:lnTo>
                    <a:pt x="1505780" y="1939408"/>
                  </a:lnTo>
                  <a:lnTo>
                    <a:pt x="1491484" y="1939408"/>
                  </a:lnTo>
                  <a:lnTo>
                    <a:pt x="1486720" y="1929876"/>
                  </a:lnTo>
                  <a:lnTo>
                    <a:pt x="1486720" y="1915582"/>
                  </a:lnTo>
                  <a:close/>
                  <a:moveTo>
                    <a:pt x="2315852" y="1520076"/>
                  </a:moveTo>
                  <a:lnTo>
                    <a:pt x="2315852" y="1529606"/>
                  </a:lnTo>
                  <a:lnTo>
                    <a:pt x="2311084" y="1558198"/>
                  </a:lnTo>
                  <a:lnTo>
                    <a:pt x="2306320" y="1567728"/>
                  </a:lnTo>
                  <a:lnTo>
                    <a:pt x="2325380" y="1567728"/>
                  </a:lnTo>
                  <a:lnTo>
                    <a:pt x="2315852" y="1601084"/>
                  </a:lnTo>
                  <a:lnTo>
                    <a:pt x="2292024" y="1615380"/>
                  </a:lnTo>
                  <a:lnTo>
                    <a:pt x="2277732" y="1615380"/>
                  </a:lnTo>
                  <a:lnTo>
                    <a:pt x="2272964" y="1615380"/>
                  </a:lnTo>
                  <a:lnTo>
                    <a:pt x="2282496" y="1610614"/>
                  </a:lnTo>
                  <a:lnTo>
                    <a:pt x="2282496" y="1601084"/>
                  </a:lnTo>
                  <a:lnTo>
                    <a:pt x="2287260" y="1586788"/>
                  </a:lnTo>
                  <a:lnTo>
                    <a:pt x="2287260" y="1582022"/>
                  </a:lnTo>
                  <a:lnTo>
                    <a:pt x="2277732" y="1582022"/>
                  </a:lnTo>
                  <a:lnTo>
                    <a:pt x="2277732" y="1567728"/>
                  </a:lnTo>
                  <a:lnTo>
                    <a:pt x="2282496" y="1548666"/>
                  </a:lnTo>
                  <a:lnTo>
                    <a:pt x="2311084" y="1524842"/>
                  </a:lnTo>
                  <a:close/>
                  <a:moveTo>
                    <a:pt x="2697060" y="867252"/>
                  </a:moveTo>
                  <a:lnTo>
                    <a:pt x="2711356" y="876784"/>
                  </a:lnTo>
                  <a:lnTo>
                    <a:pt x="2720888" y="876784"/>
                  </a:lnTo>
                  <a:lnTo>
                    <a:pt x="2739948" y="895844"/>
                  </a:lnTo>
                  <a:lnTo>
                    <a:pt x="2749476" y="900608"/>
                  </a:lnTo>
                  <a:lnTo>
                    <a:pt x="2778068" y="891078"/>
                  </a:lnTo>
                  <a:lnTo>
                    <a:pt x="2773304" y="919670"/>
                  </a:lnTo>
                  <a:lnTo>
                    <a:pt x="2768536" y="953026"/>
                  </a:lnTo>
                  <a:lnTo>
                    <a:pt x="2768536" y="1005442"/>
                  </a:lnTo>
                  <a:lnTo>
                    <a:pt x="2773304" y="1029268"/>
                  </a:lnTo>
                  <a:lnTo>
                    <a:pt x="2778068" y="1053092"/>
                  </a:lnTo>
                  <a:lnTo>
                    <a:pt x="2792364" y="1072154"/>
                  </a:lnTo>
                  <a:lnTo>
                    <a:pt x="2806660" y="1081684"/>
                  </a:lnTo>
                  <a:lnTo>
                    <a:pt x="2830484" y="1119804"/>
                  </a:lnTo>
                  <a:lnTo>
                    <a:pt x="2844780" y="1167456"/>
                  </a:lnTo>
                  <a:lnTo>
                    <a:pt x="2849544" y="1186516"/>
                  </a:lnTo>
                  <a:lnTo>
                    <a:pt x="2859076" y="1210342"/>
                  </a:lnTo>
                  <a:lnTo>
                    <a:pt x="2859076" y="1219872"/>
                  </a:lnTo>
                  <a:lnTo>
                    <a:pt x="2859076" y="1234168"/>
                  </a:lnTo>
                  <a:lnTo>
                    <a:pt x="2859076" y="1248464"/>
                  </a:lnTo>
                  <a:lnTo>
                    <a:pt x="2859076" y="1257994"/>
                  </a:lnTo>
                  <a:lnTo>
                    <a:pt x="2859076" y="1296114"/>
                  </a:lnTo>
                  <a:lnTo>
                    <a:pt x="2849544" y="1339000"/>
                  </a:lnTo>
                  <a:lnTo>
                    <a:pt x="2844780" y="1358062"/>
                  </a:lnTo>
                  <a:lnTo>
                    <a:pt x="2835248" y="1362826"/>
                  </a:lnTo>
                  <a:lnTo>
                    <a:pt x="2830484" y="1372356"/>
                  </a:lnTo>
                  <a:lnTo>
                    <a:pt x="2825720" y="1377122"/>
                  </a:lnTo>
                  <a:lnTo>
                    <a:pt x="2820956" y="1381886"/>
                  </a:lnTo>
                  <a:lnTo>
                    <a:pt x="2816188" y="1381886"/>
                  </a:lnTo>
                  <a:lnTo>
                    <a:pt x="2806660" y="1386652"/>
                  </a:lnTo>
                  <a:lnTo>
                    <a:pt x="2806660" y="1396182"/>
                  </a:lnTo>
                  <a:lnTo>
                    <a:pt x="2801892" y="1410478"/>
                  </a:lnTo>
                  <a:lnTo>
                    <a:pt x="2797128" y="1420008"/>
                  </a:lnTo>
                  <a:lnTo>
                    <a:pt x="2792364" y="1429538"/>
                  </a:lnTo>
                  <a:lnTo>
                    <a:pt x="2787600" y="1453364"/>
                  </a:lnTo>
                  <a:lnTo>
                    <a:pt x="2787600" y="1481954"/>
                  </a:lnTo>
                  <a:lnTo>
                    <a:pt x="2778068" y="1501014"/>
                  </a:lnTo>
                  <a:lnTo>
                    <a:pt x="2763772" y="1505780"/>
                  </a:lnTo>
                  <a:lnTo>
                    <a:pt x="2744712" y="1505780"/>
                  </a:lnTo>
                  <a:lnTo>
                    <a:pt x="2720888" y="1515310"/>
                  </a:lnTo>
                  <a:lnTo>
                    <a:pt x="2716120" y="1520076"/>
                  </a:lnTo>
                  <a:lnTo>
                    <a:pt x="2701824" y="1553432"/>
                  </a:lnTo>
                  <a:lnTo>
                    <a:pt x="2692296" y="1572492"/>
                  </a:lnTo>
                  <a:lnTo>
                    <a:pt x="2692296" y="1591552"/>
                  </a:lnTo>
                  <a:lnTo>
                    <a:pt x="2701824" y="1615378"/>
                  </a:lnTo>
                  <a:lnTo>
                    <a:pt x="2706592" y="1639204"/>
                  </a:lnTo>
                  <a:lnTo>
                    <a:pt x="2711356" y="1686854"/>
                  </a:lnTo>
                  <a:lnTo>
                    <a:pt x="2706592" y="1753566"/>
                  </a:lnTo>
                  <a:lnTo>
                    <a:pt x="2701824" y="1777392"/>
                  </a:lnTo>
                  <a:lnTo>
                    <a:pt x="2687532" y="1791688"/>
                  </a:lnTo>
                  <a:lnTo>
                    <a:pt x="2682764" y="1801218"/>
                  </a:lnTo>
                  <a:lnTo>
                    <a:pt x="2673236" y="1805982"/>
                  </a:lnTo>
                  <a:lnTo>
                    <a:pt x="2663704" y="1829808"/>
                  </a:lnTo>
                  <a:lnTo>
                    <a:pt x="2649408" y="1872694"/>
                  </a:lnTo>
                  <a:lnTo>
                    <a:pt x="2644644" y="1886990"/>
                  </a:lnTo>
                  <a:lnTo>
                    <a:pt x="2644644" y="1896520"/>
                  </a:lnTo>
                  <a:lnTo>
                    <a:pt x="2639880" y="1910816"/>
                  </a:lnTo>
                  <a:lnTo>
                    <a:pt x="2639880" y="1929876"/>
                  </a:lnTo>
                  <a:lnTo>
                    <a:pt x="2639880" y="1944172"/>
                  </a:lnTo>
                  <a:lnTo>
                    <a:pt x="2644644" y="1963232"/>
                  </a:lnTo>
                  <a:lnTo>
                    <a:pt x="2668468" y="2001354"/>
                  </a:lnTo>
                  <a:lnTo>
                    <a:pt x="2678000" y="2015648"/>
                  </a:lnTo>
                  <a:lnTo>
                    <a:pt x="2687532" y="2025178"/>
                  </a:lnTo>
                  <a:lnTo>
                    <a:pt x="2649408" y="2039474"/>
                  </a:lnTo>
                  <a:lnTo>
                    <a:pt x="2644644" y="2044240"/>
                  </a:lnTo>
                  <a:lnTo>
                    <a:pt x="2620820" y="2068064"/>
                  </a:lnTo>
                  <a:lnTo>
                    <a:pt x="2616052" y="2087126"/>
                  </a:lnTo>
                  <a:lnTo>
                    <a:pt x="2616052" y="2115716"/>
                  </a:lnTo>
                  <a:lnTo>
                    <a:pt x="2611288" y="2120482"/>
                  </a:lnTo>
                  <a:lnTo>
                    <a:pt x="2606524" y="2130012"/>
                  </a:lnTo>
                  <a:lnTo>
                    <a:pt x="2596992" y="2134776"/>
                  </a:lnTo>
                  <a:lnTo>
                    <a:pt x="2573168" y="2144306"/>
                  </a:lnTo>
                  <a:lnTo>
                    <a:pt x="2558872" y="2158602"/>
                  </a:lnTo>
                  <a:lnTo>
                    <a:pt x="2544576" y="2172898"/>
                  </a:lnTo>
                  <a:lnTo>
                    <a:pt x="2535048" y="2182428"/>
                  </a:lnTo>
                  <a:lnTo>
                    <a:pt x="2525516" y="2182428"/>
                  </a:lnTo>
                  <a:lnTo>
                    <a:pt x="2515984" y="2172898"/>
                  </a:lnTo>
                  <a:lnTo>
                    <a:pt x="2525516" y="2163368"/>
                  </a:lnTo>
                  <a:lnTo>
                    <a:pt x="2520752" y="2149072"/>
                  </a:lnTo>
                  <a:lnTo>
                    <a:pt x="2525516" y="2120482"/>
                  </a:lnTo>
                  <a:lnTo>
                    <a:pt x="2520752" y="2106186"/>
                  </a:lnTo>
                  <a:lnTo>
                    <a:pt x="2535048" y="2096656"/>
                  </a:lnTo>
                  <a:lnTo>
                    <a:pt x="2539812" y="2082360"/>
                  </a:lnTo>
                  <a:lnTo>
                    <a:pt x="2554108" y="2072830"/>
                  </a:lnTo>
                  <a:lnTo>
                    <a:pt x="2563636" y="2063300"/>
                  </a:lnTo>
                  <a:lnTo>
                    <a:pt x="2563636" y="2053770"/>
                  </a:lnTo>
                  <a:lnTo>
                    <a:pt x="2554108" y="2044240"/>
                  </a:lnTo>
                  <a:lnTo>
                    <a:pt x="2549340" y="2034708"/>
                  </a:lnTo>
                  <a:lnTo>
                    <a:pt x="2535048" y="2034708"/>
                  </a:lnTo>
                  <a:lnTo>
                    <a:pt x="2525516" y="2039474"/>
                  </a:lnTo>
                  <a:lnTo>
                    <a:pt x="2515984" y="2049004"/>
                  </a:lnTo>
                  <a:lnTo>
                    <a:pt x="2515984" y="2058534"/>
                  </a:lnTo>
                  <a:lnTo>
                    <a:pt x="2515984" y="2063300"/>
                  </a:lnTo>
                  <a:lnTo>
                    <a:pt x="2511220" y="2068064"/>
                  </a:lnTo>
                  <a:lnTo>
                    <a:pt x="2496924" y="2087126"/>
                  </a:lnTo>
                  <a:lnTo>
                    <a:pt x="2496924" y="2101420"/>
                  </a:lnTo>
                  <a:lnTo>
                    <a:pt x="2501692" y="2110952"/>
                  </a:lnTo>
                  <a:lnTo>
                    <a:pt x="2511220" y="2115716"/>
                  </a:lnTo>
                  <a:lnTo>
                    <a:pt x="2506456" y="2120482"/>
                  </a:lnTo>
                  <a:lnTo>
                    <a:pt x="2496924" y="2134776"/>
                  </a:lnTo>
                  <a:lnTo>
                    <a:pt x="2492160" y="2139542"/>
                  </a:lnTo>
                  <a:lnTo>
                    <a:pt x="2482628" y="2115716"/>
                  </a:lnTo>
                  <a:lnTo>
                    <a:pt x="2468336" y="2106186"/>
                  </a:lnTo>
                  <a:lnTo>
                    <a:pt x="2449276" y="2106186"/>
                  </a:lnTo>
                  <a:lnTo>
                    <a:pt x="2430212" y="2110952"/>
                  </a:lnTo>
                  <a:lnTo>
                    <a:pt x="2420684" y="2125246"/>
                  </a:lnTo>
                  <a:lnTo>
                    <a:pt x="2415920" y="2134776"/>
                  </a:lnTo>
                  <a:lnTo>
                    <a:pt x="2411152" y="2144306"/>
                  </a:lnTo>
                  <a:lnTo>
                    <a:pt x="2411152" y="2172898"/>
                  </a:lnTo>
                  <a:lnTo>
                    <a:pt x="2406388" y="2196724"/>
                  </a:lnTo>
                  <a:lnTo>
                    <a:pt x="2396856" y="2215784"/>
                  </a:lnTo>
                  <a:lnTo>
                    <a:pt x="2392092" y="2220548"/>
                  </a:lnTo>
                  <a:lnTo>
                    <a:pt x="2377796" y="2234844"/>
                  </a:lnTo>
                  <a:lnTo>
                    <a:pt x="2368268" y="2234844"/>
                  </a:lnTo>
                  <a:lnTo>
                    <a:pt x="2363500" y="2230080"/>
                  </a:lnTo>
                  <a:lnTo>
                    <a:pt x="2353972" y="2220548"/>
                  </a:lnTo>
                  <a:lnTo>
                    <a:pt x="2363500" y="2187192"/>
                  </a:lnTo>
                  <a:lnTo>
                    <a:pt x="2363500" y="2168132"/>
                  </a:lnTo>
                  <a:lnTo>
                    <a:pt x="2377796" y="2158602"/>
                  </a:lnTo>
                  <a:lnTo>
                    <a:pt x="2363500" y="2144306"/>
                  </a:lnTo>
                  <a:lnTo>
                    <a:pt x="2349208" y="2139542"/>
                  </a:lnTo>
                  <a:lnTo>
                    <a:pt x="2325380" y="2149072"/>
                  </a:lnTo>
                  <a:lnTo>
                    <a:pt x="2320616" y="2153838"/>
                  </a:lnTo>
                  <a:lnTo>
                    <a:pt x="2315852" y="2168132"/>
                  </a:lnTo>
                  <a:lnTo>
                    <a:pt x="2306320" y="2182428"/>
                  </a:lnTo>
                  <a:lnTo>
                    <a:pt x="2292024" y="2191958"/>
                  </a:lnTo>
                  <a:lnTo>
                    <a:pt x="2277728" y="2215784"/>
                  </a:lnTo>
                  <a:lnTo>
                    <a:pt x="2268200" y="2239610"/>
                  </a:lnTo>
                  <a:lnTo>
                    <a:pt x="2234844" y="2234844"/>
                  </a:lnTo>
                  <a:lnTo>
                    <a:pt x="2215784" y="2230080"/>
                  </a:lnTo>
                  <a:lnTo>
                    <a:pt x="2196724" y="2230080"/>
                  </a:lnTo>
                  <a:lnTo>
                    <a:pt x="2163368" y="2230080"/>
                  </a:lnTo>
                  <a:lnTo>
                    <a:pt x="2130012" y="2234844"/>
                  </a:lnTo>
                  <a:lnTo>
                    <a:pt x="2091888" y="2244374"/>
                  </a:lnTo>
                  <a:lnTo>
                    <a:pt x="2091888" y="2234844"/>
                  </a:lnTo>
                  <a:lnTo>
                    <a:pt x="2125244" y="2220548"/>
                  </a:lnTo>
                  <a:lnTo>
                    <a:pt x="2125244" y="2215784"/>
                  </a:lnTo>
                  <a:lnTo>
                    <a:pt x="2125244" y="2206254"/>
                  </a:lnTo>
                  <a:lnTo>
                    <a:pt x="2115716" y="2206254"/>
                  </a:lnTo>
                  <a:lnTo>
                    <a:pt x="2096656" y="2211018"/>
                  </a:lnTo>
                  <a:lnTo>
                    <a:pt x="2087124" y="2211018"/>
                  </a:lnTo>
                  <a:lnTo>
                    <a:pt x="2082360" y="2201488"/>
                  </a:lnTo>
                  <a:lnTo>
                    <a:pt x="2077596" y="2196724"/>
                  </a:lnTo>
                  <a:lnTo>
                    <a:pt x="2072828" y="2201488"/>
                  </a:lnTo>
                  <a:lnTo>
                    <a:pt x="2072828" y="2215784"/>
                  </a:lnTo>
                  <a:lnTo>
                    <a:pt x="2068064" y="2220548"/>
                  </a:lnTo>
                  <a:lnTo>
                    <a:pt x="2063300" y="2215784"/>
                  </a:lnTo>
                  <a:lnTo>
                    <a:pt x="2063300" y="2201488"/>
                  </a:lnTo>
                  <a:lnTo>
                    <a:pt x="2058532" y="2182428"/>
                  </a:lnTo>
                  <a:lnTo>
                    <a:pt x="2058532" y="2168132"/>
                  </a:lnTo>
                  <a:lnTo>
                    <a:pt x="2063300" y="2158602"/>
                  </a:lnTo>
                  <a:lnTo>
                    <a:pt x="2058532" y="2153838"/>
                  </a:lnTo>
                  <a:lnTo>
                    <a:pt x="2049004" y="2153838"/>
                  </a:lnTo>
                  <a:lnTo>
                    <a:pt x="2039472" y="2158602"/>
                  </a:lnTo>
                  <a:lnTo>
                    <a:pt x="2034708" y="2168132"/>
                  </a:lnTo>
                  <a:lnTo>
                    <a:pt x="2015648" y="2206254"/>
                  </a:lnTo>
                  <a:lnTo>
                    <a:pt x="2006116" y="2225314"/>
                  </a:lnTo>
                  <a:lnTo>
                    <a:pt x="2020412" y="2244374"/>
                  </a:lnTo>
                  <a:lnTo>
                    <a:pt x="2053768" y="2268200"/>
                  </a:lnTo>
                  <a:lnTo>
                    <a:pt x="2063300" y="2272966"/>
                  </a:lnTo>
                  <a:lnTo>
                    <a:pt x="2063300" y="2282496"/>
                  </a:lnTo>
                  <a:lnTo>
                    <a:pt x="2058532" y="2292026"/>
                  </a:lnTo>
                  <a:lnTo>
                    <a:pt x="2049004" y="2296792"/>
                  </a:lnTo>
                  <a:lnTo>
                    <a:pt x="2010884" y="2306322"/>
                  </a:lnTo>
                  <a:lnTo>
                    <a:pt x="1977528" y="2320616"/>
                  </a:lnTo>
                  <a:lnTo>
                    <a:pt x="1967996" y="2334912"/>
                  </a:lnTo>
                  <a:lnTo>
                    <a:pt x="1934640" y="2396858"/>
                  </a:lnTo>
                  <a:lnTo>
                    <a:pt x="1910816" y="2434980"/>
                  </a:lnTo>
                  <a:lnTo>
                    <a:pt x="1877460" y="2449276"/>
                  </a:lnTo>
                  <a:lnTo>
                    <a:pt x="1839336" y="2439744"/>
                  </a:lnTo>
                  <a:lnTo>
                    <a:pt x="1829808" y="2425450"/>
                  </a:lnTo>
                  <a:lnTo>
                    <a:pt x="1825044" y="2406388"/>
                  </a:lnTo>
                  <a:lnTo>
                    <a:pt x="1810748" y="2392094"/>
                  </a:lnTo>
                  <a:lnTo>
                    <a:pt x="1796452" y="2373032"/>
                  </a:lnTo>
                  <a:lnTo>
                    <a:pt x="1786920" y="2353972"/>
                  </a:lnTo>
                  <a:lnTo>
                    <a:pt x="1791688" y="2320616"/>
                  </a:lnTo>
                  <a:lnTo>
                    <a:pt x="1782156" y="2301556"/>
                  </a:lnTo>
                  <a:lnTo>
                    <a:pt x="1786920" y="2292026"/>
                  </a:lnTo>
                  <a:lnTo>
                    <a:pt x="1810748" y="2282496"/>
                  </a:lnTo>
                  <a:lnTo>
                    <a:pt x="1815512" y="2272966"/>
                  </a:lnTo>
                  <a:lnTo>
                    <a:pt x="1829808" y="2258670"/>
                  </a:lnTo>
                  <a:lnTo>
                    <a:pt x="1834572" y="2249140"/>
                  </a:lnTo>
                  <a:lnTo>
                    <a:pt x="1834572" y="2234844"/>
                  </a:lnTo>
                  <a:lnTo>
                    <a:pt x="1825044" y="2230080"/>
                  </a:lnTo>
                  <a:lnTo>
                    <a:pt x="1801216" y="2230080"/>
                  </a:lnTo>
                  <a:lnTo>
                    <a:pt x="1772628" y="2234844"/>
                  </a:lnTo>
                  <a:lnTo>
                    <a:pt x="1758332" y="2230080"/>
                  </a:lnTo>
                  <a:lnTo>
                    <a:pt x="1734504" y="2211018"/>
                  </a:lnTo>
                  <a:lnTo>
                    <a:pt x="1729740" y="2211018"/>
                  </a:lnTo>
                  <a:lnTo>
                    <a:pt x="1705916" y="2206254"/>
                  </a:lnTo>
                  <a:lnTo>
                    <a:pt x="1686852" y="2211018"/>
                  </a:lnTo>
                  <a:lnTo>
                    <a:pt x="1667792" y="2215784"/>
                  </a:lnTo>
                  <a:lnTo>
                    <a:pt x="1648732" y="2220548"/>
                  </a:lnTo>
                  <a:lnTo>
                    <a:pt x="1643968" y="2220548"/>
                  </a:lnTo>
                  <a:lnTo>
                    <a:pt x="1624908" y="2239610"/>
                  </a:lnTo>
                  <a:lnTo>
                    <a:pt x="1605848" y="2253904"/>
                  </a:lnTo>
                  <a:lnTo>
                    <a:pt x="1591552" y="2258670"/>
                  </a:lnTo>
                  <a:lnTo>
                    <a:pt x="1562960" y="2263436"/>
                  </a:lnTo>
                  <a:lnTo>
                    <a:pt x="1548664" y="2268200"/>
                  </a:lnTo>
                  <a:lnTo>
                    <a:pt x="1529604" y="2272966"/>
                  </a:lnTo>
                  <a:lnTo>
                    <a:pt x="1524840" y="2272966"/>
                  </a:lnTo>
                  <a:lnTo>
                    <a:pt x="1510544" y="2282496"/>
                  </a:lnTo>
                  <a:lnTo>
                    <a:pt x="1491484" y="2287260"/>
                  </a:lnTo>
                  <a:lnTo>
                    <a:pt x="1477188" y="2296792"/>
                  </a:lnTo>
                  <a:lnTo>
                    <a:pt x="1458128" y="2292026"/>
                  </a:lnTo>
                  <a:lnTo>
                    <a:pt x="1420008" y="2306322"/>
                  </a:lnTo>
                  <a:lnTo>
                    <a:pt x="1400948" y="2306322"/>
                  </a:lnTo>
                  <a:lnTo>
                    <a:pt x="1381884" y="2301556"/>
                  </a:lnTo>
                  <a:lnTo>
                    <a:pt x="1367592" y="2287260"/>
                  </a:lnTo>
                  <a:lnTo>
                    <a:pt x="1348528" y="2292026"/>
                  </a:lnTo>
                  <a:lnTo>
                    <a:pt x="1339000" y="2311086"/>
                  </a:lnTo>
                  <a:lnTo>
                    <a:pt x="1329468" y="2349208"/>
                  </a:lnTo>
                  <a:lnTo>
                    <a:pt x="1324704" y="2363502"/>
                  </a:lnTo>
                  <a:lnTo>
                    <a:pt x="1324704" y="2382564"/>
                  </a:lnTo>
                  <a:lnTo>
                    <a:pt x="1315176" y="2382564"/>
                  </a:lnTo>
                  <a:lnTo>
                    <a:pt x="1262756" y="2344442"/>
                  </a:lnTo>
                  <a:lnTo>
                    <a:pt x="1257992" y="2344442"/>
                  </a:lnTo>
                  <a:lnTo>
                    <a:pt x="1219872" y="2349208"/>
                  </a:lnTo>
                  <a:lnTo>
                    <a:pt x="1205576" y="2353972"/>
                  </a:lnTo>
                  <a:lnTo>
                    <a:pt x="1196044" y="2358738"/>
                  </a:lnTo>
                  <a:lnTo>
                    <a:pt x="1181752" y="2363502"/>
                  </a:lnTo>
                  <a:lnTo>
                    <a:pt x="1167456" y="2358738"/>
                  </a:lnTo>
                  <a:lnTo>
                    <a:pt x="1153160" y="2349208"/>
                  </a:lnTo>
                  <a:lnTo>
                    <a:pt x="1143628" y="2353972"/>
                  </a:lnTo>
                  <a:lnTo>
                    <a:pt x="1129336" y="2358738"/>
                  </a:lnTo>
                  <a:lnTo>
                    <a:pt x="1124568" y="2306322"/>
                  </a:lnTo>
                  <a:lnTo>
                    <a:pt x="1129336" y="2296792"/>
                  </a:lnTo>
                  <a:lnTo>
                    <a:pt x="1134100" y="2287260"/>
                  </a:lnTo>
                  <a:lnTo>
                    <a:pt x="1143628" y="2277730"/>
                  </a:lnTo>
                  <a:lnTo>
                    <a:pt x="1162692" y="2277730"/>
                  </a:lnTo>
                  <a:lnTo>
                    <a:pt x="1186516" y="2277730"/>
                  </a:lnTo>
                  <a:lnTo>
                    <a:pt x="1200812" y="2277730"/>
                  </a:lnTo>
                  <a:lnTo>
                    <a:pt x="1210340" y="2263436"/>
                  </a:lnTo>
                  <a:lnTo>
                    <a:pt x="1224636" y="2249140"/>
                  </a:lnTo>
                  <a:lnTo>
                    <a:pt x="1238932" y="2239610"/>
                  </a:lnTo>
                  <a:lnTo>
                    <a:pt x="1257992" y="2225314"/>
                  </a:lnTo>
                  <a:lnTo>
                    <a:pt x="1277052" y="2215784"/>
                  </a:lnTo>
                  <a:lnTo>
                    <a:pt x="1296112" y="2201488"/>
                  </a:lnTo>
                  <a:lnTo>
                    <a:pt x="1310408" y="2182428"/>
                  </a:lnTo>
                  <a:lnTo>
                    <a:pt x="1324704" y="2168132"/>
                  </a:lnTo>
                  <a:lnTo>
                    <a:pt x="1339000" y="2158602"/>
                  </a:lnTo>
                  <a:lnTo>
                    <a:pt x="1362824" y="2134776"/>
                  </a:lnTo>
                  <a:lnTo>
                    <a:pt x="1396180" y="2106186"/>
                  </a:lnTo>
                  <a:lnTo>
                    <a:pt x="1410476" y="2082360"/>
                  </a:lnTo>
                  <a:lnTo>
                    <a:pt x="1415240" y="2077596"/>
                  </a:lnTo>
                  <a:lnTo>
                    <a:pt x="1443832" y="2068064"/>
                  </a:lnTo>
                  <a:lnTo>
                    <a:pt x="1481952" y="2058534"/>
                  </a:lnTo>
                  <a:lnTo>
                    <a:pt x="1496248" y="2058534"/>
                  </a:lnTo>
                  <a:lnTo>
                    <a:pt x="1515308" y="2077596"/>
                  </a:lnTo>
                  <a:lnTo>
                    <a:pt x="1524840" y="2072830"/>
                  </a:lnTo>
                  <a:lnTo>
                    <a:pt x="1534368" y="2068064"/>
                  </a:lnTo>
                  <a:lnTo>
                    <a:pt x="1553432" y="2068064"/>
                  </a:lnTo>
                  <a:lnTo>
                    <a:pt x="1572492" y="2068064"/>
                  </a:lnTo>
                  <a:lnTo>
                    <a:pt x="1591552" y="2068064"/>
                  </a:lnTo>
                  <a:lnTo>
                    <a:pt x="1610612" y="2068064"/>
                  </a:lnTo>
                  <a:lnTo>
                    <a:pt x="1643968" y="2063300"/>
                  </a:lnTo>
                  <a:lnTo>
                    <a:pt x="1663028" y="2053770"/>
                  </a:lnTo>
                  <a:lnTo>
                    <a:pt x="1682088" y="2044240"/>
                  </a:lnTo>
                  <a:lnTo>
                    <a:pt x="1748800" y="2039474"/>
                  </a:lnTo>
                  <a:lnTo>
                    <a:pt x="1796452" y="2020414"/>
                  </a:lnTo>
                  <a:lnTo>
                    <a:pt x="1801216" y="2020414"/>
                  </a:lnTo>
                  <a:lnTo>
                    <a:pt x="1810748" y="2025178"/>
                  </a:lnTo>
                  <a:lnTo>
                    <a:pt x="1810748" y="2039474"/>
                  </a:lnTo>
                  <a:lnTo>
                    <a:pt x="1805984" y="2049004"/>
                  </a:lnTo>
                  <a:lnTo>
                    <a:pt x="1810748" y="2058534"/>
                  </a:lnTo>
                  <a:lnTo>
                    <a:pt x="1820276" y="2063300"/>
                  </a:lnTo>
                  <a:lnTo>
                    <a:pt x="1863164" y="2063300"/>
                  </a:lnTo>
                  <a:lnTo>
                    <a:pt x="1872692" y="2068064"/>
                  </a:lnTo>
                  <a:lnTo>
                    <a:pt x="1891756" y="2058534"/>
                  </a:lnTo>
                  <a:lnTo>
                    <a:pt x="1910816" y="2049004"/>
                  </a:lnTo>
                  <a:lnTo>
                    <a:pt x="1925112" y="2034708"/>
                  </a:lnTo>
                  <a:lnTo>
                    <a:pt x="1939404" y="2015648"/>
                  </a:lnTo>
                  <a:lnTo>
                    <a:pt x="1929876" y="1996588"/>
                  </a:lnTo>
                  <a:lnTo>
                    <a:pt x="1925112" y="1972762"/>
                  </a:lnTo>
                  <a:lnTo>
                    <a:pt x="1934640" y="1948936"/>
                  </a:lnTo>
                  <a:lnTo>
                    <a:pt x="1948936" y="1929876"/>
                  </a:lnTo>
                  <a:lnTo>
                    <a:pt x="1967996" y="1915580"/>
                  </a:lnTo>
                  <a:lnTo>
                    <a:pt x="1982292" y="1901286"/>
                  </a:lnTo>
                  <a:lnTo>
                    <a:pt x="2010884" y="1863164"/>
                  </a:lnTo>
                  <a:lnTo>
                    <a:pt x="2034708" y="1829808"/>
                  </a:lnTo>
                  <a:lnTo>
                    <a:pt x="2044240" y="1786922"/>
                  </a:lnTo>
                  <a:lnTo>
                    <a:pt x="2039472" y="1739272"/>
                  </a:lnTo>
                  <a:lnTo>
                    <a:pt x="2053768" y="1701150"/>
                  </a:lnTo>
                  <a:lnTo>
                    <a:pt x="2077596" y="1696384"/>
                  </a:lnTo>
                  <a:lnTo>
                    <a:pt x="2110952" y="1682090"/>
                  </a:lnTo>
                  <a:lnTo>
                    <a:pt x="2130012" y="1677324"/>
                  </a:lnTo>
                  <a:lnTo>
                    <a:pt x="2134776" y="1682090"/>
                  </a:lnTo>
                  <a:lnTo>
                    <a:pt x="2134776" y="1691620"/>
                  </a:lnTo>
                  <a:lnTo>
                    <a:pt x="2106184" y="1720210"/>
                  </a:lnTo>
                  <a:lnTo>
                    <a:pt x="2087124" y="1734506"/>
                  </a:lnTo>
                  <a:lnTo>
                    <a:pt x="2077596" y="1739272"/>
                  </a:lnTo>
                  <a:lnTo>
                    <a:pt x="2068064" y="1744036"/>
                  </a:lnTo>
                  <a:lnTo>
                    <a:pt x="2063300" y="1753566"/>
                  </a:lnTo>
                  <a:lnTo>
                    <a:pt x="2082360" y="1772628"/>
                  </a:lnTo>
                  <a:lnTo>
                    <a:pt x="2082360" y="1786922"/>
                  </a:lnTo>
                  <a:lnTo>
                    <a:pt x="2082360" y="1796452"/>
                  </a:lnTo>
                  <a:lnTo>
                    <a:pt x="2082360" y="1810748"/>
                  </a:lnTo>
                  <a:lnTo>
                    <a:pt x="2101420" y="1820278"/>
                  </a:lnTo>
                  <a:lnTo>
                    <a:pt x="2120480" y="1825044"/>
                  </a:lnTo>
                  <a:lnTo>
                    <a:pt x="2125244" y="1825044"/>
                  </a:lnTo>
                  <a:lnTo>
                    <a:pt x="2134776" y="1820278"/>
                  </a:lnTo>
                  <a:lnTo>
                    <a:pt x="2158600" y="1791688"/>
                  </a:lnTo>
                  <a:lnTo>
                    <a:pt x="2163368" y="1786922"/>
                  </a:lnTo>
                  <a:lnTo>
                    <a:pt x="2225312" y="1767862"/>
                  </a:lnTo>
                  <a:lnTo>
                    <a:pt x="2253904" y="1748802"/>
                  </a:lnTo>
                  <a:lnTo>
                    <a:pt x="2272964" y="1744036"/>
                  </a:lnTo>
                  <a:lnTo>
                    <a:pt x="2287260" y="1734506"/>
                  </a:lnTo>
                  <a:lnTo>
                    <a:pt x="2320616" y="1701150"/>
                  </a:lnTo>
                  <a:lnTo>
                    <a:pt x="2334912" y="1686854"/>
                  </a:lnTo>
                  <a:lnTo>
                    <a:pt x="2349208" y="1667794"/>
                  </a:lnTo>
                  <a:lnTo>
                    <a:pt x="2358736" y="1648734"/>
                  </a:lnTo>
                  <a:lnTo>
                    <a:pt x="2363500" y="1624908"/>
                  </a:lnTo>
                  <a:lnTo>
                    <a:pt x="2377796" y="1610612"/>
                  </a:lnTo>
                  <a:lnTo>
                    <a:pt x="2430212" y="1577256"/>
                  </a:lnTo>
                  <a:lnTo>
                    <a:pt x="2449276" y="1562962"/>
                  </a:lnTo>
                  <a:lnTo>
                    <a:pt x="2454040" y="1553432"/>
                  </a:lnTo>
                  <a:lnTo>
                    <a:pt x="2463568" y="1529606"/>
                  </a:lnTo>
                  <a:lnTo>
                    <a:pt x="2468336" y="1501014"/>
                  </a:lnTo>
                  <a:lnTo>
                    <a:pt x="2473100" y="1481954"/>
                  </a:lnTo>
                  <a:lnTo>
                    <a:pt x="2482628" y="1462894"/>
                  </a:lnTo>
                  <a:lnTo>
                    <a:pt x="2496924" y="1443834"/>
                  </a:lnTo>
                  <a:lnTo>
                    <a:pt x="2511220" y="1424772"/>
                  </a:lnTo>
                  <a:lnTo>
                    <a:pt x="2520752" y="1405712"/>
                  </a:lnTo>
                  <a:lnTo>
                    <a:pt x="2530280" y="1362826"/>
                  </a:lnTo>
                  <a:lnTo>
                    <a:pt x="2535048" y="1334236"/>
                  </a:lnTo>
                  <a:lnTo>
                    <a:pt x="2539812" y="1324706"/>
                  </a:lnTo>
                  <a:lnTo>
                    <a:pt x="2544576" y="1319940"/>
                  </a:lnTo>
                  <a:lnTo>
                    <a:pt x="2549340" y="1310410"/>
                  </a:lnTo>
                  <a:lnTo>
                    <a:pt x="2554108" y="1300880"/>
                  </a:lnTo>
                  <a:lnTo>
                    <a:pt x="2558872" y="1286584"/>
                  </a:lnTo>
                  <a:lnTo>
                    <a:pt x="2558872" y="1257994"/>
                  </a:lnTo>
                  <a:lnTo>
                    <a:pt x="2558872" y="1229402"/>
                  </a:lnTo>
                  <a:lnTo>
                    <a:pt x="2549340" y="1210342"/>
                  </a:lnTo>
                  <a:lnTo>
                    <a:pt x="2539812" y="1200812"/>
                  </a:lnTo>
                  <a:lnTo>
                    <a:pt x="2530280" y="1200812"/>
                  </a:lnTo>
                  <a:lnTo>
                    <a:pt x="2520752" y="1205576"/>
                  </a:lnTo>
                  <a:lnTo>
                    <a:pt x="2511220" y="1196046"/>
                  </a:lnTo>
                  <a:lnTo>
                    <a:pt x="2511220" y="1186516"/>
                  </a:lnTo>
                  <a:lnTo>
                    <a:pt x="2520752" y="1186516"/>
                  </a:lnTo>
                  <a:lnTo>
                    <a:pt x="2530280" y="1181752"/>
                  </a:lnTo>
                  <a:lnTo>
                    <a:pt x="2535048" y="1172222"/>
                  </a:lnTo>
                  <a:lnTo>
                    <a:pt x="2544576" y="1153160"/>
                  </a:lnTo>
                  <a:lnTo>
                    <a:pt x="2549340" y="1124570"/>
                  </a:lnTo>
                  <a:lnTo>
                    <a:pt x="2554108" y="1115040"/>
                  </a:lnTo>
                  <a:lnTo>
                    <a:pt x="2544576" y="1095980"/>
                  </a:lnTo>
                  <a:lnTo>
                    <a:pt x="2539812" y="1072154"/>
                  </a:lnTo>
                  <a:lnTo>
                    <a:pt x="2535048" y="1057858"/>
                  </a:lnTo>
                  <a:lnTo>
                    <a:pt x="2544576" y="1043562"/>
                  </a:lnTo>
                  <a:lnTo>
                    <a:pt x="2554108" y="1029268"/>
                  </a:lnTo>
                  <a:lnTo>
                    <a:pt x="2563636" y="1024502"/>
                  </a:lnTo>
                  <a:lnTo>
                    <a:pt x="2573168" y="1024502"/>
                  </a:lnTo>
                  <a:lnTo>
                    <a:pt x="2582696" y="1019738"/>
                  </a:lnTo>
                  <a:lnTo>
                    <a:pt x="2587464" y="1014972"/>
                  </a:lnTo>
                  <a:lnTo>
                    <a:pt x="2592228" y="1005442"/>
                  </a:lnTo>
                  <a:lnTo>
                    <a:pt x="2601760" y="986382"/>
                  </a:lnTo>
                  <a:lnTo>
                    <a:pt x="2601760" y="972086"/>
                  </a:lnTo>
                  <a:lnTo>
                    <a:pt x="2596992" y="938730"/>
                  </a:lnTo>
                  <a:lnTo>
                    <a:pt x="2601760" y="933964"/>
                  </a:lnTo>
                  <a:lnTo>
                    <a:pt x="2611288" y="924434"/>
                  </a:lnTo>
                  <a:lnTo>
                    <a:pt x="2616052" y="929200"/>
                  </a:lnTo>
                  <a:lnTo>
                    <a:pt x="2625584" y="929200"/>
                  </a:lnTo>
                  <a:lnTo>
                    <a:pt x="2635116" y="929200"/>
                  </a:lnTo>
                  <a:lnTo>
                    <a:pt x="2649408" y="933964"/>
                  </a:lnTo>
                  <a:lnTo>
                    <a:pt x="2649408" y="943496"/>
                  </a:lnTo>
                  <a:lnTo>
                    <a:pt x="2654176" y="995912"/>
                  </a:lnTo>
                  <a:lnTo>
                    <a:pt x="2658940" y="1005442"/>
                  </a:lnTo>
                  <a:lnTo>
                    <a:pt x="2668468" y="1010206"/>
                  </a:lnTo>
                  <a:lnTo>
                    <a:pt x="2673236" y="1010206"/>
                  </a:lnTo>
                  <a:lnTo>
                    <a:pt x="2682764" y="1000676"/>
                  </a:lnTo>
                  <a:lnTo>
                    <a:pt x="2687532" y="986382"/>
                  </a:lnTo>
                  <a:lnTo>
                    <a:pt x="2697060" y="986382"/>
                  </a:lnTo>
                  <a:lnTo>
                    <a:pt x="2725652" y="995912"/>
                  </a:lnTo>
                  <a:lnTo>
                    <a:pt x="2735180" y="991146"/>
                  </a:lnTo>
                  <a:lnTo>
                    <a:pt x="2739948" y="976850"/>
                  </a:lnTo>
                  <a:lnTo>
                    <a:pt x="2744712" y="953026"/>
                  </a:lnTo>
                  <a:lnTo>
                    <a:pt x="2744712" y="929200"/>
                  </a:lnTo>
                  <a:lnTo>
                    <a:pt x="2735180" y="924434"/>
                  </a:lnTo>
                  <a:lnTo>
                    <a:pt x="2730416" y="924434"/>
                  </a:lnTo>
                  <a:lnTo>
                    <a:pt x="2725652" y="929200"/>
                  </a:lnTo>
                  <a:lnTo>
                    <a:pt x="2716120" y="933964"/>
                  </a:lnTo>
                  <a:lnTo>
                    <a:pt x="2673236" y="943496"/>
                  </a:lnTo>
                  <a:lnTo>
                    <a:pt x="2673236" y="919670"/>
                  </a:lnTo>
                  <a:lnTo>
                    <a:pt x="2682764" y="886314"/>
                  </a:lnTo>
                  <a:lnTo>
                    <a:pt x="2687532" y="872018"/>
                  </a:lnTo>
                  <a:close/>
                  <a:moveTo>
                    <a:pt x="2482632" y="714768"/>
                  </a:moveTo>
                  <a:lnTo>
                    <a:pt x="2473100" y="743360"/>
                  </a:lnTo>
                  <a:lnTo>
                    <a:pt x="2468336" y="748124"/>
                  </a:lnTo>
                  <a:lnTo>
                    <a:pt x="2463572" y="748124"/>
                  </a:lnTo>
                  <a:lnTo>
                    <a:pt x="2458804" y="748124"/>
                  </a:lnTo>
                  <a:lnTo>
                    <a:pt x="2458804" y="733830"/>
                  </a:lnTo>
                  <a:lnTo>
                    <a:pt x="2458804" y="724300"/>
                  </a:lnTo>
                  <a:lnTo>
                    <a:pt x="2473100" y="719534"/>
                  </a:lnTo>
                  <a:close/>
                  <a:moveTo>
                    <a:pt x="3502368" y="457452"/>
                  </a:moveTo>
                  <a:lnTo>
                    <a:pt x="3497604" y="462216"/>
                  </a:lnTo>
                  <a:lnTo>
                    <a:pt x="3492836" y="466982"/>
                  </a:lnTo>
                  <a:lnTo>
                    <a:pt x="3492836" y="462216"/>
                  </a:lnTo>
                  <a:close/>
                  <a:moveTo>
                    <a:pt x="3469012" y="457452"/>
                  </a:moveTo>
                  <a:lnTo>
                    <a:pt x="3473776" y="457452"/>
                  </a:lnTo>
                  <a:lnTo>
                    <a:pt x="3478540" y="457452"/>
                  </a:lnTo>
                  <a:lnTo>
                    <a:pt x="3478540" y="462216"/>
                  </a:lnTo>
                  <a:lnTo>
                    <a:pt x="3473776" y="462216"/>
                  </a:lnTo>
                  <a:lnTo>
                    <a:pt x="3469012" y="462216"/>
                  </a:lnTo>
                  <a:close/>
                  <a:moveTo>
                    <a:pt x="3530960" y="414566"/>
                  </a:moveTo>
                  <a:lnTo>
                    <a:pt x="3535724" y="414566"/>
                  </a:lnTo>
                  <a:lnTo>
                    <a:pt x="3540488" y="414566"/>
                  </a:lnTo>
                  <a:lnTo>
                    <a:pt x="3540488" y="419332"/>
                  </a:lnTo>
                  <a:lnTo>
                    <a:pt x="3530960" y="419332"/>
                  </a:lnTo>
                  <a:close/>
                  <a:moveTo>
                    <a:pt x="3616732" y="366916"/>
                  </a:moveTo>
                  <a:lnTo>
                    <a:pt x="3626260" y="376446"/>
                  </a:lnTo>
                  <a:lnTo>
                    <a:pt x="3626260" y="381210"/>
                  </a:lnTo>
                  <a:lnTo>
                    <a:pt x="3597672" y="395506"/>
                  </a:lnTo>
                  <a:lnTo>
                    <a:pt x="3592904" y="400272"/>
                  </a:lnTo>
                  <a:lnTo>
                    <a:pt x="3583376" y="395506"/>
                  </a:lnTo>
                  <a:lnTo>
                    <a:pt x="3583376" y="381210"/>
                  </a:lnTo>
                  <a:lnTo>
                    <a:pt x="3583376" y="376446"/>
                  </a:lnTo>
                  <a:close/>
                  <a:moveTo>
                    <a:pt x="3502368" y="228726"/>
                  </a:moveTo>
                  <a:lnTo>
                    <a:pt x="3516664" y="228726"/>
                  </a:lnTo>
                  <a:lnTo>
                    <a:pt x="3540488" y="247786"/>
                  </a:lnTo>
                  <a:lnTo>
                    <a:pt x="3573844" y="243022"/>
                  </a:lnTo>
                  <a:lnTo>
                    <a:pt x="3569080" y="257316"/>
                  </a:lnTo>
                  <a:lnTo>
                    <a:pt x="3554784" y="257316"/>
                  </a:lnTo>
                  <a:lnTo>
                    <a:pt x="3530960" y="276378"/>
                  </a:lnTo>
                  <a:lnTo>
                    <a:pt x="3511900" y="281142"/>
                  </a:lnTo>
                  <a:lnTo>
                    <a:pt x="3502368" y="285908"/>
                  </a:lnTo>
                  <a:lnTo>
                    <a:pt x="3473776" y="314498"/>
                  </a:lnTo>
                  <a:lnTo>
                    <a:pt x="3469012" y="328794"/>
                  </a:lnTo>
                  <a:lnTo>
                    <a:pt x="3449952" y="352620"/>
                  </a:lnTo>
                  <a:lnTo>
                    <a:pt x="3421360" y="371680"/>
                  </a:lnTo>
                  <a:lnTo>
                    <a:pt x="3416596" y="409800"/>
                  </a:lnTo>
                  <a:lnTo>
                    <a:pt x="3397536" y="395506"/>
                  </a:lnTo>
                  <a:lnTo>
                    <a:pt x="3397536" y="381210"/>
                  </a:lnTo>
                  <a:lnTo>
                    <a:pt x="3402300" y="366914"/>
                  </a:lnTo>
                  <a:lnTo>
                    <a:pt x="3435656" y="338324"/>
                  </a:lnTo>
                  <a:lnTo>
                    <a:pt x="3449952" y="324028"/>
                  </a:lnTo>
                  <a:lnTo>
                    <a:pt x="3449952" y="309734"/>
                  </a:lnTo>
                  <a:lnTo>
                    <a:pt x="3464248" y="295438"/>
                  </a:lnTo>
                  <a:lnTo>
                    <a:pt x="3469012" y="285908"/>
                  </a:lnTo>
                  <a:lnTo>
                    <a:pt x="3478544" y="281142"/>
                  </a:lnTo>
                  <a:close/>
                  <a:moveTo>
                    <a:pt x="2735184" y="66712"/>
                  </a:moveTo>
                  <a:lnTo>
                    <a:pt x="2744712" y="66712"/>
                  </a:lnTo>
                  <a:lnTo>
                    <a:pt x="2754244" y="81008"/>
                  </a:lnTo>
                  <a:lnTo>
                    <a:pt x="2759008" y="85772"/>
                  </a:lnTo>
                  <a:lnTo>
                    <a:pt x="2749476" y="90538"/>
                  </a:lnTo>
                  <a:lnTo>
                    <a:pt x="2739948" y="95304"/>
                  </a:lnTo>
                  <a:lnTo>
                    <a:pt x="2730416" y="85772"/>
                  </a:lnTo>
                  <a:lnTo>
                    <a:pt x="2725652" y="71478"/>
                  </a:lnTo>
                  <a:close/>
                  <a:moveTo>
                    <a:pt x="2701828" y="14296"/>
                  </a:moveTo>
                  <a:lnTo>
                    <a:pt x="2706592" y="14296"/>
                  </a:lnTo>
                  <a:lnTo>
                    <a:pt x="2716120" y="19062"/>
                  </a:lnTo>
                  <a:lnTo>
                    <a:pt x="2716120" y="28592"/>
                  </a:lnTo>
                  <a:lnTo>
                    <a:pt x="2716120" y="47652"/>
                  </a:lnTo>
                  <a:lnTo>
                    <a:pt x="2711356" y="61948"/>
                  </a:lnTo>
                  <a:lnTo>
                    <a:pt x="2701828" y="38122"/>
                  </a:lnTo>
                  <a:close/>
                  <a:moveTo>
                    <a:pt x="2854312" y="4764"/>
                  </a:moveTo>
                  <a:lnTo>
                    <a:pt x="2859076" y="9530"/>
                  </a:lnTo>
                  <a:lnTo>
                    <a:pt x="2863840" y="23826"/>
                  </a:lnTo>
                  <a:lnTo>
                    <a:pt x="2887668" y="47652"/>
                  </a:lnTo>
                  <a:lnTo>
                    <a:pt x="2925788" y="90538"/>
                  </a:lnTo>
                  <a:lnTo>
                    <a:pt x="2973440" y="157248"/>
                  </a:lnTo>
                  <a:lnTo>
                    <a:pt x="3002028" y="190604"/>
                  </a:lnTo>
                  <a:lnTo>
                    <a:pt x="3030620" y="219196"/>
                  </a:lnTo>
                  <a:lnTo>
                    <a:pt x="3063976" y="252552"/>
                  </a:lnTo>
                  <a:lnTo>
                    <a:pt x="3097332" y="276378"/>
                  </a:lnTo>
                  <a:lnTo>
                    <a:pt x="3121156" y="290672"/>
                  </a:lnTo>
                  <a:lnTo>
                    <a:pt x="3135452" y="309732"/>
                  </a:lnTo>
                  <a:lnTo>
                    <a:pt x="3144984" y="314498"/>
                  </a:lnTo>
                  <a:lnTo>
                    <a:pt x="3164044" y="314498"/>
                  </a:lnTo>
                  <a:lnTo>
                    <a:pt x="3173576" y="314498"/>
                  </a:lnTo>
                  <a:lnTo>
                    <a:pt x="3187868" y="314498"/>
                  </a:lnTo>
                  <a:lnTo>
                    <a:pt x="3249816" y="347854"/>
                  </a:lnTo>
                  <a:lnTo>
                    <a:pt x="3268876" y="352620"/>
                  </a:lnTo>
                  <a:lnTo>
                    <a:pt x="3287936" y="352620"/>
                  </a:lnTo>
                  <a:lnTo>
                    <a:pt x="3297468" y="352620"/>
                  </a:lnTo>
                  <a:lnTo>
                    <a:pt x="3311764" y="343088"/>
                  </a:lnTo>
                  <a:lnTo>
                    <a:pt x="3345120" y="300202"/>
                  </a:lnTo>
                  <a:lnTo>
                    <a:pt x="3383240" y="266846"/>
                  </a:lnTo>
                  <a:lnTo>
                    <a:pt x="3388004" y="266846"/>
                  </a:lnTo>
                  <a:lnTo>
                    <a:pt x="3388004" y="276378"/>
                  </a:lnTo>
                  <a:lnTo>
                    <a:pt x="3383240" y="285908"/>
                  </a:lnTo>
                  <a:lnTo>
                    <a:pt x="3368944" y="319264"/>
                  </a:lnTo>
                  <a:lnTo>
                    <a:pt x="3349884" y="366914"/>
                  </a:lnTo>
                  <a:lnTo>
                    <a:pt x="3345120" y="390740"/>
                  </a:lnTo>
                  <a:lnTo>
                    <a:pt x="3354648" y="409800"/>
                  </a:lnTo>
                  <a:lnTo>
                    <a:pt x="3364180" y="428862"/>
                  </a:lnTo>
                  <a:lnTo>
                    <a:pt x="3373708" y="452686"/>
                  </a:lnTo>
                  <a:lnTo>
                    <a:pt x="3383240" y="486042"/>
                  </a:lnTo>
                  <a:lnTo>
                    <a:pt x="3397536" y="495572"/>
                  </a:lnTo>
                  <a:lnTo>
                    <a:pt x="3407064" y="495572"/>
                  </a:lnTo>
                  <a:lnTo>
                    <a:pt x="3421360" y="481278"/>
                  </a:lnTo>
                  <a:lnTo>
                    <a:pt x="3435656" y="471748"/>
                  </a:lnTo>
                  <a:lnTo>
                    <a:pt x="3449952" y="466982"/>
                  </a:lnTo>
                  <a:lnTo>
                    <a:pt x="3459484" y="471748"/>
                  </a:lnTo>
                  <a:lnTo>
                    <a:pt x="3445188" y="481278"/>
                  </a:lnTo>
                  <a:lnTo>
                    <a:pt x="3426128" y="490808"/>
                  </a:lnTo>
                  <a:lnTo>
                    <a:pt x="3416596" y="509868"/>
                  </a:lnTo>
                  <a:lnTo>
                    <a:pt x="3411832" y="514634"/>
                  </a:lnTo>
                  <a:lnTo>
                    <a:pt x="3392772" y="514634"/>
                  </a:lnTo>
                  <a:lnTo>
                    <a:pt x="3383240" y="514634"/>
                  </a:lnTo>
                  <a:lnTo>
                    <a:pt x="3368944" y="524164"/>
                  </a:lnTo>
                  <a:lnTo>
                    <a:pt x="3349884" y="533694"/>
                  </a:lnTo>
                  <a:lnTo>
                    <a:pt x="3335588" y="547990"/>
                  </a:lnTo>
                  <a:lnTo>
                    <a:pt x="3316528" y="552754"/>
                  </a:lnTo>
                  <a:lnTo>
                    <a:pt x="3302232" y="552754"/>
                  </a:lnTo>
                  <a:lnTo>
                    <a:pt x="3273644" y="562284"/>
                  </a:lnTo>
                  <a:lnTo>
                    <a:pt x="3254580" y="567050"/>
                  </a:lnTo>
                  <a:lnTo>
                    <a:pt x="3221224" y="557520"/>
                  </a:lnTo>
                  <a:lnTo>
                    <a:pt x="3206932" y="557520"/>
                  </a:lnTo>
                  <a:lnTo>
                    <a:pt x="3168808" y="576580"/>
                  </a:lnTo>
                  <a:lnTo>
                    <a:pt x="3135452" y="605170"/>
                  </a:lnTo>
                  <a:lnTo>
                    <a:pt x="3106864" y="638526"/>
                  </a:lnTo>
                  <a:lnTo>
                    <a:pt x="3083036" y="676648"/>
                  </a:lnTo>
                  <a:lnTo>
                    <a:pt x="3078272" y="695708"/>
                  </a:lnTo>
                  <a:lnTo>
                    <a:pt x="3068740" y="719534"/>
                  </a:lnTo>
                  <a:lnTo>
                    <a:pt x="3068740" y="733828"/>
                  </a:lnTo>
                  <a:lnTo>
                    <a:pt x="3068740" y="748124"/>
                  </a:lnTo>
                  <a:lnTo>
                    <a:pt x="3063976" y="757654"/>
                  </a:lnTo>
                  <a:lnTo>
                    <a:pt x="3054448" y="767184"/>
                  </a:lnTo>
                  <a:lnTo>
                    <a:pt x="3035384" y="762420"/>
                  </a:lnTo>
                  <a:lnTo>
                    <a:pt x="3002028" y="738594"/>
                  </a:lnTo>
                  <a:lnTo>
                    <a:pt x="2940084" y="710004"/>
                  </a:lnTo>
                  <a:lnTo>
                    <a:pt x="2873372" y="667118"/>
                  </a:lnTo>
                  <a:lnTo>
                    <a:pt x="2840016" y="643292"/>
                  </a:lnTo>
                  <a:lnTo>
                    <a:pt x="2768540" y="648056"/>
                  </a:lnTo>
                  <a:lnTo>
                    <a:pt x="2701828" y="690942"/>
                  </a:lnTo>
                  <a:lnTo>
                    <a:pt x="2697060" y="690942"/>
                  </a:lnTo>
                  <a:lnTo>
                    <a:pt x="2673236" y="657588"/>
                  </a:lnTo>
                  <a:lnTo>
                    <a:pt x="2658940" y="648056"/>
                  </a:lnTo>
                  <a:lnTo>
                    <a:pt x="2644644" y="643292"/>
                  </a:lnTo>
                  <a:lnTo>
                    <a:pt x="2635116" y="643292"/>
                  </a:lnTo>
                  <a:lnTo>
                    <a:pt x="2625584" y="648056"/>
                  </a:lnTo>
                  <a:lnTo>
                    <a:pt x="2611288" y="662352"/>
                  </a:lnTo>
                  <a:lnTo>
                    <a:pt x="2601760" y="671882"/>
                  </a:lnTo>
                  <a:lnTo>
                    <a:pt x="2601760" y="686178"/>
                  </a:lnTo>
                  <a:lnTo>
                    <a:pt x="2596996" y="695708"/>
                  </a:lnTo>
                  <a:lnTo>
                    <a:pt x="2601760" y="705238"/>
                  </a:lnTo>
                  <a:lnTo>
                    <a:pt x="2616056" y="724298"/>
                  </a:lnTo>
                  <a:lnTo>
                    <a:pt x="2630348" y="738594"/>
                  </a:lnTo>
                  <a:lnTo>
                    <a:pt x="2639880" y="738594"/>
                  </a:lnTo>
                  <a:lnTo>
                    <a:pt x="2654176" y="738594"/>
                  </a:lnTo>
                  <a:lnTo>
                    <a:pt x="2663704" y="738594"/>
                  </a:lnTo>
                  <a:lnTo>
                    <a:pt x="2692296" y="771950"/>
                  </a:lnTo>
                  <a:lnTo>
                    <a:pt x="2720888" y="795776"/>
                  </a:lnTo>
                  <a:lnTo>
                    <a:pt x="2730416" y="805306"/>
                  </a:lnTo>
                  <a:lnTo>
                    <a:pt x="2716124" y="814836"/>
                  </a:lnTo>
                  <a:lnTo>
                    <a:pt x="2706592" y="819602"/>
                  </a:lnTo>
                  <a:lnTo>
                    <a:pt x="2692296" y="819602"/>
                  </a:lnTo>
                  <a:lnTo>
                    <a:pt x="2678000" y="814836"/>
                  </a:lnTo>
                  <a:lnTo>
                    <a:pt x="2654176" y="805306"/>
                  </a:lnTo>
                  <a:lnTo>
                    <a:pt x="2639880" y="814836"/>
                  </a:lnTo>
                  <a:lnTo>
                    <a:pt x="2625584" y="833896"/>
                  </a:lnTo>
                  <a:lnTo>
                    <a:pt x="2616056" y="857722"/>
                  </a:lnTo>
                  <a:lnTo>
                    <a:pt x="2611288" y="867252"/>
                  </a:lnTo>
                  <a:lnTo>
                    <a:pt x="2592228" y="876782"/>
                  </a:lnTo>
                  <a:lnTo>
                    <a:pt x="2573168" y="886312"/>
                  </a:lnTo>
                  <a:lnTo>
                    <a:pt x="2563640" y="886312"/>
                  </a:lnTo>
                  <a:lnTo>
                    <a:pt x="2554108" y="876782"/>
                  </a:lnTo>
                  <a:lnTo>
                    <a:pt x="2549344" y="867252"/>
                  </a:lnTo>
                  <a:lnTo>
                    <a:pt x="2549344" y="852958"/>
                  </a:lnTo>
                  <a:lnTo>
                    <a:pt x="2554108" y="829132"/>
                  </a:lnTo>
                  <a:lnTo>
                    <a:pt x="2563640" y="805306"/>
                  </a:lnTo>
                  <a:lnTo>
                    <a:pt x="2568404" y="781480"/>
                  </a:lnTo>
                  <a:lnTo>
                    <a:pt x="2558872" y="752890"/>
                  </a:lnTo>
                  <a:lnTo>
                    <a:pt x="2554108" y="743360"/>
                  </a:lnTo>
                  <a:lnTo>
                    <a:pt x="2535048" y="724298"/>
                  </a:lnTo>
                  <a:lnTo>
                    <a:pt x="2525516" y="705238"/>
                  </a:lnTo>
                  <a:lnTo>
                    <a:pt x="2520752" y="681412"/>
                  </a:lnTo>
                  <a:lnTo>
                    <a:pt x="2520752" y="671882"/>
                  </a:lnTo>
                  <a:lnTo>
                    <a:pt x="2530284" y="643292"/>
                  </a:lnTo>
                  <a:lnTo>
                    <a:pt x="2530284" y="628996"/>
                  </a:lnTo>
                  <a:lnTo>
                    <a:pt x="2539812" y="624232"/>
                  </a:lnTo>
                  <a:lnTo>
                    <a:pt x="2554108" y="619466"/>
                  </a:lnTo>
                  <a:lnTo>
                    <a:pt x="2568404" y="609936"/>
                  </a:lnTo>
                  <a:lnTo>
                    <a:pt x="2582700" y="595640"/>
                  </a:lnTo>
                  <a:lnTo>
                    <a:pt x="2601760" y="581346"/>
                  </a:lnTo>
                  <a:lnTo>
                    <a:pt x="2616056" y="562284"/>
                  </a:lnTo>
                  <a:lnTo>
                    <a:pt x="2625584" y="543224"/>
                  </a:lnTo>
                  <a:lnTo>
                    <a:pt x="2611288" y="519398"/>
                  </a:lnTo>
                  <a:lnTo>
                    <a:pt x="2611288" y="500338"/>
                  </a:lnTo>
                  <a:lnTo>
                    <a:pt x="2611288" y="486042"/>
                  </a:lnTo>
                  <a:lnTo>
                    <a:pt x="2625584" y="481278"/>
                  </a:lnTo>
                  <a:lnTo>
                    <a:pt x="2639880" y="486042"/>
                  </a:lnTo>
                  <a:lnTo>
                    <a:pt x="2673236" y="505104"/>
                  </a:lnTo>
                  <a:lnTo>
                    <a:pt x="2678000" y="509868"/>
                  </a:lnTo>
                  <a:lnTo>
                    <a:pt x="2697060" y="509868"/>
                  </a:lnTo>
                  <a:lnTo>
                    <a:pt x="2725652" y="514634"/>
                  </a:lnTo>
                  <a:lnTo>
                    <a:pt x="2744712" y="514634"/>
                  </a:lnTo>
                  <a:lnTo>
                    <a:pt x="2754244" y="509868"/>
                  </a:lnTo>
                  <a:lnTo>
                    <a:pt x="2763772" y="495572"/>
                  </a:lnTo>
                  <a:lnTo>
                    <a:pt x="2768540" y="471748"/>
                  </a:lnTo>
                  <a:lnTo>
                    <a:pt x="2768540" y="443156"/>
                  </a:lnTo>
                  <a:lnTo>
                    <a:pt x="2768540" y="414566"/>
                  </a:lnTo>
                  <a:lnTo>
                    <a:pt x="2773304" y="390740"/>
                  </a:lnTo>
                  <a:lnTo>
                    <a:pt x="2797128" y="357384"/>
                  </a:lnTo>
                  <a:lnTo>
                    <a:pt x="2806660" y="333558"/>
                  </a:lnTo>
                  <a:lnTo>
                    <a:pt x="2806660" y="281142"/>
                  </a:lnTo>
                  <a:lnTo>
                    <a:pt x="2816188" y="257316"/>
                  </a:lnTo>
                  <a:lnTo>
                    <a:pt x="2825720" y="233490"/>
                  </a:lnTo>
                  <a:lnTo>
                    <a:pt x="2825720" y="181074"/>
                  </a:lnTo>
                  <a:lnTo>
                    <a:pt x="2816188" y="133424"/>
                  </a:lnTo>
                  <a:lnTo>
                    <a:pt x="2806660" y="109598"/>
                  </a:lnTo>
                  <a:lnTo>
                    <a:pt x="2797128" y="85772"/>
                  </a:lnTo>
                  <a:lnTo>
                    <a:pt x="2797128" y="61946"/>
                  </a:lnTo>
                  <a:lnTo>
                    <a:pt x="2806660" y="42886"/>
                  </a:lnTo>
                  <a:lnTo>
                    <a:pt x="2806660" y="33356"/>
                  </a:lnTo>
                  <a:lnTo>
                    <a:pt x="2811424" y="28590"/>
                  </a:lnTo>
                  <a:lnTo>
                    <a:pt x="2825720" y="28590"/>
                  </a:lnTo>
                  <a:lnTo>
                    <a:pt x="2835252" y="23826"/>
                  </a:lnTo>
                  <a:lnTo>
                    <a:pt x="2844780" y="9530"/>
                  </a:lnTo>
                  <a:close/>
                  <a:moveTo>
                    <a:pt x="3921700" y="0"/>
                  </a:moveTo>
                  <a:lnTo>
                    <a:pt x="3926464" y="4766"/>
                  </a:lnTo>
                  <a:lnTo>
                    <a:pt x="3926464" y="9530"/>
                  </a:lnTo>
                  <a:lnTo>
                    <a:pt x="3926464" y="19060"/>
                  </a:lnTo>
                  <a:lnTo>
                    <a:pt x="3926464" y="28590"/>
                  </a:lnTo>
                  <a:lnTo>
                    <a:pt x="3931228" y="38122"/>
                  </a:lnTo>
                  <a:lnTo>
                    <a:pt x="3921700" y="47652"/>
                  </a:lnTo>
                  <a:lnTo>
                    <a:pt x="3893108" y="47652"/>
                  </a:lnTo>
                  <a:lnTo>
                    <a:pt x="3864516" y="66712"/>
                  </a:lnTo>
                  <a:lnTo>
                    <a:pt x="3840692" y="71478"/>
                  </a:lnTo>
                  <a:lnTo>
                    <a:pt x="3797804" y="104832"/>
                  </a:lnTo>
                  <a:lnTo>
                    <a:pt x="3783512" y="119128"/>
                  </a:lnTo>
                  <a:lnTo>
                    <a:pt x="3764448" y="128658"/>
                  </a:lnTo>
                  <a:lnTo>
                    <a:pt x="3745388" y="123894"/>
                  </a:lnTo>
                  <a:lnTo>
                    <a:pt x="3740624" y="133424"/>
                  </a:lnTo>
                  <a:lnTo>
                    <a:pt x="3740624" y="142954"/>
                  </a:lnTo>
                  <a:lnTo>
                    <a:pt x="3731092" y="157250"/>
                  </a:lnTo>
                  <a:lnTo>
                    <a:pt x="3692972" y="190606"/>
                  </a:lnTo>
                  <a:lnTo>
                    <a:pt x="3673912" y="219196"/>
                  </a:lnTo>
                  <a:lnTo>
                    <a:pt x="3659616" y="223962"/>
                  </a:lnTo>
                  <a:lnTo>
                    <a:pt x="3626260" y="247788"/>
                  </a:lnTo>
                  <a:lnTo>
                    <a:pt x="3631028" y="223962"/>
                  </a:lnTo>
                  <a:lnTo>
                    <a:pt x="3640556" y="214432"/>
                  </a:lnTo>
                  <a:lnTo>
                    <a:pt x="3664380" y="195370"/>
                  </a:lnTo>
                  <a:lnTo>
                    <a:pt x="3669148" y="171544"/>
                  </a:lnTo>
                  <a:lnTo>
                    <a:pt x="3683444" y="152484"/>
                  </a:lnTo>
                  <a:lnTo>
                    <a:pt x="3712032" y="133424"/>
                  </a:lnTo>
                  <a:lnTo>
                    <a:pt x="3731092" y="104832"/>
                  </a:lnTo>
                  <a:lnTo>
                    <a:pt x="3745388" y="100068"/>
                  </a:lnTo>
                  <a:lnTo>
                    <a:pt x="3764448" y="76242"/>
                  </a:lnTo>
                  <a:lnTo>
                    <a:pt x="3783512" y="71478"/>
                  </a:lnTo>
                  <a:lnTo>
                    <a:pt x="3778744" y="52416"/>
                  </a:lnTo>
                  <a:lnTo>
                    <a:pt x="3788276" y="33356"/>
                  </a:lnTo>
                  <a:lnTo>
                    <a:pt x="3793040" y="33356"/>
                  </a:lnTo>
                  <a:lnTo>
                    <a:pt x="3807336" y="61946"/>
                  </a:lnTo>
                  <a:lnTo>
                    <a:pt x="3821632" y="61946"/>
                  </a:lnTo>
                  <a:lnTo>
                    <a:pt x="3850220" y="57182"/>
                  </a:lnTo>
                  <a:lnTo>
                    <a:pt x="3893108" y="9530"/>
                  </a:lnTo>
                  <a:lnTo>
                    <a:pt x="3907404"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18" name="Google Shape;4985;p64">
              <a:extLst>
                <a:ext uri="{FF2B5EF4-FFF2-40B4-BE49-F238E27FC236}">
                  <a16:creationId xmlns:a16="http://schemas.microsoft.com/office/drawing/2014/main" id="{1CC2151A-52E5-C9C1-4B21-80A5FD5894D6}"/>
                </a:ext>
              </a:extLst>
            </p:cNvPr>
            <p:cNvSpPr/>
            <p:nvPr/>
          </p:nvSpPr>
          <p:spPr>
            <a:xfrm>
              <a:off x="4946977" y="1733148"/>
              <a:ext cx="3671096" cy="2282332"/>
            </a:xfrm>
            <a:custGeom>
              <a:avLst/>
              <a:gdLst/>
              <a:ahLst/>
              <a:cxnLst/>
              <a:rect l="l" t="t" r="r" b="b"/>
              <a:pathLst>
                <a:path w="26653740" h="16570717" extrusionOk="0">
                  <a:moveTo>
                    <a:pt x="4426804" y="15612929"/>
                  </a:moveTo>
                  <a:lnTo>
                    <a:pt x="4431568" y="15631989"/>
                  </a:lnTo>
                  <a:lnTo>
                    <a:pt x="4431568" y="15646285"/>
                  </a:lnTo>
                  <a:lnTo>
                    <a:pt x="4426804" y="15651049"/>
                  </a:lnTo>
                  <a:lnTo>
                    <a:pt x="4422040" y="15631989"/>
                  </a:lnTo>
                  <a:lnTo>
                    <a:pt x="4422040" y="15617693"/>
                  </a:lnTo>
                  <a:close/>
                  <a:moveTo>
                    <a:pt x="20416188" y="15484269"/>
                  </a:moveTo>
                  <a:lnTo>
                    <a:pt x="20449544" y="15484269"/>
                  </a:lnTo>
                  <a:lnTo>
                    <a:pt x="20397128" y="15531921"/>
                  </a:lnTo>
                  <a:lnTo>
                    <a:pt x="20392364" y="15546215"/>
                  </a:lnTo>
                  <a:lnTo>
                    <a:pt x="20373304" y="15565277"/>
                  </a:lnTo>
                  <a:lnTo>
                    <a:pt x="20354244" y="15574807"/>
                  </a:lnTo>
                  <a:lnTo>
                    <a:pt x="20344712" y="15579571"/>
                  </a:lnTo>
                  <a:lnTo>
                    <a:pt x="20316120" y="15612927"/>
                  </a:lnTo>
                  <a:lnTo>
                    <a:pt x="20292296" y="15622457"/>
                  </a:lnTo>
                  <a:lnTo>
                    <a:pt x="20278000" y="15622457"/>
                  </a:lnTo>
                  <a:lnTo>
                    <a:pt x="20311356" y="15570041"/>
                  </a:lnTo>
                  <a:lnTo>
                    <a:pt x="20330416" y="15560511"/>
                  </a:lnTo>
                  <a:lnTo>
                    <a:pt x="20359008" y="15527155"/>
                  </a:lnTo>
                  <a:lnTo>
                    <a:pt x="20411424" y="15489035"/>
                  </a:lnTo>
                  <a:close/>
                  <a:moveTo>
                    <a:pt x="20711624" y="15274603"/>
                  </a:moveTo>
                  <a:lnTo>
                    <a:pt x="20721156" y="15274603"/>
                  </a:lnTo>
                  <a:lnTo>
                    <a:pt x="20678272" y="15331785"/>
                  </a:lnTo>
                  <a:lnTo>
                    <a:pt x="20644916" y="15355609"/>
                  </a:lnTo>
                  <a:lnTo>
                    <a:pt x="20635384" y="15355609"/>
                  </a:lnTo>
                  <a:lnTo>
                    <a:pt x="20630620" y="15346079"/>
                  </a:lnTo>
                  <a:lnTo>
                    <a:pt x="20630620" y="15341315"/>
                  </a:lnTo>
                  <a:lnTo>
                    <a:pt x="20654444" y="15336549"/>
                  </a:lnTo>
                  <a:lnTo>
                    <a:pt x="20683036" y="15303193"/>
                  </a:lnTo>
                  <a:lnTo>
                    <a:pt x="20702096" y="15279369"/>
                  </a:lnTo>
                  <a:close/>
                  <a:moveTo>
                    <a:pt x="20845048" y="15117353"/>
                  </a:moveTo>
                  <a:lnTo>
                    <a:pt x="20845048" y="15131649"/>
                  </a:lnTo>
                  <a:lnTo>
                    <a:pt x="20840284" y="15141181"/>
                  </a:lnTo>
                  <a:lnTo>
                    <a:pt x="20830756" y="15141181"/>
                  </a:lnTo>
                  <a:lnTo>
                    <a:pt x="20830756" y="15136415"/>
                  </a:lnTo>
                  <a:lnTo>
                    <a:pt x="20840284" y="15122119"/>
                  </a:lnTo>
                  <a:close/>
                  <a:moveTo>
                    <a:pt x="21007064" y="14860037"/>
                  </a:moveTo>
                  <a:lnTo>
                    <a:pt x="21016596" y="14860037"/>
                  </a:lnTo>
                  <a:lnTo>
                    <a:pt x="21021360" y="14864803"/>
                  </a:lnTo>
                  <a:lnTo>
                    <a:pt x="21021360" y="14874333"/>
                  </a:lnTo>
                  <a:lnTo>
                    <a:pt x="21002300" y="14888627"/>
                  </a:lnTo>
                  <a:lnTo>
                    <a:pt x="20992768" y="14902923"/>
                  </a:lnTo>
                  <a:lnTo>
                    <a:pt x="20988004" y="14898157"/>
                  </a:lnTo>
                  <a:lnTo>
                    <a:pt x="20988004" y="14893393"/>
                  </a:lnTo>
                  <a:lnTo>
                    <a:pt x="21002300" y="14879097"/>
                  </a:lnTo>
                  <a:close/>
                  <a:moveTo>
                    <a:pt x="21116660" y="14683729"/>
                  </a:moveTo>
                  <a:lnTo>
                    <a:pt x="21126192" y="14688493"/>
                  </a:lnTo>
                  <a:lnTo>
                    <a:pt x="21126192" y="14702789"/>
                  </a:lnTo>
                  <a:lnTo>
                    <a:pt x="21111896" y="14726613"/>
                  </a:lnTo>
                  <a:lnTo>
                    <a:pt x="21116660" y="14755205"/>
                  </a:lnTo>
                  <a:lnTo>
                    <a:pt x="21116660" y="14764735"/>
                  </a:lnTo>
                  <a:lnTo>
                    <a:pt x="21097600" y="14774265"/>
                  </a:lnTo>
                  <a:lnTo>
                    <a:pt x="21083304" y="14769499"/>
                  </a:lnTo>
                  <a:lnTo>
                    <a:pt x="21083304" y="14750439"/>
                  </a:lnTo>
                  <a:close/>
                  <a:moveTo>
                    <a:pt x="21316796" y="14407349"/>
                  </a:moveTo>
                  <a:lnTo>
                    <a:pt x="21321564" y="14435941"/>
                  </a:lnTo>
                  <a:lnTo>
                    <a:pt x="21316796" y="14459767"/>
                  </a:lnTo>
                  <a:lnTo>
                    <a:pt x="21307268" y="14488357"/>
                  </a:lnTo>
                  <a:lnTo>
                    <a:pt x="21288208" y="14526479"/>
                  </a:lnTo>
                  <a:lnTo>
                    <a:pt x="21269148" y="14550303"/>
                  </a:lnTo>
                  <a:lnTo>
                    <a:pt x="21240556" y="14555069"/>
                  </a:lnTo>
                  <a:lnTo>
                    <a:pt x="21226260" y="14564599"/>
                  </a:lnTo>
                  <a:lnTo>
                    <a:pt x="21211964" y="14578895"/>
                  </a:lnTo>
                  <a:lnTo>
                    <a:pt x="21207200" y="14588425"/>
                  </a:lnTo>
                  <a:lnTo>
                    <a:pt x="21188140" y="14583659"/>
                  </a:lnTo>
                  <a:lnTo>
                    <a:pt x="21183376" y="14574129"/>
                  </a:lnTo>
                  <a:lnTo>
                    <a:pt x="21183376" y="14545539"/>
                  </a:lnTo>
                  <a:lnTo>
                    <a:pt x="21173844" y="14536009"/>
                  </a:lnTo>
                  <a:lnTo>
                    <a:pt x="21178608" y="14526479"/>
                  </a:lnTo>
                  <a:lnTo>
                    <a:pt x="21192904" y="14526479"/>
                  </a:lnTo>
                  <a:lnTo>
                    <a:pt x="21211964" y="14507417"/>
                  </a:lnTo>
                  <a:lnTo>
                    <a:pt x="21250088" y="14502653"/>
                  </a:lnTo>
                  <a:lnTo>
                    <a:pt x="21264380" y="14478827"/>
                  </a:lnTo>
                  <a:lnTo>
                    <a:pt x="21283440" y="14431175"/>
                  </a:lnTo>
                  <a:lnTo>
                    <a:pt x="21297736" y="14412115"/>
                  </a:lnTo>
                  <a:close/>
                  <a:moveTo>
                    <a:pt x="21359684" y="14388289"/>
                  </a:moveTo>
                  <a:lnTo>
                    <a:pt x="21369212" y="14388289"/>
                  </a:lnTo>
                  <a:lnTo>
                    <a:pt x="21373980" y="14393055"/>
                  </a:lnTo>
                  <a:lnTo>
                    <a:pt x="21373980" y="14416881"/>
                  </a:lnTo>
                  <a:lnTo>
                    <a:pt x="21364448" y="14435941"/>
                  </a:lnTo>
                  <a:lnTo>
                    <a:pt x="21354920" y="14445473"/>
                  </a:lnTo>
                  <a:lnTo>
                    <a:pt x="21350152" y="14440707"/>
                  </a:lnTo>
                  <a:lnTo>
                    <a:pt x="21331092" y="14426411"/>
                  </a:lnTo>
                  <a:lnTo>
                    <a:pt x="21326328" y="14416881"/>
                  </a:lnTo>
                  <a:lnTo>
                    <a:pt x="21331092" y="14407351"/>
                  </a:lnTo>
                  <a:close/>
                  <a:moveTo>
                    <a:pt x="21231024" y="14369229"/>
                  </a:moveTo>
                  <a:lnTo>
                    <a:pt x="21245320" y="14373995"/>
                  </a:lnTo>
                  <a:lnTo>
                    <a:pt x="21245320" y="14393055"/>
                  </a:lnTo>
                  <a:lnTo>
                    <a:pt x="21245320" y="14397821"/>
                  </a:lnTo>
                  <a:lnTo>
                    <a:pt x="21231024" y="14397821"/>
                  </a:lnTo>
                  <a:lnTo>
                    <a:pt x="21221496" y="14393055"/>
                  </a:lnTo>
                  <a:lnTo>
                    <a:pt x="21221496" y="14383525"/>
                  </a:lnTo>
                  <a:lnTo>
                    <a:pt x="21216728" y="14373995"/>
                  </a:lnTo>
                  <a:close/>
                  <a:moveTo>
                    <a:pt x="19220140" y="13473385"/>
                  </a:moveTo>
                  <a:lnTo>
                    <a:pt x="19234436" y="13478151"/>
                  </a:lnTo>
                  <a:lnTo>
                    <a:pt x="19267792" y="13544863"/>
                  </a:lnTo>
                  <a:lnTo>
                    <a:pt x="19267792" y="13559159"/>
                  </a:lnTo>
                  <a:lnTo>
                    <a:pt x="19263028" y="13573453"/>
                  </a:lnTo>
                  <a:lnTo>
                    <a:pt x="19258264" y="13592515"/>
                  </a:lnTo>
                  <a:lnTo>
                    <a:pt x="19253496" y="13616339"/>
                  </a:lnTo>
                  <a:lnTo>
                    <a:pt x="19258264" y="13635401"/>
                  </a:lnTo>
                  <a:lnTo>
                    <a:pt x="19282088" y="13716407"/>
                  </a:lnTo>
                  <a:lnTo>
                    <a:pt x="19305912" y="13768823"/>
                  </a:lnTo>
                  <a:lnTo>
                    <a:pt x="19310680" y="13787885"/>
                  </a:lnTo>
                  <a:lnTo>
                    <a:pt x="19315444" y="13811709"/>
                  </a:lnTo>
                  <a:lnTo>
                    <a:pt x="19320208" y="13854597"/>
                  </a:lnTo>
                  <a:lnTo>
                    <a:pt x="19320208" y="13921307"/>
                  </a:lnTo>
                  <a:lnTo>
                    <a:pt x="19320208" y="13945133"/>
                  </a:lnTo>
                  <a:lnTo>
                    <a:pt x="19315444" y="13968959"/>
                  </a:lnTo>
                  <a:lnTo>
                    <a:pt x="19310680" y="13978489"/>
                  </a:lnTo>
                  <a:lnTo>
                    <a:pt x="19301148" y="13988019"/>
                  </a:lnTo>
                  <a:lnTo>
                    <a:pt x="19296384" y="14011845"/>
                  </a:lnTo>
                  <a:lnTo>
                    <a:pt x="19291620" y="14078557"/>
                  </a:lnTo>
                  <a:lnTo>
                    <a:pt x="19301148" y="14116677"/>
                  </a:lnTo>
                  <a:lnTo>
                    <a:pt x="19310680" y="14140503"/>
                  </a:lnTo>
                  <a:lnTo>
                    <a:pt x="19315444" y="14164329"/>
                  </a:lnTo>
                  <a:lnTo>
                    <a:pt x="19315444" y="14192921"/>
                  </a:lnTo>
                  <a:lnTo>
                    <a:pt x="19320208" y="14207215"/>
                  </a:lnTo>
                  <a:lnTo>
                    <a:pt x="19334504" y="14221511"/>
                  </a:lnTo>
                  <a:lnTo>
                    <a:pt x="19339268" y="14235807"/>
                  </a:lnTo>
                  <a:lnTo>
                    <a:pt x="19344036" y="14254867"/>
                  </a:lnTo>
                  <a:lnTo>
                    <a:pt x="19344036" y="14278693"/>
                  </a:lnTo>
                  <a:lnTo>
                    <a:pt x="19344036" y="14283457"/>
                  </a:lnTo>
                  <a:lnTo>
                    <a:pt x="19353564" y="14292987"/>
                  </a:lnTo>
                  <a:lnTo>
                    <a:pt x="19386920" y="14474063"/>
                  </a:lnTo>
                  <a:lnTo>
                    <a:pt x="19396452" y="14531245"/>
                  </a:lnTo>
                  <a:lnTo>
                    <a:pt x="19434572" y="14621781"/>
                  </a:lnTo>
                  <a:lnTo>
                    <a:pt x="19448868" y="14678963"/>
                  </a:lnTo>
                  <a:lnTo>
                    <a:pt x="19458396" y="14707553"/>
                  </a:lnTo>
                  <a:lnTo>
                    <a:pt x="19463164" y="14736145"/>
                  </a:lnTo>
                  <a:lnTo>
                    <a:pt x="19467928" y="14764735"/>
                  </a:lnTo>
                  <a:lnTo>
                    <a:pt x="19477460" y="14798091"/>
                  </a:lnTo>
                  <a:lnTo>
                    <a:pt x="19491752" y="14826681"/>
                  </a:lnTo>
                  <a:lnTo>
                    <a:pt x="19520344" y="14855273"/>
                  </a:lnTo>
                  <a:lnTo>
                    <a:pt x="19534640" y="14869569"/>
                  </a:lnTo>
                  <a:lnTo>
                    <a:pt x="19534640" y="14883863"/>
                  </a:lnTo>
                  <a:lnTo>
                    <a:pt x="19534640" y="14926749"/>
                  </a:lnTo>
                  <a:lnTo>
                    <a:pt x="19529876" y="14917219"/>
                  </a:lnTo>
                  <a:lnTo>
                    <a:pt x="19525108" y="14883863"/>
                  </a:lnTo>
                  <a:lnTo>
                    <a:pt x="19510816" y="14864803"/>
                  </a:lnTo>
                  <a:lnTo>
                    <a:pt x="19491752" y="14840977"/>
                  </a:lnTo>
                  <a:lnTo>
                    <a:pt x="19467928" y="14821917"/>
                  </a:lnTo>
                  <a:lnTo>
                    <a:pt x="19444104" y="14788561"/>
                  </a:lnTo>
                  <a:lnTo>
                    <a:pt x="19434572" y="14779031"/>
                  </a:lnTo>
                  <a:lnTo>
                    <a:pt x="19420276" y="14774265"/>
                  </a:lnTo>
                  <a:lnTo>
                    <a:pt x="19396452" y="14764735"/>
                  </a:lnTo>
                  <a:lnTo>
                    <a:pt x="19382156" y="14764735"/>
                  </a:lnTo>
                  <a:lnTo>
                    <a:pt x="19329740" y="14769501"/>
                  </a:lnTo>
                  <a:lnTo>
                    <a:pt x="19305912" y="14774265"/>
                  </a:lnTo>
                  <a:lnTo>
                    <a:pt x="19286852" y="14793325"/>
                  </a:lnTo>
                  <a:lnTo>
                    <a:pt x="19272556" y="14812387"/>
                  </a:lnTo>
                  <a:lnTo>
                    <a:pt x="19267792" y="14860037"/>
                  </a:lnTo>
                  <a:lnTo>
                    <a:pt x="19215376" y="15017287"/>
                  </a:lnTo>
                  <a:lnTo>
                    <a:pt x="19201080" y="15060173"/>
                  </a:lnTo>
                  <a:lnTo>
                    <a:pt x="19196316" y="15103059"/>
                  </a:lnTo>
                  <a:lnTo>
                    <a:pt x="19201080" y="15136415"/>
                  </a:lnTo>
                  <a:lnTo>
                    <a:pt x="19205848" y="15145945"/>
                  </a:lnTo>
                  <a:lnTo>
                    <a:pt x="19220140" y="15184067"/>
                  </a:lnTo>
                  <a:lnTo>
                    <a:pt x="19229672" y="15203127"/>
                  </a:lnTo>
                  <a:lnTo>
                    <a:pt x="19239200" y="15212657"/>
                  </a:lnTo>
                  <a:lnTo>
                    <a:pt x="19248732" y="15217423"/>
                  </a:lnTo>
                  <a:lnTo>
                    <a:pt x="19253496" y="15222187"/>
                  </a:lnTo>
                  <a:lnTo>
                    <a:pt x="19258264" y="15231717"/>
                  </a:lnTo>
                  <a:lnTo>
                    <a:pt x="19272556" y="15255543"/>
                  </a:lnTo>
                  <a:lnTo>
                    <a:pt x="19282088" y="15303195"/>
                  </a:lnTo>
                  <a:lnTo>
                    <a:pt x="19296384" y="15341315"/>
                  </a:lnTo>
                  <a:lnTo>
                    <a:pt x="19305912" y="15350845"/>
                  </a:lnTo>
                  <a:lnTo>
                    <a:pt x="19320208" y="15350845"/>
                  </a:lnTo>
                  <a:lnTo>
                    <a:pt x="19329740" y="15350845"/>
                  </a:lnTo>
                  <a:lnTo>
                    <a:pt x="19339268" y="15355611"/>
                  </a:lnTo>
                  <a:lnTo>
                    <a:pt x="19344036" y="15360377"/>
                  </a:lnTo>
                  <a:lnTo>
                    <a:pt x="19353564" y="15403263"/>
                  </a:lnTo>
                  <a:lnTo>
                    <a:pt x="19358332" y="15441383"/>
                  </a:lnTo>
                  <a:lnTo>
                    <a:pt x="19358332" y="15450913"/>
                  </a:lnTo>
                  <a:lnTo>
                    <a:pt x="19348800" y="15479505"/>
                  </a:lnTo>
                  <a:lnTo>
                    <a:pt x="19348800" y="15493799"/>
                  </a:lnTo>
                  <a:lnTo>
                    <a:pt x="19344036" y="15508095"/>
                  </a:lnTo>
                  <a:lnTo>
                    <a:pt x="19344036" y="15517625"/>
                  </a:lnTo>
                  <a:lnTo>
                    <a:pt x="19339268" y="15527155"/>
                  </a:lnTo>
                  <a:lnTo>
                    <a:pt x="19334504" y="15484269"/>
                  </a:lnTo>
                  <a:lnTo>
                    <a:pt x="19329740" y="15450913"/>
                  </a:lnTo>
                  <a:lnTo>
                    <a:pt x="19324976" y="15427087"/>
                  </a:lnTo>
                  <a:lnTo>
                    <a:pt x="19315444" y="15408027"/>
                  </a:lnTo>
                  <a:lnTo>
                    <a:pt x="19277324" y="15398497"/>
                  </a:lnTo>
                  <a:lnTo>
                    <a:pt x="19243968" y="15393731"/>
                  </a:lnTo>
                  <a:lnTo>
                    <a:pt x="19239200" y="15393731"/>
                  </a:lnTo>
                  <a:lnTo>
                    <a:pt x="19229672" y="15379437"/>
                  </a:lnTo>
                  <a:lnTo>
                    <a:pt x="19220140" y="15369907"/>
                  </a:lnTo>
                  <a:lnTo>
                    <a:pt x="19210612" y="15369907"/>
                  </a:lnTo>
                  <a:lnTo>
                    <a:pt x="19205848" y="15374671"/>
                  </a:lnTo>
                  <a:lnTo>
                    <a:pt x="19186784" y="15388967"/>
                  </a:lnTo>
                  <a:lnTo>
                    <a:pt x="19177256" y="15408027"/>
                  </a:lnTo>
                  <a:lnTo>
                    <a:pt x="19167724" y="15431853"/>
                  </a:lnTo>
                  <a:lnTo>
                    <a:pt x="19162960" y="15450913"/>
                  </a:lnTo>
                  <a:lnTo>
                    <a:pt x="19143900" y="15512861"/>
                  </a:lnTo>
                  <a:lnTo>
                    <a:pt x="19139136" y="15531921"/>
                  </a:lnTo>
                  <a:lnTo>
                    <a:pt x="19124840" y="15550981"/>
                  </a:lnTo>
                  <a:lnTo>
                    <a:pt x="19115308" y="15541451"/>
                  </a:lnTo>
                  <a:lnTo>
                    <a:pt x="19105780" y="15531921"/>
                  </a:lnTo>
                  <a:lnTo>
                    <a:pt x="19101012" y="15512861"/>
                  </a:lnTo>
                  <a:lnTo>
                    <a:pt x="19101012" y="15493799"/>
                  </a:lnTo>
                  <a:lnTo>
                    <a:pt x="19086716" y="15431853"/>
                  </a:lnTo>
                  <a:lnTo>
                    <a:pt x="19091484" y="15374671"/>
                  </a:lnTo>
                  <a:lnTo>
                    <a:pt x="19115308" y="15298429"/>
                  </a:lnTo>
                  <a:lnTo>
                    <a:pt x="19120072" y="15274603"/>
                  </a:lnTo>
                  <a:lnTo>
                    <a:pt x="19115308" y="15250777"/>
                  </a:lnTo>
                  <a:lnTo>
                    <a:pt x="19110544" y="15226953"/>
                  </a:lnTo>
                  <a:lnTo>
                    <a:pt x="19105780" y="15179301"/>
                  </a:lnTo>
                  <a:lnTo>
                    <a:pt x="19110544" y="15169771"/>
                  </a:lnTo>
                  <a:lnTo>
                    <a:pt x="19115308" y="15145945"/>
                  </a:lnTo>
                  <a:lnTo>
                    <a:pt x="19124840" y="15117355"/>
                  </a:lnTo>
                  <a:lnTo>
                    <a:pt x="19139136" y="15098293"/>
                  </a:lnTo>
                  <a:lnTo>
                    <a:pt x="19143900" y="15069703"/>
                  </a:lnTo>
                  <a:lnTo>
                    <a:pt x="19134368" y="15007757"/>
                  </a:lnTo>
                  <a:lnTo>
                    <a:pt x="19120072" y="14964871"/>
                  </a:lnTo>
                  <a:lnTo>
                    <a:pt x="19096248" y="14921985"/>
                  </a:lnTo>
                  <a:lnTo>
                    <a:pt x="19091484" y="14907689"/>
                  </a:lnTo>
                  <a:lnTo>
                    <a:pt x="19091484" y="14898159"/>
                  </a:lnTo>
                  <a:lnTo>
                    <a:pt x="19110544" y="14845743"/>
                  </a:lnTo>
                  <a:lnTo>
                    <a:pt x="19115308" y="14821917"/>
                  </a:lnTo>
                  <a:lnTo>
                    <a:pt x="19124840" y="14764735"/>
                  </a:lnTo>
                  <a:lnTo>
                    <a:pt x="19129604" y="14736145"/>
                  </a:lnTo>
                  <a:lnTo>
                    <a:pt x="19134368" y="14702789"/>
                  </a:lnTo>
                  <a:lnTo>
                    <a:pt x="19139136" y="14545539"/>
                  </a:lnTo>
                  <a:lnTo>
                    <a:pt x="19134368" y="14521713"/>
                  </a:lnTo>
                  <a:lnTo>
                    <a:pt x="19124840" y="14474063"/>
                  </a:lnTo>
                  <a:lnTo>
                    <a:pt x="19124840" y="14445471"/>
                  </a:lnTo>
                  <a:lnTo>
                    <a:pt x="19129604" y="14407351"/>
                  </a:lnTo>
                  <a:lnTo>
                    <a:pt x="19134368" y="14378759"/>
                  </a:lnTo>
                  <a:lnTo>
                    <a:pt x="19143900" y="14354935"/>
                  </a:lnTo>
                  <a:lnTo>
                    <a:pt x="19143900" y="14297753"/>
                  </a:lnTo>
                  <a:lnTo>
                    <a:pt x="19129604" y="14245337"/>
                  </a:lnTo>
                  <a:lnTo>
                    <a:pt x="19115308" y="14221511"/>
                  </a:lnTo>
                  <a:lnTo>
                    <a:pt x="19091484" y="14197685"/>
                  </a:lnTo>
                  <a:lnTo>
                    <a:pt x="19077188" y="14178625"/>
                  </a:lnTo>
                  <a:lnTo>
                    <a:pt x="19072424" y="14169095"/>
                  </a:lnTo>
                  <a:lnTo>
                    <a:pt x="19077188" y="14164329"/>
                  </a:lnTo>
                  <a:lnTo>
                    <a:pt x="19081952" y="14154799"/>
                  </a:lnTo>
                  <a:lnTo>
                    <a:pt x="19072424" y="14140503"/>
                  </a:lnTo>
                  <a:lnTo>
                    <a:pt x="19062892" y="14121443"/>
                  </a:lnTo>
                  <a:lnTo>
                    <a:pt x="19058128" y="14030905"/>
                  </a:lnTo>
                  <a:lnTo>
                    <a:pt x="19062892" y="14011845"/>
                  </a:lnTo>
                  <a:lnTo>
                    <a:pt x="19072424" y="13988019"/>
                  </a:lnTo>
                  <a:lnTo>
                    <a:pt x="19081952" y="13959429"/>
                  </a:lnTo>
                  <a:lnTo>
                    <a:pt x="19091484" y="13897483"/>
                  </a:lnTo>
                  <a:lnTo>
                    <a:pt x="19096248" y="13835535"/>
                  </a:lnTo>
                  <a:lnTo>
                    <a:pt x="19086716" y="13811709"/>
                  </a:lnTo>
                  <a:lnTo>
                    <a:pt x="19086716" y="13754529"/>
                  </a:lnTo>
                  <a:lnTo>
                    <a:pt x="19091484" y="13744999"/>
                  </a:lnTo>
                  <a:lnTo>
                    <a:pt x="19110544" y="13725937"/>
                  </a:lnTo>
                  <a:lnTo>
                    <a:pt x="19134368" y="13716407"/>
                  </a:lnTo>
                  <a:lnTo>
                    <a:pt x="19139136" y="13721173"/>
                  </a:lnTo>
                  <a:lnTo>
                    <a:pt x="19162960" y="13740233"/>
                  </a:lnTo>
                  <a:lnTo>
                    <a:pt x="19172492" y="13740233"/>
                  </a:lnTo>
                  <a:lnTo>
                    <a:pt x="19177256" y="13740233"/>
                  </a:lnTo>
                  <a:lnTo>
                    <a:pt x="19196316" y="13730703"/>
                  </a:lnTo>
                  <a:lnTo>
                    <a:pt x="19205848" y="13706877"/>
                  </a:lnTo>
                  <a:lnTo>
                    <a:pt x="19191552" y="13692581"/>
                  </a:lnTo>
                  <a:lnTo>
                    <a:pt x="19201080" y="13673521"/>
                  </a:lnTo>
                  <a:lnTo>
                    <a:pt x="19220140" y="13668757"/>
                  </a:lnTo>
                  <a:lnTo>
                    <a:pt x="19220140" y="13654461"/>
                  </a:lnTo>
                  <a:lnTo>
                    <a:pt x="19215376" y="13654461"/>
                  </a:lnTo>
                  <a:lnTo>
                    <a:pt x="19220140" y="13630635"/>
                  </a:lnTo>
                  <a:lnTo>
                    <a:pt x="19224908" y="13611575"/>
                  </a:lnTo>
                  <a:lnTo>
                    <a:pt x="19220140" y="13592515"/>
                  </a:lnTo>
                  <a:lnTo>
                    <a:pt x="19186784" y="13544863"/>
                  </a:lnTo>
                  <a:lnTo>
                    <a:pt x="19167724" y="13506741"/>
                  </a:lnTo>
                  <a:lnTo>
                    <a:pt x="19201080" y="13506741"/>
                  </a:lnTo>
                  <a:lnTo>
                    <a:pt x="19210612" y="13501977"/>
                  </a:lnTo>
                  <a:lnTo>
                    <a:pt x="19215376" y="13487681"/>
                  </a:lnTo>
                  <a:close/>
                  <a:moveTo>
                    <a:pt x="23089424" y="13354257"/>
                  </a:moveTo>
                  <a:lnTo>
                    <a:pt x="23098956" y="13354257"/>
                  </a:lnTo>
                  <a:lnTo>
                    <a:pt x="23108484" y="13368552"/>
                  </a:lnTo>
                  <a:lnTo>
                    <a:pt x="23127548" y="13378083"/>
                  </a:lnTo>
                  <a:lnTo>
                    <a:pt x="23156136" y="13397143"/>
                  </a:lnTo>
                  <a:lnTo>
                    <a:pt x="23179964" y="13430499"/>
                  </a:lnTo>
                  <a:lnTo>
                    <a:pt x="23189492" y="13444793"/>
                  </a:lnTo>
                  <a:lnTo>
                    <a:pt x="23122780" y="13397143"/>
                  </a:lnTo>
                  <a:lnTo>
                    <a:pt x="23094192" y="13368552"/>
                  </a:lnTo>
                  <a:close/>
                  <a:moveTo>
                    <a:pt x="18357652" y="13282780"/>
                  </a:moveTo>
                  <a:lnTo>
                    <a:pt x="18362420" y="13287545"/>
                  </a:lnTo>
                  <a:lnTo>
                    <a:pt x="18338592" y="13335196"/>
                  </a:lnTo>
                  <a:lnTo>
                    <a:pt x="18329064" y="13335196"/>
                  </a:lnTo>
                  <a:lnTo>
                    <a:pt x="18319532" y="13325666"/>
                  </a:lnTo>
                  <a:lnTo>
                    <a:pt x="18295708" y="13330431"/>
                  </a:lnTo>
                  <a:lnTo>
                    <a:pt x="18286176" y="13325666"/>
                  </a:lnTo>
                  <a:lnTo>
                    <a:pt x="18300472" y="13311371"/>
                  </a:lnTo>
                  <a:lnTo>
                    <a:pt x="18333828" y="13287545"/>
                  </a:lnTo>
                  <a:lnTo>
                    <a:pt x="18343360" y="13287545"/>
                  </a:lnTo>
                  <a:close/>
                  <a:moveTo>
                    <a:pt x="18424364" y="13258955"/>
                  </a:moveTo>
                  <a:lnTo>
                    <a:pt x="18476780" y="13282781"/>
                  </a:lnTo>
                  <a:lnTo>
                    <a:pt x="18476780" y="13287546"/>
                  </a:lnTo>
                  <a:lnTo>
                    <a:pt x="18495844" y="13297076"/>
                  </a:lnTo>
                  <a:lnTo>
                    <a:pt x="18514904" y="13297076"/>
                  </a:lnTo>
                  <a:lnTo>
                    <a:pt x="18519668" y="13306606"/>
                  </a:lnTo>
                  <a:lnTo>
                    <a:pt x="18505372" y="13316137"/>
                  </a:lnTo>
                  <a:lnTo>
                    <a:pt x="18491076" y="13339962"/>
                  </a:lnTo>
                  <a:lnTo>
                    <a:pt x="18486312" y="13363788"/>
                  </a:lnTo>
                  <a:lnTo>
                    <a:pt x="18481548" y="13373318"/>
                  </a:lnTo>
                  <a:lnTo>
                    <a:pt x="18467252" y="13382849"/>
                  </a:lnTo>
                  <a:lnTo>
                    <a:pt x="18457720" y="13397143"/>
                  </a:lnTo>
                  <a:lnTo>
                    <a:pt x="18443424" y="13406673"/>
                  </a:lnTo>
                  <a:lnTo>
                    <a:pt x="18433896" y="13406673"/>
                  </a:lnTo>
                  <a:lnTo>
                    <a:pt x="18414836" y="13359023"/>
                  </a:lnTo>
                  <a:lnTo>
                    <a:pt x="18405304" y="13349492"/>
                  </a:lnTo>
                  <a:lnTo>
                    <a:pt x="18376716" y="13368553"/>
                  </a:lnTo>
                  <a:lnTo>
                    <a:pt x="18367184" y="13373318"/>
                  </a:lnTo>
                  <a:lnTo>
                    <a:pt x="18376716" y="13344727"/>
                  </a:lnTo>
                  <a:lnTo>
                    <a:pt x="18391008" y="13316137"/>
                  </a:lnTo>
                  <a:lnTo>
                    <a:pt x="18400540" y="13311371"/>
                  </a:lnTo>
                  <a:lnTo>
                    <a:pt x="18419600" y="13268485"/>
                  </a:lnTo>
                  <a:close/>
                  <a:moveTo>
                    <a:pt x="200136" y="13235129"/>
                  </a:moveTo>
                  <a:lnTo>
                    <a:pt x="209666" y="13239894"/>
                  </a:lnTo>
                  <a:lnTo>
                    <a:pt x="195370" y="13263720"/>
                  </a:lnTo>
                  <a:lnTo>
                    <a:pt x="152484" y="13320901"/>
                  </a:lnTo>
                  <a:lnTo>
                    <a:pt x="166780" y="13325667"/>
                  </a:lnTo>
                  <a:lnTo>
                    <a:pt x="181074" y="13325667"/>
                  </a:lnTo>
                  <a:lnTo>
                    <a:pt x="200136" y="13339962"/>
                  </a:lnTo>
                  <a:lnTo>
                    <a:pt x="214430" y="13339962"/>
                  </a:lnTo>
                  <a:lnTo>
                    <a:pt x="247786" y="13330432"/>
                  </a:lnTo>
                  <a:lnTo>
                    <a:pt x="252552" y="13282780"/>
                  </a:lnTo>
                  <a:lnTo>
                    <a:pt x="252552" y="13239894"/>
                  </a:lnTo>
                  <a:lnTo>
                    <a:pt x="262082" y="13239894"/>
                  </a:lnTo>
                  <a:lnTo>
                    <a:pt x="276378" y="13239894"/>
                  </a:lnTo>
                  <a:lnTo>
                    <a:pt x="285908" y="13249424"/>
                  </a:lnTo>
                  <a:lnTo>
                    <a:pt x="304968" y="13258955"/>
                  </a:lnTo>
                  <a:lnTo>
                    <a:pt x="324028" y="13268485"/>
                  </a:lnTo>
                  <a:lnTo>
                    <a:pt x="352620" y="13287545"/>
                  </a:lnTo>
                  <a:lnTo>
                    <a:pt x="385976" y="13297076"/>
                  </a:lnTo>
                  <a:lnTo>
                    <a:pt x="395506" y="13297076"/>
                  </a:lnTo>
                  <a:lnTo>
                    <a:pt x="424096" y="13297076"/>
                  </a:lnTo>
                  <a:lnTo>
                    <a:pt x="462216" y="13297076"/>
                  </a:lnTo>
                  <a:lnTo>
                    <a:pt x="471748" y="13320901"/>
                  </a:lnTo>
                  <a:lnTo>
                    <a:pt x="486042" y="13335197"/>
                  </a:lnTo>
                  <a:lnTo>
                    <a:pt x="500338" y="13349492"/>
                  </a:lnTo>
                  <a:lnTo>
                    <a:pt x="500338" y="13359022"/>
                  </a:lnTo>
                  <a:lnTo>
                    <a:pt x="481278" y="13411439"/>
                  </a:lnTo>
                  <a:lnTo>
                    <a:pt x="481278" y="13430499"/>
                  </a:lnTo>
                  <a:lnTo>
                    <a:pt x="476512" y="13449559"/>
                  </a:lnTo>
                  <a:lnTo>
                    <a:pt x="486042" y="13473385"/>
                  </a:lnTo>
                  <a:lnTo>
                    <a:pt x="490808" y="13487681"/>
                  </a:lnTo>
                  <a:lnTo>
                    <a:pt x="486042" y="13487681"/>
                  </a:lnTo>
                  <a:lnTo>
                    <a:pt x="400270" y="13487681"/>
                  </a:lnTo>
                  <a:lnTo>
                    <a:pt x="314498" y="13482915"/>
                  </a:lnTo>
                  <a:lnTo>
                    <a:pt x="238256" y="13478151"/>
                  </a:lnTo>
                  <a:lnTo>
                    <a:pt x="162014" y="13473385"/>
                  </a:lnTo>
                  <a:lnTo>
                    <a:pt x="90538" y="13468621"/>
                  </a:lnTo>
                  <a:lnTo>
                    <a:pt x="47652" y="13468621"/>
                  </a:lnTo>
                  <a:lnTo>
                    <a:pt x="4766" y="13463855"/>
                  </a:lnTo>
                  <a:lnTo>
                    <a:pt x="0" y="13459091"/>
                  </a:lnTo>
                  <a:lnTo>
                    <a:pt x="23826" y="13435265"/>
                  </a:lnTo>
                  <a:lnTo>
                    <a:pt x="38120" y="13411439"/>
                  </a:lnTo>
                  <a:lnTo>
                    <a:pt x="52416" y="13382849"/>
                  </a:lnTo>
                  <a:lnTo>
                    <a:pt x="52416" y="13359022"/>
                  </a:lnTo>
                  <a:lnTo>
                    <a:pt x="57182" y="13335197"/>
                  </a:lnTo>
                  <a:lnTo>
                    <a:pt x="76242" y="13325667"/>
                  </a:lnTo>
                  <a:lnTo>
                    <a:pt x="123894" y="13325667"/>
                  </a:lnTo>
                  <a:lnTo>
                    <a:pt x="142954" y="13316136"/>
                  </a:lnTo>
                  <a:lnTo>
                    <a:pt x="166780" y="13287545"/>
                  </a:lnTo>
                  <a:lnTo>
                    <a:pt x="190604" y="13249424"/>
                  </a:lnTo>
                  <a:close/>
                  <a:moveTo>
                    <a:pt x="22851168" y="13216069"/>
                  </a:moveTo>
                  <a:lnTo>
                    <a:pt x="22894056" y="13225599"/>
                  </a:lnTo>
                  <a:lnTo>
                    <a:pt x="22903584" y="13230364"/>
                  </a:lnTo>
                  <a:lnTo>
                    <a:pt x="22898820" y="13249425"/>
                  </a:lnTo>
                  <a:lnTo>
                    <a:pt x="22898820" y="13268485"/>
                  </a:lnTo>
                  <a:lnTo>
                    <a:pt x="22922644" y="13311372"/>
                  </a:lnTo>
                  <a:lnTo>
                    <a:pt x="22936940" y="13325667"/>
                  </a:lnTo>
                  <a:lnTo>
                    <a:pt x="22951236" y="13339962"/>
                  </a:lnTo>
                  <a:lnTo>
                    <a:pt x="22965532" y="13359023"/>
                  </a:lnTo>
                  <a:lnTo>
                    <a:pt x="22960768" y="13397145"/>
                  </a:lnTo>
                  <a:lnTo>
                    <a:pt x="22941708" y="13378083"/>
                  </a:lnTo>
                  <a:lnTo>
                    <a:pt x="22932176" y="13359023"/>
                  </a:lnTo>
                  <a:lnTo>
                    <a:pt x="22922644" y="13359023"/>
                  </a:lnTo>
                  <a:lnTo>
                    <a:pt x="22913116" y="13349493"/>
                  </a:lnTo>
                  <a:lnTo>
                    <a:pt x="22898820" y="13330432"/>
                  </a:lnTo>
                  <a:lnTo>
                    <a:pt x="22879760" y="13306607"/>
                  </a:lnTo>
                  <a:lnTo>
                    <a:pt x="22874996" y="13292311"/>
                  </a:lnTo>
                  <a:lnTo>
                    <a:pt x="22870228" y="13278016"/>
                  </a:lnTo>
                  <a:lnTo>
                    <a:pt x="22860700" y="13263720"/>
                  </a:lnTo>
                  <a:lnTo>
                    <a:pt x="22822576" y="13235130"/>
                  </a:lnTo>
                  <a:lnTo>
                    <a:pt x="22836872" y="13230364"/>
                  </a:lnTo>
                  <a:close/>
                  <a:moveTo>
                    <a:pt x="20468604" y="12115324"/>
                  </a:moveTo>
                  <a:lnTo>
                    <a:pt x="20473368" y="12129619"/>
                  </a:lnTo>
                  <a:lnTo>
                    <a:pt x="20478136" y="12139149"/>
                  </a:lnTo>
                  <a:lnTo>
                    <a:pt x="20454308" y="12158210"/>
                  </a:lnTo>
                  <a:lnTo>
                    <a:pt x="20444780" y="12162975"/>
                  </a:lnTo>
                  <a:lnTo>
                    <a:pt x="20435248" y="12153445"/>
                  </a:lnTo>
                  <a:lnTo>
                    <a:pt x="20435248" y="12148680"/>
                  </a:lnTo>
                  <a:lnTo>
                    <a:pt x="20454308" y="12134384"/>
                  </a:lnTo>
                  <a:close/>
                  <a:moveTo>
                    <a:pt x="22631972" y="12096264"/>
                  </a:moveTo>
                  <a:lnTo>
                    <a:pt x="22641504" y="12096264"/>
                  </a:lnTo>
                  <a:lnTo>
                    <a:pt x="22646268" y="12129620"/>
                  </a:lnTo>
                  <a:lnTo>
                    <a:pt x="22651032" y="12172506"/>
                  </a:lnTo>
                  <a:lnTo>
                    <a:pt x="22646268" y="12201097"/>
                  </a:lnTo>
                  <a:lnTo>
                    <a:pt x="22593852" y="12215392"/>
                  </a:lnTo>
                  <a:lnTo>
                    <a:pt x="22541436" y="12243983"/>
                  </a:lnTo>
                  <a:lnTo>
                    <a:pt x="22493784" y="12286869"/>
                  </a:lnTo>
                  <a:lnTo>
                    <a:pt x="22465192" y="12310695"/>
                  </a:lnTo>
                  <a:lnTo>
                    <a:pt x="22460428" y="12301165"/>
                  </a:lnTo>
                  <a:lnTo>
                    <a:pt x="22460428" y="12291634"/>
                  </a:lnTo>
                  <a:lnTo>
                    <a:pt x="22484252" y="12272574"/>
                  </a:lnTo>
                  <a:lnTo>
                    <a:pt x="22508080" y="12224923"/>
                  </a:lnTo>
                  <a:lnTo>
                    <a:pt x="22517608" y="12186802"/>
                  </a:lnTo>
                  <a:lnTo>
                    <a:pt x="22512844" y="12172506"/>
                  </a:lnTo>
                  <a:lnTo>
                    <a:pt x="22512844" y="12162976"/>
                  </a:lnTo>
                  <a:lnTo>
                    <a:pt x="22579556" y="12134385"/>
                  </a:lnTo>
                  <a:close/>
                  <a:moveTo>
                    <a:pt x="2515988" y="10090146"/>
                  </a:moveTo>
                  <a:lnTo>
                    <a:pt x="2530284" y="10094911"/>
                  </a:lnTo>
                  <a:lnTo>
                    <a:pt x="2535048" y="10109206"/>
                  </a:lnTo>
                  <a:lnTo>
                    <a:pt x="2535048" y="10133032"/>
                  </a:lnTo>
                  <a:lnTo>
                    <a:pt x="2530284" y="10147327"/>
                  </a:lnTo>
                  <a:lnTo>
                    <a:pt x="2535048" y="10161623"/>
                  </a:lnTo>
                  <a:lnTo>
                    <a:pt x="2525516" y="10171153"/>
                  </a:lnTo>
                  <a:lnTo>
                    <a:pt x="2511224" y="10137797"/>
                  </a:lnTo>
                  <a:lnTo>
                    <a:pt x="2501692" y="10137797"/>
                  </a:lnTo>
                  <a:lnTo>
                    <a:pt x="2492164" y="10128267"/>
                  </a:lnTo>
                  <a:lnTo>
                    <a:pt x="2487396" y="10104441"/>
                  </a:lnTo>
                  <a:lnTo>
                    <a:pt x="2492164" y="10099676"/>
                  </a:lnTo>
                  <a:lnTo>
                    <a:pt x="2496928" y="10104441"/>
                  </a:lnTo>
                  <a:close/>
                  <a:moveTo>
                    <a:pt x="7790984" y="9489740"/>
                  </a:moveTo>
                  <a:lnTo>
                    <a:pt x="7810044" y="9499270"/>
                  </a:lnTo>
                  <a:lnTo>
                    <a:pt x="7838636" y="9499270"/>
                  </a:lnTo>
                  <a:lnTo>
                    <a:pt x="7857696" y="9508801"/>
                  </a:lnTo>
                  <a:lnTo>
                    <a:pt x="7881520" y="9513566"/>
                  </a:lnTo>
                  <a:lnTo>
                    <a:pt x="7876756" y="9542156"/>
                  </a:lnTo>
                  <a:lnTo>
                    <a:pt x="7876756" y="9551687"/>
                  </a:lnTo>
                  <a:lnTo>
                    <a:pt x="7886288" y="9565982"/>
                  </a:lnTo>
                  <a:lnTo>
                    <a:pt x="7876756" y="9585043"/>
                  </a:lnTo>
                  <a:lnTo>
                    <a:pt x="7871992" y="9589808"/>
                  </a:lnTo>
                  <a:lnTo>
                    <a:pt x="7848164" y="9594573"/>
                  </a:lnTo>
                  <a:lnTo>
                    <a:pt x="7814808" y="9565982"/>
                  </a:lnTo>
                  <a:lnTo>
                    <a:pt x="7786216" y="9504035"/>
                  </a:lnTo>
                  <a:close/>
                  <a:moveTo>
                    <a:pt x="3583376" y="9475445"/>
                  </a:moveTo>
                  <a:lnTo>
                    <a:pt x="3592904" y="9480210"/>
                  </a:lnTo>
                  <a:lnTo>
                    <a:pt x="3602436" y="9499271"/>
                  </a:lnTo>
                  <a:lnTo>
                    <a:pt x="3607200" y="9513566"/>
                  </a:lnTo>
                  <a:lnTo>
                    <a:pt x="3602436" y="9518331"/>
                  </a:lnTo>
                  <a:lnTo>
                    <a:pt x="3569080" y="9499271"/>
                  </a:lnTo>
                  <a:lnTo>
                    <a:pt x="3569080" y="9484975"/>
                  </a:lnTo>
                  <a:lnTo>
                    <a:pt x="3569080" y="9480210"/>
                  </a:lnTo>
                  <a:close/>
                  <a:moveTo>
                    <a:pt x="4584052" y="8331815"/>
                  </a:moveTo>
                  <a:lnTo>
                    <a:pt x="4626940" y="8331815"/>
                  </a:lnTo>
                  <a:lnTo>
                    <a:pt x="4746068" y="8422352"/>
                  </a:lnTo>
                  <a:lnTo>
                    <a:pt x="4774656" y="8446178"/>
                  </a:lnTo>
                  <a:lnTo>
                    <a:pt x="4788952" y="8479534"/>
                  </a:lnTo>
                  <a:lnTo>
                    <a:pt x="4788952" y="8517655"/>
                  </a:lnTo>
                  <a:lnTo>
                    <a:pt x="4779424" y="8536715"/>
                  </a:lnTo>
                  <a:lnTo>
                    <a:pt x="4769892" y="8541480"/>
                  </a:lnTo>
                  <a:lnTo>
                    <a:pt x="4769892" y="8517655"/>
                  </a:lnTo>
                  <a:lnTo>
                    <a:pt x="4760364" y="8503360"/>
                  </a:lnTo>
                  <a:lnTo>
                    <a:pt x="4731772" y="8536715"/>
                  </a:lnTo>
                  <a:lnTo>
                    <a:pt x="4722240" y="8570071"/>
                  </a:lnTo>
                  <a:lnTo>
                    <a:pt x="4688884" y="8617722"/>
                  </a:lnTo>
                  <a:lnTo>
                    <a:pt x="4617408" y="8655844"/>
                  </a:lnTo>
                  <a:lnTo>
                    <a:pt x="4574524" y="8670139"/>
                  </a:lnTo>
                  <a:lnTo>
                    <a:pt x="4536400" y="8674904"/>
                  </a:lnTo>
                  <a:lnTo>
                    <a:pt x="4503044" y="8641548"/>
                  </a:lnTo>
                  <a:lnTo>
                    <a:pt x="4483984" y="8584367"/>
                  </a:lnTo>
                  <a:lnTo>
                    <a:pt x="4479220" y="8565306"/>
                  </a:lnTo>
                  <a:lnTo>
                    <a:pt x="4474456" y="8541480"/>
                  </a:lnTo>
                  <a:lnTo>
                    <a:pt x="4479220" y="8517655"/>
                  </a:lnTo>
                  <a:lnTo>
                    <a:pt x="4479220" y="8479534"/>
                  </a:lnTo>
                  <a:lnTo>
                    <a:pt x="4483984" y="8441413"/>
                  </a:lnTo>
                  <a:lnTo>
                    <a:pt x="4498280" y="8408057"/>
                  </a:lnTo>
                  <a:lnTo>
                    <a:pt x="4531636" y="8365171"/>
                  </a:lnTo>
                  <a:lnTo>
                    <a:pt x="4564992" y="8341345"/>
                  </a:lnTo>
                  <a:close/>
                  <a:moveTo>
                    <a:pt x="7433600" y="8303224"/>
                  </a:moveTo>
                  <a:lnTo>
                    <a:pt x="7452660" y="8307989"/>
                  </a:lnTo>
                  <a:lnTo>
                    <a:pt x="7457424" y="8327050"/>
                  </a:lnTo>
                  <a:lnTo>
                    <a:pt x="7443128" y="8365171"/>
                  </a:lnTo>
                  <a:lnTo>
                    <a:pt x="7414540" y="8360406"/>
                  </a:lnTo>
                  <a:lnTo>
                    <a:pt x="7409772" y="8350876"/>
                  </a:lnTo>
                  <a:lnTo>
                    <a:pt x="7405008" y="8346110"/>
                  </a:lnTo>
                  <a:close/>
                  <a:moveTo>
                    <a:pt x="22160224" y="8274633"/>
                  </a:moveTo>
                  <a:lnTo>
                    <a:pt x="22164988" y="8279398"/>
                  </a:lnTo>
                  <a:lnTo>
                    <a:pt x="22179284" y="8298459"/>
                  </a:lnTo>
                  <a:lnTo>
                    <a:pt x="22174520" y="8336580"/>
                  </a:lnTo>
                  <a:lnTo>
                    <a:pt x="22164988" y="8365170"/>
                  </a:lnTo>
                  <a:lnTo>
                    <a:pt x="22141164" y="8374701"/>
                  </a:lnTo>
                  <a:lnTo>
                    <a:pt x="22136400" y="8398526"/>
                  </a:lnTo>
                  <a:lnTo>
                    <a:pt x="22141164" y="8431882"/>
                  </a:lnTo>
                  <a:lnTo>
                    <a:pt x="22141164" y="8474768"/>
                  </a:lnTo>
                  <a:lnTo>
                    <a:pt x="22141164" y="8512890"/>
                  </a:lnTo>
                  <a:lnTo>
                    <a:pt x="22160224" y="8551011"/>
                  </a:lnTo>
                  <a:lnTo>
                    <a:pt x="22160224" y="8570071"/>
                  </a:lnTo>
                  <a:lnTo>
                    <a:pt x="22160224" y="8589132"/>
                  </a:lnTo>
                  <a:lnTo>
                    <a:pt x="22155460" y="8603427"/>
                  </a:lnTo>
                  <a:lnTo>
                    <a:pt x="22145928" y="8603427"/>
                  </a:lnTo>
                  <a:lnTo>
                    <a:pt x="22150696" y="8574836"/>
                  </a:lnTo>
                  <a:lnTo>
                    <a:pt x="22150696" y="8560541"/>
                  </a:lnTo>
                  <a:lnTo>
                    <a:pt x="22136400" y="8541480"/>
                  </a:lnTo>
                  <a:lnTo>
                    <a:pt x="22107808" y="8522420"/>
                  </a:lnTo>
                  <a:lnTo>
                    <a:pt x="22103044" y="8512890"/>
                  </a:lnTo>
                  <a:lnTo>
                    <a:pt x="22098280" y="8474768"/>
                  </a:lnTo>
                  <a:lnTo>
                    <a:pt x="22107808" y="8412822"/>
                  </a:lnTo>
                  <a:lnTo>
                    <a:pt x="22093512" y="8379466"/>
                  </a:lnTo>
                  <a:lnTo>
                    <a:pt x="22098280" y="8350875"/>
                  </a:lnTo>
                  <a:lnTo>
                    <a:pt x="22131632" y="8317519"/>
                  </a:lnTo>
                  <a:lnTo>
                    <a:pt x="22145928" y="8293694"/>
                  </a:lnTo>
                  <a:close/>
                  <a:moveTo>
                    <a:pt x="23203788" y="8107854"/>
                  </a:moveTo>
                  <a:lnTo>
                    <a:pt x="23232380" y="8107854"/>
                  </a:lnTo>
                  <a:lnTo>
                    <a:pt x="23389628" y="8165035"/>
                  </a:lnTo>
                  <a:lnTo>
                    <a:pt x="23394392" y="8179331"/>
                  </a:lnTo>
                  <a:lnTo>
                    <a:pt x="23399160" y="8188861"/>
                  </a:lnTo>
                  <a:lnTo>
                    <a:pt x="23394392" y="8212687"/>
                  </a:lnTo>
                  <a:lnTo>
                    <a:pt x="23384864" y="8217452"/>
                  </a:lnTo>
                  <a:lnTo>
                    <a:pt x="23375332" y="8231747"/>
                  </a:lnTo>
                  <a:lnTo>
                    <a:pt x="23370568" y="8279398"/>
                  </a:lnTo>
                  <a:lnTo>
                    <a:pt x="23370568" y="8293694"/>
                  </a:lnTo>
                  <a:lnTo>
                    <a:pt x="23361036" y="8303224"/>
                  </a:lnTo>
                  <a:lnTo>
                    <a:pt x="23318152" y="8307989"/>
                  </a:lnTo>
                  <a:lnTo>
                    <a:pt x="23227612" y="8265103"/>
                  </a:lnTo>
                  <a:lnTo>
                    <a:pt x="23199024" y="8241277"/>
                  </a:lnTo>
                  <a:lnTo>
                    <a:pt x="23175196" y="8212687"/>
                  </a:lnTo>
                  <a:lnTo>
                    <a:pt x="23146608" y="8193626"/>
                  </a:lnTo>
                  <a:lnTo>
                    <a:pt x="23141840" y="8188861"/>
                  </a:lnTo>
                  <a:lnTo>
                    <a:pt x="23146608" y="8169801"/>
                  </a:lnTo>
                  <a:lnTo>
                    <a:pt x="23151372" y="8155505"/>
                  </a:lnTo>
                  <a:lnTo>
                    <a:pt x="23184728" y="8122149"/>
                  </a:lnTo>
                  <a:close/>
                  <a:moveTo>
                    <a:pt x="6151780" y="7898188"/>
                  </a:moveTo>
                  <a:lnTo>
                    <a:pt x="6156544" y="7898188"/>
                  </a:lnTo>
                  <a:lnTo>
                    <a:pt x="6166076" y="7912483"/>
                  </a:lnTo>
                  <a:lnTo>
                    <a:pt x="6199432" y="7945839"/>
                  </a:lnTo>
                  <a:lnTo>
                    <a:pt x="6218492" y="7969665"/>
                  </a:lnTo>
                  <a:lnTo>
                    <a:pt x="6232788" y="7998256"/>
                  </a:lnTo>
                  <a:lnTo>
                    <a:pt x="6251848" y="8022081"/>
                  </a:lnTo>
                  <a:lnTo>
                    <a:pt x="6299496" y="8064968"/>
                  </a:lnTo>
                  <a:lnTo>
                    <a:pt x="6332852" y="8103089"/>
                  </a:lnTo>
                  <a:lnTo>
                    <a:pt x="6370976" y="8131680"/>
                  </a:lnTo>
                  <a:lnTo>
                    <a:pt x="6380504" y="8141210"/>
                  </a:lnTo>
                  <a:lnTo>
                    <a:pt x="6385272" y="8165035"/>
                  </a:lnTo>
                  <a:lnTo>
                    <a:pt x="6380504" y="8207922"/>
                  </a:lnTo>
                  <a:lnTo>
                    <a:pt x="6375740" y="8236512"/>
                  </a:lnTo>
                  <a:lnTo>
                    <a:pt x="6361444" y="8241278"/>
                  </a:lnTo>
                  <a:lnTo>
                    <a:pt x="6342384" y="8255573"/>
                  </a:lnTo>
                  <a:lnTo>
                    <a:pt x="6313792" y="8241278"/>
                  </a:lnTo>
                  <a:lnTo>
                    <a:pt x="6294732" y="8250808"/>
                  </a:lnTo>
                  <a:lnTo>
                    <a:pt x="6280436" y="8250808"/>
                  </a:lnTo>
                  <a:lnTo>
                    <a:pt x="6266140" y="8246043"/>
                  </a:lnTo>
                  <a:lnTo>
                    <a:pt x="6251848" y="8241278"/>
                  </a:lnTo>
                  <a:lnTo>
                    <a:pt x="6242316" y="8231747"/>
                  </a:lnTo>
                  <a:lnTo>
                    <a:pt x="6242316" y="8207922"/>
                  </a:lnTo>
                  <a:lnTo>
                    <a:pt x="6228020" y="8174566"/>
                  </a:lnTo>
                  <a:lnTo>
                    <a:pt x="6208960" y="8160270"/>
                  </a:lnTo>
                  <a:lnTo>
                    <a:pt x="6194664" y="8160270"/>
                  </a:lnTo>
                  <a:lnTo>
                    <a:pt x="6175604" y="8150740"/>
                  </a:lnTo>
                  <a:lnTo>
                    <a:pt x="6166076" y="8155505"/>
                  </a:lnTo>
                  <a:lnTo>
                    <a:pt x="6151780" y="8165035"/>
                  </a:lnTo>
                  <a:lnTo>
                    <a:pt x="6142248" y="8160270"/>
                  </a:lnTo>
                  <a:lnTo>
                    <a:pt x="6104128" y="8088793"/>
                  </a:lnTo>
                  <a:lnTo>
                    <a:pt x="6094596" y="8074498"/>
                  </a:lnTo>
                  <a:lnTo>
                    <a:pt x="6089832" y="8055437"/>
                  </a:lnTo>
                  <a:lnTo>
                    <a:pt x="6085068" y="8041142"/>
                  </a:lnTo>
                  <a:lnTo>
                    <a:pt x="6070772" y="7988726"/>
                  </a:lnTo>
                  <a:lnTo>
                    <a:pt x="6075536" y="7964900"/>
                  </a:lnTo>
                  <a:lnTo>
                    <a:pt x="6089832" y="7950604"/>
                  </a:lnTo>
                  <a:lnTo>
                    <a:pt x="6099364" y="7945839"/>
                  </a:lnTo>
                  <a:lnTo>
                    <a:pt x="6118424" y="7912483"/>
                  </a:lnTo>
                  <a:close/>
                  <a:moveTo>
                    <a:pt x="7314472" y="7755234"/>
                  </a:moveTo>
                  <a:lnTo>
                    <a:pt x="7319236" y="7755234"/>
                  </a:lnTo>
                  <a:lnTo>
                    <a:pt x="7314472" y="7788590"/>
                  </a:lnTo>
                  <a:lnTo>
                    <a:pt x="7333532" y="7860067"/>
                  </a:lnTo>
                  <a:lnTo>
                    <a:pt x="7333532" y="7879127"/>
                  </a:lnTo>
                  <a:lnTo>
                    <a:pt x="7324000" y="7874362"/>
                  </a:lnTo>
                  <a:lnTo>
                    <a:pt x="7314472" y="7850536"/>
                  </a:lnTo>
                  <a:lnTo>
                    <a:pt x="7309704" y="7826711"/>
                  </a:lnTo>
                  <a:lnTo>
                    <a:pt x="7304940" y="7774294"/>
                  </a:lnTo>
                  <a:lnTo>
                    <a:pt x="7309704" y="7759999"/>
                  </a:lnTo>
                  <a:close/>
                  <a:moveTo>
                    <a:pt x="21993448" y="7678992"/>
                  </a:moveTo>
                  <a:lnTo>
                    <a:pt x="22012508" y="7683757"/>
                  </a:lnTo>
                  <a:lnTo>
                    <a:pt x="22026800" y="7702818"/>
                  </a:lnTo>
                  <a:lnTo>
                    <a:pt x="22036332" y="7731409"/>
                  </a:lnTo>
                  <a:lnTo>
                    <a:pt x="22026800" y="7736174"/>
                  </a:lnTo>
                  <a:lnTo>
                    <a:pt x="22002976" y="7731409"/>
                  </a:lnTo>
                  <a:lnTo>
                    <a:pt x="21993448" y="7717113"/>
                  </a:lnTo>
                  <a:lnTo>
                    <a:pt x="21993448" y="7683757"/>
                  </a:lnTo>
                  <a:close/>
                  <a:moveTo>
                    <a:pt x="5174928" y="7450266"/>
                  </a:moveTo>
                  <a:lnTo>
                    <a:pt x="5179692" y="7450266"/>
                  </a:lnTo>
                  <a:lnTo>
                    <a:pt x="5198752" y="7469327"/>
                  </a:lnTo>
                  <a:lnTo>
                    <a:pt x="5213048" y="7502682"/>
                  </a:lnTo>
                  <a:lnTo>
                    <a:pt x="5227344" y="7531273"/>
                  </a:lnTo>
                  <a:lnTo>
                    <a:pt x="5236876" y="7526508"/>
                  </a:lnTo>
                  <a:lnTo>
                    <a:pt x="5246404" y="7540804"/>
                  </a:lnTo>
                  <a:lnTo>
                    <a:pt x="5246404" y="7569394"/>
                  </a:lnTo>
                  <a:lnTo>
                    <a:pt x="5227344" y="7612281"/>
                  </a:lnTo>
                  <a:lnTo>
                    <a:pt x="5222580" y="7631341"/>
                  </a:lnTo>
                  <a:lnTo>
                    <a:pt x="5232108" y="7645637"/>
                  </a:lnTo>
                  <a:lnTo>
                    <a:pt x="5232108" y="7655167"/>
                  </a:lnTo>
                  <a:lnTo>
                    <a:pt x="5217816" y="7659932"/>
                  </a:lnTo>
                  <a:lnTo>
                    <a:pt x="5213048" y="7640871"/>
                  </a:lnTo>
                  <a:lnTo>
                    <a:pt x="5208284" y="7617046"/>
                  </a:lnTo>
                  <a:lnTo>
                    <a:pt x="5189224" y="7602750"/>
                  </a:lnTo>
                  <a:lnTo>
                    <a:pt x="5179692" y="7588455"/>
                  </a:lnTo>
                  <a:lnTo>
                    <a:pt x="5174928" y="7555099"/>
                  </a:lnTo>
                  <a:lnTo>
                    <a:pt x="5141572" y="7521743"/>
                  </a:lnTo>
                  <a:lnTo>
                    <a:pt x="5127276" y="7531273"/>
                  </a:lnTo>
                  <a:lnTo>
                    <a:pt x="5103452" y="7512213"/>
                  </a:lnTo>
                  <a:lnTo>
                    <a:pt x="5098688" y="7507448"/>
                  </a:lnTo>
                  <a:lnTo>
                    <a:pt x="5093920" y="7488387"/>
                  </a:lnTo>
                  <a:lnTo>
                    <a:pt x="5103452" y="7474092"/>
                  </a:lnTo>
                  <a:lnTo>
                    <a:pt x="5136808" y="7459796"/>
                  </a:lnTo>
                  <a:lnTo>
                    <a:pt x="5155868" y="7459796"/>
                  </a:lnTo>
                  <a:lnTo>
                    <a:pt x="5170164" y="7474092"/>
                  </a:lnTo>
                  <a:lnTo>
                    <a:pt x="5170164" y="7455031"/>
                  </a:lnTo>
                  <a:close/>
                  <a:moveTo>
                    <a:pt x="18376712" y="7359729"/>
                  </a:moveTo>
                  <a:lnTo>
                    <a:pt x="18457720" y="7359729"/>
                  </a:lnTo>
                  <a:lnTo>
                    <a:pt x="18467252" y="7359729"/>
                  </a:lnTo>
                  <a:lnTo>
                    <a:pt x="18476780" y="7378789"/>
                  </a:lnTo>
                  <a:lnTo>
                    <a:pt x="18481548" y="7397850"/>
                  </a:lnTo>
                  <a:lnTo>
                    <a:pt x="18443424" y="7440736"/>
                  </a:lnTo>
                  <a:lnTo>
                    <a:pt x="18429132" y="7435971"/>
                  </a:lnTo>
                  <a:lnTo>
                    <a:pt x="18414836" y="7412145"/>
                  </a:lnTo>
                  <a:lnTo>
                    <a:pt x="18405304" y="7412145"/>
                  </a:lnTo>
                  <a:lnTo>
                    <a:pt x="18395776" y="7412145"/>
                  </a:lnTo>
                  <a:lnTo>
                    <a:pt x="18386244" y="7421676"/>
                  </a:lnTo>
                  <a:lnTo>
                    <a:pt x="18371948" y="7421676"/>
                  </a:lnTo>
                  <a:lnTo>
                    <a:pt x="18343360" y="7402615"/>
                  </a:lnTo>
                  <a:lnTo>
                    <a:pt x="18343360" y="7388320"/>
                  </a:lnTo>
                  <a:lnTo>
                    <a:pt x="18343360" y="7378789"/>
                  </a:lnTo>
                  <a:lnTo>
                    <a:pt x="18352888" y="7374024"/>
                  </a:lnTo>
                  <a:lnTo>
                    <a:pt x="18357652" y="7374024"/>
                  </a:lnTo>
                  <a:close/>
                  <a:moveTo>
                    <a:pt x="25186080" y="7354964"/>
                  </a:moveTo>
                  <a:lnTo>
                    <a:pt x="25205140" y="7354964"/>
                  </a:lnTo>
                  <a:lnTo>
                    <a:pt x="25224200" y="7364494"/>
                  </a:lnTo>
                  <a:lnTo>
                    <a:pt x="25290912" y="7383555"/>
                  </a:lnTo>
                  <a:lnTo>
                    <a:pt x="25305208" y="7388320"/>
                  </a:lnTo>
                  <a:lnTo>
                    <a:pt x="25329036" y="7412146"/>
                  </a:lnTo>
                  <a:lnTo>
                    <a:pt x="25338564" y="7416911"/>
                  </a:lnTo>
                  <a:lnTo>
                    <a:pt x="25352860" y="7431206"/>
                  </a:lnTo>
                  <a:lnTo>
                    <a:pt x="25367156" y="7455032"/>
                  </a:lnTo>
                  <a:lnTo>
                    <a:pt x="25390980" y="7478857"/>
                  </a:lnTo>
                  <a:lnTo>
                    <a:pt x="25424336" y="7507448"/>
                  </a:lnTo>
                  <a:lnTo>
                    <a:pt x="25433868" y="7516978"/>
                  </a:lnTo>
                  <a:lnTo>
                    <a:pt x="25438632" y="7540804"/>
                  </a:lnTo>
                  <a:lnTo>
                    <a:pt x="25433868" y="7564630"/>
                  </a:lnTo>
                  <a:lnTo>
                    <a:pt x="25390980" y="7612281"/>
                  </a:lnTo>
                  <a:lnTo>
                    <a:pt x="25352860" y="7626576"/>
                  </a:lnTo>
                  <a:lnTo>
                    <a:pt x="25276616" y="7636107"/>
                  </a:lnTo>
                  <a:lnTo>
                    <a:pt x="25181316" y="7674228"/>
                  </a:lnTo>
                  <a:lnTo>
                    <a:pt x="25138428" y="7683758"/>
                  </a:lnTo>
                  <a:lnTo>
                    <a:pt x="25124132" y="7683758"/>
                  </a:lnTo>
                  <a:lnTo>
                    <a:pt x="25090780" y="7659932"/>
                  </a:lnTo>
                  <a:lnTo>
                    <a:pt x="25047892" y="7650402"/>
                  </a:lnTo>
                  <a:lnTo>
                    <a:pt x="25047892" y="7650401"/>
                  </a:lnTo>
                  <a:lnTo>
                    <a:pt x="25028832" y="7655166"/>
                  </a:lnTo>
                  <a:lnTo>
                    <a:pt x="24995476" y="7693287"/>
                  </a:lnTo>
                  <a:lnTo>
                    <a:pt x="24914468" y="7702817"/>
                  </a:lnTo>
                  <a:lnTo>
                    <a:pt x="24871584" y="7726643"/>
                  </a:lnTo>
                  <a:lnTo>
                    <a:pt x="24862052" y="7731408"/>
                  </a:lnTo>
                  <a:lnTo>
                    <a:pt x="24838228" y="7645636"/>
                  </a:lnTo>
                  <a:lnTo>
                    <a:pt x="24833460" y="7621810"/>
                  </a:lnTo>
                  <a:lnTo>
                    <a:pt x="24842992" y="7593219"/>
                  </a:lnTo>
                  <a:lnTo>
                    <a:pt x="24866816" y="7559864"/>
                  </a:lnTo>
                  <a:lnTo>
                    <a:pt x="24876348" y="7531273"/>
                  </a:lnTo>
                  <a:lnTo>
                    <a:pt x="24928764" y="7488387"/>
                  </a:lnTo>
                  <a:lnTo>
                    <a:pt x="24976416" y="7426440"/>
                  </a:lnTo>
                  <a:lnTo>
                    <a:pt x="25005004" y="7416910"/>
                  </a:lnTo>
                  <a:lnTo>
                    <a:pt x="25028832" y="7388319"/>
                  </a:lnTo>
                  <a:lnTo>
                    <a:pt x="25047892" y="7383554"/>
                  </a:lnTo>
                  <a:lnTo>
                    <a:pt x="25047892" y="7383555"/>
                  </a:lnTo>
                  <a:lnTo>
                    <a:pt x="25071716" y="7378790"/>
                  </a:lnTo>
                  <a:lnTo>
                    <a:pt x="25095544" y="7364494"/>
                  </a:lnTo>
                  <a:lnTo>
                    <a:pt x="25119368" y="7359729"/>
                  </a:lnTo>
                  <a:lnTo>
                    <a:pt x="25143196" y="7369259"/>
                  </a:lnTo>
                  <a:lnTo>
                    <a:pt x="25167020" y="7364494"/>
                  </a:lnTo>
                  <a:close/>
                  <a:moveTo>
                    <a:pt x="9053740" y="6828416"/>
                  </a:moveTo>
                  <a:lnTo>
                    <a:pt x="9082332" y="6828416"/>
                  </a:lnTo>
                  <a:lnTo>
                    <a:pt x="9163340" y="6871302"/>
                  </a:lnTo>
                  <a:lnTo>
                    <a:pt x="9172868" y="6895128"/>
                  </a:lnTo>
                  <a:lnTo>
                    <a:pt x="9177636" y="6909423"/>
                  </a:lnTo>
                  <a:lnTo>
                    <a:pt x="9144280" y="6942779"/>
                  </a:lnTo>
                  <a:lnTo>
                    <a:pt x="9120452" y="6952309"/>
                  </a:lnTo>
                  <a:lnTo>
                    <a:pt x="9087096" y="6999961"/>
                  </a:lnTo>
                  <a:lnTo>
                    <a:pt x="9063272" y="7004726"/>
                  </a:lnTo>
                  <a:lnTo>
                    <a:pt x="8987032" y="7009491"/>
                  </a:lnTo>
                  <a:lnTo>
                    <a:pt x="8948908" y="7004726"/>
                  </a:lnTo>
                  <a:lnTo>
                    <a:pt x="8944144" y="6990430"/>
                  </a:lnTo>
                  <a:lnTo>
                    <a:pt x="8948908" y="6966605"/>
                  </a:lnTo>
                  <a:lnTo>
                    <a:pt x="8987032" y="6928484"/>
                  </a:lnTo>
                  <a:lnTo>
                    <a:pt x="9006092" y="6904658"/>
                  </a:lnTo>
                  <a:lnTo>
                    <a:pt x="9020384" y="6866537"/>
                  </a:lnTo>
                  <a:close/>
                  <a:moveTo>
                    <a:pt x="9301528" y="6585395"/>
                  </a:moveTo>
                  <a:lnTo>
                    <a:pt x="9330120" y="6613986"/>
                  </a:lnTo>
                  <a:lnTo>
                    <a:pt x="9339648" y="6642576"/>
                  </a:lnTo>
                  <a:lnTo>
                    <a:pt x="9358712" y="6675932"/>
                  </a:lnTo>
                  <a:lnTo>
                    <a:pt x="9358712" y="6756939"/>
                  </a:lnTo>
                  <a:lnTo>
                    <a:pt x="9353944" y="6780765"/>
                  </a:lnTo>
                  <a:lnTo>
                    <a:pt x="9344416" y="6790295"/>
                  </a:lnTo>
                  <a:lnTo>
                    <a:pt x="9258644" y="6766469"/>
                  </a:lnTo>
                  <a:lnTo>
                    <a:pt x="9225288" y="6737879"/>
                  </a:lnTo>
                  <a:lnTo>
                    <a:pt x="9220520" y="6714053"/>
                  </a:lnTo>
                  <a:lnTo>
                    <a:pt x="9220520" y="6690228"/>
                  </a:lnTo>
                  <a:close/>
                  <a:moveTo>
                    <a:pt x="8558168" y="6566334"/>
                  </a:moveTo>
                  <a:lnTo>
                    <a:pt x="8586760" y="6571099"/>
                  </a:lnTo>
                  <a:lnTo>
                    <a:pt x="8605820" y="6575864"/>
                  </a:lnTo>
                  <a:lnTo>
                    <a:pt x="8643940" y="6604455"/>
                  </a:lnTo>
                  <a:lnTo>
                    <a:pt x="8610584" y="6618750"/>
                  </a:lnTo>
                  <a:lnTo>
                    <a:pt x="8596288" y="6652106"/>
                  </a:lnTo>
                  <a:lnTo>
                    <a:pt x="8596288" y="6671167"/>
                  </a:lnTo>
                  <a:lnTo>
                    <a:pt x="8601056" y="6685462"/>
                  </a:lnTo>
                  <a:lnTo>
                    <a:pt x="8596288" y="6704523"/>
                  </a:lnTo>
                  <a:lnTo>
                    <a:pt x="8596288" y="6709288"/>
                  </a:lnTo>
                  <a:lnTo>
                    <a:pt x="8586760" y="6699758"/>
                  </a:lnTo>
                  <a:lnTo>
                    <a:pt x="8562932" y="6685462"/>
                  </a:lnTo>
                  <a:lnTo>
                    <a:pt x="8524812" y="6647341"/>
                  </a:lnTo>
                  <a:lnTo>
                    <a:pt x="8510516" y="6623516"/>
                  </a:lnTo>
                  <a:lnTo>
                    <a:pt x="8515284" y="6594925"/>
                  </a:lnTo>
                  <a:lnTo>
                    <a:pt x="8524812" y="6575864"/>
                  </a:lnTo>
                  <a:close/>
                  <a:moveTo>
                    <a:pt x="15670120" y="6542509"/>
                  </a:moveTo>
                  <a:lnTo>
                    <a:pt x="15689184" y="6552039"/>
                  </a:lnTo>
                  <a:lnTo>
                    <a:pt x="15713008" y="6575865"/>
                  </a:lnTo>
                  <a:lnTo>
                    <a:pt x="15717772" y="6585395"/>
                  </a:lnTo>
                  <a:lnTo>
                    <a:pt x="15679652" y="6609221"/>
                  </a:lnTo>
                  <a:lnTo>
                    <a:pt x="15646296" y="6609221"/>
                  </a:lnTo>
                  <a:lnTo>
                    <a:pt x="15622472" y="6566335"/>
                  </a:lnTo>
                  <a:lnTo>
                    <a:pt x="15641532" y="6552039"/>
                  </a:lnTo>
                  <a:close/>
                  <a:moveTo>
                    <a:pt x="5494192" y="6423381"/>
                  </a:moveTo>
                  <a:lnTo>
                    <a:pt x="5518016" y="6428146"/>
                  </a:lnTo>
                  <a:lnTo>
                    <a:pt x="5546608" y="6442442"/>
                  </a:lnTo>
                  <a:lnTo>
                    <a:pt x="5575200" y="6471032"/>
                  </a:lnTo>
                  <a:lnTo>
                    <a:pt x="5651440" y="6490093"/>
                  </a:lnTo>
                  <a:lnTo>
                    <a:pt x="5703856" y="6499623"/>
                  </a:lnTo>
                  <a:lnTo>
                    <a:pt x="5737212" y="6513918"/>
                  </a:lnTo>
                  <a:lnTo>
                    <a:pt x="5751508" y="6528214"/>
                  </a:lnTo>
                  <a:lnTo>
                    <a:pt x="5746744" y="6561570"/>
                  </a:lnTo>
                  <a:lnTo>
                    <a:pt x="5737212" y="6575865"/>
                  </a:lnTo>
                  <a:lnTo>
                    <a:pt x="5713388" y="6618751"/>
                  </a:lnTo>
                  <a:lnTo>
                    <a:pt x="5708624" y="6642577"/>
                  </a:lnTo>
                  <a:lnTo>
                    <a:pt x="5713388" y="6685463"/>
                  </a:lnTo>
                  <a:lnTo>
                    <a:pt x="5708624" y="6714054"/>
                  </a:lnTo>
                  <a:lnTo>
                    <a:pt x="5703856" y="6737879"/>
                  </a:lnTo>
                  <a:lnTo>
                    <a:pt x="5694328" y="6747410"/>
                  </a:lnTo>
                  <a:lnTo>
                    <a:pt x="5656208" y="6747410"/>
                  </a:lnTo>
                  <a:lnTo>
                    <a:pt x="5641912" y="6761705"/>
                  </a:lnTo>
                  <a:lnTo>
                    <a:pt x="5637144" y="6780766"/>
                  </a:lnTo>
                  <a:lnTo>
                    <a:pt x="5637144" y="6809356"/>
                  </a:lnTo>
                  <a:lnTo>
                    <a:pt x="5622852" y="6847477"/>
                  </a:lnTo>
                  <a:lnTo>
                    <a:pt x="5594260" y="6861773"/>
                  </a:lnTo>
                  <a:lnTo>
                    <a:pt x="5589496" y="6871303"/>
                  </a:lnTo>
                  <a:lnTo>
                    <a:pt x="5594260" y="6895129"/>
                  </a:lnTo>
                  <a:lnTo>
                    <a:pt x="5584728" y="6918954"/>
                  </a:lnTo>
                  <a:lnTo>
                    <a:pt x="5584728" y="6947545"/>
                  </a:lnTo>
                  <a:lnTo>
                    <a:pt x="5589496" y="6961840"/>
                  </a:lnTo>
                  <a:lnTo>
                    <a:pt x="5589496" y="6995196"/>
                  </a:lnTo>
                  <a:lnTo>
                    <a:pt x="5608556" y="7042848"/>
                  </a:lnTo>
                  <a:lnTo>
                    <a:pt x="5603792" y="7061908"/>
                  </a:lnTo>
                  <a:lnTo>
                    <a:pt x="5589496" y="7100029"/>
                  </a:lnTo>
                  <a:lnTo>
                    <a:pt x="5584728" y="7145298"/>
                  </a:lnTo>
                  <a:lnTo>
                    <a:pt x="5575200" y="7183419"/>
                  </a:lnTo>
                  <a:lnTo>
                    <a:pt x="5599024" y="7216775"/>
                  </a:lnTo>
                  <a:lnTo>
                    <a:pt x="5613320" y="7259661"/>
                  </a:lnTo>
                  <a:lnTo>
                    <a:pt x="5622852" y="7307312"/>
                  </a:lnTo>
                  <a:lnTo>
                    <a:pt x="5656208" y="7397850"/>
                  </a:lnTo>
                  <a:lnTo>
                    <a:pt x="5689564" y="7478857"/>
                  </a:lnTo>
                  <a:lnTo>
                    <a:pt x="5756276" y="7593220"/>
                  </a:lnTo>
                  <a:lnTo>
                    <a:pt x="5822984" y="7678992"/>
                  </a:lnTo>
                  <a:lnTo>
                    <a:pt x="5846812" y="7702818"/>
                  </a:lnTo>
                  <a:lnTo>
                    <a:pt x="5913524" y="7745704"/>
                  </a:lnTo>
                  <a:lnTo>
                    <a:pt x="5927820" y="7755234"/>
                  </a:lnTo>
                  <a:lnTo>
                    <a:pt x="5937348" y="7774295"/>
                  </a:lnTo>
                  <a:lnTo>
                    <a:pt x="5908760" y="7807651"/>
                  </a:lnTo>
                  <a:lnTo>
                    <a:pt x="5880168" y="7817181"/>
                  </a:lnTo>
                  <a:lnTo>
                    <a:pt x="5880168" y="7831476"/>
                  </a:lnTo>
                  <a:lnTo>
                    <a:pt x="5861108" y="7841007"/>
                  </a:lnTo>
                  <a:lnTo>
                    <a:pt x="5784864" y="7812416"/>
                  </a:lnTo>
                  <a:lnTo>
                    <a:pt x="5780100" y="7807651"/>
                  </a:lnTo>
                  <a:lnTo>
                    <a:pt x="5770568" y="7788590"/>
                  </a:lnTo>
                  <a:lnTo>
                    <a:pt x="5761040" y="7774295"/>
                  </a:lnTo>
                  <a:lnTo>
                    <a:pt x="5741980" y="7769530"/>
                  </a:lnTo>
                  <a:lnTo>
                    <a:pt x="5722920" y="7779060"/>
                  </a:lnTo>
                  <a:lnTo>
                    <a:pt x="5737212" y="7798121"/>
                  </a:lnTo>
                  <a:lnTo>
                    <a:pt x="5746744" y="7802886"/>
                  </a:lnTo>
                  <a:lnTo>
                    <a:pt x="5770568" y="7836242"/>
                  </a:lnTo>
                  <a:lnTo>
                    <a:pt x="5761040" y="7850537"/>
                  </a:lnTo>
                  <a:lnTo>
                    <a:pt x="5751508" y="7850537"/>
                  </a:lnTo>
                  <a:lnTo>
                    <a:pt x="5703856" y="7807651"/>
                  </a:lnTo>
                  <a:lnTo>
                    <a:pt x="5699092" y="7812416"/>
                  </a:lnTo>
                  <a:lnTo>
                    <a:pt x="5699092" y="7826711"/>
                  </a:lnTo>
                  <a:lnTo>
                    <a:pt x="5675268" y="7812416"/>
                  </a:lnTo>
                  <a:lnTo>
                    <a:pt x="5670500" y="7821946"/>
                  </a:lnTo>
                  <a:lnTo>
                    <a:pt x="5651440" y="7826711"/>
                  </a:lnTo>
                  <a:lnTo>
                    <a:pt x="5637144" y="7817181"/>
                  </a:lnTo>
                  <a:lnTo>
                    <a:pt x="5637144" y="7798121"/>
                  </a:lnTo>
                  <a:lnTo>
                    <a:pt x="5632380" y="7793356"/>
                  </a:lnTo>
                  <a:lnTo>
                    <a:pt x="5565668" y="7802886"/>
                  </a:lnTo>
                  <a:lnTo>
                    <a:pt x="5532312" y="7802886"/>
                  </a:lnTo>
                  <a:lnTo>
                    <a:pt x="5503724" y="7798121"/>
                  </a:lnTo>
                  <a:lnTo>
                    <a:pt x="5470368" y="7769530"/>
                  </a:lnTo>
                  <a:lnTo>
                    <a:pt x="5465600" y="7779060"/>
                  </a:lnTo>
                  <a:lnTo>
                    <a:pt x="5465600" y="7798121"/>
                  </a:lnTo>
                  <a:lnTo>
                    <a:pt x="5451304" y="7788590"/>
                  </a:lnTo>
                  <a:lnTo>
                    <a:pt x="5422716" y="7764765"/>
                  </a:lnTo>
                  <a:lnTo>
                    <a:pt x="5403656" y="7755234"/>
                  </a:lnTo>
                  <a:lnTo>
                    <a:pt x="5327412" y="7731409"/>
                  </a:lnTo>
                  <a:lnTo>
                    <a:pt x="5274996" y="7707583"/>
                  </a:lnTo>
                  <a:lnTo>
                    <a:pt x="5289292" y="7693288"/>
                  </a:lnTo>
                  <a:lnTo>
                    <a:pt x="5308352" y="7683758"/>
                  </a:lnTo>
                  <a:lnTo>
                    <a:pt x="5308352" y="7669462"/>
                  </a:lnTo>
                  <a:lnTo>
                    <a:pt x="5308352" y="7645636"/>
                  </a:lnTo>
                  <a:lnTo>
                    <a:pt x="5308352" y="7621811"/>
                  </a:lnTo>
                  <a:lnTo>
                    <a:pt x="5317884" y="7602750"/>
                  </a:lnTo>
                  <a:lnTo>
                    <a:pt x="5346472" y="7612281"/>
                  </a:lnTo>
                  <a:lnTo>
                    <a:pt x="5346472" y="7583690"/>
                  </a:lnTo>
                  <a:lnTo>
                    <a:pt x="5360768" y="7578925"/>
                  </a:lnTo>
                  <a:lnTo>
                    <a:pt x="5384596" y="7593220"/>
                  </a:lnTo>
                  <a:lnTo>
                    <a:pt x="5394124" y="7583690"/>
                  </a:lnTo>
                  <a:lnTo>
                    <a:pt x="5351240" y="7550334"/>
                  </a:lnTo>
                  <a:lnTo>
                    <a:pt x="5308352" y="7502683"/>
                  </a:lnTo>
                  <a:lnTo>
                    <a:pt x="5313116" y="7483622"/>
                  </a:lnTo>
                  <a:lnTo>
                    <a:pt x="5294056" y="7478857"/>
                  </a:lnTo>
                  <a:lnTo>
                    <a:pt x="5279760" y="7478857"/>
                  </a:lnTo>
                  <a:lnTo>
                    <a:pt x="5265464" y="7450266"/>
                  </a:lnTo>
                  <a:lnTo>
                    <a:pt x="5265464" y="7412145"/>
                  </a:lnTo>
                  <a:lnTo>
                    <a:pt x="5279760" y="7388320"/>
                  </a:lnTo>
                  <a:lnTo>
                    <a:pt x="5270232" y="7378789"/>
                  </a:lnTo>
                  <a:lnTo>
                    <a:pt x="5198756" y="7402615"/>
                  </a:lnTo>
                  <a:lnTo>
                    <a:pt x="5165400" y="7397850"/>
                  </a:lnTo>
                  <a:lnTo>
                    <a:pt x="5122512" y="7383554"/>
                  </a:lnTo>
                  <a:lnTo>
                    <a:pt x="5084392" y="7407380"/>
                  </a:lnTo>
                  <a:lnTo>
                    <a:pt x="5051036" y="7412145"/>
                  </a:lnTo>
                  <a:lnTo>
                    <a:pt x="5027208" y="7407380"/>
                  </a:lnTo>
                  <a:lnTo>
                    <a:pt x="5008148" y="7388320"/>
                  </a:lnTo>
                  <a:lnTo>
                    <a:pt x="4993852" y="7369259"/>
                  </a:lnTo>
                  <a:lnTo>
                    <a:pt x="4979560" y="7331138"/>
                  </a:lnTo>
                  <a:lnTo>
                    <a:pt x="4970028" y="7264426"/>
                  </a:lnTo>
                  <a:lnTo>
                    <a:pt x="4970028" y="7240601"/>
                  </a:lnTo>
                  <a:lnTo>
                    <a:pt x="4970028" y="7183419"/>
                  </a:lnTo>
                  <a:lnTo>
                    <a:pt x="4979560" y="7164358"/>
                  </a:lnTo>
                  <a:lnTo>
                    <a:pt x="4993852" y="7116707"/>
                  </a:lnTo>
                  <a:lnTo>
                    <a:pt x="5003384" y="7104794"/>
                  </a:lnTo>
                  <a:lnTo>
                    <a:pt x="5027208" y="7080969"/>
                  </a:lnTo>
                  <a:lnTo>
                    <a:pt x="5041504" y="7076204"/>
                  </a:lnTo>
                  <a:lnTo>
                    <a:pt x="5070096" y="7085734"/>
                  </a:lnTo>
                  <a:lnTo>
                    <a:pt x="5098688" y="7090499"/>
                  </a:lnTo>
                  <a:lnTo>
                    <a:pt x="5108216" y="7076204"/>
                  </a:lnTo>
                  <a:lnTo>
                    <a:pt x="5122512" y="7057143"/>
                  </a:lnTo>
                  <a:lnTo>
                    <a:pt x="5132044" y="7028552"/>
                  </a:lnTo>
                  <a:lnTo>
                    <a:pt x="5151104" y="7009492"/>
                  </a:lnTo>
                  <a:lnTo>
                    <a:pt x="5155868" y="6999962"/>
                  </a:lnTo>
                  <a:lnTo>
                    <a:pt x="5160632" y="6980901"/>
                  </a:lnTo>
                  <a:lnTo>
                    <a:pt x="5170164" y="6957075"/>
                  </a:lnTo>
                  <a:lnTo>
                    <a:pt x="5170164" y="6933250"/>
                  </a:lnTo>
                  <a:lnTo>
                    <a:pt x="5174928" y="6909424"/>
                  </a:lnTo>
                  <a:lnTo>
                    <a:pt x="5193988" y="6871303"/>
                  </a:lnTo>
                  <a:lnTo>
                    <a:pt x="5189224" y="6852243"/>
                  </a:lnTo>
                  <a:lnTo>
                    <a:pt x="5189224" y="6837947"/>
                  </a:lnTo>
                  <a:lnTo>
                    <a:pt x="5203520" y="6809356"/>
                  </a:lnTo>
                  <a:lnTo>
                    <a:pt x="5165400" y="6804591"/>
                  </a:lnTo>
                  <a:lnTo>
                    <a:pt x="5151104" y="6790296"/>
                  </a:lnTo>
                  <a:lnTo>
                    <a:pt x="5141572" y="6776000"/>
                  </a:lnTo>
                  <a:lnTo>
                    <a:pt x="5141572" y="6756940"/>
                  </a:lnTo>
                  <a:lnTo>
                    <a:pt x="5151104" y="6747410"/>
                  </a:lnTo>
                  <a:lnTo>
                    <a:pt x="5184460" y="6699758"/>
                  </a:lnTo>
                  <a:lnTo>
                    <a:pt x="5203520" y="6690228"/>
                  </a:lnTo>
                  <a:lnTo>
                    <a:pt x="5217816" y="6680698"/>
                  </a:lnTo>
                  <a:lnTo>
                    <a:pt x="5236876" y="6680698"/>
                  </a:lnTo>
                  <a:lnTo>
                    <a:pt x="5255936" y="6685463"/>
                  </a:lnTo>
                  <a:lnTo>
                    <a:pt x="5270232" y="6680698"/>
                  </a:lnTo>
                  <a:lnTo>
                    <a:pt x="5251172" y="6647342"/>
                  </a:lnTo>
                  <a:lnTo>
                    <a:pt x="5251172" y="6628282"/>
                  </a:lnTo>
                  <a:lnTo>
                    <a:pt x="5246404" y="6580630"/>
                  </a:lnTo>
                  <a:lnTo>
                    <a:pt x="5246404" y="6556805"/>
                  </a:lnTo>
                  <a:lnTo>
                    <a:pt x="5255936" y="6537744"/>
                  </a:lnTo>
                  <a:lnTo>
                    <a:pt x="5270232" y="6513918"/>
                  </a:lnTo>
                  <a:lnTo>
                    <a:pt x="5294056" y="6504388"/>
                  </a:lnTo>
                  <a:lnTo>
                    <a:pt x="5313116" y="6494858"/>
                  </a:lnTo>
                  <a:lnTo>
                    <a:pt x="5332176" y="6475797"/>
                  </a:lnTo>
                  <a:lnTo>
                    <a:pt x="5351240" y="6475797"/>
                  </a:lnTo>
                  <a:lnTo>
                    <a:pt x="5384596" y="6485328"/>
                  </a:lnTo>
                  <a:lnTo>
                    <a:pt x="5403656" y="6485328"/>
                  </a:lnTo>
                  <a:lnTo>
                    <a:pt x="5422716" y="6475797"/>
                  </a:lnTo>
                  <a:lnTo>
                    <a:pt x="5475132" y="6437676"/>
                  </a:lnTo>
                  <a:close/>
                  <a:moveTo>
                    <a:pt x="8014944" y="6356669"/>
                  </a:moveTo>
                  <a:lnTo>
                    <a:pt x="8029240" y="6361434"/>
                  </a:lnTo>
                  <a:lnTo>
                    <a:pt x="8048300" y="6375730"/>
                  </a:lnTo>
                  <a:lnTo>
                    <a:pt x="8062596" y="6394790"/>
                  </a:lnTo>
                  <a:lnTo>
                    <a:pt x="8081656" y="6432911"/>
                  </a:lnTo>
                  <a:lnTo>
                    <a:pt x="8095952" y="6451972"/>
                  </a:lnTo>
                  <a:lnTo>
                    <a:pt x="8119776" y="6480562"/>
                  </a:lnTo>
                  <a:lnTo>
                    <a:pt x="8124544" y="6513918"/>
                  </a:lnTo>
                  <a:lnTo>
                    <a:pt x="8124544" y="6542509"/>
                  </a:lnTo>
                  <a:lnTo>
                    <a:pt x="8081656" y="6547274"/>
                  </a:lnTo>
                  <a:lnTo>
                    <a:pt x="8010180" y="6571100"/>
                  </a:lnTo>
                  <a:lnTo>
                    <a:pt x="7976824" y="6585395"/>
                  </a:lnTo>
                  <a:lnTo>
                    <a:pt x="7929172" y="6609221"/>
                  </a:lnTo>
                  <a:lnTo>
                    <a:pt x="7914876" y="6609221"/>
                  </a:lnTo>
                  <a:lnTo>
                    <a:pt x="7886284" y="6604456"/>
                  </a:lnTo>
                  <a:lnTo>
                    <a:pt x="7876756" y="6613986"/>
                  </a:lnTo>
                  <a:lnTo>
                    <a:pt x="7857696" y="6590160"/>
                  </a:lnTo>
                  <a:lnTo>
                    <a:pt x="7857696" y="6566335"/>
                  </a:lnTo>
                  <a:lnTo>
                    <a:pt x="7867224" y="6542509"/>
                  </a:lnTo>
                  <a:lnTo>
                    <a:pt x="7871992" y="6513918"/>
                  </a:lnTo>
                  <a:lnTo>
                    <a:pt x="7867224" y="6442441"/>
                  </a:lnTo>
                  <a:lnTo>
                    <a:pt x="7891052" y="6394790"/>
                  </a:lnTo>
                  <a:lnTo>
                    <a:pt x="7924408" y="6375730"/>
                  </a:lnTo>
                  <a:close/>
                  <a:moveTo>
                    <a:pt x="8829780" y="6332843"/>
                  </a:moveTo>
                  <a:lnTo>
                    <a:pt x="8844076" y="6332843"/>
                  </a:lnTo>
                  <a:lnTo>
                    <a:pt x="8925084" y="6394790"/>
                  </a:lnTo>
                  <a:lnTo>
                    <a:pt x="8910788" y="6399555"/>
                  </a:lnTo>
                  <a:lnTo>
                    <a:pt x="8844076" y="6375729"/>
                  </a:lnTo>
                  <a:lnTo>
                    <a:pt x="8820252" y="6351904"/>
                  </a:lnTo>
                  <a:close/>
                  <a:moveTo>
                    <a:pt x="8796424" y="6323313"/>
                  </a:moveTo>
                  <a:lnTo>
                    <a:pt x="8810720" y="6332843"/>
                  </a:lnTo>
                  <a:lnTo>
                    <a:pt x="8815488" y="6337608"/>
                  </a:lnTo>
                  <a:lnTo>
                    <a:pt x="8791660" y="6375729"/>
                  </a:lnTo>
                  <a:lnTo>
                    <a:pt x="8777364" y="6385260"/>
                  </a:lnTo>
                  <a:lnTo>
                    <a:pt x="8729712" y="6385260"/>
                  </a:lnTo>
                  <a:lnTo>
                    <a:pt x="8705888" y="6399555"/>
                  </a:lnTo>
                  <a:lnTo>
                    <a:pt x="8710652" y="6375729"/>
                  </a:lnTo>
                  <a:lnTo>
                    <a:pt x="8739244" y="6342374"/>
                  </a:lnTo>
                  <a:close/>
                  <a:moveTo>
                    <a:pt x="19101012" y="6132708"/>
                  </a:moveTo>
                  <a:lnTo>
                    <a:pt x="19143900" y="6142238"/>
                  </a:lnTo>
                  <a:lnTo>
                    <a:pt x="19182020" y="6170829"/>
                  </a:lnTo>
                  <a:lnTo>
                    <a:pt x="19215376" y="6194655"/>
                  </a:lnTo>
                  <a:lnTo>
                    <a:pt x="19324976" y="6328078"/>
                  </a:lnTo>
                  <a:lnTo>
                    <a:pt x="19334504" y="6351904"/>
                  </a:lnTo>
                  <a:lnTo>
                    <a:pt x="19344036" y="6385260"/>
                  </a:lnTo>
                  <a:lnTo>
                    <a:pt x="19348800" y="6504388"/>
                  </a:lnTo>
                  <a:lnTo>
                    <a:pt x="19339268" y="6509153"/>
                  </a:lnTo>
                  <a:lnTo>
                    <a:pt x="19301148" y="6518683"/>
                  </a:lnTo>
                  <a:lnTo>
                    <a:pt x="19243968" y="6504388"/>
                  </a:lnTo>
                  <a:lnTo>
                    <a:pt x="19205848" y="6499622"/>
                  </a:lnTo>
                  <a:lnTo>
                    <a:pt x="19167724" y="6499622"/>
                  </a:lnTo>
                  <a:lnTo>
                    <a:pt x="19134368" y="6485327"/>
                  </a:lnTo>
                  <a:lnTo>
                    <a:pt x="19048596" y="6466267"/>
                  </a:lnTo>
                  <a:lnTo>
                    <a:pt x="18986652" y="6423381"/>
                  </a:lnTo>
                  <a:lnTo>
                    <a:pt x="18919940" y="6394790"/>
                  </a:lnTo>
                  <a:lnTo>
                    <a:pt x="18905644" y="6390025"/>
                  </a:lnTo>
                  <a:lnTo>
                    <a:pt x="18862756" y="6399555"/>
                  </a:lnTo>
                  <a:lnTo>
                    <a:pt x="18805576" y="6437676"/>
                  </a:lnTo>
                  <a:lnTo>
                    <a:pt x="18791280" y="6442441"/>
                  </a:lnTo>
                  <a:lnTo>
                    <a:pt x="18767456" y="6442441"/>
                  </a:lnTo>
                  <a:lnTo>
                    <a:pt x="18753160" y="6404320"/>
                  </a:lnTo>
                  <a:lnTo>
                    <a:pt x="18786516" y="6394790"/>
                  </a:lnTo>
                  <a:lnTo>
                    <a:pt x="18824636" y="6385260"/>
                  </a:lnTo>
                  <a:lnTo>
                    <a:pt x="18862756" y="6375729"/>
                  </a:lnTo>
                  <a:lnTo>
                    <a:pt x="18891348" y="6328078"/>
                  </a:lnTo>
                  <a:lnTo>
                    <a:pt x="18910408" y="6294722"/>
                  </a:lnTo>
                  <a:lnTo>
                    <a:pt x="18939000" y="6208950"/>
                  </a:lnTo>
                  <a:lnTo>
                    <a:pt x="18953296" y="6180359"/>
                  </a:lnTo>
                  <a:lnTo>
                    <a:pt x="18972356" y="6161299"/>
                  </a:lnTo>
                  <a:lnTo>
                    <a:pt x="18986652" y="6156534"/>
                  </a:lnTo>
                  <a:lnTo>
                    <a:pt x="19005712" y="6156534"/>
                  </a:lnTo>
                  <a:lnTo>
                    <a:pt x="19062892" y="6137473"/>
                  </a:lnTo>
                  <a:close/>
                  <a:moveTo>
                    <a:pt x="16370596" y="6118412"/>
                  </a:moveTo>
                  <a:lnTo>
                    <a:pt x="16384892" y="6123177"/>
                  </a:lnTo>
                  <a:lnTo>
                    <a:pt x="16399184" y="6142237"/>
                  </a:lnTo>
                  <a:lnTo>
                    <a:pt x="16403952" y="6147003"/>
                  </a:lnTo>
                  <a:lnTo>
                    <a:pt x="16384892" y="6170828"/>
                  </a:lnTo>
                  <a:lnTo>
                    <a:pt x="16375360" y="6170828"/>
                  </a:lnTo>
                  <a:lnTo>
                    <a:pt x="16361064" y="6156533"/>
                  </a:lnTo>
                  <a:lnTo>
                    <a:pt x="16356300" y="6137472"/>
                  </a:lnTo>
                  <a:lnTo>
                    <a:pt x="16356300" y="6123177"/>
                  </a:lnTo>
                  <a:close/>
                  <a:moveTo>
                    <a:pt x="9925760" y="5999284"/>
                  </a:moveTo>
                  <a:lnTo>
                    <a:pt x="9982940" y="6013579"/>
                  </a:lnTo>
                  <a:lnTo>
                    <a:pt x="9997236" y="6032640"/>
                  </a:lnTo>
                  <a:lnTo>
                    <a:pt x="9987708" y="6042170"/>
                  </a:lnTo>
                  <a:lnTo>
                    <a:pt x="9978176" y="6056466"/>
                  </a:lnTo>
                  <a:lnTo>
                    <a:pt x="9968648" y="6056466"/>
                  </a:lnTo>
                  <a:lnTo>
                    <a:pt x="9963880" y="6061231"/>
                  </a:lnTo>
                  <a:lnTo>
                    <a:pt x="9925760" y="6042170"/>
                  </a:lnTo>
                  <a:lnTo>
                    <a:pt x="9873344" y="6032640"/>
                  </a:lnTo>
                  <a:lnTo>
                    <a:pt x="9882876" y="6013579"/>
                  </a:lnTo>
                  <a:close/>
                  <a:moveTo>
                    <a:pt x="9825692" y="5994519"/>
                  </a:moveTo>
                  <a:lnTo>
                    <a:pt x="9839988" y="5999284"/>
                  </a:lnTo>
                  <a:lnTo>
                    <a:pt x="9849520" y="6023110"/>
                  </a:lnTo>
                  <a:lnTo>
                    <a:pt x="9854284" y="6032640"/>
                  </a:lnTo>
                  <a:lnTo>
                    <a:pt x="9839988" y="6051701"/>
                  </a:lnTo>
                  <a:lnTo>
                    <a:pt x="9820928" y="6042171"/>
                  </a:lnTo>
                  <a:lnTo>
                    <a:pt x="9801868" y="6027875"/>
                  </a:lnTo>
                  <a:lnTo>
                    <a:pt x="9797104" y="6008814"/>
                  </a:lnTo>
                  <a:lnTo>
                    <a:pt x="9801868" y="5999284"/>
                  </a:lnTo>
                  <a:close/>
                  <a:moveTo>
                    <a:pt x="18081276" y="5942103"/>
                  </a:moveTo>
                  <a:lnTo>
                    <a:pt x="18119396" y="5961164"/>
                  </a:lnTo>
                  <a:lnTo>
                    <a:pt x="18181344" y="6032641"/>
                  </a:lnTo>
                  <a:lnTo>
                    <a:pt x="18214700" y="6094587"/>
                  </a:lnTo>
                  <a:lnTo>
                    <a:pt x="18205168" y="6132708"/>
                  </a:lnTo>
                  <a:lnTo>
                    <a:pt x="18195640" y="6151769"/>
                  </a:lnTo>
                  <a:lnTo>
                    <a:pt x="18186108" y="6123178"/>
                  </a:lnTo>
                  <a:lnTo>
                    <a:pt x="18133692" y="6051701"/>
                  </a:lnTo>
                  <a:lnTo>
                    <a:pt x="18119396" y="6018345"/>
                  </a:lnTo>
                  <a:lnTo>
                    <a:pt x="18090808" y="5984989"/>
                  </a:lnTo>
                  <a:lnTo>
                    <a:pt x="18081276" y="5970694"/>
                  </a:lnTo>
                  <a:close/>
                  <a:moveTo>
                    <a:pt x="18934236" y="5927807"/>
                  </a:moveTo>
                  <a:lnTo>
                    <a:pt x="18948528" y="5932572"/>
                  </a:lnTo>
                  <a:lnTo>
                    <a:pt x="18962824" y="5946867"/>
                  </a:lnTo>
                  <a:lnTo>
                    <a:pt x="18967588" y="5965928"/>
                  </a:lnTo>
                  <a:lnTo>
                    <a:pt x="18972356" y="5989754"/>
                  </a:lnTo>
                  <a:lnTo>
                    <a:pt x="18962824" y="6056465"/>
                  </a:lnTo>
                  <a:lnTo>
                    <a:pt x="18958060" y="6085056"/>
                  </a:lnTo>
                  <a:lnTo>
                    <a:pt x="18881816" y="6132707"/>
                  </a:lnTo>
                  <a:lnTo>
                    <a:pt x="18862756" y="6127942"/>
                  </a:lnTo>
                  <a:lnTo>
                    <a:pt x="18829400" y="6080291"/>
                  </a:lnTo>
                  <a:lnTo>
                    <a:pt x="18815104" y="5980223"/>
                  </a:lnTo>
                  <a:lnTo>
                    <a:pt x="18829400" y="5951633"/>
                  </a:lnTo>
                  <a:lnTo>
                    <a:pt x="18848460" y="5937337"/>
                  </a:lnTo>
                  <a:lnTo>
                    <a:pt x="18862756" y="5932572"/>
                  </a:lnTo>
                  <a:close/>
                  <a:moveTo>
                    <a:pt x="10164016" y="5789619"/>
                  </a:moveTo>
                  <a:lnTo>
                    <a:pt x="10192608" y="5789619"/>
                  </a:lnTo>
                  <a:lnTo>
                    <a:pt x="10173548" y="5822975"/>
                  </a:lnTo>
                  <a:lnTo>
                    <a:pt x="10168780" y="5856331"/>
                  </a:lnTo>
                  <a:lnTo>
                    <a:pt x="10121132" y="5837270"/>
                  </a:lnTo>
                  <a:lnTo>
                    <a:pt x="10116364" y="5822975"/>
                  </a:lnTo>
                  <a:lnTo>
                    <a:pt x="10140192" y="5803914"/>
                  </a:lnTo>
                  <a:close/>
                  <a:moveTo>
                    <a:pt x="14440720" y="5770558"/>
                  </a:moveTo>
                  <a:lnTo>
                    <a:pt x="14574144" y="5808679"/>
                  </a:lnTo>
                  <a:lnTo>
                    <a:pt x="14626560" y="5832505"/>
                  </a:lnTo>
                  <a:lnTo>
                    <a:pt x="14645620" y="5856330"/>
                  </a:lnTo>
                  <a:lnTo>
                    <a:pt x="14640856" y="5884921"/>
                  </a:lnTo>
                  <a:lnTo>
                    <a:pt x="14631324" y="5903982"/>
                  </a:lnTo>
                  <a:lnTo>
                    <a:pt x="14621796" y="5927807"/>
                  </a:lnTo>
                  <a:lnTo>
                    <a:pt x="14612264" y="5946868"/>
                  </a:lnTo>
                  <a:lnTo>
                    <a:pt x="14578908" y="5970693"/>
                  </a:lnTo>
                  <a:lnTo>
                    <a:pt x="14555084" y="6027875"/>
                  </a:lnTo>
                  <a:lnTo>
                    <a:pt x="14550316" y="6032640"/>
                  </a:lnTo>
                  <a:lnTo>
                    <a:pt x="14459780" y="6004049"/>
                  </a:lnTo>
                  <a:lnTo>
                    <a:pt x="14445484" y="5989754"/>
                  </a:lnTo>
                  <a:lnTo>
                    <a:pt x="14412128" y="5961163"/>
                  </a:lnTo>
                  <a:lnTo>
                    <a:pt x="14369244" y="5927807"/>
                  </a:lnTo>
                  <a:lnTo>
                    <a:pt x="14350184" y="5884921"/>
                  </a:lnTo>
                  <a:lnTo>
                    <a:pt x="14359712" y="5875391"/>
                  </a:lnTo>
                  <a:lnTo>
                    <a:pt x="14369244" y="5870626"/>
                  </a:lnTo>
                  <a:lnTo>
                    <a:pt x="14407364" y="5875391"/>
                  </a:lnTo>
                  <a:lnTo>
                    <a:pt x="14421660" y="5861095"/>
                  </a:lnTo>
                  <a:lnTo>
                    <a:pt x="14426424" y="5822974"/>
                  </a:lnTo>
                  <a:lnTo>
                    <a:pt x="14426424" y="5799149"/>
                  </a:lnTo>
                  <a:lnTo>
                    <a:pt x="14426424" y="5780088"/>
                  </a:lnTo>
                  <a:close/>
                  <a:moveTo>
                    <a:pt x="10464220" y="5503711"/>
                  </a:moveTo>
                  <a:lnTo>
                    <a:pt x="10468984" y="5513241"/>
                  </a:lnTo>
                  <a:lnTo>
                    <a:pt x="10483280" y="5522772"/>
                  </a:lnTo>
                  <a:lnTo>
                    <a:pt x="10526168" y="5503711"/>
                  </a:lnTo>
                  <a:lnTo>
                    <a:pt x="10530932" y="5513241"/>
                  </a:lnTo>
                  <a:lnTo>
                    <a:pt x="10545228" y="5537067"/>
                  </a:lnTo>
                  <a:lnTo>
                    <a:pt x="10526168" y="5584718"/>
                  </a:lnTo>
                  <a:lnTo>
                    <a:pt x="10511872" y="5603779"/>
                  </a:lnTo>
                  <a:lnTo>
                    <a:pt x="10478516" y="5589484"/>
                  </a:lnTo>
                  <a:lnTo>
                    <a:pt x="10430864" y="5589484"/>
                  </a:lnTo>
                  <a:lnTo>
                    <a:pt x="10411804" y="5565658"/>
                  </a:lnTo>
                  <a:lnTo>
                    <a:pt x="10421332" y="5537067"/>
                  </a:lnTo>
                  <a:lnTo>
                    <a:pt x="10449924" y="5522772"/>
                  </a:lnTo>
                  <a:close/>
                  <a:moveTo>
                    <a:pt x="9749452" y="5184448"/>
                  </a:moveTo>
                  <a:lnTo>
                    <a:pt x="9768512" y="5184448"/>
                  </a:lnTo>
                  <a:lnTo>
                    <a:pt x="9773276" y="5241629"/>
                  </a:lnTo>
                  <a:lnTo>
                    <a:pt x="9778040" y="5265455"/>
                  </a:lnTo>
                  <a:lnTo>
                    <a:pt x="9778040" y="5284515"/>
                  </a:lnTo>
                  <a:lnTo>
                    <a:pt x="9773276" y="5294046"/>
                  </a:lnTo>
                  <a:lnTo>
                    <a:pt x="9754216" y="5294046"/>
                  </a:lnTo>
                  <a:lnTo>
                    <a:pt x="9739920" y="5351227"/>
                  </a:lnTo>
                  <a:lnTo>
                    <a:pt x="9730388" y="5341697"/>
                  </a:lnTo>
                  <a:lnTo>
                    <a:pt x="9720860" y="5308341"/>
                  </a:lnTo>
                  <a:lnTo>
                    <a:pt x="9697032" y="5327401"/>
                  </a:lnTo>
                  <a:lnTo>
                    <a:pt x="9692268" y="5322636"/>
                  </a:lnTo>
                  <a:lnTo>
                    <a:pt x="9677972" y="5298811"/>
                  </a:lnTo>
                  <a:lnTo>
                    <a:pt x="9673208" y="5294046"/>
                  </a:lnTo>
                  <a:lnTo>
                    <a:pt x="9668444" y="5274985"/>
                  </a:lnTo>
                  <a:lnTo>
                    <a:pt x="9697032" y="5222569"/>
                  </a:lnTo>
                  <a:lnTo>
                    <a:pt x="9720860" y="5251160"/>
                  </a:lnTo>
                  <a:lnTo>
                    <a:pt x="9730388" y="5251160"/>
                  </a:lnTo>
                  <a:lnTo>
                    <a:pt x="9730388" y="5217804"/>
                  </a:lnTo>
                  <a:lnTo>
                    <a:pt x="9730388" y="5193978"/>
                  </a:lnTo>
                  <a:close/>
                  <a:moveTo>
                    <a:pt x="19820548" y="5141561"/>
                  </a:moveTo>
                  <a:lnTo>
                    <a:pt x="19853904" y="5189212"/>
                  </a:lnTo>
                  <a:lnTo>
                    <a:pt x="19853904" y="5236864"/>
                  </a:lnTo>
                  <a:lnTo>
                    <a:pt x="19863432" y="5274984"/>
                  </a:lnTo>
                  <a:lnTo>
                    <a:pt x="19901556" y="5279750"/>
                  </a:lnTo>
                  <a:lnTo>
                    <a:pt x="19963500" y="5232098"/>
                  </a:lnTo>
                  <a:lnTo>
                    <a:pt x="19973032" y="5232098"/>
                  </a:lnTo>
                  <a:lnTo>
                    <a:pt x="20115984" y="5246394"/>
                  </a:lnTo>
                  <a:lnTo>
                    <a:pt x="20130280" y="5265454"/>
                  </a:lnTo>
                  <a:lnTo>
                    <a:pt x="20130280" y="5294045"/>
                  </a:lnTo>
                  <a:lnTo>
                    <a:pt x="20125516" y="5313106"/>
                  </a:lnTo>
                  <a:lnTo>
                    <a:pt x="20125516" y="5336931"/>
                  </a:lnTo>
                  <a:lnTo>
                    <a:pt x="20144576" y="5355992"/>
                  </a:lnTo>
                  <a:lnTo>
                    <a:pt x="20192228" y="5360757"/>
                  </a:lnTo>
                  <a:lnTo>
                    <a:pt x="20220816" y="5341696"/>
                  </a:lnTo>
                  <a:lnTo>
                    <a:pt x="20306592" y="5351226"/>
                  </a:lnTo>
                  <a:lnTo>
                    <a:pt x="20378068" y="5365522"/>
                  </a:lnTo>
                  <a:lnTo>
                    <a:pt x="20406656" y="5398878"/>
                  </a:lnTo>
                  <a:lnTo>
                    <a:pt x="20430484" y="5417938"/>
                  </a:lnTo>
                  <a:lnTo>
                    <a:pt x="20444780" y="5441764"/>
                  </a:lnTo>
                  <a:lnTo>
                    <a:pt x="20459076" y="5427468"/>
                  </a:lnTo>
                  <a:lnTo>
                    <a:pt x="20468604" y="5403643"/>
                  </a:lnTo>
                  <a:lnTo>
                    <a:pt x="20482900" y="5403643"/>
                  </a:lnTo>
                  <a:lnTo>
                    <a:pt x="20492432" y="5403643"/>
                  </a:lnTo>
                  <a:lnTo>
                    <a:pt x="20463840" y="5532301"/>
                  </a:lnTo>
                  <a:lnTo>
                    <a:pt x="20454308" y="5551362"/>
                  </a:lnTo>
                  <a:lnTo>
                    <a:pt x="20416188" y="5579952"/>
                  </a:lnTo>
                  <a:lnTo>
                    <a:pt x="20335180" y="5622839"/>
                  </a:lnTo>
                  <a:lnTo>
                    <a:pt x="20301824" y="5637134"/>
                  </a:lnTo>
                  <a:lnTo>
                    <a:pt x="20216052" y="5637134"/>
                  </a:lnTo>
                  <a:lnTo>
                    <a:pt x="20096924" y="5618074"/>
                  </a:lnTo>
                  <a:lnTo>
                    <a:pt x="20063568" y="5603778"/>
                  </a:lnTo>
                  <a:lnTo>
                    <a:pt x="20044508" y="5584718"/>
                  </a:lnTo>
                  <a:lnTo>
                    <a:pt x="20011152" y="5541832"/>
                  </a:lnTo>
                  <a:lnTo>
                    <a:pt x="19992092" y="5522771"/>
                  </a:lnTo>
                  <a:lnTo>
                    <a:pt x="19934912" y="5508476"/>
                  </a:lnTo>
                  <a:lnTo>
                    <a:pt x="19915848" y="5498945"/>
                  </a:lnTo>
                  <a:lnTo>
                    <a:pt x="19882496" y="5460824"/>
                  </a:lnTo>
                  <a:lnTo>
                    <a:pt x="19849140" y="5432234"/>
                  </a:lnTo>
                  <a:lnTo>
                    <a:pt x="19763368" y="5379817"/>
                  </a:lnTo>
                  <a:lnTo>
                    <a:pt x="19768132" y="5322636"/>
                  </a:lnTo>
                  <a:lnTo>
                    <a:pt x="19777660" y="5260689"/>
                  </a:lnTo>
                  <a:lnTo>
                    <a:pt x="19791956" y="5203508"/>
                  </a:lnTo>
                  <a:lnTo>
                    <a:pt x="19806252" y="5155856"/>
                  </a:lnTo>
                  <a:close/>
                  <a:moveTo>
                    <a:pt x="18128928" y="4974790"/>
                  </a:moveTo>
                  <a:lnTo>
                    <a:pt x="18143224" y="5003373"/>
                  </a:lnTo>
                  <a:lnTo>
                    <a:pt x="18152752" y="5051024"/>
                  </a:lnTo>
                  <a:lnTo>
                    <a:pt x="18162284" y="5070085"/>
                  </a:lnTo>
                  <a:lnTo>
                    <a:pt x="18195640" y="5112971"/>
                  </a:lnTo>
                  <a:lnTo>
                    <a:pt x="18200404" y="5127266"/>
                  </a:lnTo>
                  <a:lnTo>
                    <a:pt x="18171812" y="5179683"/>
                  </a:lnTo>
                  <a:lnTo>
                    <a:pt x="18171812" y="5203508"/>
                  </a:lnTo>
                  <a:lnTo>
                    <a:pt x="18181344" y="5232099"/>
                  </a:lnTo>
                  <a:lnTo>
                    <a:pt x="18167048" y="5251160"/>
                  </a:lnTo>
                  <a:lnTo>
                    <a:pt x="18138456" y="5265455"/>
                  </a:lnTo>
                  <a:lnTo>
                    <a:pt x="18090808" y="5260690"/>
                  </a:lnTo>
                  <a:lnTo>
                    <a:pt x="18095572" y="5217804"/>
                  </a:lnTo>
                  <a:lnTo>
                    <a:pt x="18100336" y="5198743"/>
                  </a:lnTo>
                  <a:lnTo>
                    <a:pt x="18114632" y="5146327"/>
                  </a:lnTo>
                  <a:lnTo>
                    <a:pt x="18109868" y="5108206"/>
                  </a:lnTo>
                  <a:lnTo>
                    <a:pt x="18109868" y="5060554"/>
                  </a:lnTo>
                  <a:lnTo>
                    <a:pt x="18114632" y="5027198"/>
                  </a:lnTo>
                  <a:close/>
                  <a:moveTo>
                    <a:pt x="20802164" y="4750828"/>
                  </a:moveTo>
                  <a:lnTo>
                    <a:pt x="20806928" y="4755594"/>
                  </a:lnTo>
                  <a:lnTo>
                    <a:pt x="20811696" y="4769887"/>
                  </a:lnTo>
                  <a:lnTo>
                    <a:pt x="20811696" y="4798480"/>
                  </a:lnTo>
                  <a:lnTo>
                    <a:pt x="20797400" y="4822305"/>
                  </a:lnTo>
                  <a:lnTo>
                    <a:pt x="20764044" y="4784184"/>
                  </a:lnTo>
                  <a:lnTo>
                    <a:pt x="20778340" y="4760359"/>
                  </a:lnTo>
                  <a:close/>
                  <a:moveTo>
                    <a:pt x="18614972" y="4746063"/>
                  </a:moveTo>
                  <a:lnTo>
                    <a:pt x="18634032" y="4750828"/>
                  </a:lnTo>
                  <a:lnTo>
                    <a:pt x="18648328" y="4774654"/>
                  </a:lnTo>
                  <a:lnTo>
                    <a:pt x="18662624" y="4808010"/>
                  </a:lnTo>
                  <a:lnTo>
                    <a:pt x="18676916" y="4822305"/>
                  </a:lnTo>
                  <a:lnTo>
                    <a:pt x="18729332" y="4869956"/>
                  </a:lnTo>
                  <a:lnTo>
                    <a:pt x="18762688" y="4908077"/>
                  </a:lnTo>
                  <a:lnTo>
                    <a:pt x="18810340" y="4984319"/>
                  </a:lnTo>
                  <a:lnTo>
                    <a:pt x="18824636" y="4998608"/>
                  </a:lnTo>
                  <a:lnTo>
                    <a:pt x="18843696" y="4989085"/>
                  </a:lnTo>
                  <a:lnTo>
                    <a:pt x="18862756" y="5008138"/>
                  </a:lnTo>
                  <a:lnTo>
                    <a:pt x="18877052" y="5074850"/>
                  </a:lnTo>
                  <a:lnTo>
                    <a:pt x="18886584" y="5089145"/>
                  </a:lnTo>
                  <a:lnTo>
                    <a:pt x="18896112" y="5103440"/>
                  </a:lnTo>
                  <a:lnTo>
                    <a:pt x="18905644" y="5108205"/>
                  </a:lnTo>
                  <a:lnTo>
                    <a:pt x="18929468" y="5112971"/>
                  </a:lnTo>
                  <a:lnTo>
                    <a:pt x="18939000" y="5098675"/>
                  </a:lnTo>
                  <a:lnTo>
                    <a:pt x="18948528" y="5065319"/>
                  </a:lnTo>
                  <a:lnTo>
                    <a:pt x="18948528" y="5036729"/>
                  </a:lnTo>
                  <a:lnTo>
                    <a:pt x="18943764" y="5003373"/>
                  </a:lnTo>
                  <a:lnTo>
                    <a:pt x="18943764" y="4960494"/>
                  </a:lnTo>
                  <a:lnTo>
                    <a:pt x="18948528" y="4922373"/>
                  </a:lnTo>
                  <a:lnTo>
                    <a:pt x="18953296" y="4898548"/>
                  </a:lnTo>
                  <a:lnTo>
                    <a:pt x="18962824" y="4884252"/>
                  </a:lnTo>
                  <a:lnTo>
                    <a:pt x="19005712" y="4836600"/>
                  </a:lnTo>
                  <a:lnTo>
                    <a:pt x="19034300" y="4788949"/>
                  </a:lnTo>
                  <a:lnTo>
                    <a:pt x="19072424" y="4808010"/>
                  </a:lnTo>
                  <a:lnTo>
                    <a:pt x="19115308" y="4846132"/>
                  </a:lnTo>
                  <a:lnTo>
                    <a:pt x="19186784" y="4936668"/>
                  </a:lnTo>
                  <a:lnTo>
                    <a:pt x="19220140" y="4965259"/>
                  </a:lnTo>
                  <a:lnTo>
                    <a:pt x="19258264" y="4989085"/>
                  </a:lnTo>
                  <a:lnTo>
                    <a:pt x="19296384" y="4993842"/>
                  </a:lnTo>
                  <a:lnTo>
                    <a:pt x="19320208" y="4989085"/>
                  </a:lnTo>
                  <a:lnTo>
                    <a:pt x="19358332" y="4965259"/>
                  </a:lnTo>
                  <a:lnTo>
                    <a:pt x="19377392" y="4965259"/>
                  </a:lnTo>
                  <a:lnTo>
                    <a:pt x="19620412" y="5141561"/>
                  </a:lnTo>
                  <a:lnTo>
                    <a:pt x="19629944" y="5151092"/>
                  </a:lnTo>
                  <a:lnTo>
                    <a:pt x="19639472" y="5174917"/>
                  </a:lnTo>
                  <a:lnTo>
                    <a:pt x="19587056" y="5198743"/>
                  </a:lnTo>
                  <a:lnTo>
                    <a:pt x="19548936" y="5246394"/>
                  </a:lnTo>
                  <a:lnTo>
                    <a:pt x="19539404" y="5274985"/>
                  </a:lnTo>
                  <a:lnTo>
                    <a:pt x="19553700" y="5303576"/>
                  </a:lnTo>
                  <a:lnTo>
                    <a:pt x="19563232" y="5336931"/>
                  </a:lnTo>
                  <a:lnTo>
                    <a:pt x="19491756" y="5436999"/>
                  </a:lnTo>
                  <a:lnTo>
                    <a:pt x="19458400" y="5465590"/>
                  </a:lnTo>
                  <a:lnTo>
                    <a:pt x="19429808" y="5475120"/>
                  </a:lnTo>
                  <a:lnTo>
                    <a:pt x="19367860" y="5451294"/>
                  </a:lnTo>
                  <a:lnTo>
                    <a:pt x="19329740" y="5451294"/>
                  </a:lnTo>
                  <a:lnTo>
                    <a:pt x="19296384" y="5432234"/>
                  </a:lnTo>
                  <a:lnTo>
                    <a:pt x="19258264" y="5370287"/>
                  </a:lnTo>
                  <a:lnTo>
                    <a:pt x="19239204" y="5336931"/>
                  </a:lnTo>
                  <a:lnTo>
                    <a:pt x="19229672" y="5294045"/>
                  </a:lnTo>
                  <a:lnTo>
                    <a:pt x="19220140" y="5227334"/>
                  </a:lnTo>
                  <a:lnTo>
                    <a:pt x="19229672" y="5165387"/>
                  </a:lnTo>
                  <a:lnTo>
                    <a:pt x="19248732" y="5146326"/>
                  </a:lnTo>
                  <a:lnTo>
                    <a:pt x="19267792" y="5108205"/>
                  </a:lnTo>
                  <a:lnTo>
                    <a:pt x="19267792" y="5093910"/>
                  </a:lnTo>
                  <a:lnTo>
                    <a:pt x="19258264" y="5060554"/>
                  </a:lnTo>
                  <a:lnTo>
                    <a:pt x="19201080" y="5055789"/>
                  </a:lnTo>
                  <a:lnTo>
                    <a:pt x="19162960" y="5074850"/>
                  </a:lnTo>
                  <a:lnTo>
                    <a:pt x="19124840" y="5093910"/>
                  </a:lnTo>
                  <a:lnTo>
                    <a:pt x="19139136" y="5217803"/>
                  </a:lnTo>
                  <a:lnTo>
                    <a:pt x="19143900" y="5260689"/>
                  </a:lnTo>
                  <a:lnTo>
                    <a:pt x="19153432" y="5289280"/>
                  </a:lnTo>
                  <a:lnTo>
                    <a:pt x="19210612" y="5417939"/>
                  </a:lnTo>
                  <a:lnTo>
                    <a:pt x="19220140" y="5436999"/>
                  </a:lnTo>
                  <a:lnTo>
                    <a:pt x="19258264" y="5460825"/>
                  </a:lnTo>
                  <a:lnTo>
                    <a:pt x="19291620" y="5518006"/>
                  </a:lnTo>
                  <a:lnTo>
                    <a:pt x="19234436" y="5579953"/>
                  </a:lnTo>
                  <a:lnTo>
                    <a:pt x="19210612" y="5599013"/>
                  </a:lnTo>
                  <a:lnTo>
                    <a:pt x="19186784" y="5608544"/>
                  </a:lnTo>
                  <a:lnTo>
                    <a:pt x="19172492" y="5603778"/>
                  </a:lnTo>
                  <a:lnTo>
                    <a:pt x="19158196" y="5589483"/>
                  </a:lnTo>
                  <a:lnTo>
                    <a:pt x="19143900" y="5560892"/>
                  </a:lnTo>
                  <a:lnTo>
                    <a:pt x="19129604" y="5532302"/>
                  </a:lnTo>
                  <a:lnTo>
                    <a:pt x="19110544" y="5503711"/>
                  </a:lnTo>
                  <a:lnTo>
                    <a:pt x="19072424" y="5513241"/>
                  </a:lnTo>
                  <a:lnTo>
                    <a:pt x="19039068" y="5532302"/>
                  </a:lnTo>
                  <a:lnTo>
                    <a:pt x="19005712" y="5546597"/>
                  </a:lnTo>
                  <a:lnTo>
                    <a:pt x="18905644" y="5570422"/>
                  </a:lnTo>
                  <a:lnTo>
                    <a:pt x="18872288" y="5589483"/>
                  </a:lnTo>
                  <a:lnTo>
                    <a:pt x="18843696" y="5594248"/>
                  </a:lnTo>
                  <a:lnTo>
                    <a:pt x="18800812" y="5565657"/>
                  </a:lnTo>
                  <a:lnTo>
                    <a:pt x="18762688" y="5522771"/>
                  </a:lnTo>
                  <a:lnTo>
                    <a:pt x="18753160" y="5522771"/>
                  </a:lnTo>
                  <a:lnTo>
                    <a:pt x="18738864" y="5532302"/>
                  </a:lnTo>
                  <a:lnTo>
                    <a:pt x="18729332" y="5556127"/>
                  </a:lnTo>
                  <a:lnTo>
                    <a:pt x="18724568" y="5599013"/>
                  </a:lnTo>
                  <a:lnTo>
                    <a:pt x="18710272" y="5651430"/>
                  </a:lnTo>
                  <a:lnTo>
                    <a:pt x="18695976" y="5689551"/>
                  </a:lnTo>
                  <a:lnTo>
                    <a:pt x="18676916" y="5703846"/>
                  </a:lnTo>
                  <a:lnTo>
                    <a:pt x="18662624" y="5703846"/>
                  </a:lnTo>
                  <a:lnTo>
                    <a:pt x="18643560" y="5694316"/>
                  </a:lnTo>
                  <a:lnTo>
                    <a:pt x="18624500" y="5680020"/>
                  </a:lnTo>
                  <a:lnTo>
                    <a:pt x="18500608" y="5622839"/>
                  </a:lnTo>
                  <a:lnTo>
                    <a:pt x="18491076" y="5603778"/>
                  </a:lnTo>
                  <a:lnTo>
                    <a:pt x="18476784" y="5579953"/>
                  </a:lnTo>
                  <a:lnTo>
                    <a:pt x="18438660" y="5494180"/>
                  </a:lnTo>
                  <a:lnTo>
                    <a:pt x="18419600" y="5475120"/>
                  </a:lnTo>
                  <a:lnTo>
                    <a:pt x="18400540" y="5465590"/>
                  </a:lnTo>
                  <a:lnTo>
                    <a:pt x="18367184" y="5427469"/>
                  </a:lnTo>
                  <a:lnTo>
                    <a:pt x="18333828" y="5355992"/>
                  </a:lnTo>
                  <a:lnTo>
                    <a:pt x="18329064" y="5336931"/>
                  </a:lnTo>
                  <a:lnTo>
                    <a:pt x="18324296" y="5303576"/>
                  </a:lnTo>
                  <a:lnTo>
                    <a:pt x="18329064" y="5279750"/>
                  </a:lnTo>
                  <a:lnTo>
                    <a:pt x="18357652" y="5289280"/>
                  </a:lnTo>
                  <a:lnTo>
                    <a:pt x="18376716" y="5289280"/>
                  </a:lnTo>
                  <a:lnTo>
                    <a:pt x="18367184" y="5160622"/>
                  </a:lnTo>
                  <a:lnTo>
                    <a:pt x="18376716" y="5036729"/>
                  </a:lnTo>
                  <a:lnTo>
                    <a:pt x="18391008" y="5017668"/>
                  </a:lnTo>
                  <a:lnTo>
                    <a:pt x="18443428" y="5031963"/>
                  </a:lnTo>
                  <a:lnTo>
                    <a:pt x="18424364" y="4989085"/>
                  </a:lnTo>
                  <a:lnTo>
                    <a:pt x="18410072" y="4936668"/>
                  </a:lnTo>
                  <a:lnTo>
                    <a:pt x="18419600" y="4903311"/>
                  </a:lnTo>
                  <a:lnTo>
                    <a:pt x="18429132" y="4884252"/>
                  </a:lnTo>
                  <a:lnTo>
                    <a:pt x="18452956" y="4865191"/>
                  </a:lnTo>
                  <a:lnTo>
                    <a:pt x="18486312" y="4860426"/>
                  </a:lnTo>
                  <a:lnTo>
                    <a:pt x="18495844" y="4846132"/>
                  </a:lnTo>
                  <a:lnTo>
                    <a:pt x="18505372" y="4822305"/>
                  </a:lnTo>
                  <a:lnTo>
                    <a:pt x="18519668" y="4803244"/>
                  </a:lnTo>
                  <a:lnTo>
                    <a:pt x="18557788" y="4793714"/>
                  </a:lnTo>
                  <a:close/>
                  <a:moveTo>
                    <a:pt x="11974764" y="4679357"/>
                  </a:moveTo>
                  <a:lnTo>
                    <a:pt x="12012884" y="4693650"/>
                  </a:lnTo>
                  <a:lnTo>
                    <a:pt x="12027180" y="4703180"/>
                  </a:lnTo>
                  <a:lnTo>
                    <a:pt x="12022416" y="4731771"/>
                  </a:lnTo>
                  <a:lnTo>
                    <a:pt x="12008120" y="4722242"/>
                  </a:lnTo>
                  <a:lnTo>
                    <a:pt x="11984296" y="4736537"/>
                  </a:lnTo>
                  <a:lnTo>
                    <a:pt x="11984296" y="4760362"/>
                  </a:lnTo>
                  <a:lnTo>
                    <a:pt x="11979528" y="4798482"/>
                  </a:lnTo>
                  <a:lnTo>
                    <a:pt x="11946176" y="4774657"/>
                  </a:lnTo>
                  <a:lnTo>
                    <a:pt x="11908052" y="4774657"/>
                  </a:lnTo>
                  <a:lnTo>
                    <a:pt x="11879464" y="4750831"/>
                  </a:lnTo>
                  <a:lnTo>
                    <a:pt x="11822280" y="4736537"/>
                  </a:lnTo>
                  <a:lnTo>
                    <a:pt x="11827048" y="4707945"/>
                  </a:lnTo>
                  <a:lnTo>
                    <a:pt x="11836576" y="4688886"/>
                  </a:lnTo>
                  <a:lnTo>
                    <a:pt x="11865168" y="4712712"/>
                  </a:lnTo>
                  <a:lnTo>
                    <a:pt x="11898524" y="4684120"/>
                  </a:lnTo>
                  <a:lnTo>
                    <a:pt x="11955704" y="4698416"/>
                  </a:lnTo>
                  <a:close/>
                  <a:moveTo>
                    <a:pt x="12065304" y="4645999"/>
                  </a:moveTo>
                  <a:lnTo>
                    <a:pt x="12084364" y="4650765"/>
                  </a:lnTo>
                  <a:lnTo>
                    <a:pt x="12093892" y="4669825"/>
                  </a:lnTo>
                  <a:lnTo>
                    <a:pt x="12093892" y="4679357"/>
                  </a:lnTo>
                  <a:lnTo>
                    <a:pt x="12084364" y="4722242"/>
                  </a:lnTo>
                  <a:lnTo>
                    <a:pt x="12065304" y="4746067"/>
                  </a:lnTo>
                  <a:lnTo>
                    <a:pt x="12055772" y="4755598"/>
                  </a:lnTo>
                  <a:lnTo>
                    <a:pt x="12046240" y="4750831"/>
                  </a:lnTo>
                  <a:lnTo>
                    <a:pt x="12046240" y="4741301"/>
                  </a:lnTo>
                  <a:lnTo>
                    <a:pt x="12046240" y="4707945"/>
                  </a:lnTo>
                  <a:lnTo>
                    <a:pt x="12060536" y="4665059"/>
                  </a:lnTo>
                  <a:lnTo>
                    <a:pt x="12060536" y="4650765"/>
                  </a:lnTo>
                  <a:close/>
                  <a:moveTo>
                    <a:pt x="14488368" y="4450625"/>
                  </a:moveTo>
                  <a:lnTo>
                    <a:pt x="14502664" y="4464920"/>
                  </a:lnTo>
                  <a:lnTo>
                    <a:pt x="14526492" y="4512572"/>
                  </a:lnTo>
                  <a:lnTo>
                    <a:pt x="14531256" y="4541162"/>
                  </a:lnTo>
                  <a:lnTo>
                    <a:pt x="14521724" y="4550693"/>
                  </a:lnTo>
                  <a:lnTo>
                    <a:pt x="14516960" y="4560223"/>
                  </a:lnTo>
                  <a:lnTo>
                    <a:pt x="14516960" y="4579283"/>
                  </a:lnTo>
                  <a:lnTo>
                    <a:pt x="14512196" y="4579283"/>
                  </a:lnTo>
                  <a:lnTo>
                    <a:pt x="14488368" y="4560223"/>
                  </a:lnTo>
                  <a:lnTo>
                    <a:pt x="14474076" y="4522102"/>
                  </a:lnTo>
                  <a:lnTo>
                    <a:pt x="14450248" y="4512572"/>
                  </a:lnTo>
                  <a:lnTo>
                    <a:pt x="14426424" y="4479216"/>
                  </a:lnTo>
                  <a:lnTo>
                    <a:pt x="14421656" y="4464920"/>
                  </a:lnTo>
                  <a:lnTo>
                    <a:pt x="14431188" y="4460155"/>
                  </a:lnTo>
                  <a:lnTo>
                    <a:pt x="14469308" y="4469686"/>
                  </a:lnTo>
                  <a:close/>
                  <a:moveTo>
                    <a:pt x="12146308" y="4407743"/>
                  </a:moveTo>
                  <a:lnTo>
                    <a:pt x="12179664" y="4479219"/>
                  </a:lnTo>
                  <a:lnTo>
                    <a:pt x="12170136" y="4488750"/>
                  </a:lnTo>
                  <a:lnTo>
                    <a:pt x="12155840" y="4488750"/>
                  </a:lnTo>
                  <a:lnTo>
                    <a:pt x="12141544" y="4460159"/>
                  </a:lnTo>
                  <a:lnTo>
                    <a:pt x="12136780" y="4422038"/>
                  </a:lnTo>
                  <a:close/>
                  <a:moveTo>
                    <a:pt x="20268468" y="4355323"/>
                  </a:moveTo>
                  <a:lnTo>
                    <a:pt x="20249408" y="4379148"/>
                  </a:lnTo>
                  <a:lnTo>
                    <a:pt x="20239880" y="4426798"/>
                  </a:lnTo>
                  <a:lnTo>
                    <a:pt x="20230348" y="4441095"/>
                  </a:lnTo>
                  <a:lnTo>
                    <a:pt x="20111220" y="4445860"/>
                  </a:lnTo>
                  <a:lnTo>
                    <a:pt x="20120752" y="4426798"/>
                  </a:lnTo>
                  <a:lnTo>
                    <a:pt x="20163636" y="4379148"/>
                  </a:lnTo>
                  <a:close/>
                  <a:moveTo>
                    <a:pt x="7505076" y="4198078"/>
                  </a:moveTo>
                  <a:lnTo>
                    <a:pt x="7562256" y="4212372"/>
                  </a:lnTo>
                  <a:lnTo>
                    <a:pt x="7633732" y="4250493"/>
                  </a:lnTo>
                  <a:lnTo>
                    <a:pt x="7667088" y="4298143"/>
                  </a:lnTo>
                  <a:lnTo>
                    <a:pt x="7695680" y="4350561"/>
                  </a:lnTo>
                  <a:lnTo>
                    <a:pt x="7700444" y="4369621"/>
                  </a:lnTo>
                  <a:lnTo>
                    <a:pt x="7705208" y="4407742"/>
                  </a:lnTo>
                  <a:lnTo>
                    <a:pt x="7695680" y="4441098"/>
                  </a:lnTo>
                  <a:lnTo>
                    <a:pt x="7690916" y="4474455"/>
                  </a:lnTo>
                  <a:lnTo>
                    <a:pt x="7695680" y="4498280"/>
                  </a:lnTo>
                  <a:lnTo>
                    <a:pt x="7643264" y="4579288"/>
                  </a:lnTo>
                  <a:lnTo>
                    <a:pt x="7590848" y="4669825"/>
                  </a:lnTo>
                  <a:lnTo>
                    <a:pt x="7581316" y="4688886"/>
                  </a:lnTo>
                  <a:lnTo>
                    <a:pt x="7519368" y="4722242"/>
                  </a:lnTo>
                  <a:lnTo>
                    <a:pt x="7457424" y="4769892"/>
                  </a:lnTo>
                  <a:lnTo>
                    <a:pt x="7419304" y="4808013"/>
                  </a:lnTo>
                  <a:lnTo>
                    <a:pt x="7385948" y="4831839"/>
                  </a:lnTo>
                  <a:lnTo>
                    <a:pt x="7347824" y="4846135"/>
                  </a:lnTo>
                  <a:lnTo>
                    <a:pt x="7290644" y="4889022"/>
                  </a:lnTo>
                  <a:lnTo>
                    <a:pt x="7185812" y="4936672"/>
                  </a:lnTo>
                  <a:lnTo>
                    <a:pt x="7119100" y="4979557"/>
                  </a:lnTo>
                  <a:lnTo>
                    <a:pt x="7047624" y="5012903"/>
                  </a:lnTo>
                  <a:lnTo>
                    <a:pt x="6971380" y="5055789"/>
                  </a:lnTo>
                  <a:lnTo>
                    <a:pt x="6899904" y="5084380"/>
                  </a:lnTo>
                  <a:lnTo>
                    <a:pt x="6880844" y="5089145"/>
                  </a:lnTo>
                  <a:lnTo>
                    <a:pt x="6828428" y="5127266"/>
                  </a:lnTo>
                  <a:lnTo>
                    <a:pt x="6785540" y="5146326"/>
                  </a:lnTo>
                  <a:lnTo>
                    <a:pt x="6633056" y="5236864"/>
                  </a:lnTo>
                  <a:lnTo>
                    <a:pt x="6561580" y="5303576"/>
                  </a:lnTo>
                  <a:lnTo>
                    <a:pt x="6537752" y="5308341"/>
                  </a:lnTo>
                  <a:lnTo>
                    <a:pt x="6518692" y="5308341"/>
                  </a:lnTo>
                  <a:lnTo>
                    <a:pt x="6504400" y="5327401"/>
                  </a:lnTo>
                  <a:lnTo>
                    <a:pt x="6485336" y="5365522"/>
                  </a:lnTo>
                  <a:lnTo>
                    <a:pt x="6451980" y="5398878"/>
                  </a:lnTo>
                  <a:lnTo>
                    <a:pt x="6437688" y="5432234"/>
                  </a:lnTo>
                  <a:lnTo>
                    <a:pt x="6418624" y="5460825"/>
                  </a:lnTo>
                  <a:lnTo>
                    <a:pt x="6409096" y="5465590"/>
                  </a:lnTo>
                  <a:lnTo>
                    <a:pt x="6390036" y="5465590"/>
                  </a:lnTo>
                  <a:lnTo>
                    <a:pt x="6380504" y="5465590"/>
                  </a:lnTo>
                  <a:lnTo>
                    <a:pt x="6351916" y="5494181"/>
                  </a:lnTo>
                  <a:lnTo>
                    <a:pt x="6347148" y="5518006"/>
                  </a:lnTo>
                  <a:lnTo>
                    <a:pt x="6380504" y="5532302"/>
                  </a:lnTo>
                  <a:lnTo>
                    <a:pt x="6385272" y="5556127"/>
                  </a:lnTo>
                  <a:lnTo>
                    <a:pt x="6375740" y="5575188"/>
                  </a:lnTo>
                  <a:lnTo>
                    <a:pt x="6356680" y="5599014"/>
                  </a:lnTo>
                  <a:lnTo>
                    <a:pt x="6342384" y="5622839"/>
                  </a:lnTo>
                  <a:lnTo>
                    <a:pt x="6318560" y="5646665"/>
                  </a:lnTo>
                  <a:lnTo>
                    <a:pt x="6304264" y="5651430"/>
                  </a:lnTo>
                  <a:lnTo>
                    <a:pt x="6266140" y="5651430"/>
                  </a:lnTo>
                  <a:lnTo>
                    <a:pt x="6266140" y="5680021"/>
                  </a:lnTo>
                  <a:lnTo>
                    <a:pt x="6270908" y="5699081"/>
                  </a:lnTo>
                  <a:lnTo>
                    <a:pt x="6270908" y="5718142"/>
                  </a:lnTo>
                  <a:lnTo>
                    <a:pt x="6256612" y="5732437"/>
                  </a:lnTo>
                  <a:lnTo>
                    <a:pt x="6247080" y="5732437"/>
                  </a:lnTo>
                  <a:lnTo>
                    <a:pt x="6189900" y="5684786"/>
                  </a:lnTo>
                  <a:lnTo>
                    <a:pt x="6180368" y="5699081"/>
                  </a:lnTo>
                  <a:lnTo>
                    <a:pt x="6175604" y="5732437"/>
                  </a:lnTo>
                  <a:lnTo>
                    <a:pt x="6175604" y="5765793"/>
                  </a:lnTo>
                  <a:lnTo>
                    <a:pt x="6166076" y="5794384"/>
                  </a:lnTo>
                  <a:lnTo>
                    <a:pt x="6156544" y="5803914"/>
                  </a:lnTo>
                  <a:lnTo>
                    <a:pt x="6142248" y="5818209"/>
                  </a:lnTo>
                  <a:lnTo>
                    <a:pt x="6080300" y="5799149"/>
                  </a:lnTo>
                  <a:lnTo>
                    <a:pt x="6075536" y="5818209"/>
                  </a:lnTo>
                  <a:lnTo>
                    <a:pt x="6085068" y="5842035"/>
                  </a:lnTo>
                  <a:lnTo>
                    <a:pt x="6094596" y="5899216"/>
                  </a:lnTo>
                  <a:lnTo>
                    <a:pt x="6099364" y="5918277"/>
                  </a:lnTo>
                  <a:lnTo>
                    <a:pt x="6089832" y="5956398"/>
                  </a:lnTo>
                  <a:lnTo>
                    <a:pt x="6066008" y="6013580"/>
                  </a:lnTo>
                  <a:lnTo>
                    <a:pt x="5961172" y="6075526"/>
                  </a:lnTo>
                  <a:lnTo>
                    <a:pt x="5961172" y="6099352"/>
                  </a:lnTo>
                  <a:lnTo>
                    <a:pt x="5970704" y="6142238"/>
                  </a:lnTo>
                  <a:lnTo>
                    <a:pt x="5975468" y="6170829"/>
                  </a:lnTo>
                  <a:lnTo>
                    <a:pt x="5970704" y="6194654"/>
                  </a:lnTo>
                  <a:lnTo>
                    <a:pt x="5956408" y="6213715"/>
                  </a:lnTo>
                  <a:lnTo>
                    <a:pt x="5942112" y="6213715"/>
                  </a:lnTo>
                  <a:lnTo>
                    <a:pt x="5932584" y="6213715"/>
                  </a:lnTo>
                  <a:lnTo>
                    <a:pt x="5908756" y="6185124"/>
                  </a:lnTo>
                  <a:lnTo>
                    <a:pt x="5889696" y="6175594"/>
                  </a:lnTo>
                  <a:lnTo>
                    <a:pt x="5884932" y="6189889"/>
                  </a:lnTo>
                  <a:lnTo>
                    <a:pt x="5913524" y="6228010"/>
                  </a:lnTo>
                  <a:lnTo>
                    <a:pt x="5923052" y="6275662"/>
                  </a:lnTo>
                  <a:lnTo>
                    <a:pt x="5913524" y="6304252"/>
                  </a:lnTo>
                  <a:lnTo>
                    <a:pt x="5861108" y="6361434"/>
                  </a:lnTo>
                  <a:lnTo>
                    <a:pt x="5832516" y="6437676"/>
                  </a:lnTo>
                  <a:lnTo>
                    <a:pt x="5780100" y="6471032"/>
                  </a:lnTo>
                  <a:lnTo>
                    <a:pt x="5751508" y="6475797"/>
                  </a:lnTo>
                  <a:lnTo>
                    <a:pt x="5718152" y="6466267"/>
                  </a:lnTo>
                  <a:lnTo>
                    <a:pt x="5689560" y="6447206"/>
                  </a:lnTo>
                  <a:lnTo>
                    <a:pt x="5613320" y="6442441"/>
                  </a:lnTo>
                  <a:lnTo>
                    <a:pt x="5570432" y="6423380"/>
                  </a:lnTo>
                  <a:lnTo>
                    <a:pt x="5527548" y="6390025"/>
                  </a:lnTo>
                  <a:lnTo>
                    <a:pt x="5489428" y="6390025"/>
                  </a:lnTo>
                  <a:lnTo>
                    <a:pt x="5460836" y="6409085"/>
                  </a:lnTo>
                  <a:lnTo>
                    <a:pt x="5417948" y="6447206"/>
                  </a:lnTo>
                  <a:lnTo>
                    <a:pt x="5389360" y="6375729"/>
                  </a:lnTo>
                  <a:lnTo>
                    <a:pt x="5403652" y="6342374"/>
                  </a:lnTo>
                  <a:lnTo>
                    <a:pt x="5346472" y="6256601"/>
                  </a:lnTo>
                  <a:lnTo>
                    <a:pt x="5332176" y="6218480"/>
                  </a:lnTo>
                  <a:lnTo>
                    <a:pt x="5346472" y="6199420"/>
                  </a:lnTo>
                  <a:lnTo>
                    <a:pt x="5365532" y="6185124"/>
                  </a:lnTo>
                  <a:lnTo>
                    <a:pt x="5398888" y="6147003"/>
                  </a:lnTo>
                  <a:lnTo>
                    <a:pt x="5432244" y="6123178"/>
                  </a:lnTo>
                  <a:lnTo>
                    <a:pt x="5465600" y="6113647"/>
                  </a:lnTo>
                  <a:lnTo>
                    <a:pt x="5470364" y="6108882"/>
                  </a:lnTo>
                  <a:lnTo>
                    <a:pt x="5484660" y="6065996"/>
                  </a:lnTo>
                  <a:lnTo>
                    <a:pt x="5498956" y="6032640"/>
                  </a:lnTo>
                  <a:lnTo>
                    <a:pt x="5513252" y="6013580"/>
                  </a:lnTo>
                  <a:lnTo>
                    <a:pt x="5532312" y="5980224"/>
                  </a:lnTo>
                  <a:lnTo>
                    <a:pt x="5579964" y="5842035"/>
                  </a:lnTo>
                  <a:lnTo>
                    <a:pt x="5594260" y="5832505"/>
                  </a:lnTo>
                  <a:lnTo>
                    <a:pt x="5694328" y="5808679"/>
                  </a:lnTo>
                  <a:lnTo>
                    <a:pt x="5703856" y="5799149"/>
                  </a:lnTo>
                  <a:lnTo>
                    <a:pt x="5675268" y="5770558"/>
                  </a:lnTo>
                  <a:lnTo>
                    <a:pt x="5641912" y="5775323"/>
                  </a:lnTo>
                  <a:lnTo>
                    <a:pt x="5627616" y="5765793"/>
                  </a:lnTo>
                  <a:lnTo>
                    <a:pt x="5622848" y="5746732"/>
                  </a:lnTo>
                  <a:lnTo>
                    <a:pt x="5618084" y="5722907"/>
                  </a:lnTo>
                  <a:lnTo>
                    <a:pt x="5627616" y="5703846"/>
                  </a:lnTo>
                  <a:lnTo>
                    <a:pt x="5670500" y="5622839"/>
                  </a:lnTo>
                  <a:lnTo>
                    <a:pt x="5718152" y="5560892"/>
                  </a:lnTo>
                  <a:lnTo>
                    <a:pt x="5761040" y="5527537"/>
                  </a:lnTo>
                  <a:lnTo>
                    <a:pt x="5751508" y="5518006"/>
                  </a:lnTo>
                  <a:lnTo>
                    <a:pt x="5737212" y="5494181"/>
                  </a:lnTo>
                  <a:lnTo>
                    <a:pt x="5684796" y="5498946"/>
                  </a:lnTo>
                  <a:lnTo>
                    <a:pt x="5660972" y="5465590"/>
                  </a:lnTo>
                  <a:lnTo>
                    <a:pt x="5656204" y="5446529"/>
                  </a:lnTo>
                  <a:lnTo>
                    <a:pt x="5651440" y="5422704"/>
                  </a:lnTo>
                  <a:lnTo>
                    <a:pt x="5670500" y="5398878"/>
                  </a:lnTo>
                  <a:lnTo>
                    <a:pt x="5689560" y="5384583"/>
                  </a:lnTo>
                  <a:lnTo>
                    <a:pt x="5708624" y="5384583"/>
                  </a:lnTo>
                  <a:lnTo>
                    <a:pt x="5727684" y="5398878"/>
                  </a:lnTo>
                  <a:lnTo>
                    <a:pt x="5741976" y="5417939"/>
                  </a:lnTo>
                  <a:lnTo>
                    <a:pt x="5761040" y="5441764"/>
                  </a:lnTo>
                  <a:lnTo>
                    <a:pt x="5770568" y="5441764"/>
                  </a:lnTo>
                  <a:lnTo>
                    <a:pt x="5818220" y="5351227"/>
                  </a:lnTo>
                  <a:lnTo>
                    <a:pt x="5813456" y="5332166"/>
                  </a:lnTo>
                  <a:lnTo>
                    <a:pt x="5808688" y="5298810"/>
                  </a:lnTo>
                  <a:lnTo>
                    <a:pt x="5813456" y="5284515"/>
                  </a:lnTo>
                  <a:lnTo>
                    <a:pt x="5837280" y="5270220"/>
                  </a:lnTo>
                  <a:lnTo>
                    <a:pt x="5851576" y="5265455"/>
                  </a:lnTo>
                  <a:lnTo>
                    <a:pt x="5884932" y="5270220"/>
                  </a:lnTo>
                  <a:lnTo>
                    <a:pt x="5932584" y="5294045"/>
                  </a:lnTo>
                  <a:lnTo>
                    <a:pt x="5937348" y="5284515"/>
                  </a:lnTo>
                  <a:lnTo>
                    <a:pt x="5951644" y="5222568"/>
                  </a:lnTo>
                  <a:lnTo>
                    <a:pt x="5961172" y="5189213"/>
                  </a:lnTo>
                  <a:lnTo>
                    <a:pt x="6008824" y="5136796"/>
                  </a:lnTo>
                  <a:lnTo>
                    <a:pt x="6008824" y="5117736"/>
                  </a:lnTo>
                  <a:lnTo>
                    <a:pt x="6004060" y="5089145"/>
                  </a:lnTo>
                  <a:lnTo>
                    <a:pt x="6061240" y="5055789"/>
                  </a:lnTo>
                  <a:lnTo>
                    <a:pt x="6099364" y="5017668"/>
                  </a:lnTo>
                  <a:lnTo>
                    <a:pt x="6132720" y="4970027"/>
                  </a:lnTo>
                  <a:lnTo>
                    <a:pt x="6151780" y="4960497"/>
                  </a:lnTo>
                  <a:lnTo>
                    <a:pt x="6170840" y="4955732"/>
                  </a:lnTo>
                  <a:lnTo>
                    <a:pt x="6204196" y="4936672"/>
                  </a:lnTo>
                  <a:lnTo>
                    <a:pt x="6275672" y="4912846"/>
                  </a:lnTo>
                  <a:lnTo>
                    <a:pt x="6313792" y="4889022"/>
                  </a:lnTo>
                  <a:lnTo>
                    <a:pt x="6328088" y="4831839"/>
                  </a:lnTo>
                  <a:lnTo>
                    <a:pt x="6351916" y="4812778"/>
                  </a:lnTo>
                  <a:lnTo>
                    <a:pt x="6404332" y="4808013"/>
                  </a:lnTo>
                  <a:lnTo>
                    <a:pt x="6423392" y="4808013"/>
                  </a:lnTo>
                  <a:lnTo>
                    <a:pt x="6432920" y="4831839"/>
                  </a:lnTo>
                  <a:lnTo>
                    <a:pt x="6456748" y="4831839"/>
                  </a:lnTo>
                  <a:lnTo>
                    <a:pt x="6461512" y="4817544"/>
                  </a:lnTo>
                  <a:lnTo>
                    <a:pt x="6471044" y="4798482"/>
                  </a:lnTo>
                  <a:lnTo>
                    <a:pt x="6471044" y="4765125"/>
                  </a:lnTo>
                  <a:lnTo>
                    <a:pt x="6471044" y="4722242"/>
                  </a:lnTo>
                  <a:lnTo>
                    <a:pt x="6490104" y="4698416"/>
                  </a:lnTo>
                  <a:lnTo>
                    <a:pt x="6494868" y="4693650"/>
                  </a:lnTo>
                  <a:lnTo>
                    <a:pt x="6552048" y="4679357"/>
                  </a:lnTo>
                  <a:lnTo>
                    <a:pt x="6585404" y="4684120"/>
                  </a:lnTo>
                  <a:lnTo>
                    <a:pt x="6656884" y="4717477"/>
                  </a:lnTo>
                  <a:lnTo>
                    <a:pt x="6695004" y="4727007"/>
                  </a:lnTo>
                  <a:lnTo>
                    <a:pt x="6742656" y="4717477"/>
                  </a:lnTo>
                  <a:lnTo>
                    <a:pt x="6771244" y="4722242"/>
                  </a:lnTo>
                  <a:lnTo>
                    <a:pt x="6857016" y="4674589"/>
                  </a:lnTo>
                  <a:lnTo>
                    <a:pt x="7004736" y="4626938"/>
                  </a:lnTo>
                  <a:lnTo>
                    <a:pt x="7042856" y="4598347"/>
                  </a:lnTo>
                  <a:lnTo>
                    <a:pt x="7080980" y="4560227"/>
                  </a:lnTo>
                  <a:lnTo>
                    <a:pt x="7100040" y="4550697"/>
                  </a:lnTo>
                  <a:lnTo>
                    <a:pt x="7119100" y="4550697"/>
                  </a:lnTo>
                  <a:lnTo>
                    <a:pt x="7138160" y="4536401"/>
                  </a:lnTo>
                  <a:lnTo>
                    <a:pt x="7171516" y="4503046"/>
                  </a:lnTo>
                  <a:lnTo>
                    <a:pt x="7190576" y="4493516"/>
                  </a:lnTo>
                  <a:lnTo>
                    <a:pt x="7204872" y="4493516"/>
                  </a:lnTo>
                  <a:lnTo>
                    <a:pt x="7223932" y="4469689"/>
                  </a:lnTo>
                  <a:lnTo>
                    <a:pt x="7238228" y="4422037"/>
                  </a:lnTo>
                  <a:lnTo>
                    <a:pt x="7257288" y="4383918"/>
                  </a:lnTo>
                  <a:lnTo>
                    <a:pt x="7300176" y="4331500"/>
                  </a:lnTo>
                  <a:lnTo>
                    <a:pt x="7376416" y="4260023"/>
                  </a:lnTo>
                  <a:lnTo>
                    <a:pt x="7443128" y="4231433"/>
                  </a:lnTo>
                  <a:lnTo>
                    <a:pt x="7486016" y="4202842"/>
                  </a:lnTo>
                  <a:close/>
                  <a:moveTo>
                    <a:pt x="12012884" y="4064654"/>
                  </a:moveTo>
                  <a:lnTo>
                    <a:pt x="12017652" y="4098009"/>
                  </a:lnTo>
                  <a:lnTo>
                    <a:pt x="12017652" y="4117070"/>
                  </a:lnTo>
                  <a:lnTo>
                    <a:pt x="11998592" y="4159956"/>
                  </a:lnTo>
                  <a:lnTo>
                    <a:pt x="11974764" y="4188547"/>
                  </a:lnTo>
                  <a:lnTo>
                    <a:pt x="11970000" y="4202842"/>
                  </a:lnTo>
                  <a:lnTo>
                    <a:pt x="11965236" y="4212372"/>
                  </a:lnTo>
                  <a:lnTo>
                    <a:pt x="11946176" y="4202842"/>
                  </a:lnTo>
                  <a:lnTo>
                    <a:pt x="11908052" y="4226668"/>
                  </a:lnTo>
                  <a:lnTo>
                    <a:pt x="11893756" y="4212372"/>
                  </a:lnTo>
                  <a:lnTo>
                    <a:pt x="11879464" y="4193312"/>
                  </a:lnTo>
                  <a:lnTo>
                    <a:pt x="11831812" y="4198078"/>
                  </a:lnTo>
                  <a:lnTo>
                    <a:pt x="11817516" y="4193312"/>
                  </a:lnTo>
                  <a:lnTo>
                    <a:pt x="11841340" y="4169486"/>
                  </a:lnTo>
                  <a:lnTo>
                    <a:pt x="11908052" y="4140896"/>
                  </a:lnTo>
                  <a:close/>
                  <a:moveTo>
                    <a:pt x="10935968" y="3988411"/>
                  </a:moveTo>
                  <a:lnTo>
                    <a:pt x="10945496" y="4012238"/>
                  </a:lnTo>
                  <a:lnTo>
                    <a:pt x="10940732" y="4026533"/>
                  </a:lnTo>
                  <a:lnTo>
                    <a:pt x="10916908" y="4074184"/>
                  </a:lnTo>
                  <a:lnTo>
                    <a:pt x="10883552" y="4078948"/>
                  </a:lnTo>
                  <a:lnTo>
                    <a:pt x="10864492" y="4059888"/>
                  </a:lnTo>
                  <a:lnTo>
                    <a:pt x="10859724" y="4050358"/>
                  </a:lnTo>
                  <a:lnTo>
                    <a:pt x="10869256" y="4017002"/>
                  </a:lnTo>
                  <a:lnTo>
                    <a:pt x="10883552" y="3993177"/>
                  </a:lnTo>
                  <a:close/>
                  <a:moveTo>
                    <a:pt x="13702124" y="3964585"/>
                  </a:moveTo>
                  <a:lnTo>
                    <a:pt x="13721184" y="3964585"/>
                  </a:lnTo>
                  <a:lnTo>
                    <a:pt x="13740244" y="3974116"/>
                  </a:lnTo>
                  <a:lnTo>
                    <a:pt x="13745012" y="3983646"/>
                  </a:lnTo>
                  <a:lnTo>
                    <a:pt x="13749776" y="3997941"/>
                  </a:lnTo>
                  <a:lnTo>
                    <a:pt x="13754540" y="4017002"/>
                  </a:lnTo>
                  <a:lnTo>
                    <a:pt x="13711656" y="4036064"/>
                  </a:lnTo>
                  <a:lnTo>
                    <a:pt x="13692596" y="4036064"/>
                  </a:lnTo>
                  <a:lnTo>
                    <a:pt x="13687828" y="4002707"/>
                  </a:lnTo>
                  <a:close/>
                  <a:moveTo>
                    <a:pt x="13182724" y="3683444"/>
                  </a:moveTo>
                  <a:lnTo>
                    <a:pt x="13206552" y="3683444"/>
                  </a:lnTo>
                  <a:lnTo>
                    <a:pt x="13306616" y="3740626"/>
                  </a:lnTo>
                  <a:lnTo>
                    <a:pt x="13330444" y="3783511"/>
                  </a:lnTo>
                  <a:lnTo>
                    <a:pt x="13382860" y="3816868"/>
                  </a:lnTo>
                  <a:lnTo>
                    <a:pt x="13444808" y="3835929"/>
                  </a:lnTo>
                  <a:lnTo>
                    <a:pt x="13473396" y="3859754"/>
                  </a:lnTo>
                  <a:lnTo>
                    <a:pt x="13487692" y="3893108"/>
                  </a:lnTo>
                  <a:lnTo>
                    <a:pt x="13501988" y="3931230"/>
                  </a:lnTo>
                  <a:lnTo>
                    <a:pt x="13449572" y="3959821"/>
                  </a:lnTo>
                  <a:lnTo>
                    <a:pt x="13392392" y="4040828"/>
                  </a:lnTo>
                  <a:lnTo>
                    <a:pt x="13320912" y="4083715"/>
                  </a:lnTo>
                  <a:lnTo>
                    <a:pt x="13230376" y="4112305"/>
                  </a:lnTo>
                  <a:lnTo>
                    <a:pt x="13211316" y="4136131"/>
                  </a:lnTo>
                  <a:lnTo>
                    <a:pt x="13382860" y="4140896"/>
                  </a:lnTo>
                  <a:lnTo>
                    <a:pt x="13435276" y="4136131"/>
                  </a:lnTo>
                  <a:lnTo>
                    <a:pt x="13444808" y="4207608"/>
                  </a:lnTo>
                  <a:lnTo>
                    <a:pt x="13463868" y="4207608"/>
                  </a:lnTo>
                  <a:lnTo>
                    <a:pt x="13511520" y="4174251"/>
                  </a:lnTo>
                  <a:lnTo>
                    <a:pt x="13544872" y="4174251"/>
                  </a:lnTo>
                  <a:lnTo>
                    <a:pt x="13602056" y="4198078"/>
                  </a:lnTo>
                  <a:lnTo>
                    <a:pt x="13611584" y="4183781"/>
                  </a:lnTo>
                  <a:lnTo>
                    <a:pt x="13635412" y="4183781"/>
                  </a:lnTo>
                  <a:lnTo>
                    <a:pt x="13692592" y="4212373"/>
                  </a:lnTo>
                  <a:lnTo>
                    <a:pt x="13711656" y="4260024"/>
                  </a:lnTo>
                  <a:lnTo>
                    <a:pt x="13678296" y="4331501"/>
                  </a:lnTo>
                  <a:lnTo>
                    <a:pt x="13635412" y="4393448"/>
                  </a:lnTo>
                  <a:lnTo>
                    <a:pt x="13587760" y="4498281"/>
                  </a:lnTo>
                  <a:lnTo>
                    <a:pt x="13578232" y="4488750"/>
                  </a:lnTo>
                  <a:lnTo>
                    <a:pt x="13549640" y="4488750"/>
                  </a:lnTo>
                  <a:lnTo>
                    <a:pt x="13554404" y="4541168"/>
                  </a:lnTo>
                  <a:lnTo>
                    <a:pt x="13597292" y="4536402"/>
                  </a:lnTo>
                  <a:lnTo>
                    <a:pt x="13621116" y="4560228"/>
                  </a:lnTo>
                  <a:lnTo>
                    <a:pt x="13668768" y="4531638"/>
                  </a:lnTo>
                  <a:lnTo>
                    <a:pt x="13745008" y="4541168"/>
                  </a:lnTo>
                  <a:lnTo>
                    <a:pt x="13759304" y="4531638"/>
                  </a:lnTo>
                  <a:lnTo>
                    <a:pt x="13787896" y="4503047"/>
                  </a:lnTo>
                  <a:lnTo>
                    <a:pt x="13797424" y="4441098"/>
                  </a:lnTo>
                  <a:lnTo>
                    <a:pt x="13806956" y="4398213"/>
                  </a:lnTo>
                  <a:lnTo>
                    <a:pt x="13830784" y="4388683"/>
                  </a:lnTo>
                  <a:lnTo>
                    <a:pt x="13859372" y="4398213"/>
                  </a:lnTo>
                  <a:lnTo>
                    <a:pt x="13902260" y="4398213"/>
                  </a:lnTo>
                  <a:lnTo>
                    <a:pt x="14016624" y="4379151"/>
                  </a:lnTo>
                  <a:lnTo>
                    <a:pt x="14111924" y="4402978"/>
                  </a:lnTo>
                  <a:lnTo>
                    <a:pt x="14188168" y="4374388"/>
                  </a:lnTo>
                  <a:lnTo>
                    <a:pt x="14288232" y="4398213"/>
                  </a:lnTo>
                  <a:lnTo>
                    <a:pt x="14331120" y="4422037"/>
                  </a:lnTo>
                  <a:lnTo>
                    <a:pt x="14364476" y="4464926"/>
                  </a:lnTo>
                  <a:lnTo>
                    <a:pt x="14393068" y="4479219"/>
                  </a:lnTo>
                  <a:lnTo>
                    <a:pt x="14416892" y="4512577"/>
                  </a:lnTo>
                  <a:lnTo>
                    <a:pt x="14440720" y="4560228"/>
                  </a:lnTo>
                  <a:lnTo>
                    <a:pt x="14431188" y="4598349"/>
                  </a:lnTo>
                  <a:lnTo>
                    <a:pt x="14416892" y="4626939"/>
                  </a:lnTo>
                  <a:lnTo>
                    <a:pt x="14450248" y="4598349"/>
                  </a:lnTo>
                  <a:lnTo>
                    <a:pt x="14474072" y="4593584"/>
                  </a:lnTo>
                  <a:lnTo>
                    <a:pt x="14493136" y="4607878"/>
                  </a:lnTo>
                  <a:lnTo>
                    <a:pt x="14526492" y="4626939"/>
                  </a:lnTo>
                  <a:lnTo>
                    <a:pt x="14536020" y="4731773"/>
                  </a:lnTo>
                  <a:lnTo>
                    <a:pt x="14545552" y="4755598"/>
                  </a:lnTo>
                  <a:lnTo>
                    <a:pt x="14550316" y="4793719"/>
                  </a:lnTo>
                  <a:lnTo>
                    <a:pt x="14540784" y="4827076"/>
                  </a:lnTo>
                  <a:lnTo>
                    <a:pt x="14531256" y="4841371"/>
                  </a:lnTo>
                  <a:lnTo>
                    <a:pt x="14555080" y="4836605"/>
                  </a:lnTo>
                  <a:lnTo>
                    <a:pt x="14593200" y="4803249"/>
                  </a:lnTo>
                  <a:lnTo>
                    <a:pt x="14597968" y="4788950"/>
                  </a:lnTo>
                  <a:lnTo>
                    <a:pt x="14607496" y="4760362"/>
                  </a:lnTo>
                  <a:lnTo>
                    <a:pt x="14593200" y="4736537"/>
                  </a:lnTo>
                  <a:lnTo>
                    <a:pt x="14583672" y="4722242"/>
                  </a:lnTo>
                  <a:lnTo>
                    <a:pt x="14597968" y="4707945"/>
                  </a:lnTo>
                  <a:lnTo>
                    <a:pt x="14626560" y="4712712"/>
                  </a:lnTo>
                  <a:lnTo>
                    <a:pt x="14640856" y="4760362"/>
                  </a:lnTo>
                  <a:lnTo>
                    <a:pt x="14650384" y="4803249"/>
                  </a:lnTo>
                  <a:lnTo>
                    <a:pt x="14674208" y="4946203"/>
                  </a:lnTo>
                  <a:lnTo>
                    <a:pt x="14717096" y="4927142"/>
                  </a:lnTo>
                  <a:lnTo>
                    <a:pt x="14721860" y="4970028"/>
                  </a:lnTo>
                  <a:lnTo>
                    <a:pt x="14702800" y="5065320"/>
                  </a:lnTo>
                  <a:lnTo>
                    <a:pt x="14678976" y="5136797"/>
                  </a:lnTo>
                  <a:lnTo>
                    <a:pt x="14674208" y="5151092"/>
                  </a:lnTo>
                  <a:lnTo>
                    <a:pt x="14659912" y="5151092"/>
                  </a:lnTo>
                  <a:lnTo>
                    <a:pt x="14664680" y="5117736"/>
                  </a:lnTo>
                  <a:lnTo>
                    <a:pt x="14655148" y="5093911"/>
                  </a:lnTo>
                  <a:lnTo>
                    <a:pt x="14645620" y="5084380"/>
                  </a:lnTo>
                  <a:lnTo>
                    <a:pt x="14602732" y="5070085"/>
                  </a:lnTo>
                  <a:lnTo>
                    <a:pt x="14526492" y="4984322"/>
                  </a:lnTo>
                  <a:lnTo>
                    <a:pt x="14507432" y="4974794"/>
                  </a:lnTo>
                  <a:lnTo>
                    <a:pt x="14502664" y="4974794"/>
                  </a:lnTo>
                  <a:lnTo>
                    <a:pt x="14497900" y="4984322"/>
                  </a:lnTo>
                  <a:lnTo>
                    <a:pt x="14540784" y="5046259"/>
                  </a:lnTo>
                  <a:lnTo>
                    <a:pt x="14578908" y="5146327"/>
                  </a:lnTo>
                  <a:lnTo>
                    <a:pt x="14607496" y="5117736"/>
                  </a:lnTo>
                  <a:lnTo>
                    <a:pt x="14621792" y="5122501"/>
                  </a:lnTo>
                  <a:lnTo>
                    <a:pt x="14640856" y="5170153"/>
                  </a:lnTo>
                  <a:lnTo>
                    <a:pt x="14669444" y="5193978"/>
                  </a:lnTo>
                  <a:lnTo>
                    <a:pt x="14698036" y="5222569"/>
                  </a:lnTo>
                  <a:lnTo>
                    <a:pt x="14678976" y="5322637"/>
                  </a:lnTo>
                  <a:lnTo>
                    <a:pt x="14574144" y="5489416"/>
                  </a:lnTo>
                  <a:lnTo>
                    <a:pt x="14459780" y="5589484"/>
                  </a:lnTo>
                  <a:lnTo>
                    <a:pt x="14407360" y="5656196"/>
                  </a:lnTo>
                  <a:lnTo>
                    <a:pt x="14316824" y="5703847"/>
                  </a:lnTo>
                  <a:lnTo>
                    <a:pt x="14254880" y="5770559"/>
                  </a:lnTo>
                  <a:lnTo>
                    <a:pt x="14173872" y="5818210"/>
                  </a:lnTo>
                  <a:lnTo>
                    <a:pt x="14150048" y="5865861"/>
                  </a:lnTo>
                  <a:lnTo>
                    <a:pt x="14088100" y="5899217"/>
                  </a:lnTo>
                  <a:lnTo>
                    <a:pt x="14092864" y="5918278"/>
                  </a:lnTo>
                  <a:lnTo>
                    <a:pt x="14102392" y="5937338"/>
                  </a:lnTo>
                  <a:lnTo>
                    <a:pt x="14092864" y="5965929"/>
                  </a:lnTo>
                  <a:lnTo>
                    <a:pt x="14088100" y="5989754"/>
                  </a:lnTo>
                  <a:lnTo>
                    <a:pt x="14040448" y="6032640"/>
                  </a:lnTo>
                  <a:lnTo>
                    <a:pt x="13968972" y="6065996"/>
                  </a:lnTo>
                  <a:lnTo>
                    <a:pt x="13835548" y="6256602"/>
                  </a:lnTo>
                  <a:lnTo>
                    <a:pt x="13764072" y="6294722"/>
                  </a:lnTo>
                  <a:lnTo>
                    <a:pt x="13687828" y="6299488"/>
                  </a:lnTo>
                  <a:lnTo>
                    <a:pt x="13673532" y="6313783"/>
                  </a:lnTo>
                  <a:lnTo>
                    <a:pt x="13616352" y="6432911"/>
                  </a:lnTo>
                  <a:lnTo>
                    <a:pt x="13597292" y="6456737"/>
                  </a:lnTo>
                  <a:lnTo>
                    <a:pt x="13521048" y="6471032"/>
                  </a:lnTo>
                  <a:lnTo>
                    <a:pt x="13440040" y="6656872"/>
                  </a:lnTo>
                  <a:lnTo>
                    <a:pt x="13397156" y="6718819"/>
                  </a:lnTo>
                  <a:lnTo>
                    <a:pt x="13354268" y="6752175"/>
                  </a:lnTo>
                  <a:lnTo>
                    <a:pt x="13397156" y="6747410"/>
                  </a:lnTo>
                  <a:lnTo>
                    <a:pt x="13444808" y="6723584"/>
                  </a:lnTo>
                  <a:lnTo>
                    <a:pt x="13501988" y="6661638"/>
                  </a:lnTo>
                  <a:lnTo>
                    <a:pt x="13516284" y="6633046"/>
                  </a:lnTo>
                  <a:lnTo>
                    <a:pt x="13521048" y="6604456"/>
                  </a:lnTo>
                  <a:lnTo>
                    <a:pt x="13540108" y="6575865"/>
                  </a:lnTo>
                  <a:lnTo>
                    <a:pt x="13563936" y="6561570"/>
                  </a:lnTo>
                  <a:lnTo>
                    <a:pt x="13664004" y="6537744"/>
                  </a:lnTo>
                  <a:lnTo>
                    <a:pt x="13702124" y="6547274"/>
                  </a:lnTo>
                  <a:lnTo>
                    <a:pt x="13764072" y="6542509"/>
                  </a:lnTo>
                  <a:lnTo>
                    <a:pt x="13802192" y="6509153"/>
                  </a:lnTo>
                  <a:lnTo>
                    <a:pt x="13826016" y="6494858"/>
                  </a:lnTo>
                  <a:lnTo>
                    <a:pt x="13849844" y="6490093"/>
                  </a:lnTo>
                  <a:lnTo>
                    <a:pt x="13859372" y="6466267"/>
                  </a:lnTo>
                  <a:lnTo>
                    <a:pt x="13892728" y="6461502"/>
                  </a:lnTo>
                  <a:lnTo>
                    <a:pt x="13973736" y="6432911"/>
                  </a:lnTo>
                  <a:lnTo>
                    <a:pt x="13983264" y="6418616"/>
                  </a:lnTo>
                  <a:lnTo>
                    <a:pt x="14011856" y="6370965"/>
                  </a:lnTo>
                  <a:lnTo>
                    <a:pt x="14059508" y="6390025"/>
                  </a:lnTo>
                  <a:lnTo>
                    <a:pt x="14092864" y="6380495"/>
                  </a:lnTo>
                  <a:lnTo>
                    <a:pt x="14183400" y="6294722"/>
                  </a:lnTo>
                  <a:lnTo>
                    <a:pt x="14235816" y="6261367"/>
                  </a:lnTo>
                  <a:lnTo>
                    <a:pt x="14250112" y="6237541"/>
                  </a:lnTo>
                  <a:lnTo>
                    <a:pt x="14240584" y="6218480"/>
                  </a:lnTo>
                  <a:lnTo>
                    <a:pt x="14226288" y="6208950"/>
                  </a:lnTo>
                  <a:lnTo>
                    <a:pt x="14173872" y="6237541"/>
                  </a:lnTo>
                  <a:lnTo>
                    <a:pt x="14130984" y="6247071"/>
                  </a:lnTo>
                  <a:lnTo>
                    <a:pt x="14078568" y="6242306"/>
                  </a:lnTo>
                  <a:lnTo>
                    <a:pt x="14069040" y="6228011"/>
                  </a:lnTo>
                  <a:lnTo>
                    <a:pt x="14064272" y="6199420"/>
                  </a:lnTo>
                  <a:lnTo>
                    <a:pt x="14078568" y="6151769"/>
                  </a:lnTo>
                  <a:lnTo>
                    <a:pt x="14092864" y="6123178"/>
                  </a:lnTo>
                  <a:lnTo>
                    <a:pt x="14126220" y="6089822"/>
                  </a:lnTo>
                  <a:lnTo>
                    <a:pt x="14154812" y="6075527"/>
                  </a:lnTo>
                  <a:lnTo>
                    <a:pt x="14259644" y="6113648"/>
                  </a:lnTo>
                  <a:lnTo>
                    <a:pt x="14278704" y="6118413"/>
                  </a:lnTo>
                  <a:lnTo>
                    <a:pt x="14293000" y="6056466"/>
                  </a:lnTo>
                  <a:lnTo>
                    <a:pt x="14326356" y="6056466"/>
                  </a:lnTo>
                  <a:lnTo>
                    <a:pt x="14359712" y="6070762"/>
                  </a:lnTo>
                  <a:lnTo>
                    <a:pt x="14345416" y="6080292"/>
                  </a:lnTo>
                  <a:lnTo>
                    <a:pt x="14307296" y="6104118"/>
                  </a:lnTo>
                  <a:lnTo>
                    <a:pt x="14316824" y="6151769"/>
                  </a:lnTo>
                  <a:lnTo>
                    <a:pt x="14335888" y="6180360"/>
                  </a:lnTo>
                  <a:lnTo>
                    <a:pt x="14397832" y="6228011"/>
                  </a:lnTo>
                  <a:lnTo>
                    <a:pt x="14450248" y="6247071"/>
                  </a:lnTo>
                  <a:lnTo>
                    <a:pt x="14488368" y="6247071"/>
                  </a:lnTo>
                  <a:lnTo>
                    <a:pt x="14550316" y="6228011"/>
                  </a:lnTo>
                  <a:lnTo>
                    <a:pt x="14559848" y="6213716"/>
                  </a:lnTo>
                  <a:lnTo>
                    <a:pt x="14574144" y="6175594"/>
                  </a:lnTo>
                  <a:lnTo>
                    <a:pt x="14559848" y="6104118"/>
                  </a:lnTo>
                  <a:lnTo>
                    <a:pt x="14574144" y="6118413"/>
                  </a:lnTo>
                  <a:lnTo>
                    <a:pt x="14588436" y="6132708"/>
                  </a:lnTo>
                  <a:lnTo>
                    <a:pt x="14612264" y="6175594"/>
                  </a:lnTo>
                  <a:lnTo>
                    <a:pt x="14636088" y="6251836"/>
                  </a:lnTo>
                  <a:lnTo>
                    <a:pt x="14650384" y="6280427"/>
                  </a:lnTo>
                  <a:lnTo>
                    <a:pt x="14640856" y="6318548"/>
                  </a:lnTo>
                  <a:lnTo>
                    <a:pt x="14607496" y="6385260"/>
                  </a:lnTo>
                  <a:lnTo>
                    <a:pt x="14626560" y="6423381"/>
                  </a:lnTo>
                  <a:lnTo>
                    <a:pt x="14659912" y="6447207"/>
                  </a:lnTo>
                  <a:lnTo>
                    <a:pt x="14659912" y="6556804"/>
                  </a:lnTo>
                  <a:lnTo>
                    <a:pt x="14659912" y="6609221"/>
                  </a:lnTo>
                  <a:lnTo>
                    <a:pt x="14640856" y="6666402"/>
                  </a:lnTo>
                  <a:lnTo>
                    <a:pt x="14621792" y="6690228"/>
                  </a:lnTo>
                  <a:lnTo>
                    <a:pt x="14602732" y="6723584"/>
                  </a:lnTo>
                  <a:lnTo>
                    <a:pt x="14607496" y="6756940"/>
                  </a:lnTo>
                  <a:lnTo>
                    <a:pt x="14612264" y="6776000"/>
                  </a:lnTo>
                  <a:lnTo>
                    <a:pt x="14631324" y="6814122"/>
                  </a:lnTo>
                  <a:lnTo>
                    <a:pt x="14688504" y="6828417"/>
                  </a:lnTo>
                  <a:lnTo>
                    <a:pt x="14693272" y="6818886"/>
                  </a:lnTo>
                  <a:lnTo>
                    <a:pt x="14683740" y="6804591"/>
                  </a:lnTo>
                  <a:lnTo>
                    <a:pt x="14645620" y="6790296"/>
                  </a:lnTo>
                  <a:lnTo>
                    <a:pt x="14631324" y="6771235"/>
                  </a:lnTo>
                  <a:lnTo>
                    <a:pt x="14617028" y="6737880"/>
                  </a:lnTo>
                  <a:lnTo>
                    <a:pt x="14631324" y="6699758"/>
                  </a:lnTo>
                  <a:lnTo>
                    <a:pt x="14650384" y="6671168"/>
                  </a:lnTo>
                  <a:lnTo>
                    <a:pt x="14669444" y="6604456"/>
                  </a:lnTo>
                  <a:lnTo>
                    <a:pt x="14674208" y="6556804"/>
                  </a:lnTo>
                  <a:lnTo>
                    <a:pt x="14669444" y="6509153"/>
                  </a:lnTo>
                  <a:lnTo>
                    <a:pt x="14683740" y="6490093"/>
                  </a:lnTo>
                  <a:lnTo>
                    <a:pt x="14702800" y="6461502"/>
                  </a:lnTo>
                  <a:lnTo>
                    <a:pt x="14712332" y="6456737"/>
                  </a:lnTo>
                  <a:lnTo>
                    <a:pt x="14721860" y="6447207"/>
                  </a:lnTo>
                  <a:lnTo>
                    <a:pt x="14707564" y="6437676"/>
                  </a:lnTo>
                  <a:lnTo>
                    <a:pt x="14693272" y="6432911"/>
                  </a:lnTo>
                  <a:lnTo>
                    <a:pt x="14669444" y="6399556"/>
                  </a:lnTo>
                  <a:lnTo>
                    <a:pt x="14664680" y="6361434"/>
                  </a:lnTo>
                  <a:lnTo>
                    <a:pt x="14717096" y="6347139"/>
                  </a:lnTo>
                  <a:lnTo>
                    <a:pt x="14750452" y="6318548"/>
                  </a:lnTo>
                  <a:lnTo>
                    <a:pt x="14869580" y="6304253"/>
                  </a:lnTo>
                  <a:lnTo>
                    <a:pt x="14950588" y="6251836"/>
                  </a:lnTo>
                  <a:lnTo>
                    <a:pt x="15131664" y="6266132"/>
                  </a:lnTo>
                  <a:lnTo>
                    <a:pt x="15255556" y="6309018"/>
                  </a:lnTo>
                  <a:lnTo>
                    <a:pt x="15436632" y="6313783"/>
                  </a:lnTo>
                  <a:lnTo>
                    <a:pt x="15498576" y="6342374"/>
                  </a:lnTo>
                  <a:lnTo>
                    <a:pt x="15508108" y="6351904"/>
                  </a:lnTo>
                  <a:lnTo>
                    <a:pt x="15512872" y="6375730"/>
                  </a:lnTo>
                  <a:lnTo>
                    <a:pt x="15484280" y="6385260"/>
                  </a:lnTo>
                  <a:lnTo>
                    <a:pt x="15436632" y="6385260"/>
                  </a:lnTo>
                  <a:lnTo>
                    <a:pt x="15422336" y="6437676"/>
                  </a:lnTo>
                  <a:lnTo>
                    <a:pt x="15431864" y="6504388"/>
                  </a:lnTo>
                  <a:lnTo>
                    <a:pt x="15512872" y="6571100"/>
                  </a:lnTo>
                  <a:lnTo>
                    <a:pt x="15589112" y="6599691"/>
                  </a:lnTo>
                  <a:lnTo>
                    <a:pt x="15636764" y="6647342"/>
                  </a:lnTo>
                  <a:lnTo>
                    <a:pt x="15665356" y="6652107"/>
                  </a:lnTo>
                  <a:lnTo>
                    <a:pt x="15770188" y="6647342"/>
                  </a:lnTo>
                  <a:lnTo>
                    <a:pt x="15832136" y="6671168"/>
                  </a:lnTo>
                  <a:lnTo>
                    <a:pt x="15889316" y="6652107"/>
                  </a:lnTo>
                  <a:lnTo>
                    <a:pt x="15951264" y="6652107"/>
                  </a:lnTo>
                  <a:lnTo>
                    <a:pt x="15970324" y="6656872"/>
                  </a:lnTo>
                  <a:lnTo>
                    <a:pt x="15994152" y="6690228"/>
                  </a:lnTo>
                  <a:lnTo>
                    <a:pt x="16032272" y="6699758"/>
                  </a:lnTo>
                  <a:lnTo>
                    <a:pt x="16075156" y="6699758"/>
                  </a:lnTo>
                  <a:lnTo>
                    <a:pt x="16098984" y="6694993"/>
                  </a:lnTo>
                  <a:lnTo>
                    <a:pt x="16108512" y="6685463"/>
                  </a:lnTo>
                  <a:lnTo>
                    <a:pt x="16103748" y="6671168"/>
                  </a:lnTo>
                  <a:lnTo>
                    <a:pt x="16065628" y="6652107"/>
                  </a:lnTo>
                  <a:lnTo>
                    <a:pt x="16070392" y="6628282"/>
                  </a:lnTo>
                  <a:lnTo>
                    <a:pt x="16084688" y="6618751"/>
                  </a:lnTo>
                  <a:lnTo>
                    <a:pt x="16146632" y="6652107"/>
                  </a:lnTo>
                  <a:lnTo>
                    <a:pt x="16170460" y="6656872"/>
                  </a:lnTo>
                  <a:lnTo>
                    <a:pt x="16194284" y="6633046"/>
                  </a:lnTo>
                  <a:lnTo>
                    <a:pt x="16208580" y="6590160"/>
                  </a:lnTo>
                  <a:lnTo>
                    <a:pt x="16218112" y="6556804"/>
                  </a:lnTo>
                  <a:lnTo>
                    <a:pt x="16227640" y="6542509"/>
                  </a:lnTo>
                  <a:lnTo>
                    <a:pt x="16237172" y="6537744"/>
                  </a:lnTo>
                  <a:lnTo>
                    <a:pt x="16241936" y="6532979"/>
                  </a:lnTo>
                  <a:lnTo>
                    <a:pt x="16222876" y="6494858"/>
                  </a:lnTo>
                  <a:lnTo>
                    <a:pt x="16203816" y="6447207"/>
                  </a:lnTo>
                  <a:lnTo>
                    <a:pt x="16199048" y="6418616"/>
                  </a:lnTo>
                  <a:lnTo>
                    <a:pt x="16194284" y="6404320"/>
                  </a:lnTo>
                  <a:lnTo>
                    <a:pt x="16194284" y="6347139"/>
                  </a:lnTo>
                  <a:lnTo>
                    <a:pt x="16208580" y="6289958"/>
                  </a:lnTo>
                  <a:lnTo>
                    <a:pt x="16222876" y="6270897"/>
                  </a:lnTo>
                  <a:lnTo>
                    <a:pt x="16270528" y="6294722"/>
                  </a:lnTo>
                  <a:lnTo>
                    <a:pt x="16289588" y="6261367"/>
                  </a:lnTo>
                  <a:lnTo>
                    <a:pt x="16303884" y="6247071"/>
                  </a:lnTo>
                  <a:lnTo>
                    <a:pt x="16361064" y="6223246"/>
                  </a:lnTo>
                  <a:lnTo>
                    <a:pt x="16384888" y="6223246"/>
                  </a:lnTo>
                  <a:lnTo>
                    <a:pt x="16427776" y="6247071"/>
                  </a:lnTo>
                  <a:lnTo>
                    <a:pt x="16556436" y="6351904"/>
                  </a:lnTo>
                  <a:lnTo>
                    <a:pt x="16551672" y="6394790"/>
                  </a:lnTo>
                  <a:lnTo>
                    <a:pt x="16580260" y="6380495"/>
                  </a:lnTo>
                  <a:lnTo>
                    <a:pt x="16594556" y="6366200"/>
                  </a:lnTo>
                  <a:lnTo>
                    <a:pt x="16632676" y="6356669"/>
                  </a:lnTo>
                  <a:lnTo>
                    <a:pt x="16651736" y="6337609"/>
                  </a:lnTo>
                  <a:lnTo>
                    <a:pt x="16661268" y="6342374"/>
                  </a:lnTo>
                  <a:lnTo>
                    <a:pt x="16666032" y="6361434"/>
                  </a:lnTo>
                  <a:lnTo>
                    <a:pt x="16661268" y="6385260"/>
                  </a:lnTo>
                  <a:lnTo>
                    <a:pt x="16656504" y="6409086"/>
                  </a:lnTo>
                  <a:lnTo>
                    <a:pt x="16661268" y="6423381"/>
                  </a:lnTo>
                  <a:lnTo>
                    <a:pt x="16666032" y="6423381"/>
                  </a:lnTo>
                  <a:lnTo>
                    <a:pt x="16699388" y="6456737"/>
                  </a:lnTo>
                  <a:lnTo>
                    <a:pt x="16747040" y="6399556"/>
                  </a:lnTo>
                  <a:lnTo>
                    <a:pt x="16766100" y="6347139"/>
                  </a:lnTo>
                  <a:lnTo>
                    <a:pt x="16775632" y="6337609"/>
                  </a:lnTo>
                  <a:lnTo>
                    <a:pt x="16885228" y="6375730"/>
                  </a:lnTo>
                  <a:lnTo>
                    <a:pt x="16918584" y="6394790"/>
                  </a:lnTo>
                  <a:lnTo>
                    <a:pt x="16928116" y="6404320"/>
                  </a:lnTo>
                  <a:lnTo>
                    <a:pt x="16932880" y="6423381"/>
                  </a:lnTo>
                  <a:lnTo>
                    <a:pt x="16947176" y="6447207"/>
                  </a:lnTo>
                  <a:lnTo>
                    <a:pt x="16971000" y="6456737"/>
                  </a:lnTo>
                  <a:lnTo>
                    <a:pt x="16966236" y="6471032"/>
                  </a:lnTo>
                  <a:lnTo>
                    <a:pt x="16966236" y="6490093"/>
                  </a:lnTo>
                  <a:lnTo>
                    <a:pt x="17018652" y="6494858"/>
                  </a:lnTo>
                  <a:lnTo>
                    <a:pt x="17042480" y="6509153"/>
                  </a:lnTo>
                  <a:lnTo>
                    <a:pt x="17066304" y="6532979"/>
                  </a:lnTo>
                  <a:lnTo>
                    <a:pt x="17061536" y="6561570"/>
                  </a:lnTo>
                  <a:lnTo>
                    <a:pt x="17071068" y="6575865"/>
                  </a:lnTo>
                  <a:lnTo>
                    <a:pt x="17094896" y="6575865"/>
                  </a:lnTo>
                  <a:lnTo>
                    <a:pt x="17099660" y="6575865"/>
                  </a:lnTo>
                  <a:lnTo>
                    <a:pt x="17090128" y="6609221"/>
                  </a:lnTo>
                  <a:lnTo>
                    <a:pt x="17061536" y="6652107"/>
                  </a:lnTo>
                  <a:lnTo>
                    <a:pt x="17042480" y="6666402"/>
                  </a:lnTo>
                  <a:lnTo>
                    <a:pt x="17018652" y="6690228"/>
                  </a:lnTo>
                  <a:lnTo>
                    <a:pt x="17032948" y="6694993"/>
                  </a:lnTo>
                  <a:lnTo>
                    <a:pt x="17085364" y="6704524"/>
                  </a:lnTo>
                  <a:lnTo>
                    <a:pt x="17118720" y="6752175"/>
                  </a:lnTo>
                  <a:lnTo>
                    <a:pt x="17123484" y="6790296"/>
                  </a:lnTo>
                  <a:lnTo>
                    <a:pt x="17099660" y="6804591"/>
                  </a:lnTo>
                  <a:lnTo>
                    <a:pt x="17056772" y="6852242"/>
                  </a:lnTo>
                  <a:lnTo>
                    <a:pt x="17023416" y="6871303"/>
                  </a:lnTo>
                  <a:lnTo>
                    <a:pt x="17004356" y="6876068"/>
                  </a:lnTo>
                  <a:lnTo>
                    <a:pt x="16990064" y="6880833"/>
                  </a:lnTo>
                  <a:lnTo>
                    <a:pt x="17013888" y="6899894"/>
                  </a:lnTo>
                  <a:lnTo>
                    <a:pt x="17099660" y="6904659"/>
                  </a:lnTo>
                  <a:lnTo>
                    <a:pt x="17128248" y="6928484"/>
                  </a:lnTo>
                  <a:lnTo>
                    <a:pt x="17147312" y="6995196"/>
                  </a:lnTo>
                  <a:lnTo>
                    <a:pt x="17147312" y="7071438"/>
                  </a:lnTo>
                  <a:lnTo>
                    <a:pt x="17128248" y="7109559"/>
                  </a:lnTo>
                  <a:lnTo>
                    <a:pt x="17071068" y="7114324"/>
                  </a:lnTo>
                  <a:lnTo>
                    <a:pt x="16999592" y="7028552"/>
                  </a:lnTo>
                  <a:lnTo>
                    <a:pt x="16956704" y="6995196"/>
                  </a:lnTo>
                  <a:lnTo>
                    <a:pt x="16894760" y="6933250"/>
                  </a:lnTo>
                  <a:lnTo>
                    <a:pt x="16885228" y="6942780"/>
                  </a:lnTo>
                  <a:lnTo>
                    <a:pt x="16904288" y="6999962"/>
                  </a:lnTo>
                  <a:lnTo>
                    <a:pt x="16932880" y="7028552"/>
                  </a:lnTo>
                  <a:lnTo>
                    <a:pt x="16980532" y="7109559"/>
                  </a:lnTo>
                  <a:lnTo>
                    <a:pt x="17071068" y="7273956"/>
                  </a:lnTo>
                  <a:lnTo>
                    <a:pt x="17090128" y="7259661"/>
                  </a:lnTo>
                  <a:lnTo>
                    <a:pt x="17099660" y="7240600"/>
                  </a:lnTo>
                  <a:lnTo>
                    <a:pt x="17109192" y="7212010"/>
                  </a:lnTo>
                  <a:lnTo>
                    <a:pt x="17099660" y="7173888"/>
                  </a:lnTo>
                  <a:lnTo>
                    <a:pt x="17113956" y="7192949"/>
                  </a:lnTo>
                  <a:lnTo>
                    <a:pt x="17128248" y="7226305"/>
                  </a:lnTo>
                  <a:lnTo>
                    <a:pt x="17152076" y="7283486"/>
                  </a:lnTo>
                  <a:lnTo>
                    <a:pt x="17118720" y="7278721"/>
                  </a:lnTo>
                  <a:lnTo>
                    <a:pt x="17075832" y="7297782"/>
                  </a:lnTo>
                  <a:lnTo>
                    <a:pt x="17056772" y="7321608"/>
                  </a:lnTo>
                  <a:lnTo>
                    <a:pt x="17071068" y="7350198"/>
                  </a:lnTo>
                  <a:lnTo>
                    <a:pt x="17104424" y="7354963"/>
                  </a:lnTo>
                  <a:lnTo>
                    <a:pt x="17118720" y="7397850"/>
                  </a:lnTo>
                  <a:lnTo>
                    <a:pt x="17142544" y="7450266"/>
                  </a:lnTo>
                  <a:lnTo>
                    <a:pt x="17199728" y="7588454"/>
                  </a:lnTo>
                  <a:lnTo>
                    <a:pt x="17242612" y="7612280"/>
                  </a:lnTo>
                  <a:lnTo>
                    <a:pt x="17280736" y="7669462"/>
                  </a:lnTo>
                  <a:lnTo>
                    <a:pt x="17323620" y="7698052"/>
                  </a:lnTo>
                  <a:lnTo>
                    <a:pt x="17342680" y="7698052"/>
                  </a:lnTo>
                  <a:lnTo>
                    <a:pt x="17356976" y="7664696"/>
                  </a:lnTo>
                  <a:lnTo>
                    <a:pt x="17371272" y="7674227"/>
                  </a:lnTo>
                  <a:lnTo>
                    <a:pt x="17380800" y="7740939"/>
                  </a:lnTo>
                  <a:lnTo>
                    <a:pt x="17399864" y="7764764"/>
                  </a:lnTo>
                  <a:lnTo>
                    <a:pt x="17418924" y="7769530"/>
                  </a:lnTo>
                  <a:lnTo>
                    <a:pt x="17437984" y="7755234"/>
                  </a:lnTo>
                  <a:lnTo>
                    <a:pt x="17461808" y="7726643"/>
                  </a:lnTo>
                  <a:lnTo>
                    <a:pt x="17480872" y="7693288"/>
                  </a:lnTo>
                  <a:lnTo>
                    <a:pt x="17514224" y="7597985"/>
                  </a:lnTo>
                  <a:lnTo>
                    <a:pt x="17538052" y="7545568"/>
                  </a:lnTo>
                  <a:lnTo>
                    <a:pt x="17557112" y="7526508"/>
                  </a:lnTo>
                  <a:lnTo>
                    <a:pt x="17552348" y="7502682"/>
                  </a:lnTo>
                  <a:lnTo>
                    <a:pt x="17552348" y="7474092"/>
                  </a:lnTo>
                  <a:lnTo>
                    <a:pt x="17566640" y="7407380"/>
                  </a:lnTo>
                  <a:lnTo>
                    <a:pt x="17585704" y="7331138"/>
                  </a:lnTo>
                  <a:lnTo>
                    <a:pt x="17604764" y="7288252"/>
                  </a:lnTo>
                  <a:lnTo>
                    <a:pt x="17638120" y="7202479"/>
                  </a:lnTo>
                  <a:lnTo>
                    <a:pt x="17652416" y="7188184"/>
                  </a:lnTo>
                  <a:lnTo>
                    <a:pt x="17661944" y="7216775"/>
                  </a:lnTo>
                  <a:lnTo>
                    <a:pt x="17671476" y="7254896"/>
                  </a:lnTo>
                  <a:lnTo>
                    <a:pt x="17676240" y="7269191"/>
                  </a:lnTo>
                  <a:lnTo>
                    <a:pt x="17681004" y="7273956"/>
                  </a:lnTo>
                  <a:lnTo>
                    <a:pt x="17728656" y="7350198"/>
                  </a:lnTo>
                  <a:lnTo>
                    <a:pt x="17776308" y="7407380"/>
                  </a:lnTo>
                  <a:lnTo>
                    <a:pt x="17814428" y="7435970"/>
                  </a:lnTo>
                  <a:lnTo>
                    <a:pt x="17881140" y="7459796"/>
                  </a:lnTo>
                  <a:lnTo>
                    <a:pt x="17971680" y="7455031"/>
                  </a:lnTo>
                  <a:lnTo>
                    <a:pt x="17990736" y="7421675"/>
                  </a:lnTo>
                  <a:lnTo>
                    <a:pt x="18024096" y="7393084"/>
                  </a:lnTo>
                  <a:lnTo>
                    <a:pt x="18076512" y="7378789"/>
                  </a:lnTo>
                  <a:lnTo>
                    <a:pt x="18105104" y="7345433"/>
                  </a:lnTo>
                  <a:lnTo>
                    <a:pt x="18157520" y="7335903"/>
                  </a:lnTo>
                  <a:lnTo>
                    <a:pt x="18190872" y="7340668"/>
                  </a:lnTo>
                  <a:lnTo>
                    <a:pt x="18238524" y="7369259"/>
                  </a:lnTo>
                  <a:lnTo>
                    <a:pt x="18352888" y="7445501"/>
                  </a:lnTo>
                  <a:lnTo>
                    <a:pt x="18381480" y="7469326"/>
                  </a:lnTo>
                  <a:lnTo>
                    <a:pt x="18395776" y="7497917"/>
                  </a:lnTo>
                  <a:lnTo>
                    <a:pt x="18433896" y="7545568"/>
                  </a:lnTo>
                  <a:lnTo>
                    <a:pt x="18457720" y="7564629"/>
                  </a:lnTo>
                  <a:lnTo>
                    <a:pt x="18476784" y="7578924"/>
                  </a:lnTo>
                  <a:lnTo>
                    <a:pt x="18486312" y="7574159"/>
                  </a:lnTo>
                  <a:lnTo>
                    <a:pt x="18486312" y="7564629"/>
                  </a:lnTo>
                  <a:lnTo>
                    <a:pt x="18472016" y="7550334"/>
                  </a:lnTo>
                  <a:lnTo>
                    <a:pt x="18462488" y="7536038"/>
                  </a:lnTo>
                  <a:lnTo>
                    <a:pt x="18491076" y="7516978"/>
                  </a:lnTo>
                  <a:lnTo>
                    <a:pt x="18495840" y="7507448"/>
                  </a:lnTo>
                  <a:lnTo>
                    <a:pt x="18500608" y="7497917"/>
                  </a:lnTo>
                  <a:lnTo>
                    <a:pt x="18538728" y="7488387"/>
                  </a:lnTo>
                  <a:lnTo>
                    <a:pt x="18505372" y="7469326"/>
                  </a:lnTo>
                  <a:lnTo>
                    <a:pt x="18491076" y="7469326"/>
                  </a:lnTo>
                  <a:lnTo>
                    <a:pt x="18476784" y="7459796"/>
                  </a:lnTo>
                  <a:lnTo>
                    <a:pt x="18476784" y="7435970"/>
                  </a:lnTo>
                  <a:lnTo>
                    <a:pt x="18486312" y="7421675"/>
                  </a:lnTo>
                  <a:lnTo>
                    <a:pt x="18495840" y="7388319"/>
                  </a:lnTo>
                  <a:lnTo>
                    <a:pt x="18505372" y="7369259"/>
                  </a:lnTo>
                  <a:lnTo>
                    <a:pt x="18524432" y="7354963"/>
                  </a:lnTo>
                  <a:lnTo>
                    <a:pt x="18538728" y="7350198"/>
                  </a:lnTo>
                  <a:lnTo>
                    <a:pt x="18572084" y="7369259"/>
                  </a:lnTo>
                  <a:lnTo>
                    <a:pt x="18591144" y="7335903"/>
                  </a:lnTo>
                  <a:lnTo>
                    <a:pt x="18610204" y="7335903"/>
                  </a:lnTo>
                  <a:lnTo>
                    <a:pt x="18643560" y="7374024"/>
                  </a:lnTo>
                  <a:lnTo>
                    <a:pt x="18676916" y="7431206"/>
                  </a:lnTo>
                  <a:lnTo>
                    <a:pt x="18695976" y="7431206"/>
                  </a:lnTo>
                  <a:lnTo>
                    <a:pt x="18743628" y="7407380"/>
                  </a:lnTo>
                  <a:lnTo>
                    <a:pt x="18800808" y="7407380"/>
                  </a:lnTo>
                  <a:lnTo>
                    <a:pt x="18791280" y="7374024"/>
                  </a:lnTo>
                  <a:lnTo>
                    <a:pt x="18753160" y="7302547"/>
                  </a:lnTo>
                  <a:lnTo>
                    <a:pt x="18757924" y="7212010"/>
                  </a:lnTo>
                  <a:lnTo>
                    <a:pt x="18729336" y="7188184"/>
                  </a:lnTo>
                  <a:lnTo>
                    <a:pt x="18700744" y="7178654"/>
                  </a:lnTo>
                  <a:lnTo>
                    <a:pt x="18743628" y="7154828"/>
                  </a:lnTo>
                  <a:lnTo>
                    <a:pt x="18776984" y="7080968"/>
                  </a:lnTo>
                  <a:lnTo>
                    <a:pt x="18805576" y="7071438"/>
                  </a:lnTo>
                  <a:lnTo>
                    <a:pt x="18829400" y="7057143"/>
                  </a:lnTo>
                  <a:lnTo>
                    <a:pt x="18819872" y="7047613"/>
                  </a:lnTo>
                  <a:lnTo>
                    <a:pt x="18743628" y="7038082"/>
                  </a:lnTo>
                  <a:lnTo>
                    <a:pt x="18724568" y="7047613"/>
                  </a:lnTo>
                  <a:lnTo>
                    <a:pt x="18710272" y="7071438"/>
                  </a:lnTo>
                  <a:lnTo>
                    <a:pt x="18672152" y="7071438"/>
                  </a:lnTo>
                  <a:lnTo>
                    <a:pt x="18667384" y="7019022"/>
                  </a:lnTo>
                  <a:lnTo>
                    <a:pt x="18667384" y="6985666"/>
                  </a:lnTo>
                  <a:lnTo>
                    <a:pt x="18719800" y="6914189"/>
                  </a:lnTo>
                  <a:lnTo>
                    <a:pt x="18738864" y="6899894"/>
                  </a:lnTo>
                  <a:lnTo>
                    <a:pt x="18872288" y="6899894"/>
                  </a:lnTo>
                  <a:lnTo>
                    <a:pt x="18910408" y="6890364"/>
                  </a:lnTo>
                  <a:lnTo>
                    <a:pt x="18967592" y="6852242"/>
                  </a:lnTo>
                  <a:lnTo>
                    <a:pt x="18953296" y="6828417"/>
                  </a:lnTo>
                  <a:lnTo>
                    <a:pt x="18953296" y="6785531"/>
                  </a:lnTo>
                  <a:lnTo>
                    <a:pt x="18900880" y="6718819"/>
                  </a:lnTo>
                  <a:lnTo>
                    <a:pt x="18905640" y="6704524"/>
                  </a:lnTo>
                  <a:lnTo>
                    <a:pt x="18910408" y="6694993"/>
                  </a:lnTo>
                  <a:lnTo>
                    <a:pt x="18929468" y="6694993"/>
                  </a:lnTo>
                  <a:lnTo>
                    <a:pt x="19005712" y="6709289"/>
                  </a:lnTo>
                  <a:lnTo>
                    <a:pt x="19039064" y="6747410"/>
                  </a:lnTo>
                  <a:lnTo>
                    <a:pt x="19124840" y="6785531"/>
                  </a:lnTo>
                  <a:lnTo>
                    <a:pt x="19348800" y="6795061"/>
                  </a:lnTo>
                  <a:lnTo>
                    <a:pt x="19377392" y="6809356"/>
                  </a:lnTo>
                  <a:lnTo>
                    <a:pt x="19472692" y="6823652"/>
                  </a:lnTo>
                  <a:lnTo>
                    <a:pt x="19515580" y="6842712"/>
                  </a:lnTo>
                  <a:lnTo>
                    <a:pt x="19610880" y="6861773"/>
                  </a:lnTo>
                  <a:lnTo>
                    <a:pt x="19658532" y="6876068"/>
                  </a:lnTo>
                  <a:lnTo>
                    <a:pt x="19691888" y="6899894"/>
                  </a:lnTo>
                  <a:lnTo>
                    <a:pt x="19749072" y="6914189"/>
                  </a:lnTo>
                  <a:lnTo>
                    <a:pt x="19777664" y="6928484"/>
                  </a:lnTo>
                  <a:lnTo>
                    <a:pt x="19772896" y="6976136"/>
                  </a:lnTo>
                  <a:lnTo>
                    <a:pt x="19653768" y="6971371"/>
                  </a:lnTo>
                  <a:lnTo>
                    <a:pt x="19615648" y="6952310"/>
                  </a:lnTo>
                  <a:lnTo>
                    <a:pt x="19567996" y="6952310"/>
                  </a:lnTo>
                  <a:lnTo>
                    <a:pt x="19548936" y="6961840"/>
                  </a:lnTo>
                  <a:lnTo>
                    <a:pt x="19515580" y="6999962"/>
                  </a:lnTo>
                  <a:lnTo>
                    <a:pt x="19482224" y="7019022"/>
                  </a:lnTo>
                  <a:lnTo>
                    <a:pt x="19453632" y="7023787"/>
                  </a:lnTo>
                  <a:lnTo>
                    <a:pt x="19472692" y="7057143"/>
                  </a:lnTo>
                  <a:lnTo>
                    <a:pt x="19501284" y="7066673"/>
                  </a:lnTo>
                  <a:lnTo>
                    <a:pt x="19587056" y="7023787"/>
                  </a:lnTo>
                  <a:lnTo>
                    <a:pt x="19830080" y="6999962"/>
                  </a:lnTo>
                  <a:lnTo>
                    <a:pt x="19868200" y="7004726"/>
                  </a:lnTo>
                  <a:lnTo>
                    <a:pt x="19863432" y="7033317"/>
                  </a:lnTo>
                  <a:lnTo>
                    <a:pt x="19830080" y="7090499"/>
                  </a:lnTo>
                  <a:lnTo>
                    <a:pt x="19801488" y="7135768"/>
                  </a:lnTo>
                  <a:lnTo>
                    <a:pt x="19753836" y="7178654"/>
                  </a:lnTo>
                  <a:lnTo>
                    <a:pt x="19739540" y="7178654"/>
                  </a:lnTo>
                  <a:lnTo>
                    <a:pt x="19772896" y="7085734"/>
                  </a:lnTo>
                  <a:lnTo>
                    <a:pt x="19758600" y="7080968"/>
                  </a:lnTo>
                  <a:lnTo>
                    <a:pt x="19744304" y="7080968"/>
                  </a:lnTo>
                  <a:lnTo>
                    <a:pt x="19706184" y="7042848"/>
                  </a:lnTo>
                  <a:lnTo>
                    <a:pt x="19701420" y="7038082"/>
                  </a:lnTo>
                  <a:lnTo>
                    <a:pt x="19691888" y="7047613"/>
                  </a:lnTo>
                  <a:lnTo>
                    <a:pt x="19691888" y="7066673"/>
                  </a:lnTo>
                  <a:lnTo>
                    <a:pt x="19687124" y="7116707"/>
                  </a:lnTo>
                  <a:lnTo>
                    <a:pt x="19701420" y="7140533"/>
                  </a:lnTo>
                  <a:lnTo>
                    <a:pt x="19701420" y="7183419"/>
                  </a:lnTo>
                  <a:lnTo>
                    <a:pt x="19644240" y="7207244"/>
                  </a:lnTo>
                  <a:lnTo>
                    <a:pt x="19625176" y="7207244"/>
                  </a:lnTo>
                  <a:lnTo>
                    <a:pt x="19601352" y="7188184"/>
                  </a:lnTo>
                  <a:lnTo>
                    <a:pt x="19591824" y="7188184"/>
                  </a:lnTo>
                  <a:lnTo>
                    <a:pt x="19587056" y="7202479"/>
                  </a:lnTo>
                  <a:lnTo>
                    <a:pt x="19591824" y="7226305"/>
                  </a:lnTo>
                  <a:lnTo>
                    <a:pt x="19591824" y="7235835"/>
                  </a:lnTo>
                  <a:lnTo>
                    <a:pt x="19587056" y="7254896"/>
                  </a:lnTo>
                  <a:lnTo>
                    <a:pt x="19582288" y="7273956"/>
                  </a:lnTo>
                  <a:lnTo>
                    <a:pt x="19591824" y="7297782"/>
                  </a:lnTo>
                  <a:lnTo>
                    <a:pt x="19610880" y="7307312"/>
                  </a:lnTo>
                  <a:lnTo>
                    <a:pt x="19706184" y="7278721"/>
                  </a:lnTo>
                  <a:lnTo>
                    <a:pt x="19749072" y="7250130"/>
                  </a:lnTo>
                  <a:lnTo>
                    <a:pt x="19796720" y="7192949"/>
                  </a:lnTo>
                  <a:lnTo>
                    <a:pt x="19877728" y="7052378"/>
                  </a:lnTo>
                  <a:lnTo>
                    <a:pt x="19915848" y="7004726"/>
                  </a:lnTo>
                  <a:lnTo>
                    <a:pt x="19934912" y="6985666"/>
                  </a:lnTo>
                  <a:lnTo>
                    <a:pt x="19963504" y="6980901"/>
                  </a:lnTo>
                  <a:lnTo>
                    <a:pt x="20111220" y="6995196"/>
                  </a:lnTo>
                  <a:lnTo>
                    <a:pt x="20201760" y="7028552"/>
                  </a:lnTo>
                  <a:lnTo>
                    <a:pt x="20287528" y="7071438"/>
                  </a:lnTo>
                  <a:lnTo>
                    <a:pt x="20325648" y="7109559"/>
                  </a:lnTo>
                  <a:lnTo>
                    <a:pt x="20359008" y="7154828"/>
                  </a:lnTo>
                  <a:lnTo>
                    <a:pt x="20363772" y="7178654"/>
                  </a:lnTo>
                  <a:lnTo>
                    <a:pt x="20363772" y="7202479"/>
                  </a:lnTo>
                  <a:lnTo>
                    <a:pt x="20344712" y="7231070"/>
                  </a:lnTo>
                  <a:lnTo>
                    <a:pt x="20249408" y="7240600"/>
                  </a:lnTo>
                  <a:lnTo>
                    <a:pt x="20216052" y="7254896"/>
                  </a:lnTo>
                  <a:lnTo>
                    <a:pt x="20201760" y="7273956"/>
                  </a:lnTo>
                  <a:lnTo>
                    <a:pt x="20201760" y="7278721"/>
                  </a:lnTo>
                  <a:lnTo>
                    <a:pt x="20196992" y="7297782"/>
                  </a:lnTo>
                  <a:lnTo>
                    <a:pt x="20201760" y="7307312"/>
                  </a:lnTo>
                  <a:lnTo>
                    <a:pt x="20244644" y="7307312"/>
                  </a:lnTo>
                  <a:lnTo>
                    <a:pt x="20282764" y="7321608"/>
                  </a:lnTo>
                  <a:lnTo>
                    <a:pt x="20339944" y="7350198"/>
                  </a:lnTo>
                  <a:lnTo>
                    <a:pt x="20349476" y="7359728"/>
                  </a:lnTo>
                  <a:lnTo>
                    <a:pt x="20368536" y="7393084"/>
                  </a:lnTo>
                  <a:lnTo>
                    <a:pt x="20373304" y="7397850"/>
                  </a:lnTo>
                  <a:lnTo>
                    <a:pt x="20454312" y="7393084"/>
                  </a:lnTo>
                  <a:lnTo>
                    <a:pt x="20463840" y="7402615"/>
                  </a:lnTo>
                  <a:lnTo>
                    <a:pt x="20468604" y="7426440"/>
                  </a:lnTo>
                  <a:lnTo>
                    <a:pt x="20444776" y="7459796"/>
                  </a:lnTo>
                  <a:lnTo>
                    <a:pt x="20420952" y="7478857"/>
                  </a:lnTo>
                  <a:lnTo>
                    <a:pt x="20378068" y="7536038"/>
                  </a:lnTo>
                  <a:lnTo>
                    <a:pt x="20401892" y="7516978"/>
                  </a:lnTo>
                  <a:lnTo>
                    <a:pt x="20492432" y="7469326"/>
                  </a:lnTo>
                  <a:lnTo>
                    <a:pt x="20516256" y="7459796"/>
                  </a:lnTo>
                  <a:lnTo>
                    <a:pt x="20540080" y="7464561"/>
                  </a:lnTo>
                  <a:lnTo>
                    <a:pt x="20611560" y="7507448"/>
                  </a:lnTo>
                  <a:lnTo>
                    <a:pt x="20640152" y="7540803"/>
                  </a:lnTo>
                  <a:lnTo>
                    <a:pt x="20687800" y="7631341"/>
                  </a:lnTo>
                  <a:lnTo>
                    <a:pt x="20673504" y="7645636"/>
                  </a:lnTo>
                  <a:lnTo>
                    <a:pt x="20640152" y="7655166"/>
                  </a:lnTo>
                  <a:lnTo>
                    <a:pt x="20754512" y="7721878"/>
                  </a:lnTo>
                  <a:lnTo>
                    <a:pt x="20802164" y="7721878"/>
                  </a:lnTo>
                  <a:lnTo>
                    <a:pt x="20902232" y="7702818"/>
                  </a:lnTo>
                  <a:lnTo>
                    <a:pt x="20954648" y="7702818"/>
                  </a:lnTo>
                  <a:lnTo>
                    <a:pt x="21054716" y="7655166"/>
                  </a:lnTo>
                  <a:lnTo>
                    <a:pt x="21150016" y="7626576"/>
                  </a:lnTo>
                  <a:lnTo>
                    <a:pt x="21235792" y="7626576"/>
                  </a:lnTo>
                  <a:lnTo>
                    <a:pt x="21283440" y="7597985"/>
                  </a:lnTo>
                  <a:lnTo>
                    <a:pt x="21407336" y="7597985"/>
                  </a:lnTo>
                  <a:lnTo>
                    <a:pt x="21526464" y="7607515"/>
                  </a:lnTo>
                  <a:lnTo>
                    <a:pt x="21617000" y="7626576"/>
                  </a:lnTo>
                  <a:lnTo>
                    <a:pt x="21721832" y="7674227"/>
                  </a:lnTo>
                  <a:lnTo>
                    <a:pt x="21821900" y="7745704"/>
                  </a:lnTo>
                  <a:lnTo>
                    <a:pt x="21883848" y="7812416"/>
                  </a:lnTo>
                  <a:lnTo>
                    <a:pt x="21893376" y="7831476"/>
                  </a:lnTo>
                  <a:lnTo>
                    <a:pt x="21912440" y="7879128"/>
                  </a:lnTo>
                  <a:lnTo>
                    <a:pt x="21917204" y="7917248"/>
                  </a:lnTo>
                  <a:lnTo>
                    <a:pt x="21926736" y="7969664"/>
                  </a:lnTo>
                  <a:lnTo>
                    <a:pt x="21921968" y="8012551"/>
                  </a:lnTo>
                  <a:lnTo>
                    <a:pt x="21907672" y="8041142"/>
                  </a:lnTo>
                  <a:lnTo>
                    <a:pt x="21898144" y="8074498"/>
                  </a:lnTo>
                  <a:lnTo>
                    <a:pt x="21898144" y="8117384"/>
                  </a:lnTo>
                  <a:lnTo>
                    <a:pt x="21883848" y="8169800"/>
                  </a:lnTo>
                  <a:lnTo>
                    <a:pt x="21898144" y="8212686"/>
                  </a:lnTo>
                  <a:lnTo>
                    <a:pt x="21941028" y="8236512"/>
                  </a:lnTo>
                  <a:lnTo>
                    <a:pt x="22041096" y="8269868"/>
                  </a:lnTo>
                  <a:lnTo>
                    <a:pt x="22069688" y="8288928"/>
                  </a:lnTo>
                  <a:lnTo>
                    <a:pt x="22069688" y="8355640"/>
                  </a:lnTo>
                  <a:lnTo>
                    <a:pt x="22079216" y="8412822"/>
                  </a:lnTo>
                  <a:lnTo>
                    <a:pt x="22088748" y="8517654"/>
                  </a:lnTo>
                  <a:lnTo>
                    <a:pt x="22103044" y="8541480"/>
                  </a:lnTo>
                  <a:lnTo>
                    <a:pt x="22131632" y="8565306"/>
                  </a:lnTo>
                  <a:lnTo>
                    <a:pt x="22136400" y="8598662"/>
                  </a:lnTo>
                  <a:lnTo>
                    <a:pt x="22103044" y="8708260"/>
                  </a:lnTo>
                  <a:lnTo>
                    <a:pt x="22079216" y="8727320"/>
                  </a:lnTo>
                  <a:lnTo>
                    <a:pt x="22060160" y="8755910"/>
                  </a:lnTo>
                  <a:lnTo>
                    <a:pt x="22098280" y="8746380"/>
                  </a:lnTo>
                  <a:lnTo>
                    <a:pt x="22117336" y="8708260"/>
                  </a:lnTo>
                  <a:lnTo>
                    <a:pt x="22136400" y="8636782"/>
                  </a:lnTo>
                  <a:lnTo>
                    <a:pt x="22160224" y="8622487"/>
                  </a:lnTo>
                  <a:lnTo>
                    <a:pt x="22169756" y="8598662"/>
                  </a:lnTo>
                  <a:lnTo>
                    <a:pt x="22169756" y="8531950"/>
                  </a:lnTo>
                  <a:lnTo>
                    <a:pt x="22155460" y="8470003"/>
                  </a:lnTo>
                  <a:lnTo>
                    <a:pt x="22155460" y="8427117"/>
                  </a:lnTo>
                  <a:lnTo>
                    <a:pt x="22164992" y="8393761"/>
                  </a:lnTo>
                  <a:lnTo>
                    <a:pt x="22226936" y="8317519"/>
                  </a:lnTo>
                  <a:lnTo>
                    <a:pt x="22265056" y="8288928"/>
                  </a:lnTo>
                  <a:lnTo>
                    <a:pt x="22293648" y="8269868"/>
                  </a:lnTo>
                  <a:lnTo>
                    <a:pt x="22384184" y="8255572"/>
                  </a:lnTo>
                  <a:lnTo>
                    <a:pt x="22427072" y="8241277"/>
                  </a:lnTo>
                  <a:lnTo>
                    <a:pt x="22469960" y="8250807"/>
                  </a:lnTo>
                  <a:lnTo>
                    <a:pt x="22503312" y="8246042"/>
                  </a:lnTo>
                  <a:lnTo>
                    <a:pt x="22541436" y="8231746"/>
                  </a:lnTo>
                  <a:lnTo>
                    <a:pt x="22574792" y="8241277"/>
                  </a:lnTo>
                  <a:lnTo>
                    <a:pt x="22631972" y="8288928"/>
                  </a:lnTo>
                  <a:lnTo>
                    <a:pt x="22827344" y="8303224"/>
                  </a:lnTo>
                  <a:lnTo>
                    <a:pt x="22860696" y="8317519"/>
                  </a:lnTo>
                  <a:lnTo>
                    <a:pt x="22989356" y="8336580"/>
                  </a:lnTo>
                  <a:lnTo>
                    <a:pt x="22998888" y="8336580"/>
                  </a:lnTo>
                  <a:lnTo>
                    <a:pt x="23027480" y="8312754"/>
                  </a:lnTo>
                  <a:lnTo>
                    <a:pt x="23118016" y="8231746"/>
                  </a:lnTo>
                  <a:lnTo>
                    <a:pt x="23151372" y="8236512"/>
                  </a:lnTo>
                  <a:lnTo>
                    <a:pt x="23165664" y="8250807"/>
                  </a:lnTo>
                  <a:lnTo>
                    <a:pt x="23179960" y="8284163"/>
                  </a:lnTo>
                  <a:lnTo>
                    <a:pt x="23199024" y="8303224"/>
                  </a:lnTo>
                  <a:lnTo>
                    <a:pt x="23208552" y="8360405"/>
                  </a:lnTo>
                  <a:lnTo>
                    <a:pt x="23222848" y="8441412"/>
                  </a:lnTo>
                  <a:lnTo>
                    <a:pt x="23241908" y="8455708"/>
                  </a:lnTo>
                  <a:lnTo>
                    <a:pt x="23265736" y="8460473"/>
                  </a:lnTo>
                  <a:lnTo>
                    <a:pt x="23322916" y="8489064"/>
                  </a:lnTo>
                  <a:lnTo>
                    <a:pt x="23380096" y="8522420"/>
                  </a:lnTo>
                  <a:lnTo>
                    <a:pt x="23394392" y="8593896"/>
                  </a:lnTo>
                  <a:lnTo>
                    <a:pt x="23427748" y="8651078"/>
                  </a:lnTo>
                  <a:lnTo>
                    <a:pt x="23499224" y="8646313"/>
                  </a:lnTo>
                  <a:lnTo>
                    <a:pt x="23570704" y="8632018"/>
                  </a:lnTo>
                  <a:lnTo>
                    <a:pt x="23642180" y="8541480"/>
                  </a:lnTo>
                  <a:lnTo>
                    <a:pt x="23642180" y="8498594"/>
                  </a:lnTo>
                  <a:lnTo>
                    <a:pt x="23623120" y="8441412"/>
                  </a:lnTo>
                  <a:lnTo>
                    <a:pt x="23599296" y="8388996"/>
                  </a:lnTo>
                  <a:lnTo>
                    <a:pt x="23575468" y="8303224"/>
                  </a:lnTo>
                  <a:lnTo>
                    <a:pt x="23513520" y="8279398"/>
                  </a:lnTo>
                  <a:lnTo>
                    <a:pt x="23518288" y="8255572"/>
                  </a:lnTo>
                  <a:lnTo>
                    <a:pt x="23542112" y="8226982"/>
                  </a:lnTo>
                  <a:lnTo>
                    <a:pt x="23565936" y="8179330"/>
                  </a:lnTo>
                  <a:lnTo>
                    <a:pt x="23570704" y="8141210"/>
                  </a:lnTo>
                  <a:lnTo>
                    <a:pt x="23561172" y="8064968"/>
                  </a:lnTo>
                  <a:lnTo>
                    <a:pt x="23623120" y="8069732"/>
                  </a:lnTo>
                  <a:lnTo>
                    <a:pt x="23680300" y="8079262"/>
                  </a:lnTo>
                  <a:lnTo>
                    <a:pt x="23794664" y="8112618"/>
                  </a:lnTo>
                  <a:lnTo>
                    <a:pt x="23885200" y="8126914"/>
                  </a:lnTo>
                  <a:lnTo>
                    <a:pt x="23932852" y="8150740"/>
                  </a:lnTo>
                  <a:lnTo>
                    <a:pt x="23966208" y="8174565"/>
                  </a:lnTo>
                  <a:lnTo>
                    <a:pt x="23999564" y="8193626"/>
                  </a:lnTo>
                  <a:lnTo>
                    <a:pt x="24009096" y="8145974"/>
                  </a:lnTo>
                  <a:lnTo>
                    <a:pt x="24023392" y="8136444"/>
                  </a:lnTo>
                  <a:lnTo>
                    <a:pt x="24071040" y="8160270"/>
                  </a:lnTo>
                  <a:lnTo>
                    <a:pt x="24104396" y="8169800"/>
                  </a:lnTo>
                  <a:lnTo>
                    <a:pt x="24161576" y="8165035"/>
                  </a:lnTo>
                  <a:lnTo>
                    <a:pt x="24233056" y="8179330"/>
                  </a:lnTo>
                  <a:lnTo>
                    <a:pt x="24314064" y="8174565"/>
                  </a:lnTo>
                  <a:lnTo>
                    <a:pt x="24385540" y="8155504"/>
                  </a:lnTo>
                  <a:lnTo>
                    <a:pt x="24414128" y="8160270"/>
                  </a:lnTo>
                  <a:lnTo>
                    <a:pt x="24442720" y="8174565"/>
                  </a:lnTo>
                  <a:lnTo>
                    <a:pt x="24490372" y="8217452"/>
                  </a:lnTo>
                  <a:lnTo>
                    <a:pt x="24566616" y="8274633"/>
                  </a:lnTo>
                  <a:lnTo>
                    <a:pt x="24642856" y="8288928"/>
                  </a:lnTo>
                  <a:lnTo>
                    <a:pt x="24728628" y="8341344"/>
                  </a:lnTo>
                  <a:lnTo>
                    <a:pt x="24804872" y="8360405"/>
                  </a:lnTo>
                  <a:lnTo>
                    <a:pt x="24866816" y="8388996"/>
                  </a:lnTo>
                  <a:lnTo>
                    <a:pt x="24876348" y="8398526"/>
                  </a:lnTo>
                  <a:lnTo>
                    <a:pt x="24881112" y="8417586"/>
                  </a:lnTo>
                  <a:lnTo>
                    <a:pt x="24885880" y="8427117"/>
                  </a:lnTo>
                  <a:lnTo>
                    <a:pt x="24933528" y="8446178"/>
                  </a:lnTo>
                  <a:lnTo>
                    <a:pt x="25028832" y="8551010"/>
                  </a:lnTo>
                  <a:lnTo>
                    <a:pt x="25047892" y="8565306"/>
                  </a:lnTo>
                  <a:lnTo>
                    <a:pt x="25081248" y="8584366"/>
                  </a:lnTo>
                  <a:lnTo>
                    <a:pt x="25109840" y="8598662"/>
                  </a:lnTo>
                  <a:lnTo>
                    <a:pt x="25124136" y="8593896"/>
                  </a:lnTo>
                  <a:lnTo>
                    <a:pt x="25128900" y="8598662"/>
                  </a:lnTo>
                  <a:lnTo>
                    <a:pt x="25147960" y="8622487"/>
                  </a:lnTo>
                  <a:lnTo>
                    <a:pt x="25162256" y="8636782"/>
                  </a:lnTo>
                  <a:lnTo>
                    <a:pt x="25224200" y="8665374"/>
                  </a:lnTo>
                  <a:lnTo>
                    <a:pt x="25252792" y="8698729"/>
                  </a:lnTo>
                  <a:lnTo>
                    <a:pt x="25276616" y="8736850"/>
                  </a:lnTo>
                  <a:lnTo>
                    <a:pt x="25267088" y="8732085"/>
                  </a:lnTo>
                  <a:lnTo>
                    <a:pt x="25243264" y="8703494"/>
                  </a:lnTo>
                  <a:lnTo>
                    <a:pt x="25248028" y="8736850"/>
                  </a:lnTo>
                  <a:lnTo>
                    <a:pt x="25252792" y="8755910"/>
                  </a:lnTo>
                  <a:lnTo>
                    <a:pt x="25286148" y="8774971"/>
                  </a:lnTo>
                  <a:lnTo>
                    <a:pt x="25324272" y="8789266"/>
                  </a:lnTo>
                  <a:lnTo>
                    <a:pt x="25348096" y="8808327"/>
                  </a:lnTo>
                  <a:lnTo>
                    <a:pt x="25352860" y="8822622"/>
                  </a:lnTo>
                  <a:lnTo>
                    <a:pt x="25357624" y="8851213"/>
                  </a:lnTo>
                  <a:lnTo>
                    <a:pt x="25352860" y="8875039"/>
                  </a:lnTo>
                  <a:lnTo>
                    <a:pt x="25371920" y="8865508"/>
                  </a:lnTo>
                  <a:lnTo>
                    <a:pt x="25390984" y="8841683"/>
                  </a:lnTo>
                  <a:lnTo>
                    <a:pt x="25381448" y="8827388"/>
                  </a:lnTo>
                  <a:lnTo>
                    <a:pt x="25314740" y="8765441"/>
                  </a:lnTo>
                  <a:lnTo>
                    <a:pt x="25305208" y="8746380"/>
                  </a:lnTo>
                  <a:lnTo>
                    <a:pt x="25324272" y="8755910"/>
                  </a:lnTo>
                  <a:lnTo>
                    <a:pt x="25410040" y="8832152"/>
                  </a:lnTo>
                  <a:lnTo>
                    <a:pt x="25433868" y="8860744"/>
                  </a:lnTo>
                  <a:lnTo>
                    <a:pt x="25424336" y="8865508"/>
                  </a:lnTo>
                  <a:lnTo>
                    <a:pt x="25419572" y="8884569"/>
                  </a:lnTo>
                  <a:lnTo>
                    <a:pt x="25424336" y="8889334"/>
                  </a:lnTo>
                  <a:lnTo>
                    <a:pt x="25433868" y="8884569"/>
                  </a:lnTo>
                  <a:lnTo>
                    <a:pt x="25452928" y="8884569"/>
                  </a:lnTo>
                  <a:lnTo>
                    <a:pt x="25471988" y="8894100"/>
                  </a:lnTo>
                  <a:lnTo>
                    <a:pt x="25491048" y="8913160"/>
                  </a:lnTo>
                  <a:lnTo>
                    <a:pt x="25533936" y="8936986"/>
                  </a:lnTo>
                  <a:lnTo>
                    <a:pt x="25776956" y="9118060"/>
                  </a:lnTo>
                  <a:lnTo>
                    <a:pt x="25781720" y="9151416"/>
                  </a:lnTo>
                  <a:lnTo>
                    <a:pt x="25786488" y="9165712"/>
                  </a:lnTo>
                  <a:lnTo>
                    <a:pt x="25791252" y="9184772"/>
                  </a:lnTo>
                  <a:lnTo>
                    <a:pt x="25791252" y="9213363"/>
                  </a:lnTo>
                  <a:lnTo>
                    <a:pt x="25772192" y="9251484"/>
                  </a:lnTo>
                  <a:lnTo>
                    <a:pt x="25805548" y="9246719"/>
                  </a:lnTo>
                  <a:lnTo>
                    <a:pt x="25810312" y="9241954"/>
                  </a:lnTo>
                  <a:lnTo>
                    <a:pt x="25819840" y="9227658"/>
                  </a:lnTo>
                  <a:lnTo>
                    <a:pt x="25829372" y="9218128"/>
                  </a:lnTo>
                  <a:lnTo>
                    <a:pt x="25843668" y="9227658"/>
                  </a:lnTo>
                  <a:lnTo>
                    <a:pt x="25853200" y="9251484"/>
                  </a:lnTo>
                  <a:lnTo>
                    <a:pt x="25848432" y="9284840"/>
                  </a:lnTo>
                  <a:lnTo>
                    <a:pt x="25838904" y="9313430"/>
                  </a:lnTo>
                  <a:lnTo>
                    <a:pt x="25838904" y="9356316"/>
                  </a:lnTo>
                  <a:lnTo>
                    <a:pt x="25848432" y="9394438"/>
                  </a:lnTo>
                  <a:lnTo>
                    <a:pt x="25857964" y="9408733"/>
                  </a:lnTo>
                  <a:lnTo>
                    <a:pt x="25862728" y="9427794"/>
                  </a:lnTo>
                  <a:lnTo>
                    <a:pt x="25867496" y="9480210"/>
                  </a:lnTo>
                  <a:lnTo>
                    <a:pt x="25848432" y="9504036"/>
                  </a:lnTo>
                  <a:lnTo>
                    <a:pt x="25843668" y="9542156"/>
                  </a:lnTo>
                  <a:lnTo>
                    <a:pt x="25853200" y="9546922"/>
                  </a:lnTo>
                  <a:lnTo>
                    <a:pt x="25881792" y="9551687"/>
                  </a:lnTo>
                  <a:lnTo>
                    <a:pt x="25891320" y="9556452"/>
                  </a:lnTo>
                  <a:lnTo>
                    <a:pt x="25905616" y="9575512"/>
                  </a:lnTo>
                  <a:lnTo>
                    <a:pt x="25910380" y="9594573"/>
                  </a:lnTo>
                  <a:lnTo>
                    <a:pt x="25915144" y="9618398"/>
                  </a:lnTo>
                  <a:lnTo>
                    <a:pt x="25919912" y="9642224"/>
                  </a:lnTo>
                  <a:lnTo>
                    <a:pt x="25924676" y="9651754"/>
                  </a:lnTo>
                  <a:lnTo>
                    <a:pt x="25929440" y="9651754"/>
                  </a:lnTo>
                  <a:lnTo>
                    <a:pt x="25943736" y="9618398"/>
                  </a:lnTo>
                  <a:lnTo>
                    <a:pt x="25953264" y="9608868"/>
                  </a:lnTo>
                  <a:lnTo>
                    <a:pt x="25972328" y="9604104"/>
                  </a:lnTo>
                  <a:lnTo>
                    <a:pt x="25981856" y="9637459"/>
                  </a:lnTo>
                  <a:lnTo>
                    <a:pt x="25977092" y="9694640"/>
                  </a:lnTo>
                  <a:lnTo>
                    <a:pt x="25981856" y="9694640"/>
                  </a:lnTo>
                  <a:lnTo>
                    <a:pt x="25986624" y="9689876"/>
                  </a:lnTo>
                  <a:lnTo>
                    <a:pt x="25991388" y="9675580"/>
                  </a:lnTo>
                  <a:lnTo>
                    <a:pt x="26000920" y="9666050"/>
                  </a:lnTo>
                  <a:lnTo>
                    <a:pt x="26010448" y="9642224"/>
                  </a:lnTo>
                  <a:lnTo>
                    <a:pt x="26019976" y="9618398"/>
                  </a:lnTo>
                  <a:lnTo>
                    <a:pt x="26010448" y="9594573"/>
                  </a:lnTo>
                  <a:lnTo>
                    <a:pt x="25996152" y="9585043"/>
                  </a:lnTo>
                  <a:lnTo>
                    <a:pt x="25967560" y="9575512"/>
                  </a:lnTo>
                  <a:lnTo>
                    <a:pt x="25958032" y="9561217"/>
                  </a:lnTo>
                  <a:lnTo>
                    <a:pt x="25948504" y="9537392"/>
                  </a:lnTo>
                  <a:lnTo>
                    <a:pt x="25962796" y="9532626"/>
                  </a:lnTo>
                  <a:lnTo>
                    <a:pt x="25977092" y="9518331"/>
                  </a:lnTo>
                  <a:lnTo>
                    <a:pt x="25986624" y="9480210"/>
                  </a:lnTo>
                  <a:lnTo>
                    <a:pt x="25981856" y="9461150"/>
                  </a:lnTo>
                  <a:lnTo>
                    <a:pt x="25981856" y="9442089"/>
                  </a:lnTo>
                  <a:lnTo>
                    <a:pt x="25972328" y="9413498"/>
                  </a:lnTo>
                  <a:lnTo>
                    <a:pt x="25962796" y="9399203"/>
                  </a:lnTo>
                  <a:lnTo>
                    <a:pt x="25943736" y="9394438"/>
                  </a:lnTo>
                  <a:lnTo>
                    <a:pt x="25934208" y="9375377"/>
                  </a:lnTo>
                  <a:lnTo>
                    <a:pt x="25919912" y="9380142"/>
                  </a:lnTo>
                  <a:lnTo>
                    <a:pt x="25905616" y="9375377"/>
                  </a:lnTo>
                  <a:lnTo>
                    <a:pt x="25900848" y="9365847"/>
                  </a:lnTo>
                  <a:lnTo>
                    <a:pt x="25900848" y="9356316"/>
                  </a:lnTo>
                  <a:lnTo>
                    <a:pt x="25915144" y="9351552"/>
                  </a:lnTo>
                  <a:lnTo>
                    <a:pt x="26005680" y="9351552"/>
                  </a:lnTo>
                  <a:lnTo>
                    <a:pt x="26034272" y="9337256"/>
                  </a:lnTo>
                  <a:lnTo>
                    <a:pt x="26048568" y="9342022"/>
                  </a:lnTo>
                  <a:lnTo>
                    <a:pt x="26062864" y="9351552"/>
                  </a:lnTo>
                  <a:lnTo>
                    <a:pt x="26120048" y="9365847"/>
                  </a:lnTo>
                  <a:lnTo>
                    <a:pt x="26115280" y="9370612"/>
                  </a:lnTo>
                  <a:lnTo>
                    <a:pt x="26105752" y="9380142"/>
                  </a:lnTo>
                  <a:lnTo>
                    <a:pt x="26091456" y="9413498"/>
                  </a:lnTo>
                  <a:lnTo>
                    <a:pt x="26086688" y="9427794"/>
                  </a:lnTo>
                  <a:lnTo>
                    <a:pt x="26086688" y="9451619"/>
                  </a:lnTo>
                  <a:lnTo>
                    <a:pt x="26100984" y="9456384"/>
                  </a:lnTo>
                  <a:lnTo>
                    <a:pt x="26115280" y="9446854"/>
                  </a:lnTo>
                  <a:lnTo>
                    <a:pt x="26110516" y="9427794"/>
                  </a:lnTo>
                  <a:lnTo>
                    <a:pt x="26105752" y="9403968"/>
                  </a:lnTo>
                  <a:lnTo>
                    <a:pt x="26110516" y="9394438"/>
                  </a:lnTo>
                  <a:lnTo>
                    <a:pt x="26120048" y="9394438"/>
                  </a:lnTo>
                  <a:lnTo>
                    <a:pt x="26134344" y="9408733"/>
                  </a:lnTo>
                  <a:lnTo>
                    <a:pt x="26148636" y="9418264"/>
                  </a:lnTo>
                  <a:lnTo>
                    <a:pt x="26196288" y="9423028"/>
                  </a:lnTo>
                  <a:lnTo>
                    <a:pt x="26210584" y="9423028"/>
                  </a:lnTo>
                  <a:lnTo>
                    <a:pt x="26215348" y="9413498"/>
                  </a:lnTo>
                  <a:lnTo>
                    <a:pt x="26205816" y="9403968"/>
                  </a:lnTo>
                  <a:lnTo>
                    <a:pt x="26143872" y="9380142"/>
                  </a:lnTo>
                  <a:lnTo>
                    <a:pt x="26139104" y="9365847"/>
                  </a:lnTo>
                  <a:lnTo>
                    <a:pt x="26201052" y="9384908"/>
                  </a:lnTo>
                  <a:lnTo>
                    <a:pt x="26229644" y="9394438"/>
                  </a:lnTo>
                  <a:lnTo>
                    <a:pt x="26253472" y="9408733"/>
                  </a:lnTo>
                  <a:lnTo>
                    <a:pt x="26291592" y="9403968"/>
                  </a:lnTo>
                  <a:lnTo>
                    <a:pt x="26329712" y="9423028"/>
                  </a:lnTo>
                  <a:lnTo>
                    <a:pt x="26363068" y="9465914"/>
                  </a:lnTo>
                  <a:lnTo>
                    <a:pt x="26396424" y="9523096"/>
                  </a:lnTo>
                  <a:lnTo>
                    <a:pt x="26429780" y="9556452"/>
                  </a:lnTo>
                  <a:lnTo>
                    <a:pt x="26467900" y="9580278"/>
                  </a:lnTo>
                  <a:lnTo>
                    <a:pt x="26525080" y="9646990"/>
                  </a:lnTo>
                  <a:lnTo>
                    <a:pt x="26529848" y="9651754"/>
                  </a:lnTo>
                  <a:lnTo>
                    <a:pt x="26534612" y="9661285"/>
                  </a:lnTo>
                  <a:lnTo>
                    <a:pt x="26525080" y="9670815"/>
                  </a:lnTo>
                  <a:lnTo>
                    <a:pt x="26515552" y="9689876"/>
                  </a:lnTo>
                  <a:lnTo>
                    <a:pt x="26534612" y="9675580"/>
                  </a:lnTo>
                  <a:lnTo>
                    <a:pt x="26553672" y="9670815"/>
                  </a:lnTo>
                  <a:lnTo>
                    <a:pt x="26563200" y="9670815"/>
                  </a:lnTo>
                  <a:lnTo>
                    <a:pt x="26572732" y="9680346"/>
                  </a:lnTo>
                  <a:lnTo>
                    <a:pt x="26577496" y="9694640"/>
                  </a:lnTo>
                  <a:lnTo>
                    <a:pt x="26582264" y="9708936"/>
                  </a:lnTo>
                  <a:lnTo>
                    <a:pt x="26572732" y="9718466"/>
                  </a:lnTo>
                  <a:lnTo>
                    <a:pt x="26629912" y="9723232"/>
                  </a:lnTo>
                  <a:lnTo>
                    <a:pt x="26644208" y="9727996"/>
                  </a:lnTo>
                  <a:lnTo>
                    <a:pt x="26653740" y="9761352"/>
                  </a:lnTo>
                  <a:lnTo>
                    <a:pt x="26634680" y="9785178"/>
                  </a:lnTo>
                  <a:lnTo>
                    <a:pt x="26629912" y="9780413"/>
                  </a:lnTo>
                  <a:lnTo>
                    <a:pt x="26620384" y="9775648"/>
                  </a:lnTo>
                  <a:lnTo>
                    <a:pt x="26610856" y="9770883"/>
                  </a:lnTo>
                  <a:lnTo>
                    <a:pt x="26587028" y="9780413"/>
                  </a:lnTo>
                  <a:lnTo>
                    <a:pt x="26548908" y="9813769"/>
                  </a:lnTo>
                  <a:lnTo>
                    <a:pt x="26525080" y="9837594"/>
                  </a:lnTo>
                  <a:lnTo>
                    <a:pt x="26520316" y="9851890"/>
                  </a:lnTo>
                  <a:lnTo>
                    <a:pt x="26525080" y="9894776"/>
                  </a:lnTo>
                  <a:lnTo>
                    <a:pt x="26525080" y="9913836"/>
                  </a:lnTo>
                  <a:lnTo>
                    <a:pt x="26506024" y="9928132"/>
                  </a:lnTo>
                  <a:lnTo>
                    <a:pt x="26472664" y="9923367"/>
                  </a:lnTo>
                  <a:lnTo>
                    <a:pt x="26453604" y="9913836"/>
                  </a:lnTo>
                  <a:lnTo>
                    <a:pt x="26434544" y="9899541"/>
                  </a:lnTo>
                  <a:lnTo>
                    <a:pt x="26420248" y="9885246"/>
                  </a:lnTo>
                  <a:lnTo>
                    <a:pt x="26396424" y="9861420"/>
                  </a:lnTo>
                  <a:lnTo>
                    <a:pt x="26386892" y="9856655"/>
                  </a:lnTo>
                  <a:lnTo>
                    <a:pt x="26382128" y="9861420"/>
                  </a:lnTo>
                  <a:lnTo>
                    <a:pt x="26391656" y="9880480"/>
                  </a:lnTo>
                  <a:lnTo>
                    <a:pt x="26405952" y="9899541"/>
                  </a:lnTo>
                  <a:lnTo>
                    <a:pt x="26434544" y="9928132"/>
                  </a:lnTo>
                  <a:lnTo>
                    <a:pt x="26444072" y="9956722"/>
                  </a:lnTo>
                  <a:lnTo>
                    <a:pt x="26439312" y="9971018"/>
                  </a:lnTo>
                  <a:lnTo>
                    <a:pt x="26429780" y="9975783"/>
                  </a:lnTo>
                  <a:lnTo>
                    <a:pt x="26420248" y="9975783"/>
                  </a:lnTo>
                  <a:lnTo>
                    <a:pt x="26396424" y="9966253"/>
                  </a:lnTo>
                  <a:lnTo>
                    <a:pt x="26382128" y="9961488"/>
                  </a:lnTo>
                  <a:lnTo>
                    <a:pt x="26329712" y="9971018"/>
                  </a:lnTo>
                  <a:lnTo>
                    <a:pt x="26310648" y="9975783"/>
                  </a:lnTo>
                  <a:lnTo>
                    <a:pt x="26305888" y="9971018"/>
                  </a:lnTo>
                  <a:lnTo>
                    <a:pt x="26305888" y="9961488"/>
                  </a:lnTo>
                  <a:lnTo>
                    <a:pt x="26277296" y="9951958"/>
                  </a:lnTo>
                  <a:lnTo>
                    <a:pt x="26263000" y="9947192"/>
                  </a:lnTo>
                  <a:lnTo>
                    <a:pt x="26253472" y="9942428"/>
                  </a:lnTo>
                  <a:lnTo>
                    <a:pt x="26248704" y="9932897"/>
                  </a:lnTo>
                  <a:lnTo>
                    <a:pt x="26229644" y="9909072"/>
                  </a:lnTo>
                  <a:lnTo>
                    <a:pt x="26201052" y="9904306"/>
                  </a:lnTo>
                  <a:lnTo>
                    <a:pt x="26186760" y="9904306"/>
                  </a:lnTo>
                  <a:lnTo>
                    <a:pt x="26177228" y="9904306"/>
                  </a:lnTo>
                  <a:lnTo>
                    <a:pt x="26210584" y="9932897"/>
                  </a:lnTo>
                  <a:lnTo>
                    <a:pt x="26243940" y="9975783"/>
                  </a:lnTo>
                  <a:lnTo>
                    <a:pt x="26239176" y="9985314"/>
                  </a:lnTo>
                  <a:lnTo>
                    <a:pt x="26234408" y="9994844"/>
                  </a:lnTo>
                  <a:lnTo>
                    <a:pt x="26248704" y="9994844"/>
                  </a:lnTo>
                  <a:lnTo>
                    <a:pt x="26263000" y="9990078"/>
                  </a:lnTo>
                  <a:lnTo>
                    <a:pt x="26263000" y="10004374"/>
                  </a:lnTo>
                  <a:lnTo>
                    <a:pt x="26258232" y="10047260"/>
                  </a:lnTo>
                  <a:lnTo>
                    <a:pt x="26248704" y="10061556"/>
                  </a:lnTo>
                  <a:lnTo>
                    <a:pt x="26196288" y="10071086"/>
                  </a:lnTo>
                  <a:lnTo>
                    <a:pt x="26210584" y="10075851"/>
                  </a:lnTo>
                  <a:lnTo>
                    <a:pt x="26224880" y="10080616"/>
                  </a:lnTo>
                  <a:lnTo>
                    <a:pt x="26239176" y="10075851"/>
                  </a:lnTo>
                  <a:lnTo>
                    <a:pt x="26253472" y="10085381"/>
                  </a:lnTo>
                  <a:lnTo>
                    <a:pt x="26263000" y="10113972"/>
                  </a:lnTo>
                  <a:lnTo>
                    <a:pt x="26263000" y="10142562"/>
                  </a:lnTo>
                  <a:lnTo>
                    <a:pt x="26253472" y="10161623"/>
                  </a:lnTo>
                  <a:lnTo>
                    <a:pt x="26234408" y="10175918"/>
                  </a:lnTo>
                  <a:lnTo>
                    <a:pt x="26205816" y="10194979"/>
                  </a:lnTo>
                  <a:lnTo>
                    <a:pt x="26172464" y="10204510"/>
                  </a:lnTo>
                  <a:lnTo>
                    <a:pt x="26158168" y="10204510"/>
                  </a:lnTo>
                  <a:lnTo>
                    <a:pt x="26143872" y="10209274"/>
                  </a:lnTo>
                  <a:lnTo>
                    <a:pt x="26129576" y="10218804"/>
                  </a:lnTo>
                  <a:lnTo>
                    <a:pt x="26129576" y="10228335"/>
                  </a:lnTo>
                  <a:lnTo>
                    <a:pt x="26143872" y="10223570"/>
                  </a:lnTo>
                  <a:lnTo>
                    <a:pt x="26158168" y="10228335"/>
                  </a:lnTo>
                  <a:lnTo>
                    <a:pt x="26172464" y="10237865"/>
                  </a:lnTo>
                  <a:lnTo>
                    <a:pt x="26172464" y="10247396"/>
                  </a:lnTo>
                  <a:lnTo>
                    <a:pt x="26158168" y="10261691"/>
                  </a:lnTo>
                  <a:lnTo>
                    <a:pt x="26153400" y="10271221"/>
                  </a:lnTo>
                  <a:lnTo>
                    <a:pt x="26158168" y="10285516"/>
                  </a:lnTo>
                  <a:lnTo>
                    <a:pt x="26158168" y="10299812"/>
                  </a:lnTo>
                  <a:lnTo>
                    <a:pt x="26162932" y="10304577"/>
                  </a:lnTo>
                  <a:lnTo>
                    <a:pt x="26181992" y="10309342"/>
                  </a:lnTo>
                  <a:lnTo>
                    <a:pt x="26201052" y="10318872"/>
                  </a:lnTo>
                  <a:lnTo>
                    <a:pt x="26220112" y="10328402"/>
                  </a:lnTo>
                  <a:lnTo>
                    <a:pt x="26229644" y="10337933"/>
                  </a:lnTo>
                  <a:lnTo>
                    <a:pt x="26239176" y="10352228"/>
                  </a:lnTo>
                  <a:lnTo>
                    <a:pt x="26239176" y="10371289"/>
                  </a:lnTo>
                  <a:lnTo>
                    <a:pt x="26234408" y="10376054"/>
                  </a:lnTo>
                  <a:lnTo>
                    <a:pt x="26191520" y="10376054"/>
                  </a:lnTo>
                  <a:lnTo>
                    <a:pt x="26181992" y="10376054"/>
                  </a:lnTo>
                  <a:lnTo>
                    <a:pt x="26181992" y="10361758"/>
                  </a:lnTo>
                  <a:lnTo>
                    <a:pt x="26177228" y="10347463"/>
                  </a:lnTo>
                  <a:lnTo>
                    <a:pt x="26158168" y="10333168"/>
                  </a:lnTo>
                  <a:lnTo>
                    <a:pt x="26148636" y="10342698"/>
                  </a:lnTo>
                  <a:lnTo>
                    <a:pt x="26153400" y="10390350"/>
                  </a:lnTo>
                  <a:lnTo>
                    <a:pt x="26148636" y="10409410"/>
                  </a:lnTo>
                  <a:lnTo>
                    <a:pt x="26139104" y="10418940"/>
                  </a:lnTo>
                  <a:lnTo>
                    <a:pt x="26120048" y="10423705"/>
                  </a:lnTo>
                  <a:lnTo>
                    <a:pt x="26100984" y="10418940"/>
                  </a:lnTo>
                  <a:lnTo>
                    <a:pt x="26081924" y="10399880"/>
                  </a:lnTo>
                  <a:lnTo>
                    <a:pt x="26081924" y="10376054"/>
                  </a:lnTo>
                  <a:lnTo>
                    <a:pt x="26091456" y="10366524"/>
                  </a:lnTo>
                  <a:lnTo>
                    <a:pt x="26091456" y="10347463"/>
                  </a:lnTo>
                  <a:lnTo>
                    <a:pt x="26091456" y="10328402"/>
                  </a:lnTo>
                  <a:lnTo>
                    <a:pt x="26081924" y="10352228"/>
                  </a:lnTo>
                  <a:lnTo>
                    <a:pt x="26067632" y="10371289"/>
                  </a:lnTo>
                  <a:lnTo>
                    <a:pt x="26048568" y="10395114"/>
                  </a:lnTo>
                  <a:lnTo>
                    <a:pt x="26039040" y="10395114"/>
                  </a:lnTo>
                  <a:lnTo>
                    <a:pt x="26029508" y="10395114"/>
                  </a:lnTo>
                  <a:lnTo>
                    <a:pt x="26000920" y="10376054"/>
                  </a:lnTo>
                  <a:lnTo>
                    <a:pt x="25986624" y="10361758"/>
                  </a:lnTo>
                  <a:lnTo>
                    <a:pt x="25953264" y="10318872"/>
                  </a:lnTo>
                  <a:lnTo>
                    <a:pt x="25934208" y="10295046"/>
                  </a:lnTo>
                  <a:lnTo>
                    <a:pt x="25896084" y="10266456"/>
                  </a:lnTo>
                  <a:lnTo>
                    <a:pt x="25857964" y="10242630"/>
                  </a:lnTo>
                  <a:lnTo>
                    <a:pt x="25824608" y="10228335"/>
                  </a:lnTo>
                  <a:lnTo>
                    <a:pt x="25805548" y="10233100"/>
                  </a:lnTo>
                  <a:lnTo>
                    <a:pt x="25791252" y="10237865"/>
                  </a:lnTo>
                  <a:lnTo>
                    <a:pt x="25767424" y="10233100"/>
                  </a:lnTo>
                  <a:lnTo>
                    <a:pt x="25762664" y="10228335"/>
                  </a:lnTo>
                  <a:lnTo>
                    <a:pt x="25753128" y="10218804"/>
                  </a:lnTo>
                  <a:lnTo>
                    <a:pt x="25748368" y="10209274"/>
                  </a:lnTo>
                  <a:lnTo>
                    <a:pt x="25719776" y="10180684"/>
                  </a:lnTo>
                  <a:lnTo>
                    <a:pt x="25695952" y="10156858"/>
                  </a:lnTo>
                  <a:lnTo>
                    <a:pt x="25695952" y="10142562"/>
                  </a:lnTo>
                  <a:lnTo>
                    <a:pt x="25700712" y="10123502"/>
                  </a:lnTo>
                  <a:lnTo>
                    <a:pt x="25695952" y="10075851"/>
                  </a:lnTo>
                  <a:lnTo>
                    <a:pt x="25686420" y="10032964"/>
                  </a:lnTo>
                  <a:lnTo>
                    <a:pt x="25657828" y="9985314"/>
                  </a:lnTo>
                  <a:lnTo>
                    <a:pt x="25586352" y="9956722"/>
                  </a:lnTo>
                  <a:lnTo>
                    <a:pt x="25529168" y="9937662"/>
                  </a:lnTo>
                  <a:lnTo>
                    <a:pt x="25510112" y="9932897"/>
                  </a:lnTo>
                  <a:lnTo>
                    <a:pt x="25491048" y="9937662"/>
                  </a:lnTo>
                  <a:lnTo>
                    <a:pt x="25438632" y="9975783"/>
                  </a:lnTo>
                  <a:lnTo>
                    <a:pt x="25410040" y="9980548"/>
                  </a:lnTo>
                  <a:lnTo>
                    <a:pt x="25314740" y="9980548"/>
                  </a:lnTo>
                  <a:lnTo>
                    <a:pt x="25295680" y="9975783"/>
                  </a:lnTo>
                  <a:lnTo>
                    <a:pt x="25281384" y="9961488"/>
                  </a:lnTo>
                  <a:lnTo>
                    <a:pt x="25281384" y="9937662"/>
                  </a:lnTo>
                  <a:lnTo>
                    <a:pt x="25281384" y="9899541"/>
                  </a:lnTo>
                  <a:lnTo>
                    <a:pt x="25281384" y="9885246"/>
                  </a:lnTo>
                  <a:lnTo>
                    <a:pt x="25281384" y="9880480"/>
                  </a:lnTo>
                  <a:lnTo>
                    <a:pt x="25271856" y="9880480"/>
                  </a:lnTo>
                  <a:lnTo>
                    <a:pt x="25257560" y="9861420"/>
                  </a:lnTo>
                  <a:lnTo>
                    <a:pt x="25238496" y="9837594"/>
                  </a:lnTo>
                  <a:lnTo>
                    <a:pt x="25224200" y="9809004"/>
                  </a:lnTo>
                  <a:lnTo>
                    <a:pt x="25214672" y="9770883"/>
                  </a:lnTo>
                  <a:lnTo>
                    <a:pt x="25228968" y="9770883"/>
                  </a:lnTo>
                  <a:lnTo>
                    <a:pt x="25243264" y="9780413"/>
                  </a:lnTo>
                  <a:lnTo>
                    <a:pt x="25248028" y="9770883"/>
                  </a:lnTo>
                  <a:lnTo>
                    <a:pt x="25252792" y="9737527"/>
                  </a:lnTo>
                  <a:lnTo>
                    <a:pt x="25267088" y="9723232"/>
                  </a:lnTo>
                  <a:lnTo>
                    <a:pt x="25267088" y="9708936"/>
                  </a:lnTo>
                  <a:lnTo>
                    <a:pt x="25276616" y="9661285"/>
                  </a:lnTo>
                  <a:lnTo>
                    <a:pt x="25281384" y="9627929"/>
                  </a:lnTo>
                  <a:lnTo>
                    <a:pt x="25267088" y="9646990"/>
                  </a:lnTo>
                  <a:lnTo>
                    <a:pt x="25243264" y="9694640"/>
                  </a:lnTo>
                  <a:lnTo>
                    <a:pt x="25233732" y="9708936"/>
                  </a:lnTo>
                  <a:lnTo>
                    <a:pt x="25224200" y="9713701"/>
                  </a:lnTo>
                  <a:lnTo>
                    <a:pt x="25219436" y="9713701"/>
                  </a:lnTo>
                  <a:lnTo>
                    <a:pt x="25200376" y="9704171"/>
                  </a:lnTo>
                  <a:lnTo>
                    <a:pt x="25186080" y="9694640"/>
                  </a:lnTo>
                  <a:lnTo>
                    <a:pt x="25186080" y="9651754"/>
                  </a:lnTo>
                  <a:lnTo>
                    <a:pt x="25181316" y="9642224"/>
                  </a:lnTo>
                  <a:lnTo>
                    <a:pt x="25176552" y="9646990"/>
                  </a:lnTo>
                  <a:lnTo>
                    <a:pt x="25176552" y="9666050"/>
                  </a:lnTo>
                  <a:lnTo>
                    <a:pt x="25157488" y="9666050"/>
                  </a:lnTo>
                  <a:lnTo>
                    <a:pt x="25152724" y="9675580"/>
                  </a:lnTo>
                  <a:lnTo>
                    <a:pt x="25157488" y="9699406"/>
                  </a:lnTo>
                  <a:lnTo>
                    <a:pt x="25152724" y="9723232"/>
                  </a:lnTo>
                  <a:lnTo>
                    <a:pt x="25138432" y="9732762"/>
                  </a:lnTo>
                  <a:lnTo>
                    <a:pt x="25109840" y="9737527"/>
                  </a:lnTo>
                  <a:lnTo>
                    <a:pt x="25100308" y="9713701"/>
                  </a:lnTo>
                  <a:lnTo>
                    <a:pt x="25090776" y="9742292"/>
                  </a:lnTo>
                  <a:lnTo>
                    <a:pt x="25081248" y="9780413"/>
                  </a:lnTo>
                  <a:lnTo>
                    <a:pt x="25081248" y="9823299"/>
                  </a:lnTo>
                  <a:lnTo>
                    <a:pt x="25090776" y="9861420"/>
                  </a:lnTo>
                  <a:lnTo>
                    <a:pt x="25105072" y="9875716"/>
                  </a:lnTo>
                  <a:lnTo>
                    <a:pt x="25133664" y="9904306"/>
                  </a:lnTo>
                  <a:lnTo>
                    <a:pt x="25147960" y="9923367"/>
                  </a:lnTo>
                  <a:lnTo>
                    <a:pt x="25152724" y="9947192"/>
                  </a:lnTo>
                  <a:lnTo>
                    <a:pt x="25147960" y="9971018"/>
                  </a:lnTo>
                  <a:lnTo>
                    <a:pt x="25133664" y="9994844"/>
                  </a:lnTo>
                  <a:lnTo>
                    <a:pt x="25124136" y="10018670"/>
                  </a:lnTo>
                  <a:lnTo>
                    <a:pt x="25105072" y="10071086"/>
                  </a:lnTo>
                  <a:lnTo>
                    <a:pt x="25095544" y="10090146"/>
                  </a:lnTo>
                  <a:lnTo>
                    <a:pt x="25047892" y="10137798"/>
                  </a:lnTo>
                  <a:lnTo>
                    <a:pt x="25024064" y="10147328"/>
                  </a:lnTo>
                  <a:lnTo>
                    <a:pt x="24995476" y="10190214"/>
                  </a:lnTo>
                  <a:lnTo>
                    <a:pt x="24962120" y="10228335"/>
                  </a:lnTo>
                  <a:lnTo>
                    <a:pt x="24914468" y="10242630"/>
                  </a:lnTo>
                  <a:lnTo>
                    <a:pt x="24847756" y="10295046"/>
                  </a:lnTo>
                  <a:lnTo>
                    <a:pt x="24819168" y="10309342"/>
                  </a:lnTo>
                  <a:lnTo>
                    <a:pt x="24781044" y="10280752"/>
                  </a:lnTo>
                  <a:lnTo>
                    <a:pt x="24695272" y="10266456"/>
                  </a:lnTo>
                  <a:lnTo>
                    <a:pt x="24671448" y="10242630"/>
                  </a:lnTo>
                  <a:lnTo>
                    <a:pt x="24633328" y="10185449"/>
                  </a:lnTo>
                  <a:lnTo>
                    <a:pt x="24619032" y="10180684"/>
                  </a:lnTo>
                  <a:lnTo>
                    <a:pt x="24609500" y="10156858"/>
                  </a:lnTo>
                  <a:lnTo>
                    <a:pt x="24561848" y="10133032"/>
                  </a:lnTo>
                  <a:lnTo>
                    <a:pt x="24523728" y="10147328"/>
                  </a:lnTo>
                  <a:lnTo>
                    <a:pt x="24490372" y="10133032"/>
                  </a:lnTo>
                  <a:lnTo>
                    <a:pt x="24476076" y="10142562"/>
                  </a:lnTo>
                  <a:lnTo>
                    <a:pt x="24495136" y="10152093"/>
                  </a:lnTo>
                  <a:lnTo>
                    <a:pt x="24523728" y="10161623"/>
                  </a:lnTo>
                  <a:lnTo>
                    <a:pt x="24571380" y="10156858"/>
                  </a:lnTo>
                  <a:lnTo>
                    <a:pt x="24585672" y="10161623"/>
                  </a:lnTo>
                  <a:lnTo>
                    <a:pt x="24599968" y="10180684"/>
                  </a:lnTo>
                  <a:lnTo>
                    <a:pt x="24614264" y="10214040"/>
                  </a:lnTo>
                  <a:lnTo>
                    <a:pt x="24604736" y="10233100"/>
                  </a:lnTo>
                  <a:lnTo>
                    <a:pt x="24590440" y="10242630"/>
                  </a:lnTo>
                  <a:lnTo>
                    <a:pt x="24552320" y="10218804"/>
                  </a:lnTo>
                  <a:lnTo>
                    <a:pt x="24509432" y="10218804"/>
                  </a:lnTo>
                  <a:lnTo>
                    <a:pt x="24490372" y="10214040"/>
                  </a:lnTo>
                  <a:lnTo>
                    <a:pt x="24433192" y="10175918"/>
                  </a:lnTo>
                  <a:lnTo>
                    <a:pt x="24390304" y="10218804"/>
                  </a:lnTo>
                  <a:lnTo>
                    <a:pt x="24328360" y="10242630"/>
                  </a:lnTo>
                  <a:lnTo>
                    <a:pt x="24285472" y="10242630"/>
                  </a:lnTo>
                  <a:lnTo>
                    <a:pt x="24199700" y="10275986"/>
                  </a:lnTo>
                  <a:lnTo>
                    <a:pt x="24218760" y="10280752"/>
                  </a:lnTo>
                  <a:lnTo>
                    <a:pt x="24280704" y="10256926"/>
                  </a:lnTo>
                  <a:lnTo>
                    <a:pt x="24318828" y="10256926"/>
                  </a:lnTo>
                  <a:lnTo>
                    <a:pt x="24376008" y="10242630"/>
                  </a:lnTo>
                  <a:lnTo>
                    <a:pt x="24399832" y="10228335"/>
                  </a:lnTo>
                  <a:lnTo>
                    <a:pt x="24414128" y="10209274"/>
                  </a:lnTo>
                  <a:lnTo>
                    <a:pt x="24433192" y="10194979"/>
                  </a:lnTo>
                  <a:lnTo>
                    <a:pt x="24452252" y="10204510"/>
                  </a:lnTo>
                  <a:lnTo>
                    <a:pt x="24461784" y="10218804"/>
                  </a:lnTo>
                  <a:lnTo>
                    <a:pt x="24471312" y="10242630"/>
                  </a:lnTo>
                  <a:lnTo>
                    <a:pt x="24480840" y="10271221"/>
                  </a:lnTo>
                  <a:lnTo>
                    <a:pt x="24466544" y="10285516"/>
                  </a:lnTo>
                  <a:lnTo>
                    <a:pt x="24457016" y="10295046"/>
                  </a:lnTo>
                  <a:lnTo>
                    <a:pt x="24447488" y="10314107"/>
                  </a:lnTo>
                  <a:lnTo>
                    <a:pt x="24504668" y="10280752"/>
                  </a:lnTo>
                  <a:lnTo>
                    <a:pt x="24538024" y="10299812"/>
                  </a:lnTo>
                  <a:lnTo>
                    <a:pt x="24557084" y="10295046"/>
                  </a:lnTo>
                  <a:lnTo>
                    <a:pt x="24585672" y="10266456"/>
                  </a:lnTo>
                  <a:lnTo>
                    <a:pt x="24642856" y="10247396"/>
                  </a:lnTo>
                  <a:lnTo>
                    <a:pt x="24647624" y="10247396"/>
                  </a:lnTo>
                  <a:lnTo>
                    <a:pt x="24652384" y="10256926"/>
                  </a:lnTo>
                  <a:lnTo>
                    <a:pt x="24642856" y="10318872"/>
                  </a:lnTo>
                  <a:lnTo>
                    <a:pt x="24647624" y="10366524"/>
                  </a:lnTo>
                  <a:lnTo>
                    <a:pt x="24685744" y="10414175"/>
                  </a:lnTo>
                  <a:lnTo>
                    <a:pt x="24728628" y="10442766"/>
                  </a:lnTo>
                  <a:lnTo>
                    <a:pt x="24742924" y="10447531"/>
                  </a:lnTo>
                  <a:lnTo>
                    <a:pt x="24757220" y="10442766"/>
                  </a:lnTo>
                  <a:lnTo>
                    <a:pt x="24761984" y="10414175"/>
                  </a:lnTo>
                  <a:lnTo>
                    <a:pt x="24771512" y="10395114"/>
                  </a:lnTo>
                  <a:lnTo>
                    <a:pt x="24785808" y="10409410"/>
                  </a:lnTo>
                  <a:lnTo>
                    <a:pt x="24795340" y="10433236"/>
                  </a:lnTo>
                  <a:lnTo>
                    <a:pt x="24809636" y="10480886"/>
                  </a:lnTo>
                  <a:lnTo>
                    <a:pt x="24809636" y="10490417"/>
                  </a:lnTo>
                  <a:lnTo>
                    <a:pt x="24804872" y="10519008"/>
                  </a:lnTo>
                  <a:lnTo>
                    <a:pt x="24819168" y="10533303"/>
                  </a:lnTo>
                  <a:lnTo>
                    <a:pt x="24838224" y="10538068"/>
                  </a:lnTo>
                  <a:lnTo>
                    <a:pt x="24842992" y="10580954"/>
                  </a:lnTo>
                  <a:lnTo>
                    <a:pt x="24852520" y="10642901"/>
                  </a:lnTo>
                  <a:lnTo>
                    <a:pt x="24842992" y="10647666"/>
                  </a:lnTo>
                  <a:lnTo>
                    <a:pt x="24833464" y="10647666"/>
                  </a:lnTo>
                  <a:lnTo>
                    <a:pt x="24804872" y="10661962"/>
                  </a:lnTo>
                  <a:lnTo>
                    <a:pt x="24809636" y="10676257"/>
                  </a:lnTo>
                  <a:lnTo>
                    <a:pt x="24838224" y="10681022"/>
                  </a:lnTo>
                  <a:lnTo>
                    <a:pt x="24847756" y="10695318"/>
                  </a:lnTo>
                  <a:lnTo>
                    <a:pt x="24842992" y="10723908"/>
                  </a:lnTo>
                  <a:lnTo>
                    <a:pt x="24842992" y="10733438"/>
                  </a:lnTo>
                  <a:lnTo>
                    <a:pt x="24852520" y="10738204"/>
                  </a:lnTo>
                  <a:lnTo>
                    <a:pt x="24857288" y="10719143"/>
                  </a:lnTo>
                  <a:lnTo>
                    <a:pt x="24857288" y="10695318"/>
                  </a:lnTo>
                  <a:lnTo>
                    <a:pt x="24862052" y="10685787"/>
                  </a:lnTo>
                  <a:lnTo>
                    <a:pt x="24881112" y="10738204"/>
                  </a:lnTo>
                  <a:lnTo>
                    <a:pt x="24881112" y="10757264"/>
                  </a:lnTo>
                  <a:lnTo>
                    <a:pt x="24895408" y="10776324"/>
                  </a:lnTo>
                  <a:lnTo>
                    <a:pt x="24943060" y="10809680"/>
                  </a:lnTo>
                  <a:lnTo>
                    <a:pt x="24952592" y="10823976"/>
                  </a:lnTo>
                  <a:lnTo>
                    <a:pt x="24957352" y="10847802"/>
                  </a:lnTo>
                  <a:lnTo>
                    <a:pt x="24943060" y="10852566"/>
                  </a:lnTo>
                  <a:lnTo>
                    <a:pt x="24933528" y="10871627"/>
                  </a:lnTo>
                  <a:lnTo>
                    <a:pt x="24938296" y="10895452"/>
                  </a:lnTo>
                  <a:lnTo>
                    <a:pt x="24952592" y="10914513"/>
                  </a:lnTo>
                  <a:lnTo>
                    <a:pt x="24971648" y="10919278"/>
                  </a:lnTo>
                  <a:lnTo>
                    <a:pt x="24981180" y="10952634"/>
                  </a:lnTo>
                  <a:lnTo>
                    <a:pt x="24981180" y="10981225"/>
                  </a:lnTo>
                  <a:lnTo>
                    <a:pt x="24966884" y="11005050"/>
                  </a:lnTo>
                  <a:lnTo>
                    <a:pt x="24938296" y="11043172"/>
                  </a:lnTo>
                  <a:lnTo>
                    <a:pt x="24919232" y="11057467"/>
                  </a:lnTo>
                  <a:lnTo>
                    <a:pt x="24914468" y="11081292"/>
                  </a:lnTo>
                  <a:lnTo>
                    <a:pt x="24909704" y="11105118"/>
                  </a:lnTo>
                  <a:lnTo>
                    <a:pt x="24900176" y="11105118"/>
                  </a:lnTo>
                  <a:lnTo>
                    <a:pt x="24885880" y="11095588"/>
                  </a:lnTo>
                  <a:lnTo>
                    <a:pt x="24738160" y="11028876"/>
                  </a:lnTo>
                  <a:lnTo>
                    <a:pt x="24685744" y="11019346"/>
                  </a:lnTo>
                  <a:lnTo>
                    <a:pt x="24633328" y="11014581"/>
                  </a:lnTo>
                  <a:lnTo>
                    <a:pt x="24623796" y="11009816"/>
                  </a:lnTo>
                  <a:lnTo>
                    <a:pt x="24623796" y="10995520"/>
                  </a:lnTo>
                  <a:lnTo>
                    <a:pt x="24628560" y="10981225"/>
                  </a:lnTo>
                  <a:lnTo>
                    <a:pt x="24638092" y="10966930"/>
                  </a:lnTo>
                  <a:lnTo>
                    <a:pt x="24633328" y="10947869"/>
                  </a:lnTo>
                  <a:lnTo>
                    <a:pt x="24628560" y="10947869"/>
                  </a:lnTo>
                  <a:lnTo>
                    <a:pt x="24619032" y="10962164"/>
                  </a:lnTo>
                  <a:lnTo>
                    <a:pt x="24609500" y="10962164"/>
                  </a:lnTo>
                  <a:lnTo>
                    <a:pt x="24595204" y="10947869"/>
                  </a:lnTo>
                  <a:lnTo>
                    <a:pt x="24585672" y="10952634"/>
                  </a:lnTo>
                  <a:lnTo>
                    <a:pt x="24580912" y="10971695"/>
                  </a:lnTo>
                  <a:lnTo>
                    <a:pt x="24576144" y="10981225"/>
                  </a:lnTo>
                  <a:lnTo>
                    <a:pt x="24576144" y="10990756"/>
                  </a:lnTo>
                  <a:lnTo>
                    <a:pt x="24580912" y="11000286"/>
                  </a:lnTo>
                  <a:lnTo>
                    <a:pt x="24609500" y="11014581"/>
                  </a:lnTo>
                  <a:lnTo>
                    <a:pt x="24604736" y="11024111"/>
                  </a:lnTo>
                  <a:lnTo>
                    <a:pt x="24566616" y="11033642"/>
                  </a:lnTo>
                  <a:lnTo>
                    <a:pt x="24533256" y="11043172"/>
                  </a:lnTo>
                  <a:lnTo>
                    <a:pt x="24490372" y="11076528"/>
                  </a:lnTo>
                  <a:lnTo>
                    <a:pt x="24476076" y="11095588"/>
                  </a:lnTo>
                  <a:lnTo>
                    <a:pt x="24361712" y="11152770"/>
                  </a:lnTo>
                  <a:lnTo>
                    <a:pt x="24337888" y="11171830"/>
                  </a:lnTo>
                  <a:lnTo>
                    <a:pt x="24323592" y="11171830"/>
                  </a:lnTo>
                  <a:lnTo>
                    <a:pt x="24309296" y="11181360"/>
                  </a:lnTo>
                  <a:lnTo>
                    <a:pt x="24299768" y="11200421"/>
                  </a:lnTo>
                  <a:lnTo>
                    <a:pt x="24237820" y="11233776"/>
                  </a:lnTo>
                  <a:lnTo>
                    <a:pt x="24223528" y="11229012"/>
                  </a:lnTo>
                  <a:lnTo>
                    <a:pt x="24209232" y="11257602"/>
                  </a:lnTo>
                  <a:lnTo>
                    <a:pt x="24190168" y="11271898"/>
                  </a:lnTo>
                  <a:lnTo>
                    <a:pt x="24156816" y="11271898"/>
                  </a:lnTo>
                  <a:lnTo>
                    <a:pt x="24132988" y="11281428"/>
                  </a:lnTo>
                  <a:lnTo>
                    <a:pt x="24085336" y="11319549"/>
                  </a:lnTo>
                  <a:lnTo>
                    <a:pt x="24051980" y="11305254"/>
                  </a:lnTo>
                  <a:lnTo>
                    <a:pt x="24013860" y="11357670"/>
                  </a:lnTo>
                  <a:lnTo>
                    <a:pt x="23975736" y="11410086"/>
                  </a:lnTo>
                  <a:lnTo>
                    <a:pt x="23966208" y="11410086"/>
                  </a:lnTo>
                  <a:lnTo>
                    <a:pt x="23932852" y="11386261"/>
                  </a:lnTo>
                  <a:lnTo>
                    <a:pt x="23923320" y="11400556"/>
                  </a:lnTo>
                  <a:lnTo>
                    <a:pt x="23928088" y="11419616"/>
                  </a:lnTo>
                  <a:lnTo>
                    <a:pt x="23942384" y="11438677"/>
                  </a:lnTo>
                  <a:lnTo>
                    <a:pt x="23932852" y="11443442"/>
                  </a:lnTo>
                  <a:lnTo>
                    <a:pt x="23923320" y="11438677"/>
                  </a:lnTo>
                  <a:lnTo>
                    <a:pt x="23913792" y="11438677"/>
                  </a:lnTo>
                  <a:lnTo>
                    <a:pt x="23909024" y="11443442"/>
                  </a:lnTo>
                  <a:lnTo>
                    <a:pt x="23909024" y="11457738"/>
                  </a:lnTo>
                  <a:lnTo>
                    <a:pt x="23889968" y="11476798"/>
                  </a:lnTo>
                  <a:lnTo>
                    <a:pt x="23875672" y="11481564"/>
                  </a:lnTo>
                  <a:lnTo>
                    <a:pt x="23861376" y="11486328"/>
                  </a:lnTo>
                  <a:lnTo>
                    <a:pt x="23856608" y="11500624"/>
                  </a:lnTo>
                  <a:lnTo>
                    <a:pt x="23861376" y="11519684"/>
                  </a:lnTo>
                  <a:lnTo>
                    <a:pt x="23832784" y="11538745"/>
                  </a:lnTo>
                  <a:lnTo>
                    <a:pt x="23808960" y="11567336"/>
                  </a:lnTo>
                  <a:lnTo>
                    <a:pt x="23799428" y="11572101"/>
                  </a:lnTo>
                  <a:lnTo>
                    <a:pt x="23785136" y="11581631"/>
                  </a:lnTo>
                  <a:lnTo>
                    <a:pt x="23770840" y="11591162"/>
                  </a:lnTo>
                  <a:lnTo>
                    <a:pt x="23756544" y="11591162"/>
                  </a:lnTo>
                  <a:lnTo>
                    <a:pt x="23718424" y="11629282"/>
                  </a:lnTo>
                  <a:lnTo>
                    <a:pt x="23637416" y="11691229"/>
                  </a:lnTo>
                  <a:lnTo>
                    <a:pt x="23613588" y="11700759"/>
                  </a:lnTo>
                  <a:lnTo>
                    <a:pt x="23580232" y="11719820"/>
                  </a:lnTo>
                  <a:lnTo>
                    <a:pt x="23580232" y="11734115"/>
                  </a:lnTo>
                  <a:lnTo>
                    <a:pt x="23580232" y="11748410"/>
                  </a:lnTo>
                  <a:lnTo>
                    <a:pt x="23565936" y="11777001"/>
                  </a:lnTo>
                  <a:lnTo>
                    <a:pt x="23551640" y="11843713"/>
                  </a:lnTo>
                  <a:lnTo>
                    <a:pt x="23546876" y="11853244"/>
                  </a:lnTo>
                  <a:lnTo>
                    <a:pt x="23542112" y="11867538"/>
                  </a:lnTo>
                  <a:lnTo>
                    <a:pt x="23508756" y="11862774"/>
                  </a:lnTo>
                  <a:lnTo>
                    <a:pt x="23484928" y="11834183"/>
                  </a:lnTo>
                  <a:lnTo>
                    <a:pt x="23475400" y="11824652"/>
                  </a:lnTo>
                  <a:lnTo>
                    <a:pt x="23470632" y="11810357"/>
                  </a:lnTo>
                  <a:lnTo>
                    <a:pt x="23470632" y="11791296"/>
                  </a:lnTo>
                  <a:lnTo>
                    <a:pt x="23465872" y="11777001"/>
                  </a:lnTo>
                  <a:lnTo>
                    <a:pt x="23456340" y="11772236"/>
                  </a:lnTo>
                  <a:lnTo>
                    <a:pt x="23427748" y="11719820"/>
                  </a:lnTo>
                  <a:lnTo>
                    <a:pt x="23375332" y="11681698"/>
                  </a:lnTo>
                  <a:lnTo>
                    <a:pt x="23365800" y="11672168"/>
                  </a:lnTo>
                  <a:lnTo>
                    <a:pt x="23299088" y="11681698"/>
                  </a:lnTo>
                  <a:lnTo>
                    <a:pt x="23280032" y="11681698"/>
                  </a:lnTo>
                  <a:lnTo>
                    <a:pt x="23246672" y="11672168"/>
                  </a:lnTo>
                  <a:lnTo>
                    <a:pt x="23194256" y="11676934"/>
                  </a:lnTo>
                  <a:lnTo>
                    <a:pt x="23132312" y="11695994"/>
                  </a:lnTo>
                  <a:lnTo>
                    <a:pt x="23118016" y="11710290"/>
                  </a:lnTo>
                  <a:lnTo>
                    <a:pt x="23051304" y="11729350"/>
                  </a:lnTo>
                  <a:lnTo>
                    <a:pt x="23013184" y="11762706"/>
                  </a:lnTo>
                  <a:lnTo>
                    <a:pt x="22932176" y="11872304"/>
                  </a:lnTo>
                  <a:lnTo>
                    <a:pt x="22913112" y="11896130"/>
                  </a:lnTo>
                  <a:lnTo>
                    <a:pt x="22903584" y="11900894"/>
                  </a:lnTo>
                  <a:lnTo>
                    <a:pt x="22889288" y="11905660"/>
                  </a:lnTo>
                  <a:lnTo>
                    <a:pt x="22884524" y="11881834"/>
                  </a:lnTo>
                  <a:lnTo>
                    <a:pt x="22884524" y="11862774"/>
                  </a:lnTo>
                  <a:lnTo>
                    <a:pt x="22889288" y="11829418"/>
                  </a:lnTo>
                  <a:lnTo>
                    <a:pt x="22898820" y="11800827"/>
                  </a:lnTo>
                  <a:lnTo>
                    <a:pt x="22908352" y="11748410"/>
                  </a:lnTo>
                  <a:lnTo>
                    <a:pt x="22908352" y="11729350"/>
                  </a:lnTo>
                  <a:lnTo>
                    <a:pt x="22917880" y="11705524"/>
                  </a:lnTo>
                  <a:lnTo>
                    <a:pt x="22889288" y="11705524"/>
                  </a:lnTo>
                  <a:lnTo>
                    <a:pt x="22851168" y="11743646"/>
                  </a:lnTo>
                  <a:lnTo>
                    <a:pt x="22798752" y="11781766"/>
                  </a:lnTo>
                  <a:lnTo>
                    <a:pt x="22770160" y="11791296"/>
                  </a:lnTo>
                  <a:lnTo>
                    <a:pt x="22751100" y="11815122"/>
                  </a:lnTo>
                  <a:lnTo>
                    <a:pt x="22736808" y="11819888"/>
                  </a:lnTo>
                  <a:lnTo>
                    <a:pt x="22717744" y="11829418"/>
                  </a:lnTo>
                  <a:lnTo>
                    <a:pt x="22717744" y="11872304"/>
                  </a:lnTo>
                  <a:lnTo>
                    <a:pt x="22708216" y="11900894"/>
                  </a:lnTo>
                  <a:lnTo>
                    <a:pt x="22698684" y="11905660"/>
                  </a:lnTo>
                  <a:lnTo>
                    <a:pt x="22684388" y="11905660"/>
                  </a:lnTo>
                  <a:lnTo>
                    <a:pt x="22670096" y="11896130"/>
                  </a:lnTo>
                  <a:lnTo>
                    <a:pt x="22655800" y="11858008"/>
                  </a:lnTo>
                  <a:lnTo>
                    <a:pt x="22631972" y="11838948"/>
                  </a:lnTo>
                  <a:lnTo>
                    <a:pt x="22617680" y="11834183"/>
                  </a:lnTo>
                  <a:lnTo>
                    <a:pt x="22608144" y="11838948"/>
                  </a:lnTo>
                  <a:lnTo>
                    <a:pt x="22589088" y="11867538"/>
                  </a:lnTo>
                  <a:lnTo>
                    <a:pt x="22565260" y="11891364"/>
                  </a:lnTo>
                  <a:lnTo>
                    <a:pt x="22570024" y="11862774"/>
                  </a:lnTo>
                  <a:lnTo>
                    <a:pt x="22550968" y="11853244"/>
                  </a:lnTo>
                  <a:lnTo>
                    <a:pt x="22536672" y="11848478"/>
                  </a:lnTo>
                  <a:lnTo>
                    <a:pt x="22517608" y="11843713"/>
                  </a:lnTo>
                  <a:lnTo>
                    <a:pt x="22508080" y="11848478"/>
                  </a:lnTo>
                  <a:lnTo>
                    <a:pt x="22503312" y="11862774"/>
                  </a:lnTo>
                  <a:lnTo>
                    <a:pt x="22484256" y="11881834"/>
                  </a:lnTo>
                  <a:lnTo>
                    <a:pt x="22469960" y="11891364"/>
                  </a:lnTo>
                  <a:lnTo>
                    <a:pt x="22455664" y="11910425"/>
                  </a:lnTo>
                  <a:lnTo>
                    <a:pt x="22450896" y="11924720"/>
                  </a:lnTo>
                  <a:lnTo>
                    <a:pt x="22441368" y="11948546"/>
                  </a:lnTo>
                  <a:lnTo>
                    <a:pt x="22436600" y="12005728"/>
                  </a:lnTo>
                  <a:lnTo>
                    <a:pt x="22436600" y="12072439"/>
                  </a:lnTo>
                  <a:lnTo>
                    <a:pt x="22408012" y="12124855"/>
                  </a:lnTo>
                  <a:lnTo>
                    <a:pt x="22393716" y="12120090"/>
                  </a:lnTo>
                  <a:lnTo>
                    <a:pt x="22388952" y="12124855"/>
                  </a:lnTo>
                  <a:lnTo>
                    <a:pt x="22384184" y="12129621"/>
                  </a:lnTo>
                  <a:lnTo>
                    <a:pt x="22393716" y="12158211"/>
                  </a:lnTo>
                  <a:lnTo>
                    <a:pt x="22388952" y="12167742"/>
                  </a:lnTo>
                  <a:lnTo>
                    <a:pt x="22384184" y="12177272"/>
                  </a:lnTo>
                  <a:lnTo>
                    <a:pt x="22369888" y="12182037"/>
                  </a:lnTo>
                  <a:lnTo>
                    <a:pt x="22336536" y="12224923"/>
                  </a:lnTo>
                  <a:lnTo>
                    <a:pt x="22307944" y="12253514"/>
                  </a:lnTo>
                  <a:lnTo>
                    <a:pt x="22260292" y="12329756"/>
                  </a:lnTo>
                  <a:lnTo>
                    <a:pt x="22246000" y="12382172"/>
                  </a:lnTo>
                  <a:lnTo>
                    <a:pt x="22231704" y="12439354"/>
                  </a:lnTo>
                  <a:lnTo>
                    <a:pt x="22236464" y="12467945"/>
                  </a:lnTo>
                  <a:lnTo>
                    <a:pt x="22246000" y="12487005"/>
                  </a:lnTo>
                  <a:lnTo>
                    <a:pt x="22250760" y="12501301"/>
                  </a:lnTo>
                  <a:lnTo>
                    <a:pt x="22269824" y="12515596"/>
                  </a:lnTo>
                  <a:lnTo>
                    <a:pt x="22303176" y="12529891"/>
                  </a:lnTo>
                  <a:lnTo>
                    <a:pt x="22298416" y="12539422"/>
                  </a:lnTo>
                  <a:lnTo>
                    <a:pt x="22298416" y="12548952"/>
                  </a:lnTo>
                  <a:lnTo>
                    <a:pt x="22307944" y="12534656"/>
                  </a:lnTo>
                  <a:lnTo>
                    <a:pt x="22317472" y="12491770"/>
                  </a:lnTo>
                  <a:lnTo>
                    <a:pt x="22341300" y="12477475"/>
                  </a:lnTo>
                  <a:lnTo>
                    <a:pt x="22350832" y="12482240"/>
                  </a:lnTo>
                  <a:lnTo>
                    <a:pt x="22417544" y="12510831"/>
                  </a:lnTo>
                  <a:lnTo>
                    <a:pt x="22427072" y="12525126"/>
                  </a:lnTo>
                  <a:lnTo>
                    <a:pt x="22427072" y="12558482"/>
                  </a:lnTo>
                  <a:lnTo>
                    <a:pt x="22422304" y="12572777"/>
                  </a:lnTo>
                  <a:lnTo>
                    <a:pt x="22408012" y="12591838"/>
                  </a:lnTo>
                  <a:lnTo>
                    <a:pt x="22388952" y="12615664"/>
                  </a:lnTo>
                  <a:lnTo>
                    <a:pt x="22360360" y="12653785"/>
                  </a:lnTo>
                  <a:lnTo>
                    <a:pt x="22355596" y="12672845"/>
                  </a:lnTo>
                  <a:lnTo>
                    <a:pt x="22355596" y="12687140"/>
                  </a:lnTo>
                  <a:lnTo>
                    <a:pt x="22365128" y="12725262"/>
                  </a:lnTo>
                  <a:lnTo>
                    <a:pt x="22365128" y="12749087"/>
                  </a:lnTo>
                  <a:lnTo>
                    <a:pt x="22360360" y="12791973"/>
                  </a:lnTo>
                  <a:lnTo>
                    <a:pt x="22365128" y="12811034"/>
                  </a:lnTo>
                  <a:lnTo>
                    <a:pt x="22369888" y="12825329"/>
                  </a:lnTo>
                  <a:lnTo>
                    <a:pt x="22379420" y="12834859"/>
                  </a:lnTo>
                  <a:lnTo>
                    <a:pt x="22403248" y="12830094"/>
                  </a:lnTo>
                  <a:lnTo>
                    <a:pt x="22417544" y="12834859"/>
                  </a:lnTo>
                  <a:lnTo>
                    <a:pt x="22431840" y="12844390"/>
                  </a:lnTo>
                  <a:lnTo>
                    <a:pt x="22431840" y="12877746"/>
                  </a:lnTo>
                  <a:lnTo>
                    <a:pt x="22441368" y="12911101"/>
                  </a:lnTo>
                  <a:lnTo>
                    <a:pt x="22446132" y="12973048"/>
                  </a:lnTo>
                  <a:lnTo>
                    <a:pt x="22436600" y="12987343"/>
                  </a:lnTo>
                  <a:lnTo>
                    <a:pt x="22422304" y="13001639"/>
                  </a:lnTo>
                  <a:lnTo>
                    <a:pt x="22403248" y="13025465"/>
                  </a:lnTo>
                  <a:lnTo>
                    <a:pt x="22388952" y="13030230"/>
                  </a:lnTo>
                  <a:lnTo>
                    <a:pt x="22369888" y="13020699"/>
                  </a:lnTo>
                  <a:lnTo>
                    <a:pt x="22336536" y="12973048"/>
                  </a:lnTo>
                  <a:lnTo>
                    <a:pt x="22350832" y="12944457"/>
                  </a:lnTo>
                  <a:lnTo>
                    <a:pt x="22374656" y="12925397"/>
                  </a:lnTo>
                  <a:lnTo>
                    <a:pt x="22388952" y="12911101"/>
                  </a:lnTo>
                  <a:lnTo>
                    <a:pt x="22398480" y="12892041"/>
                  </a:lnTo>
                  <a:lnTo>
                    <a:pt x="22384184" y="12896806"/>
                  </a:lnTo>
                  <a:lnTo>
                    <a:pt x="22374656" y="12906336"/>
                  </a:lnTo>
                  <a:lnTo>
                    <a:pt x="22341300" y="12901571"/>
                  </a:lnTo>
                  <a:lnTo>
                    <a:pt x="22327004" y="12911101"/>
                  </a:lnTo>
                  <a:lnTo>
                    <a:pt x="22312708" y="12925397"/>
                  </a:lnTo>
                  <a:lnTo>
                    <a:pt x="22322240" y="12963518"/>
                  </a:lnTo>
                  <a:lnTo>
                    <a:pt x="22307944" y="12973048"/>
                  </a:lnTo>
                  <a:lnTo>
                    <a:pt x="22288884" y="12987343"/>
                  </a:lnTo>
                  <a:lnTo>
                    <a:pt x="22260292" y="13001639"/>
                  </a:lnTo>
                  <a:lnTo>
                    <a:pt x="22250760" y="13011169"/>
                  </a:lnTo>
                  <a:lnTo>
                    <a:pt x="22226936" y="13082646"/>
                  </a:lnTo>
                  <a:lnTo>
                    <a:pt x="22203112" y="13135062"/>
                  </a:lnTo>
                  <a:lnTo>
                    <a:pt x="22193580" y="13177949"/>
                  </a:lnTo>
                  <a:lnTo>
                    <a:pt x="22193580" y="13216070"/>
                  </a:lnTo>
                  <a:lnTo>
                    <a:pt x="22203112" y="13258956"/>
                  </a:lnTo>
                  <a:lnTo>
                    <a:pt x="22207876" y="13278016"/>
                  </a:lnTo>
                  <a:lnTo>
                    <a:pt x="22236464" y="13316137"/>
                  </a:lnTo>
                  <a:lnTo>
                    <a:pt x="22250760" y="13344728"/>
                  </a:lnTo>
                  <a:lnTo>
                    <a:pt x="22255528" y="13382849"/>
                  </a:lnTo>
                  <a:lnTo>
                    <a:pt x="22231704" y="13397145"/>
                  </a:lnTo>
                  <a:lnTo>
                    <a:pt x="22193580" y="13440029"/>
                  </a:lnTo>
                  <a:lnTo>
                    <a:pt x="22179288" y="13444797"/>
                  </a:lnTo>
                  <a:lnTo>
                    <a:pt x="22126868" y="13444797"/>
                  </a:lnTo>
                  <a:lnTo>
                    <a:pt x="22103044" y="13420969"/>
                  </a:lnTo>
                  <a:lnTo>
                    <a:pt x="22069688" y="13425733"/>
                  </a:lnTo>
                  <a:lnTo>
                    <a:pt x="22045864" y="13440029"/>
                  </a:lnTo>
                  <a:lnTo>
                    <a:pt x="22007740" y="13468621"/>
                  </a:lnTo>
                  <a:lnTo>
                    <a:pt x="21969620" y="13506741"/>
                  </a:lnTo>
                  <a:lnTo>
                    <a:pt x="21936264" y="13530569"/>
                  </a:lnTo>
                  <a:lnTo>
                    <a:pt x="21926736" y="13549629"/>
                  </a:lnTo>
                  <a:lnTo>
                    <a:pt x="21912440" y="13578217"/>
                  </a:lnTo>
                  <a:lnTo>
                    <a:pt x="21898144" y="13640165"/>
                  </a:lnTo>
                  <a:lnTo>
                    <a:pt x="21902908" y="13668757"/>
                  </a:lnTo>
                  <a:lnTo>
                    <a:pt x="21912440" y="13683053"/>
                  </a:lnTo>
                  <a:lnTo>
                    <a:pt x="21917204" y="13702113"/>
                  </a:lnTo>
                  <a:lnTo>
                    <a:pt x="21907672" y="13730701"/>
                  </a:lnTo>
                  <a:lnTo>
                    <a:pt x="21907672" y="13744997"/>
                  </a:lnTo>
                  <a:lnTo>
                    <a:pt x="21926736" y="13773589"/>
                  </a:lnTo>
                  <a:lnTo>
                    <a:pt x="21926736" y="13811709"/>
                  </a:lnTo>
                  <a:lnTo>
                    <a:pt x="21917204" y="13811709"/>
                  </a:lnTo>
                  <a:lnTo>
                    <a:pt x="21888612" y="13787885"/>
                  </a:lnTo>
                  <a:lnTo>
                    <a:pt x="21860024" y="13783121"/>
                  </a:lnTo>
                  <a:lnTo>
                    <a:pt x="21788544" y="13816477"/>
                  </a:lnTo>
                  <a:lnTo>
                    <a:pt x="21759952" y="13830769"/>
                  </a:lnTo>
                  <a:lnTo>
                    <a:pt x="21726600" y="13868893"/>
                  </a:lnTo>
                  <a:lnTo>
                    <a:pt x="21717068" y="13864125"/>
                  </a:lnTo>
                  <a:lnTo>
                    <a:pt x="21712304" y="13840301"/>
                  </a:lnTo>
                  <a:lnTo>
                    <a:pt x="21702772" y="13830769"/>
                  </a:lnTo>
                  <a:lnTo>
                    <a:pt x="21683712" y="13835537"/>
                  </a:lnTo>
                  <a:lnTo>
                    <a:pt x="21678944" y="13854597"/>
                  </a:lnTo>
                  <a:lnTo>
                    <a:pt x="21698008" y="13864125"/>
                  </a:lnTo>
                  <a:lnTo>
                    <a:pt x="21707536" y="13878421"/>
                  </a:lnTo>
                  <a:lnTo>
                    <a:pt x="21698008" y="13926073"/>
                  </a:lnTo>
                  <a:lnTo>
                    <a:pt x="21688480" y="13940369"/>
                  </a:lnTo>
                  <a:lnTo>
                    <a:pt x="21688480" y="13983253"/>
                  </a:lnTo>
                  <a:lnTo>
                    <a:pt x="21688480" y="14002317"/>
                  </a:lnTo>
                  <a:lnTo>
                    <a:pt x="21683712" y="14026141"/>
                  </a:lnTo>
                  <a:lnTo>
                    <a:pt x="21664652" y="14078557"/>
                  </a:lnTo>
                  <a:lnTo>
                    <a:pt x="21626528" y="14150033"/>
                  </a:lnTo>
                  <a:lnTo>
                    <a:pt x="21583644" y="14202449"/>
                  </a:lnTo>
                  <a:lnTo>
                    <a:pt x="21555056" y="14221509"/>
                  </a:lnTo>
                  <a:lnTo>
                    <a:pt x="21540760" y="14235805"/>
                  </a:lnTo>
                  <a:lnTo>
                    <a:pt x="21531228" y="14250101"/>
                  </a:lnTo>
                  <a:lnTo>
                    <a:pt x="21488344" y="14297753"/>
                  </a:lnTo>
                  <a:lnTo>
                    <a:pt x="21431160" y="14350169"/>
                  </a:lnTo>
                  <a:lnTo>
                    <a:pt x="21416864" y="14359701"/>
                  </a:lnTo>
                  <a:lnTo>
                    <a:pt x="21412100" y="14340641"/>
                  </a:lnTo>
                  <a:lnTo>
                    <a:pt x="21412100" y="14321577"/>
                  </a:lnTo>
                  <a:lnTo>
                    <a:pt x="21407336" y="14297753"/>
                  </a:lnTo>
                  <a:lnTo>
                    <a:pt x="21383512" y="14273929"/>
                  </a:lnTo>
                  <a:lnTo>
                    <a:pt x="21383512" y="14259633"/>
                  </a:lnTo>
                  <a:lnTo>
                    <a:pt x="21378744" y="14235805"/>
                  </a:lnTo>
                  <a:lnTo>
                    <a:pt x="21373976" y="14126209"/>
                  </a:lnTo>
                  <a:lnTo>
                    <a:pt x="21359684" y="14007081"/>
                  </a:lnTo>
                  <a:lnTo>
                    <a:pt x="21354920" y="13973725"/>
                  </a:lnTo>
                  <a:lnTo>
                    <a:pt x="21335856" y="13940369"/>
                  </a:lnTo>
                  <a:lnTo>
                    <a:pt x="21326328" y="13911777"/>
                  </a:lnTo>
                  <a:lnTo>
                    <a:pt x="21316800" y="13878421"/>
                  </a:lnTo>
                  <a:lnTo>
                    <a:pt x="21316800" y="13845065"/>
                  </a:lnTo>
                  <a:lnTo>
                    <a:pt x="21292972" y="13649697"/>
                  </a:lnTo>
                  <a:lnTo>
                    <a:pt x="21283440" y="13602045"/>
                  </a:lnTo>
                  <a:lnTo>
                    <a:pt x="21254848" y="13444797"/>
                  </a:lnTo>
                  <a:lnTo>
                    <a:pt x="21240556" y="13349493"/>
                  </a:lnTo>
                  <a:lnTo>
                    <a:pt x="21231024" y="13258956"/>
                  </a:lnTo>
                  <a:lnTo>
                    <a:pt x="21231024" y="13220835"/>
                  </a:lnTo>
                  <a:lnTo>
                    <a:pt x="21245320" y="13096941"/>
                  </a:lnTo>
                  <a:lnTo>
                    <a:pt x="21254848" y="13015934"/>
                  </a:lnTo>
                  <a:lnTo>
                    <a:pt x="21297736" y="12844390"/>
                  </a:lnTo>
                  <a:lnTo>
                    <a:pt x="21302504" y="12825329"/>
                  </a:lnTo>
                  <a:lnTo>
                    <a:pt x="21312032" y="12815799"/>
                  </a:lnTo>
                  <a:lnTo>
                    <a:pt x="21383512" y="12749087"/>
                  </a:lnTo>
                  <a:lnTo>
                    <a:pt x="21412100" y="12710966"/>
                  </a:lnTo>
                  <a:lnTo>
                    <a:pt x="21431160" y="12672845"/>
                  </a:lnTo>
                  <a:lnTo>
                    <a:pt x="21450220" y="12620429"/>
                  </a:lnTo>
                  <a:lnTo>
                    <a:pt x="21450220" y="12591838"/>
                  </a:lnTo>
                  <a:lnTo>
                    <a:pt x="21450220" y="12577543"/>
                  </a:lnTo>
                  <a:lnTo>
                    <a:pt x="21440688" y="12558482"/>
                  </a:lnTo>
                  <a:lnTo>
                    <a:pt x="21421632" y="12539422"/>
                  </a:lnTo>
                  <a:lnTo>
                    <a:pt x="21431160" y="12529891"/>
                  </a:lnTo>
                  <a:lnTo>
                    <a:pt x="21435928" y="12520361"/>
                  </a:lnTo>
                  <a:lnTo>
                    <a:pt x="21454984" y="12515596"/>
                  </a:lnTo>
                  <a:lnTo>
                    <a:pt x="21488344" y="12529891"/>
                  </a:lnTo>
                  <a:lnTo>
                    <a:pt x="21526464" y="12525126"/>
                  </a:lnTo>
                  <a:lnTo>
                    <a:pt x="21559816" y="12458414"/>
                  </a:lnTo>
                  <a:lnTo>
                    <a:pt x="21607472" y="12467945"/>
                  </a:lnTo>
                  <a:lnTo>
                    <a:pt x="21645592" y="12458414"/>
                  </a:lnTo>
                  <a:lnTo>
                    <a:pt x="21655120" y="12463180"/>
                  </a:lnTo>
                  <a:lnTo>
                    <a:pt x="21664652" y="12439354"/>
                  </a:lnTo>
                  <a:lnTo>
                    <a:pt x="21683712" y="12415528"/>
                  </a:lnTo>
                  <a:lnTo>
                    <a:pt x="21721832" y="12382172"/>
                  </a:lnTo>
                  <a:lnTo>
                    <a:pt x="21774248" y="12339286"/>
                  </a:lnTo>
                  <a:lnTo>
                    <a:pt x="21802840" y="12310695"/>
                  </a:lnTo>
                  <a:lnTo>
                    <a:pt x="21817136" y="12282105"/>
                  </a:lnTo>
                  <a:lnTo>
                    <a:pt x="21840960" y="12258279"/>
                  </a:lnTo>
                  <a:lnTo>
                    <a:pt x="21860024" y="12224923"/>
                  </a:lnTo>
                  <a:lnTo>
                    <a:pt x="21902908" y="12124855"/>
                  </a:lnTo>
                  <a:lnTo>
                    <a:pt x="21979152" y="12043848"/>
                  </a:lnTo>
                  <a:lnTo>
                    <a:pt x="22012504" y="11996197"/>
                  </a:lnTo>
                  <a:lnTo>
                    <a:pt x="22036332" y="11981902"/>
                  </a:lnTo>
                  <a:lnTo>
                    <a:pt x="22060160" y="11972372"/>
                  </a:lnTo>
                  <a:lnTo>
                    <a:pt x="22117336" y="11905660"/>
                  </a:lnTo>
                  <a:lnTo>
                    <a:pt x="22150696" y="11848478"/>
                  </a:lnTo>
                  <a:lnTo>
                    <a:pt x="22198344" y="11810357"/>
                  </a:lnTo>
                  <a:lnTo>
                    <a:pt x="22212640" y="11786532"/>
                  </a:lnTo>
                  <a:lnTo>
                    <a:pt x="22236464" y="11724585"/>
                  </a:lnTo>
                  <a:lnTo>
                    <a:pt x="22246000" y="11710290"/>
                  </a:lnTo>
                  <a:lnTo>
                    <a:pt x="22279352" y="11691229"/>
                  </a:lnTo>
                  <a:lnTo>
                    <a:pt x="22350832" y="11648343"/>
                  </a:lnTo>
                  <a:lnTo>
                    <a:pt x="22388952" y="11610222"/>
                  </a:lnTo>
                  <a:lnTo>
                    <a:pt x="22446132" y="11605456"/>
                  </a:lnTo>
                  <a:lnTo>
                    <a:pt x="22465192" y="11591162"/>
                  </a:lnTo>
                  <a:lnTo>
                    <a:pt x="22484256" y="11581631"/>
                  </a:lnTo>
                  <a:lnTo>
                    <a:pt x="22503312" y="11567336"/>
                  </a:lnTo>
                  <a:lnTo>
                    <a:pt x="22479488" y="11533980"/>
                  </a:lnTo>
                  <a:lnTo>
                    <a:pt x="22484256" y="11514919"/>
                  </a:lnTo>
                  <a:lnTo>
                    <a:pt x="22489016" y="11505389"/>
                  </a:lnTo>
                  <a:lnTo>
                    <a:pt x="22531904" y="11462503"/>
                  </a:lnTo>
                  <a:lnTo>
                    <a:pt x="22550968" y="11429147"/>
                  </a:lnTo>
                  <a:lnTo>
                    <a:pt x="22546200" y="11414852"/>
                  </a:lnTo>
                  <a:lnTo>
                    <a:pt x="22546200" y="11405322"/>
                  </a:lnTo>
                  <a:lnTo>
                    <a:pt x="22517608" y="11391026"/>
                  </a:lnTo>
                  <a:lnTo>
                    <a:pt x="22522376" y="11357670"/>
                  </a:lnTo>
                  <a:lnTo>
                    <a:pt x="22531904" y="11333844"/>
                  </a:lnTo>
                  <a:lnTo>
                    <a:pt x="22550968" y="11310019"/>
                  </a:lnTo>
                  <a:lnTo>
                    <a:pt x="22560496" y="11252838"/>
                  </a:lnTo>
                  <a:lnTo>
                    <a:pt x="22560496" y="11195656"/>
                  </a:lnTo>
                  <a:lnTo>
                    <a:pt x="22584320" y="11114648"/>
                  </a:lnTo>
                  <a:lnTo>
                    <a:pt x="22593852" y="11095588"/>
                  </a:lnTo>
                  <a:lnTo>
                    <a:pt x="22641504" y="11057467"/>
                  </a:lnTo>
                  <a:lnTo>
                    <a:pt x="22655800" y="11052702"/>
                  </a:lnTo>
                  <a:lnTo>
                    <a:pt x="22689152" y="11066998"/>
                  </a:lnTo>
                  <a:lnTo>
                    <a:pt x="22727272" y="11076528"/>
                  </a:lnTo>
                  <a:lnTo>
                    <a:pt x="22736808" y="11086058"/>
                  </a:lnTo>
                  <a:lnTo>
                    <a:pt x="22741568" y="11076528"/>
                  </a:lnTo>
                  <a:lnTo>
                    <a:pt x="22741568" y="11062232"/>
                  </a:lnTo>
                  <a:lnTo>
                    <a:pt x="22751100" y="11057467"/>
                  </a:lnTo>
                  <a:lnTo>
                    <a:pt x="22770160" y="11062232"/>
                  </a:lnTo>
                  <a:lnTo>
                    <a:pt x="22765396" y="11047937"/>
                  </a:lnTo>
                  <a:lnTo>
                    <a:pt x="22712980" y="11038406"/>
                  </a:lnTo>
                  <a:lnTo>
                    <a:pt x="22674856" y="11019346"/>
                  </a:lnTo>
                  <a:lnTo>
                    <a:pt x="22636736" y="10985990"/>
                  </a:lnTo>
                  <a:lnTo>
                    <a:pt x="22612912" y="10976460"/>
                  </a:lnTo>
                  <a:lnTo>
                    <a:pt x="22589088" y="10976460"/>
                  </a:lnTo>
                  <a:lnTo>
                    <a:pt x="22446132" y="11028876"/>
                  </a:lnTo>
                  <a:lnTo>
                    <a:pt x="22436600" y="11043172"/>
                  </a:lnTo>
                  <a:lnTo>
                    <a:pt x="22431840" y="11062232"/>
                  </a:lnTo>
                  <a:lnTo>
                    <a:pt x="22441368" y="11086058"/>
                  </a:lnTo>
                  <a:lnTo>
                    <a:pt x="22431840" y="11100353"/>
                  </a:lnTo>
                  <a:lnTo>
                    <a:pt x="22427072" y="11109884"/>
                  </a:lnTo>
                  <a:lnTo>
                    <a:pt x="22417544" y="11124179"/>
                  </a:lnTo>
                  <a:lnTo>
                    <a:pt x="22412776" y="11162300"/>
                  </a:lnTo>
                  <a:lnTo>
                    <a:pt x="22412776" y="11195656"/>
                  </a:lnTo>
                  <a:lnTo>
                    <a:pt x="22398480" y="11248072"/>
                  </a:lnTo>
                  <a:lnTo>
                    <a:pt x="22393716" y="11281428"/>
                  </a:lnTo>
                  <a:lnTo>
                    <a:pt x="22427072" y="11300488"/>
                  </a:lnTo>
                  <a:lnTo>
                    <a:pt x="22431840" y="11310019"/>
                  </a:lnTo>
                  <a:lnTo>
                    <a:pt x="22422304" y="11329080"/>
                  </a:lnTo>
                  <a:lnTo>
                    <a:pt x="22412776" y="11343374"/>
                  </a:lnTo>
                  <a:lnTo>
                    <a:pt x="22408012" y="11352905"/>
                  </a:lnTo>
                  <a:lnTo>
                    <a:pt x="22403248" y="11362435"/>
                  </a:lnTo>
                  <a:lnTo>
                    <a:pt x="22393716" y="11362435"/>
                  </a:lnTo>
                  <a:lnTo>
                    <a:pt x="22379420" y="11348140"/>
                  </a:lnTo>
                  <a:lnTo>
                    <a:pt x="22369888" y="11310019"/>
                  </a:lnTo>
                  <a:lnTo>
                    <a:pt x="22355596" y="11310019"/>
                  </a:lnTo>
                  <a:lnTo>
                    <a:pt x="22350832" y="11314784"/>
                  </a:lnTo>
                  <a:lnTo>
                    <a:pt x="22346064" y="11329080"/>
                  </a:lnTo>
                  <a:lnTo>
                    <a:pt x="22331768" y="11329080"/>
                  </a:lnTo>
                  <a:lnTo>
                    <a:pt x="22317472" y="11324314"/>
                  </a:lnTo>
                  <a:lnTo>
                    <a:pt x="22298416" y="11324314"/>
                  </a:lnTo>
                  <a:lnTo>
                    <a:pt x="22265056" y="11362435"/>
                  </a:lnTo>
                  <a:lnTo>
                    <a:pt x="22088748" y="11553040"/>
                  </a:lnTo>
                  <a:lnTo>
                    <a:pt x="22069688" y="11576866"/>
                  </a:lnTo>
                  <a:lnTo>
                    <a:pt x="22045864" y="11619752"/>
                  </a:lnTo>
                  <a:lnTo>
                    <a:pt x="21998208" y="11624517"/>
                  </a:lnTo>
                  <a:lnTo>
                    <a:pt x="21983916" y="11634048"/>
                  </a:lnTo>
                  <a:lnTo>
                    <a:pt x="21969620" y="11648343"/>
                  </a:lnTo>
                  <a:lnTo>
                    <a:pt x="21950560" y="11657873"/>
                  </a:lnTo>
                  <a:lnTo>
                    <a:pt x="21950560" y="11638812"/>
                  </a:lnTo>
                  <a:lnTo>
                    <a:pt x="21955324" y="11624517"/>
                  </a:lnTo>
                  <a:lnTo>
                    <a:pt x="21960088" y="11595926"/>
                  </a:lnTo>
                  <a:lnTo>
                    <a:pt x="21983916" y="11533980"/>
                  </a:lnTo>
                  <a:lnTo>
                    <a:pt x="21969620" y="11524450"/>
                  </a:lnTo>
                  <a:lnTo>
                    <a:pt x="21955324" y="11524450"/>
                  </a:lnTo>
                  <a:lnTo>
                    <a:pt x="21926736" y="11538745"/>
                  </a:lnTo>
                  <a:lnTo>
                    <a:pt x="21907672" y="11557806"/>
                  </a:lnTo>
                  <a:lnTo>
                    <a:pt x="21893376" y="11553040"/>
                  </a:lnTo>
                  <a:lnTo>
                    <a:pt x="21898144" y="11533980"/>
                  </a:lnTo>
                  <a:lnTo>
                    <a:pt x="21917204" y="11500624"/>
                  </a:lnTo>
                  <a:lnTo>
                    <a:pt x="21912440" y="11462503"/>
                  </a:lnTo>
                  <a:lnTo>
                    <a:pt x="21907672" y="11448208"/>
                  </a:lnTo>
                  <a:lnTo>
                    <a:pt x="21912440" y="11433912"/>
                  </a:lnTo>
                  <a:lnTo>
                    <a:pt x="21950560" y="11367200"/>
                  </a:lnTo>
                  <a:lnTo>
                    <a:pt x="21964856" y="11329080"/>
                  </a:lnTo>
                  <a:lnTo>
                    <a:pt x="21974384" y="11281428"/>
                  </a:lnTo>
                  <a:lnTo>
                    <a:pt x="21974384" y="11267132"/>
                  </a:lnTo>
                  <a:lnTo>
                    <a:pt x="21974384" y="11248072"/>
                  </a:lnTo>
                  <a:lnTo>
                    <a:pt x="21960088" y="11243307"/>
                  </a:lnTo>
                  <a:lnTo>
                    <a:pt x="21955324" y="11243307"/>
                  </a:lnTo>
                  <a:lnTo>
                    <a:pt x="21879080" y="11290958"/>
                  </a:lnTo>
                  <a:lnTo>
                    <a:pt x="21855256" y="11305254"/>
                  </a:lnTo>
                  <a:lnTo>
                    <a:pt x="21845728" y="11286193"/>
                  </a:lnTo>
                  <a:lnTo>
                    <a:pt x="21836196" y="11276663"/>
                  </a:lnTo>
                  <a:lnTo>
                    <a:pt x="21817136" y="11243307"/>
                  </a:lnTo>
                  <a:lnTo>
                    <a:pt x="21798076" y="11238542"/>
                  </a:lnTo>
                  <a:lnTo>
                    <a:pt x="21779016" y="11238542"/>
                  </a:lnTo>
                  <a:lnTo>
                    <a:pt x="21740896" y="11262368"/>
                  </a:lnTo>
                  <a:lnTo>
                    <a:pt x="21698008" y="11276663"/>
                  </a:lnTo>
                  <a:lnTo>
                    <a:pt x="21664652" y="11271898"/>
                  </a:lnTo>
                  <a:lnTo>
                    <a:pt x="21636060" y="11290958"/>
                  </a:lnTo>
                  <a:lnTo>
                    <a:pt x="21621768" y="11295724"/>
                  </a:lnTo>
                  <a:lnTo>
                    <a:pt x="21583644" y="11281428"/>
                  </a:lnTo>
                  <a:lnTo>
                    <a:pt x="21531228" y="11281428"/>
                  </a:lnTo>
                  <a:lnTo>
                    <a:pt x="21512168" y="11295724"/>
                  </a:lnTo>
                  <a:lnTo>
                    <a:pt x="21469280" y="11319549"/>
                  </a:lnTo>
                  <a:lnTo>
                    <a:pt x="21440688" y="11357670"/>
                  </a:lnTo>
                  <a:lnTo>
                    <a:pt x="21421632" y="11367200"/>
                  </a:lnTo>
                  <a:lnTo>
                    <a:pt x="21407336" y="11386261"/>
                  </a:lnTo>
                  <a:lnTo>
                    <a:pt x="21397804" y="11452972"/>
                  </a:lnTo>
                  <a:lnTo>
                    <a:pt x="21373976" y="11472033"/>
                  </a:lnTo>
                  <a:lnTo>
                    <a:pt x="21354920" y="11491094"/>
                  </a:lnTo>
                  <a:lnTo>
                    <a:pt x="21307268" y="11543510"/>
                  </a:lnTo>
                  <a:lnTo>
                    <a:pt x="21278676" y="11610222"/>
                  </a:lnTo>
                  <a:lnTo>
                    <a:pt x="21254848" y="11643578"/>
                  </a:lnTo>
                  <a:lnTo>
                    <a:pt x="21211964" y="11686464"/>
                  </a:lnTo>
                  <a:lnTo>
                    <a:pt x="21140488" y="11738880"/>
                  </a:lnTo>
                  <a:lnTo>
                    <a:pt x="21078540" y="11829418"/>
                  </a:lnTo>
                  <a:lnTo>
                    <a:pt x="21054716" y="11896130"/>
                  </a:lnTo>
                  <a:lnTo>
                    <a:pt x="21049952" y="11896130"/>
                  </a:lnTo>
                  <a:lnTo>
                    <a:pt x="21035656" y="11910425"/>
                  </a:lnTo>
                  <a:lnTo>
                    <a:pt x="21030888" y="11943780"/>
                  </a:lnTo>
                  <a:lnTo>
                    <a:pt x="21030888" y="11962841"/>
                  </a:lnTo>
                  <a:lnTo>
                    <a:pt x="21021360" y="11981902"/>
                  </a:lnTo>
                  <a:lnTo>
                    <a:pt x="21011832" y="12005728"/>
                  </a:lnTo>
                  <a:lnTo>
                    <a:pt x="21021360" y="12020022"/>
                  </a:lnTo>
                  <a:lnTo>
                    <a:pt x="21030888" y="12020022"/>
                  </a:lnTo>
                  <a:lnTo>
                    <a:pt x="21045184" y="12020022"/>
                  </a:lnTo>
                  <a:lnTo>
                    <a:pt x="21078540" y="12000962"/>
                  </a:lnTo>
                  <a:lnTo>
                    <a:pt x="21140488" y="12029553"/>
                  </a:lnTo>
                  <a:lnTo>
                    <a:pt x="21169080" y="12053378"/>
                  </a:lnTo>
                  <a:lnTo>
                    <a:pt x="21169080" y="12081969"/>
                  </a:lnTo>
                  <a:lnTo>
                    <a:pt x="21169080" y="12105795"/>
                  </a:lnTo>
                  <a:lnTo>
                    <a:pt x="21145252" y="12105795"/>
                  </a:lnTo>
                  <a:lnTo>
                    <a:pt x="21116664" y="12110560"/>
                  </a:lnTo>
                  <a:lnTo>
                    <a:pt x="21097600" y="12124855"/>
                  </a:lnTo>
                  <a:lnTo>
                    <a:pt x="21059480" y="12101030"/>
                  </a:lnTo>
                  <a:lnTo>
                    <a:pt x="21045184" y="12110560"/>
                  </a:lnTo>
                  <a:lnTo>
                    <a:pt x="21026124" y="12134386"/>
                  </a:lnTo>
                  <a:lnTo>
                    <a:pt x="20988004" y="12143916"/>
                  </a:lnTo>
                  <a:lnTo>
                    <a:pt x="20968944" y="12129621"/>
                  </a:lnTo>
                  <a:lnTo>
                    <a:pt x="20940352" y="12096265"/>
                  </a:lnTo>
                  <a:lnTo>
                    <a:pt x="20887936" y="12101030"/>
                  </a:lnTo>
                  <a:lnTo>
                    <a:pt x="20873640" y="12139151"/>
                  </a:lnTo>
                  <a:lnTo>
                    <a:pt x="20864112" y="12139151"/>
                  </a:lnTo>
                  <a:lnTo>
                    <a:pt x="20845048" y="12139151"/>
                  </a:lnTo>
                  <a:lnTo>
                    <a:pt x="20811696" y="12182037"/>
                  </a:lnTo>
                  <a:lnTo>
                    <a:pt x="20802164" y="12186802"/>
                  </a:lnTo>
                  <a:lnTo>
                    <a:pt x="20764040" y="12177272"/>
                  </a:lnTo>
                  <a:lnTo>
                    <a:pt x="20740216" y="12158211"/>
                  </a:lnTo>
                  <a:lnTo>
                    <a:pt x="20725920" y="12153446"/>
                  </a:lnTo>
                  <a:lnTo>
                    <a:pt x="20702096" y="12167742"/>
                  </a:lnTo>
                  <a:lnTo>
                    <a:pt x="20687800" y="12191567"/>
                  </a:lnTo>
                  <a:lnTo>
                    <a:pt x="20630616" y="12205863"/>
                  </a:lnTo>
                  <a:lnTo>
                    <a:pt x="20568672" y="12201098"/>
                  </a:lnTo>
                  <a:lnTo>
                    <a:pt x="20540080" y="12139151"/>
                  </a:lnTo>
                  <a:lnTo>
                    <a:pt x="20597264" y="12115325"/>
                  </a:lnTo>
                  <a:lnTo>
                    <a:pt x="20635384" y="12120090"/>
                  </a:lnTo>
                  <a:lnTo>
                    <a:pt x="20673504" y="12115325"/>
                  </a:lnTo>
                  <a:lnTo>
                    <a:pt x="20716392" y="12096265"/>
                  </a:lnTo>
                  <a:lnTo>
                    <a:pt x="20702096" y="12081969"/>
                  </a:lnTo>
                  <a:lnTo>
                    <a:pt x="20692568" y="12077204"/>
                  </a:lnTo>
                  <a:lnTo>
                    <a:pt x="20663976" y="12077204"/>
                  </a:lnTo>
                  <a:lnTo>
                    <a:pt x="20644912" y="12067674"/>
                  </a:lnTo>
                  <a:lnTo>
                    <a:pt x="20592496" y="12005728"/>
                  </a:lnTo>
                  <a:lnTo>
                    <a:pt x="20573440" y="11991432"/>
                  </a:lnTo>
                  <a:lnTo>
                    <a:pt x="20544848" y="11986667"/>
                  </a:lnTo>
                  <a:lnTo>
                    <a:pt x="20525784" y="11986667"/>
                  </a:lnTo>
                  <a:lnTo>
                    <a:pt x="20516256" y="11991432"/>
                  </a:lnTo>
                  <a:lnTo>
                    <a:pt x="20506728" y="12005728"/>
                  </a:lnTo>
                  <a:lnTo>
                    <a:pt x="20497196" y="12020022"/>
                  </a:lnTo>
                  <a:lnTo>
                    <a:pt x="20492432" y="12024788"/>
                  </a:lnTo>
                  <a:lnTo>
                    <a:pt x="20478136" y="12024788"/>
                  </a:lnTo>
                  <a:lnTo>
                    <a:pt x="20459072" y="12010492"/>
                  </a:lnTo>
                  <a:lnTo>
                    <a:pt x="20440016" y="12015258"/>
                  </a:lnTo>
                  <a:lnTo>
                    <a:pt x="20449544" y="12005728"/>
                  </a:lnTo>
                  <a:lnTo>
                    <a:pt x="20468604" y="11996197"/>
                  </a:lnTo>
                  <a:lnTo>
                    <a:pt x="20435248" y="11986667"/>
                  </a:lnTo>
                  <a:lnTo>
                    <a:pt x="20411424" y="11967606"/>
                  </a:lnTo>
                  <a:lnTo>
                    <a:pt x="20392360" y="11967606"/>
                  </a:lnTo>
                  <a:lnTo>
                    <a:pt x="20306592" y="11929486"/>
                  </a:lnTo>
                  <a:lnTo>
                    <a:pt x="20273232" y="11934250"/>
                  </a:lnTo>
                  <a:lnTo>
                    <a:pt x="20254176" y="11943780"/>
                  </a:lnTo>
                  <a:lnTo>
                    <a:pt x="20216052" y="11972372"/>
                  </a:lnTo>
                  <a:lnTo>
                    <a:pt x="20225584" y="11996197"/>
                  </a:lnTo>
                  <a:lnTo>
                    <a:pt x="20235112" y="12005728"/>
                  </a:lnTo>
                  <a:lnTo>
                    <a:pt x="20239880" y="12015258"/>
                  </a:lnTo>
                  <a:lnTo>
                    <a:pt x="20225584" y="12020022"/>
                  </a:lnTo>
                  <a:lnTo>
                    <a:pt x="20196992" y="12020022"/>
                  </a:lnTo>
                  <a:lnTo>
                    <a:pt x="20173168" y="12000962"/>
                  </a:lnTo>
                  <a:lnTo>
                    <a:pt x="20158872" y="12029553"/>
                  </a:lnTo>
                  <a:lnTo>
                    <a:pt x="20168400" y="12053378"/>
                  </a:lnTo>
                  <a:lnTo>
                    <a:pt x="20187464" y="12043848"/>
                  </a:lnTo>
                  <a:lnTo>
                    <a:pt x="20201760" y="12053378"/>
                  </a:lnTo>
                  <a:lnTo>
                    <a:pt x="20192228" y="12077204"/>
                  </a:lnTo>
                  <a:lnTo>
                    <a:pt x="20163636" y="12086734"/>
                  </a:lnTo>
                  <a:lnTo>
                    <a:pt x="20125516" y="12086734"/>
                  </a:lnTo>
                  <a:lnTo>
                    <a:pt x="20092160" y="12039083"/>
                  </a:lnTo>
                  <a:lnTo>
                    <a:pt x="20030212" y="12048614"/>
                  </a:lnTo>
                  <a:lnTo>
                    <a:pt x="20001624" y="12077204"/>
                  </a:lnTo>
                  <a:lnTo>
                    <a:pt x="19973032" y="12081969"/>
                  </a:lnTo>
                  <a:lnTo>
                    <a:pt x="19901552" y="12053378"/>
                  </a:lnTo>
                  <a:lnTo>
                    <a:pt x="19863432" y="12053378"/>
                  </a:lnTo>
                  <a:lnTo>
                    <a:pt x="19820548" y="12024788"/>
                  </a:lnTo>
                  <a:lnTo>
                    <a:pt x="19806252" y="12034318"/>
                  </a:lnTo>
                  <a:lnTo>
                    <a:pt x="19782424" y="12096265"/>
                  </a:lnTo>
                  <a:lnTo>
                    <a:pt x="19744304" y="12115325"/>
                  </a:lnTo>
                  <a:lnTo>
                    <a:pt x="19725244" y="12105795"/>
                  </a:lnTo>
                  <a:lnTo>
                    <a:pt x="19710952" y="12062909"/>
                  </a:lnTo>
                  <a:lnTo>
                    <a:pt x="19701420" y="12053378"/>
                  </a:lnTo>
                  <a:lnTo>
                    <a:pt x="19668064" y="12039083"/>
                  </a:lnTo>
                  <a:lnTo>
                    <a:pt x="19501284" y="12048614"/>
                  </a:lnTo>
                  <a:lnTo>
                    <a:pt x="19444104" y="12039083"/>
                  </a:lnTo>
                  <a:lnTo>
                    <a:pt x="19405984" y="12039083"/>
                  </a:lnTo>
                  <a:lnTo>
                    <a:pt x="19353564" y="12062909"/>
                  </a:lnTo>
                  <a:lnTo>
                    <a:pt x="19301148" y="12053378"/>
                  </a:lnTo>
                  <a:lnTo>
                    <a:pt x="19205848" y="12091500"/>
                  </a:lnTo>
                  <a:lnTo>
                    <a:pt x="19162960" y="12120090"/>
                  </a:lnTo>
                  <a:lnTo>
                    <a:pt x="19115308" y="12167742"/>
                  </a:lnTo>
                  <a:lnTo>
                    <a:pt x="19077188" y="12243984"/>
                  </a:lnTo>
                  <a:lnTo>
                    <a:pt x="19053360" y="12272574"/>
                  </a:lnTo>
                  <a:lnTo>
                    <a:pt x="19010476" y="12305930"/>
                  </a:lnTo>
                  <a:lnTo>
                    <a:pt x="18953296" y="12339286"/>
                  </a:lnTo>
                  <a:lnTo>
                    <a:pt x="18924704" y="12372642"/>
                  </a:lnTo>
                  <a:lnTo>
                    <a:pt x="18905640" y="12401233"/>
                  </a:lnTo>
                  <a:lnTo>
                    <a:pt x="18877052" y="12506066"/>
                  </a:lnTo>
                  <a:lnTo>
                    <a:pt x="18872288" y="12520361"/>
                  </a:lnTo>
                  <a:lnTo>
                    <a:pt x="18800808" y="12558482"/>
                  </a:lnTo>
                  <a:lnTo>
                    <a:pt x="18781752" y="12596603"/>
                  </a:lnTo>
                  <a:lnTo>
                    <a:pt x="18772220" y="12606133"/>
                  </a:lnTo>
                  <a:lnTo>
                    <a:pt x="18743628" y="12625194"/>
                  </a:lnTo>
                  <a:lnTo>
                    <a:pt x="18724568" y="12653785"/>
                  </a:lnTo>
                  <a:lnTo>
                    <a:pt x="18715040" y="12658550"/>
                  </a:lnTo>
                  <a:lnTo>
                    <a:pt x="18672152" y="12677610"/>
                  </a:lnTo>
                  <a:lnTo>
                    <a:pt x="18638796" y="12730027"/>
                  </a:lnTo>
                  <a:lnTo>
                    <a:pt x="18591144" y="12763383"/>
                  </a:lnTo>
                  <a:lnTo>
                    <a:pt x="18524432" y="12858685"/>
                  </a:lnTo>
                  <a:lnTo>
                    <a:pt x="18514904" y="12872980"/>
                  </a:lnTo>
                  <a:lnTo>
                    <a:pt x="18510136" y="12896806"/>
                  </a:lnTo>
                  <a:lnTo>
                    <a:pt x="18500608" y="12915867"/>
                  </a:lnTo>
                  <a:lnTo>
                    <a:pt x="18438660" y="13001639"/>
                  </a:lnTo>
                  <a:lnTo>
                    <a:pt x="18419600" y="13006404"/>
                  </a:lnTo>
                  <a:lnTo>
                    <a:pt x="18391008" y="13044525"/>
                  </a:lnTo>
                  <a:lnTo>
                    <a:pt x="18362416" y="13068351"/>
                  </a:lnTo>
                  <a:lnTo>
                    <a:pt x="18333828" y="13096941"/>
                  </a:lnTo>
                  <a:lnTo>
                    <a:pt x="18300472" y="13125532"/>
                  </a:lnTo>
                  <a:lnTo>
                    <a:pt x="18248056" y="13154123"/>
                  </a:lnTo>
                  <a:lnTo>
                    <a:pt x="18228992" y="13173183"/>
                  </a:lnTo>
                  <a:lnTo>
                    <a:pt x="18205168" y="13216070"/>
                  </a:lnTo>
                  <a:lnTo>
                    <a:pt x="18138456" y="13268486"/>
                  </a:lnTo>
                  <a:lnTo>
                    <a:pt x="18105104" y="13282781"/>
                  </a:lnTo>
                  <a:lnTo>
                    <a:pt x="18062216" y="13330433"/>
                  </a:lnTo>
                  <a:lnTo>
                    <a:pt x="18057448" y="13339963"/>
                  </a:lnTo>
                  <a:lnTo>
                    <a:pt x="18052684" y="13359023"/>
                  </a:lnTo>
                  <a:lnTo>
                    <a:pt x="18062216" y="13387613"/>
                  </a:lnTo>
                  <a:lnTo>
                    <a:pt x="18071744" y="13392377"/>
                  </a:lnTo>
                  <a:lnTo>
                    <a:pt x="18086040" y="13397145"/>
                  </a:lnTo>
                  <a:lnTo>
                    <a:pt x="18152752" y="13425733"/>
                  </a:lnTo>
                  <a:lnTo>
                    <a:pt x="18214700" y="13416205"/>
                  </a:lnTo>
                  <a:lnTo>
                    <a:pt x="18267116" y="13420969"/>
                  </a:lnTo>
                  <a:lnTo>
                    <a:pt x="18286176" y="13416205"/>
                  </a:lnTo>
                  <a:lnTo>
                    <a:pt x="18300472" y="13416205"/>
                  </a:lnTo>
                  <a:lnTo>
                    <a:pt x="18305236" y="13430501"/>
                  </a:lnTo>
                  <a:lnTo>
                    <a:pt x="18305236" y="13463857"/>
                  </a:lnTo>
                  <a:lnTo>
                    <a:pt x="18295704" y="13487681"/>
                  </a:lnTo>
                  <a:lnTo>
                    <a:pt x="18290944" y="13568689"/>
                  </a:lnTo>
                  <a:lnTo>
                    <a:pt x="18281412" y="13602045"/>
                  </a:lnTo>
                  <a:lnTo>
                    <a:pt x="18290944" y="13635401"/>
                  </a:lnTo>
                  <a:lnTo>
                    <a:pt x="18300472" y="13640165"/>
                  </a:lnTo>
                  <a:lnTo>
                    <a:pt x="18314768" y="13625869"/>
                  </a:lnTo>
                  <a:lnTo>
                    <a:pt x="18333828" y="13621105"/>
                  </a:lnTo>
                  <a:lnTo>
                    <a:pt x="18357656" y="13630637"/>
                  </a:lnTo>
                  <a:lnTo>
                    <a:pt x="18371948" y="13578217"/>
                  </a:lnTo>
                  <a:lnTo>
                    <a:pt x="18357656" y="13568689"/>
                  </a:lnTo>
                  <a:lnTo>
                    <a:pt x="18348120" y="13549629"/>
                  </a:lnTo>
                  <a:lnTo>
                    <a:pt x="18352888" y="13535333"/>
                  </a:lnTo>
                  <a:lnTo>
                    <a:pt x="18391008" y="13506741"/>
                  </a:lnTo>
                  <a:lnTo>
                    <a:pt x="18414832" y="13506741"/>
                  </a:lnTo>
                  <a:lnTo>
                    <a:pt x="18438660" y="13506741"/>
                  </a:lnTo>
                  <a:lnTo>
                    <a:pt x="18414832" y="13540097"/>
                  </a:lnTo>
                  <a:lnTo>
                    <a:pt x="18400540" y="13549629"/>
                  </a:lnTo>
                  <a:lnTo>
                    <a:pt x="18395776" y="13549629"/>
                  </a:lnTo>
                  <a:lnTo>
                    <a:pt x="18386244" y="13554393"/>
                  </a:lnTo>
                  <a:lnTo>
                    <a:pt x="18405304" y="13573453"/>
                  </a:lnTo>
                  <a:lnTo>
                    <a:pt x="18429128" y="13592513"/>
                  </a:lnTo>
                  <a:lnTo>
                    <a:pt x="18462488" y="13597281"/>
                  </a:lnTo>
                  <a:lnTo>
                    <a:pt x="18452956" y="13606809"/>
                  </a:lnTo>
                  <a:lnTo>
                    <a:pt x="18433896" y="13616341"/>
                  </a:lnTo>
                  <a:lnTo>
                    <a:pt x="18414832" y="13659225"/>
                  </a:lnTo>
                  <a:lnTo>
                    <a:pt x="18381480" y="13678285"/>
                  </a:lnTo>
                  <a:lnTo>
                    <a:pt x="18367184" y="13692581"/>
                  </a:lnTo>
                  <a:lnTo>
                    <a:pt x="18371948" y="13702113"/>
                  </a:lnTo>
                  <a:lnTo>
                    <a:pt x="18381480" y="13706877"/>
                  </a:lnTo>
                  <a:lnTo>
                    <a:pt x="18448192" y="13697345"/>
                  </a:lnTo>
                  <a:lnTo>
                    <a:pt x="18481544" y="13687817"/>
                  </a:lnTo>
                  <a:lnTo>
                    <a:pt x="18529200" y="13654461"/>
                  </a:lnTo>
                  <a:lnTo>
                    <a:pt x="18548256" y="13606809"/>
                  </a:lnTo>
                  <a:lnTo>
                    <a:pt x="18567320" y="13592513"/>
                  </a:lnTo>
                  <a:lnTo>
                    <a:pt x="18572084" y="13592513"/>
                  </a:lnTo>
                  <a:lnTo>
                    <a:pt x="18576848" y="13597281"/>
                  </a:lnTo>
                  <a:lnTo>
                    <a:pt x="18576848" y="13630637"/>
                  </a:lnTo>
                  <a:lnTo>
                    <a:pt x="18553024" y="13668757"/>
                  </a:lnTo>
                  <a:lnTo>
                    <a:pt x="18533960" y="13692581"/>
                  </a:lnTo>
                  <a:lnTo>
                    <a:pt x="18529200" y="13706877"/>
                  </a:lnTo>
                  <a:lnTo>
                    <a:pt x="18538728" y="13706877"/>
                  </a:lnTo>
                  <a:lnTo>
                    <a:pt x="18557788" y="13706877"/>
                  </a:lnTo>
                  <a:lnTo>
                    <a:pt x="18567320" y="13697345"/>
                  </a:lnTo>
                  <a:lnTo>
                    <a:pt x="18591144" y="13649697"/>
                  </a:lnTo>
                  <a:lnTo>
                    <a:pt x="18600672" y="13616341"/>
                  </a:lnTo>
                  <a:lnTo>
                    <a:pt x="18600672" y="13573453"/>
                  </a:lnTo>
                  <a:lnTo>
                    <a:pt x="18600672" y="13544861"/>
                  </a:lnTo>
                  <a:lnTo>
                    <a:pt x="18600672" y="13521037"/>
                  </a:lnTo>
                  <a:lnTo>
                    <a:pt x="18591144" y="13501977"/>
                  </a:lnTo>
                  <a:lnTo>
                    <a:pt x="18595912" y="13497213"/>
                  </a:lnTo>
                  <a:lnTo>
                    <a:pt x="18662624" y="13525801"/>
                  </a:lnTo>
                  <a:lnTo>
                    <a:pt x="18695976" y="13530569"/>
                  </a:lnTo>
                  <a:lnTo>
                    <a:pt x="18757924" y="13511505"/>
                  </a:lnTo>
                  <a:lnTo>
                    <a:pt x="18767456" y="13516273"/>
                  </a:lnTo>
                  <a:lnTo>
                    <a:pt x="18776984" y="13530569"/>
                  </a:lnTo>
                  <a:lnTo>
                    <a:pt x="18829400" y="13568689"/>
                  </a:lnTo>
                  <a:lnTo>
                    <a:pt x="18838928" y="13582985"/>
                  </a:lnTo>
                  <a:lnTo>
                    <a:pt x="18853224" y="13630637"/>
                  </a:lnTo>
                  <a:lnTo>
                    <a:pt x="18910408" y="13687817"/>
                  </a:lnTo>
                  <a:lnTo>
                    <a:pt x="18958060" y="13716409"/>
                  </a:lnTo>
                  <a:lnTo>
                    <a:pt x="18958060" y="13725937"/>
                  </a:lnTo>
                  <a:lnTo>
                    <a:pt x="18991416" y="13759293"/>
                  </a:lnTo>
                  <a:lnTo>
                    <a:pt x="19015240" y="13768825"/>
                  </a:lnTo>
                  <a:lnTo>
                    <a:pt x="19020008" y="13797413"/>
                  </a:lnTo>
                  <a:lnTo>
                    <a:pt x="19010476" y="13821241"/>
                  </a:lnTo>
                  <a:lnTo>
                    <a:pt x="18986648" y="13840301"/>
                  </a:lnTo>
                  <a:lnTo>
                    <a:pt x="18939000" y="13821241"/>
                  </a:lnTo>
                  <a:lnTo>
                    <a:pt x="18934232" y="13821241"/>
                  </a:lnTo>
                  <a:lnTo>
                    <a:pt x="18939000" y="13835537"/>
                  </a:lnTo>
                  <a:lnTo>
                    <a:pt x="18972352" y="13873657"/>
                  </a:lnTo>
                  <a:lnTo>
                    <a:pt x="18996180" y="13887953"/>
                  </a:lnTo>
                  <a:lnTo>
                    <a:pt x="19000944" y="13935605"/>
                  </a:lnTo>
                  <a:lnTo>
                    <a:pt x="18996180" y="13959429"/>
                  </a:lnTo>
                  <a:lnTo>
                    <a:pt x="18977120" y="13992785"/>
                  </a:lnTo>
                  <a:lnTo>
                    <a:pt x="18981884" y="14007081"/>
                  </a:lnTo>
                  <a:lnTo>
                    <a:pt x="19010476" y="14035669"/>
                  </a:lnTo>
                  <a:lnTo>
                    <a:pt x="19020008" y="14040437"/>
                  </a:lnTo>
                  <a:lnTo>
                    <a:pt x="19034304" y="14054733"/>
                  </a:lnTo>
                  <a:lnTo>
                    <a:pt x="19015240" y="14088089"/>
                  </a:lnTo>
                  <a:lnTo>
                    <a:pt x="19015240" y="14121445"/>
                  </a:lnTo>
                  <a:lnTo>
                    <a:pt x="18996180" y="14135737"/>
                  </a:lnTo>
                  <a:lnTo>
                    <a:pt x="18977120" y="14169093"/>
                  </a:lnTo>
                  <a:lnTo>
                    <a:pt x="18948528" y="14197685"/>
                  </a:lnTo>
                  <a:lnTo>
                    <a:pt x="18929468" y="14250101"/>
                  </a:lnTo>
                  <a:lnTo>
                    <a:pt x="18910408" y="14292989"/>
                  </a:lnTo>
                  <a:lnTo>
                    <a:pt x="18905640" y="14340641"/>
                  </a:lnTo>
                  <a:lnTo>
                    <a:pt x="18900880" y="14354933"/>
                  </a:lnTo>
                  <a:lnTo>
                    <a:pt x="18881816" y="14402585"/>
                  </a:lnTo>
                  <a:lnTo>
                    <a:pt x="18877052" y="14464533"/>
                  </a:lnTo>
                  <a:lnTo>
                    <a:pt x="18886584" y="14564601"/>
                  </a:lnTo>
                  <a:lnTo>
                    <a:pt x="18886584" y="14574129"/>
                  </a:lnTo>
                  <a:lnTo>
                    <a:pt x="18900880" y="14578897"/>
                  </a:lnTo>
                  <a:lnTo>
                    <a:pt x="18896112" y="14583661"/>
                  </a:lnTo>
                  <a:lnTo>
                    <a:pt x="18891348" y="14588425"/>
                  </a:lnTo>
                  <a:lnTo>
                    <a:pt x="18872288" y="14621781"/>
                  </a:lnTo>
                  <a:lnTo>
                    <a:pt x="18872288" y="14640841"/>
                  </a:lnTo>
                  <a:lnTo>
                    <a:pt x="18881816" y="14655137"/>
                  </a:lnTo>
                  <a:lnTo>
                    <a:pt x="18881816" y="14698025"/>
                  </a:lnTo>
                  <a:lnTo>
                    <a:pt x="18867520" y="14759969"/>
                  </a:lnTo>
                  <a:lnTo>
                    <a:pt x="18862756" y="14769501"/>
                  </a:lnTo>
                  <a:lnTo>
                    <a:pt x="18857992" y="14788561"/>
                  </a:lnTo>
                  <a:lnTo>
                    <a:pt x="18853224" y="14802857"/>
                  </a:lnTo>
                  <a:lnTo>
                    <a:pt x="18853224" y="14812385"/>
                  </a:lnTo>
                  <a:lnTo>
                    <a:pt x="18848464" y="14826681"/>
                  </a:lnTo>
                  <a:lnTo>
                    <a:pt x="18853224" y="14840977"/>
                  </a:lnTo>
                  <a:lnTo>
                    <a:pt x="18857992" y="14845741"/>
                  </a:lnTo>
                  <a:lnTo>
                    <a:pt x="18834168" y="14893393"/>
                  </a:lnTo>
                  <a:lnTo>
                    <a:pt x="18829400" y="14950577"/>
                  </a:lnTo>
                  <a:lnTo>
                    <a:pt x="18819872" y="14974401"/>
                  </a:lnTo>
                  <a:lnTo>
                    <a:pt x="18800808" y="14998225"/>
                  </a:lnTo>
                  <a:lnTo>
                    <a:pt x="18762688" y="15031581"/>
                  </a:lnTo>
                  <a:lnTo>
                    <a:pt x="18748392" y="15055409"/>
                  </a:lnTo>
                  <a:lnTo>
                    <a:pt x="18724568" y="15079233"/>
                  </a:lnTo>
                  <a:lnTo>
                    <a:pt x="18705508" y="15103061"/>
                  </a:lnTo>
                  <a:lnTo>
                    <a:pt x="18672152" y="15160241"/>
                  </a:lnTo>
                  <a:lnTo>
                    <a:pt x="18643560" y="15217421"/>
                  </a:lnTo>
                  <a:lnTo>
                    <a:pt x="18581616" y="15293665"/>
                  </a:lnTo>
                  <a:lnTo>
                    <a:pt x="18572084" y="15312725"/>
                  </a:lnTo>
                  <a:lnTo>
                    <a:pt x="18567320" y="15331785"/>
                  </a:lnTo>
                  <a:lnTo>
                    <a:pt x="18548256" y="15365141"/>
                  </a:lnTo>
                  <a:lnTo>
                    <a:pt x="18538728" y="15408029"/>
                  </a:lnTo>
                  <a:lnTo>
                    <a:pt x="18519668" y="15427089"/>
                  </a:lnTo>
                  <a:lnTo>
                    <a:pt x="18505372" y="15474741"/>
                  </a:lnTo>
                  <a:lnTo>
                    <a:pt x="18452956" y="15550981"/>
                  </a:lnTo>
                  <a:lnTo>
                    <a:pt x="18438660" y="15574805"/>
                  </a:lnTo>
                  <a:lnTo>
                    <a:pt x="18400540" y="15612929"/>
                  </a:lnTo>
                  <a:lnTo>
                    <a:pt x="18357656" y="15670109"/>
                  </a:lnTo>
                  <a:lnTo>
                    <a:pt x="18300472" y="15717761"/>
                  </a:lnTo>
                  <a:lnTo>
                    <a:pt x="18290944" y="15736821"/>
                  </a:lnTo>
                  <a:lnTo>
                    <a:pt x="18271880" y="15760645"/>
                  </a:lnTo>
                  <a:lnTo>
                    <a:pt x="18248056" y="15794001"/>
                  </a:lnTo>
                  <a:lnTo>
                    <a:pt x="18214700" y="15827357"/>
                  </a:lnTo>
                  <a:lnTo>
                    <a:pt x="18209936" y="15851185"/>
                  </a:lnTo>
                  <a:lnTo>
                    <a:pt x="18200404" y="15870245"/>
                  </a:lnTo>
                  <a:lnTo>
                    <a:pt x="18176576" y="15879777"/>
                  </a:lnTo>
                  <a:lnTo>
                    <a:pt x="18157520" y="15894069"/>
                  </a:lnTo>
                  <a:lnTo>
                    <a:pt x="18105104" y="15979841"/>
                  </a:lnTo>
                  <a:lnTo>
                    <a:pt x="18095572" y="15998905"/>
                  </a:lnTo>
                  <a:lnTo>
                    <a:pt x="18095572" y="16013197"/>
                  </a:lnTo>
                  <a:lnTo>
                    <a:pt x="18062216" y="16041789"/>
                  </a:lnTo>
                  <a:lnTo>
                    <a:pt x="18038392" y="16075145"/>
                  </a:lnTo>
                  <a:lnTo>
                    <a:pt x="18005032" y="16098969"/>
                  </a:lnTo>
                  <a:lnTo>
                    <a:pt x="17971680" y="16127561"/>
                  </a:lnTo>
                  <a:lnTo>
                    <a:pt x="17885904" y="16179977"/>
                  </a:lnTo>
                  <a:lnTo>
                    <a:pt x="17866844" y="16199037"/>
                  </a:lnTo>
                  <a:lnTo>
                    <a:pt x="17819192" y="16227629"/>
                  </a:lnTo>
                  <a:lnTo>
                    <a:pt x="17800132" y="16227629"/>
                  </a:lnTo>
                  <a:lnTo>
                    <a:pt x="17757248" y="16241925"/>
                  </a:lnTo>
                  <a:lnTo>
                    <a:pt x="17733420" y="16256221"/>
                  </a:lnTo>
                  <a:lnTo>
                    <a:pt x="17714360" y="16251453"/>
                  </a:lnTo>
                  <a:lnTo>
                    <a:pt x="17709596" y="16232393"/>
                  </a:lnTo>
                  <a:lnTo>
                    <a:pt x="17695300" y="16232393"/>
                  </a:lnTo>
                  <a:lnTo>
                    <a:pt x="17685768" y="16232393"/>
                  </a:lnTo>
                  <a:lnTo>
                    <a:pt x="17661944" y="16218101"/>
                  </a:lnTo>
                  <a:lnTo>
                    <a:pt x="17642884" y="16218101"/>
                  </a:lnTo>
                  <a:lnTo>
                    <a:pt x="17628588" y="16208569"/>
                  </a:lnTo>
                  <a:lnTo>
                    <a:pt x="17600000" y="16213333"/>
                  </a:lnTo>
                  <a:lnTo>
                    <a:pt x="17604764" y="16137093"/>
                  </a:lnTo>
                  <a:lnTo>
                    <a:pt x="17600000" y="16122797"/>
                  </a:lnTo>
                  <a:lnTo>
                    <a:pt x="17585704" y="16137093"/>
                  </a:lnTo>
                  <a:lnTo>
                    <a:pt x="17557112" y="16165681"/>
                  </a:lnTo>
                  <a:lnTo>
                    <a:pt x="17542816" y="16170449"/>
                  </a:lnTo>
                  <a:lnTo>
                    <a:pt x="17528520" y="16170449"/>
                  </a:lnTo>
                  <a:lnTo>
                    <a:pt x="17533288" y="16151389"/>
                  </a:lnTo>
                  <a:lnTo>
                    <a:pt x="17552348" y="16132325"/>
                  </a:lnTo>
                  <a:lnTo>
                    <a:pt x="17547580" y="16127561"/>
                  </a:lnTo>
                  <a:lnTo>
                    <a:pt x="17542816" y="16127561"/>
                  </a:lnTo>
                  <a:lnTo>
                    <a:pt x="17518992" y="16137093"/>
                  </a:lnTo>
                  <a:lnTo>
                    <a:pt x="17509460" y="16146621"/>
                  </a:lnTo>
                  <a:lnTo>
                    <a:pt x="17476104" y="16189509"/>
                  </a:lnTo>
                  <a:lnTo>
                    <a:pt x="17457044" y="16227629"/>
                  </a:lnTo>
                  <a:lnTo>
                    <a:pt x="17442748" y="16237161"/>
                  </a:lnTo>
                  <a:lnTo>
                    <a:pt x="17433216" y="16256221"/>
                  </a:lnTo>
                  <a:lnTo>
                    <a:pt x="17418924" y="16270517"/>
                  </a:lnTo>
                  <a:lnTo>
                    <a:pt x="17399864" y="16265749"/>
                  </a:lnTo>
                  <a:lnTo>
                    <a:pt x="17385568" y="16270517"/>
                  </a:lnTo>
                  <a:lnTo>
                    <a:pt x="17356976" y="16260985"/>
                  </a:lnTo>
                  <a:lnTo>
                    <a:pt x="17347448" y="16260985"/>
                  </a:lnTo>
                  <a:lnTo>
                    <a:pt x="17371272" y="16289577"/>
                  </a:lnTo>
                  <a:lnTo>
                    <a:pt x="17352212" y="16332461"/>
                  </a:lnTo>
                  <a:lnTo>
                    <a:pt x="17347448" y="16337229"/>
                  </a:lnTo>
                  <a:lnTo>
                    <a:pt x="17342680" y="16332461"/>
                  </a:lnTo>
                  <a:lnTo>
                    <a:pt x="17342680" y="16322933"/>
                  </a:lnTo>
                  <a:lnTo>
                    <a:pt x="17337916" y="16313401"/>
                  </a:lnTo>
                  <a:lnTo>
                    <a:pt x="17323620" y="16303873"/>
                  </a:lnTo>
                  <a:lnTo>
                    <a:pt x="17323620" y="16289577"/>
                  </a:lnTo>
                  <a:lnTo>
                    <a:pt x="17328384" y="16280045"/>
                  </a:lnTo>
                  <a:lnTo>
                    <a:pt x="17328384" y="16270517"/>
                  </a:lnTo>
                  <a:lnTo>
                    <a:pt x="17318856" y="16260985"/>
                  </a:lnTo>
                  <a:lnTo>
                    <a:pt x="17309324" y="16256221"/>
                  </a:lnTo>
                  <a:lnTo>
                    <a:pt x="17304560" y="16256221"/>
                  </a:lnTo>
                  <a:lnTo>
                    <a:pt x="17304560" y="16246689"/>
                  </a:lnTo>
                  <a:lnTo>
                    <a:pt x="17309324" y="16241925"/>
                  </a:lnTo>
                  <a:lnTo>
                    <a:pt x="17314088" y="16237161"/>
                  </a:lnTo>
                  <a:lnTo>
                    <a:pt x="17328384" y="16232393"/>
                  </a:lnTo>
                  <a:lnTo>
                    <a:pt x="17352212" y="16222865"/>
                  </a:lnTo>
                  <a:lnTo>
                    <a:pt x="17366508" y="16222865"/>
                  </a:lnTo>
                  <a:lnTo>
                    <a:pt x="17376036" y="16218101"/>
                  </a:lnTo>
                  <a:lnTo>
                    <a:pt x="17385568" y="16222865"/>
                  </a:lnTo>
                  <a:lnTo>
                    <a:pt x="17395096" y="16213333"/>
                  </a:lnTo>
                  <a:lnTo>
                    <a:pt x="17404628" y="16213333"/>
                  </a:lnTo>
                  <a:lnTo>
                    <a:pt x="17409392" y="16199037"/>
                  </a:lnTo>
                  <a:lnTo>
                    <a:pt x="17409392" y="16179977"/>
                  </a:lnTo>
                  <a:lnTo>
                    <a:pt x="17414160" y="16175213"/>
                  </a:lnTo>
                  <a:lnTo>
                    <a:pt x="17414160" y="16170449"/>
                  </a:lnTo>
                  <a:lnTo>
                    <a:pt x="17423688" y="16160917"/>
                  </a:lnTo>
                  <a:lnTo>
                    <a:pt x="17428452" y="16137093"/>
                  </a:lnTo>
                  <a:lnTo>
                    <a:pt x="17433216" y="16118033"/>
                  </a:lnTo>
                  <a:lnTo>
                    <a:pt x="17433216" y="16108501"/>
                  </a:lnTo>
                  <a:lnTo>
                    <a:pt x="17437984" y="16098969"/>
                  </a:lnTo>
                  <a:lnTo>
                    <a:pt x="17433216" y="16089441"/>
                  </a:lnTo>
                  <a:lnTo>
                    <a:pt x="17428452" y="16084677"/>
                  </a:lnTo>
                  <a:lnTo>
                    <a:pt x="17423688" y="16079909"/>
                  </a:lnTo>
                  <a:lnTo>
                    <a:pt x="17423688" y="16070381"/>
                  </a:lnTo>
                  <a:lnTo>
                    <a:pt x="17423688" y="16051321"/>
                  </a:lnTo>
                  <a:lnTo>
                    <a:pt x="17423688" y="16037025"/>
                  </a:lnTo>
                  <a:lnTo>
                    <a:pt x="17428452" y="15975077"/>
                  </a:lnTo>
                  <a:lnTo>
                    <a:pt x="17433216" y="15960781"/>
                  </a:lnTo>
                  <a:lnTo>
                    <a:pt x="17414160" y="15870245"/>
                  </a:lnTo>
                  <a:lnTo>
                    <a:pt x="17409392" y="15846421"/>
                  </a:lnTo>
                  <a:lnTo>
                    <a:pt x="17404628" y="15832125"/>
                  </a:lnTo>
                  <a:lnTo>
                    <a:pt x="17395096" y="15808297"/>
                  </a:lnTo>
                  <a:lnTo>
                    <a:pt x="17390332" y="15798769"/>
                  </a:lnTo>
                  <a:lnTo>
                    <a:pt x="17390332" y="15789237"/>
                  </a:lnTo>
                  <a:lnTo>
                    <a:pt x="17399864" y="15779709"/>
                  </a:lnTo>
                  <a:lnTo>
                    <a:pt x="17409392" y="15774941"/>
                  </a:lnTo>
                  <a:lnTo>
                    <a:pt x="17433216" y="15774941"/>
                  </a:lnTo>
                  <a:lnTo>
                    <a:pt x="17437984" y="15770177"/>
                  </a:lnTo>
                  <a:lnTo>
                    <a:pt x="17466576" y="15760645"/>
                  </a:lnTo>
                  <a:lnTo>
                    <a:pt x="17471340" y="15751117"/>
                  </a:lnTo>
                  <a:lnTo>
                    <a:pt x="17485636" y="15736821"/>
                  </a:lnTo>
                  <a:lnTo>
                    <a:pt x="17490400" y="15727293"/>
                  </a:lnTo>
                  <a:lnTo>
                    <a:pt x="17495164" y="15708229"/>
                  </a:lnTo>
                  <a:lnTo>
                    <a:pt x="17509460" y="15703465"/>
                  </a:lnTo>
                  <a:lnTo>
                    <a:pt x="17518992" y="15689169"/>
                  </a:lnTo>
                  <a:lnTo>
                    <a:pt x="17528520" y="15684405"/>
                  </a:lnTo>
                  <a:lnTo>
                    <a:pt x="17538052" y="15693937"/>
                  </a:lnTo>
                  <a:lnTo>
                    <a:pt x="17547580" y="15703465"/>
                  </a:lnTo>
                  <a:lnTo>
                    <a:pt x="17557112" y="15703465"/>
                  </a:lnTo>
                  <a:lnTo>
                    <a:pt x="17552348" y="15708229"/>
                  </a:lnTo>
                  <a:lnTo>
                    <a:pt x="17552348" y="15727293"/>
                  </a:lnTo>
                  <a:lnTo>
                    <a:pt x="17552348" y="15741585"/>
                  </a:lnTo>
                  <a:lnTo>
                    <a:pt x="17566640" y="15760645"/>
                  </a:lnTo>
                  <a:lnTo>
                    <a:pt x="17566640" y="15789237"/>
                  </a:lnTo>
                  <a:lnTo>
                    <a:pt x="17561876" y="15813065"/>
                  </a:lnTo>
                  <a:lnTo>
                    <a:pt x="17576172" y="15827357"/>
                  </a:lnTo>
                  <a:lnTo>
                    <a:pt x="17590468" y="15836889"/>
                  </a:lnTo>
                  <a:lnTo>
                    <a:pt x="17590468" y="15841653"/>
                  </a:lnTo>
                  <a:lnTo>
                    <a:pt x="17595232" y="15851185"/>
                  </a:lnTo>
                  <a:lnTo>
                    <a:pt x="17609528" y="15860713"/>
                  </a:lnTo>
                  <a:lnTo>
                    <a:pt x="17623824" y="15841653"/>
                  </a:lnTo>
                  <a:lnTo>
                    <a:pt x="17647648" y="15817829"/>
                  </a:lnTo>
                  <a:lnTo>
                    <a:pt x="17666712" y="15770177"/>
                  </a:lnTo>
                  <a:lnTo>
                    <a:pt x="17676240" y="15746353"/>
                  </a:lnTo>
                  <a:lnTo>
                    <a:pt x="17676240" y="15741585"/>
                  </a:lnTo>
                  <a:lnTo>
                    <a:pt x="17681004" y="15741585"/>
                  </a:lnTo>
                  <a:lnTo>
                    <a:pt x="17690536" y="15746353"/>
                  </a:lnTo>
                  <a:lnTo>
                    <a:pt x="17695300" y="15751117"/>
                  </a:lnTo>
                  <a:lnTo>
                    <a:pt x="17709596" y="15741585"/>
                  </a:lnTo>
                  <a:lnTo>
                    <a:pt x="17723892" y="15727293"/>
                  </a:lnTo>
                  <a:lnTo>
                    <a:pt x="17723892" y="15708229"/>
                  </a:lnTo>
                  <a:lnTo>
                    <a:pt x="17723892" y="15684405"/>
                  </a:lnTo>
                  <a:lnTo>
                    <a:pt x="17738188" y="15646285"/>
                  </a:lnTo>
                  <a:lnTo>
                    <a:pt x="17747716" y="15636753"/>
                  </a:lnTo>
                  <a:lnTo>
                    <a:pt x="17757248" y="15631989"/>
                  </a:lnTo>
                  <a:lnTo>
                    <a:pt x="17762012" y="15627225"/>
                  </a:lnTo>
                  <a:lnTo>
                    <a:pt x="17776308" y="15622457"/>
                  </a:lnTo>
                  <a:lnTo>
                    <a:pt x="17781072" y="15612929"/>
                  </a:lnTo>
                  <a:lnTo>
                    <a:pt x="17776308" y="15598633"/>
                  </a:lnTo>
                  <a:lnTo>
                    <a:pt x="17781072" y="15589101"/>
                  </a:lnTo>
                  <a:lnTo>
                    <a:pt x="17785840" y="15574805"/>
                  </a:lnTo>
                  <a:lnTo>
                    <a:pt x="17785840" y="15560513"/>
                  </a:lnTo>
                  <a:lnTo>
                    <a:pt x="17795368" y="15555745"/>
                  </a:lnTo>
                  <a:lnTo>
                    <a:pt x="17804896" y="15550981"/>
                  </a:lnTo>
                  <a:lnTo>
                    <a:pt x="17809664" y="15541453"/>
                  </a:lnTo>
                  <a:lnTo>
                    <a:pt x="17814428" y="15531921"/>
                  </a:lnTo>
                  <a:lnTo>
                    <a:pt x="17819192" y="15517625"/>
                  </a:lnTo>
                  <a:lnTo>
                    <a:pt x="17814428" y="15503329"/>
                  </a:lnTo>
                  <a:lnTo>
                    <a:pt x="17823960" y="15489033"/>
                  </a:lnTo>
                  <a:lnTo>
                    <a:pt x="17838256" y="15484269"/>
                  </a:lnTo>
                  <a:lnTo>
                    <a:pt x="17843020" y="15474741"/>
                  </a:lnTo>
                  <a:lnTo>
                    <a:pt x="17843020" y="15465209"/>
                  </a:lnTo>
                  <a:lnTo>
                    <a:pt x="17843020" y="15455677"/>
                  </a:lnTo>
                  <a:lnTo>
                    <a:pt x="17847784" y="15450913"/>
                  </a:lnTo>
                  <a:lnTo>
                    <a:pt x="17847784" y="15436617"/>
                  </a:lnTo>
                  <a:lnTo>
                    <a:pt x="17843020" y="15422321"/>
                  </a:lnTo>
                  <a:lnTo>
                    <a:pt x="17857316" y="15393733"/>
                  </a:lnTo>
                  <a:lnTo>
                    <a:pt x="17866844" y="15369905"/>
                  </a:lnTo>
                  <a:lnTo>
                    <a:pt x="17871608" y="15336549"/>
                  </a:lnTo>
                  <a:lnTo>
                    <a:pt x="17871608" y="15331785"/>
                  </a:lnTo>
                  <a:lnTo>
                    <a:pt x="17876376" y="15317489"/>
                  </a:lnTo>
                  <a:lnTo>
                    <a:pt x="17876376" y="15312725"/>
                  </a:lnTo>
                  <a:lnTo>
                    <a:pt x="17885904" y="15288901"/>
                  </a:lnTo>
                  <a:lnTo>
                    <a:pt x="17895436" y="15274605"/>
                  </a:lnTo>
                  <a:lnTo>
                    <a:pt x="17895436" y="15260309"/>
                  </a:lnTo>
                  <a:lnTo>
                    <a:pt x="17890672" y="15246013"/>
                  </a:lnTo>
                  <a:lnTo>
                    <a:pt x="17890672" y="15236481"/>
                  </a:lnTo>
                  <a:lnTo>
                    <a:pt x="17900200" y="15226953"/>
                  </a:lnTo>
                  <a:lnTo>
                    <a:pt x="17904968" y="15217421"/>
                  </a:lnTo>
                  <a:lnTo>
                    <a:pt x="17909732" y="15212657"/>
                  </a:lnTo>
                  <a:lnTo>
                    <a:pt x="17919260" y="15207893"/>
                  </a:lnTo>
                  <a:lnTo>
                    <a:pt x="17924028" y="15203129"/>
                  </a:lnTo>
                  <a:lnTo>
                    <a:pt x="17938320" y="15203129"/>
                  </a:lnTo>
                  <a:lnTo>
                    <a:pt x="17957384" y="15184065"/>
                  </a:lnTo>
                  <a:lnTo>
                    <a:pt x="17971680" y="15160241"/>
                  </a:lnTo>
                  <a:lnTo>
                    <a:pt x="17976444" y="15145945"/>
                  </a:lnTo>
                  <a:lnTo>
                    <a:pt x="17981208" y="15141181"/>
                  </a:lnTo>
                  <a:lnTo>
                    <a:pt x="17971680" y="15122121"/>
                  </a:lnTo>
                  <a:lnTo>
                    <a:pt x="17966912" y="15103061"/>
                  </a:lnTo>
                  <a:lnTo>
                    <a:pt x="17957384" y="15079233"/>
                  </a:lnTo>
                  <a:lnTo>
                    <a:pt x="17952616" y="15069705"/>
                  </a:lnTo>
                  <a:lnTo>
                    <a:pt x="17957384" y="15055409"/>
                  </a:lnTo>
                  <a:lnTo>
                    <a:pt x="17966912" y="15045877"/>
                  </a:lnTo>
                  <a:lnTo>
                    <a:pt x="17966912" y="15041113"/>
                  </a:lnTo>
                  <a:lnTo>
                    <a:pt x="17971680" y="15026817"/>
                  </a:lnTo>
                  <a:lnTo>
                    <a:pt x="17966912" y="15017289"/>
                  </a:lnTo>
                  <a:lnTo>
                    <a:pt x="17952616" y="14998225"/>
                  </a:lnTo>
                  <a:lnTo>
                    <a:pt x="17933556" y="14993461"/>
                  </a:lnTo>
                  <a:lnTo>
                    <a:pt x="17914496" y="14988697"/>
                  </a:lnTo>
                  <a:lnTo>
                    <a:pt x="17909732" y="14988697"/>
                  </a:lnTo>
                  <a:lnTo>
                    <a:pt x="17895436" y="14988697"/>
                  </a:lnTo>
                  <a:lnTo>
                    <a:pt x="17838256" y="15012521"/>
                  </a:lnTo>
                  <a:lnTo>
                    <a:pt x="17814428" y="15026817"/>
                  </a:lnTo>
                  <a:lnTo>
                    <a:pt x="17795368" y="15045877"/>
                  </a:lnTo>
                  <a:lnTo>
                    <a:pt x="17781072" y="15050641"/>
                  </a:lnTo>
                  <a:lnTo>
                    <a:pt x="17752480" y="15050641"/>
                  </a:lnTo>
                  <a:lnTo>
                    <a:pt x="17728656" y="15050641"/>
                  </a:lnTo>
                  <a:lnTo>
                    <a:pt x="17709596" y="15060173"/>
                  </a:lnTo>
                  <a:lnTo>
                    <a:pt x="17690536" y="15079233"/>
                  </a:lnTo>
                  <a:lnTo>
                    <a:pt x="17671476" y="15088765"/>
                  </a:lnTo>
                  <a:lnTo>
                    <a:pt x="17661944" y="15088765"/>
                  </a:lnTo>
                  <a:lnTo>
                    <a:pt x="17652416" y="15098293"/>
                  </a:lnTo>
                  <a:lnTo>
                    <a:pt x="17638120" y="15126885"/>
                  </a:lnTo>
                  <a:lnTo>
                    <a:pt x="17623824" y="15141181"/>
                  </a:lnTo>
                  <a:lnTo>
                    <a:pt x="17609528" y="15136417"/>
                  </a:lnTo>
                  <a:lnTo>
                    <a:pt x="17576172" y="15141181"/>
                  </a:lnTo>
                  <a:lnTo>
                    <a:pt x="17518992" y="15150709"/>
                  </a:lnTo>
                  <a:lnTo>
                    <a:pt x="17480872" y="15150709"/>
                  </a:lnTo>
                  <a:lnTo>
                    <a:pt x="17466576" y="15141181"/>
                  </a:lnTo>
                  <a:lnTo>
                    <a:pt x="17447512" y="15136417"/>
                  </a:lnTo>
                  <a:lnTo>
                    <a:pt x="17414160" y="15145945"/>
                  </a:lnTo>
                  <a:lnTo>
                    <a:pt x="17395096" y="15145945"/>
                  </a:lnTo>
                  <a:lnTo>
                    <a:pt x="17390332" y="15141181"/>
                  </a:lnTo>
                  <a:lnTo>
                    <a:pt x="17385568" y="15131649"/>
                  </a:lnTo>
                  <a:lnTo>
                    <a:pt x="17380800" y="15112589"/>
                  </a:lnTo>
                  <a:lnTo>
                    <a:pt x="17371272" y="15088765"/>
                  </a:lnTo>
                  <a:lnTo>
                    <a:pt x="17352212" y="15069705"/>
                  </a:lnTo>
                  <a:lnTo>
                    <a:pt x="17352212" y="15045877"/>
                  </a:lnTo>
                  <a:lnTo>
                    <a:pt x="17361740" y="15017289"/>
                  </a:lnTo>
                  <a:lnTo>
                    <a:pt x="17366508" y="14993461"/>
                  </a:lnTo>
                  <a:lnTo>
                    <a:pt x="17356976" y="14983933"/>
                  </a:lnTo>
                  <a:lnTo>
                    <a:pt x="17356976" y="14974401"/>
                  </a:lnTo>
                  <a:lnTo>
                    <a:pt x="17342680" y="14960105"/>
                  </a:lnTo>
                  <a:lnTo>
                    <a:pt x="17333152" y="14941045"/>
                  </a:lnTo>
                  <a:lnTo>
                    <a:pt x="17323620" y="14931513"/>
                  </a:lnTo>
                  <a:lnTo>
                    <a:pt x="17328384" y="14912453"/>
                  </a:lnTo>
                  <a:lnTo>
                    <a:pt x="17337916" y="14893393"/>
                  </a:lnTo>
                  <a:lnTo>
                    <a:pt x="17323620" y="14869569"/>
                  </a:lnTo>
                  <a:lnTo>
                    <a:pt x="17295032" y="14869569"/>
                  </a:lnTo>
                  <a:lnTo>
                    <a:pt x="17271204" y="14864805"/>
                  </a:lnTo>
                  <a:lnTo>
                    <a:pt x="17242612" y="14845741"/>
                  </a:lnTo>
                  <a:lnTo>
                    <a:pt x="17204492" y="14793325"/>
                  </a:lnTo>
                  <a:lnTo>
                    <a:pt x="17185432" y="14774265"/>
                  </a:lnTo>
                  <a:lnTo>
                    <a:pt x="17175904" y="14769501"/>
                  </a:lnTo>
                  <a:lnTo>
                    <a:pt x="17166372" y="14759969"/>
                  </a:lnTo>
                  <a:lnTo>
                    <a:pt x="17161608" y="14745673"/>
                  </a:lnTo>
                  <a:lnTo>
                    <a:pt x="17142544" y="14745673"/>
                  </a:lnTo>
                  <a:lnTo>
                    <a:pt x="17137780" y="14750441"/>
                  </a:lnTo>
                  <a:lnTo>
                    <a:pt x="17133016" y="14755205"/>
                  </a:lnTo>
                  <a:lnTo>
                    <a:pt x="17123484" y="14750441"/>
                  </a:lnTo>
                  <a:lnTo>
                    <a:pt x="17109192" y="14745673"/>
                  </a:lnTo>
                  <a:lnTo>
                    <a:pt x="17099660" y="14750441"/>
                  </a:lnTo>
                  <a:lnTo>
                    <a:pt x="17094896" y="14750441"/>
                  </a:lnTo>
                  <a:lnTo>
                    <a:pt x="17085364" y="14736145"/>
                  </a:lnTo>
                  <a:lnTo>
                    <a:pt x="17071068" y="14731381"/>
                  </a:lnTo>
                  <a:lnTo>
                    <a:pt x="17056772" y="14726613"/>
                  </a:lnTo>
                  <a:lnTo>
                    <a:pt x="17047244" y="14721849"/>
                  </a:lnTo>
                  <a:lnTo>
                    <a:pt x="17052008" y="14707553"/>
                  </a:lnTo>
                  <a:lnTo>
                    <a:pt x="17047244" y="14702789"/>
                  </a:lnTo>
                  <a:lnTo>
                    <a:pt x="17037712" y="14693257"/>
                  </a:lnTo>
                  <a:lnTo>
                    <a:pt x="17009120" y="14698025"/>
                  </a:lnTo>
                  <a:lnTo>
                    <a:pt x="16961472" y="14707553"/>
                  </a:lnTo>
                  <a:lnTo>
                    <a:pt x="16928116" y="14702789"/>
                  </a:lnTo>
                  <a:lnTo>
                    <a:pt x="16899524" y="14688493"/>
                  </a:lnTo>
                  <a:lnTo>
                    <a:pt x="16880464" y="14678965"/>
                  </a:lnTo>
                  <a:lnTo>
                    <a:pt x="16875696" y="14669433"/>
                  </a:lnTo>
                  <a:lnTo>
                    <a:pt x="16870932" y="14655137"/>
                  </a:lnTo>
                  <a:lnTo>
                    <a:pt x="16856640" y="14645609"/>
                  </a:lnTo>
                  <a:lnTo>
                    <a:pt x="16847108" y="14631313"/>
                  </a:lnTo>
                  <a:lnTo>
                    <a:pt x="16847108" y="14602721"/>
                  </a:lnTo>
                  <a:lnTo>
                    <a:pt x="16851872" y="14578897"/>
                  </a:lnTo>
                  <a:lnTo>
                    <a:pt x="16861404" y="14545541"/>
                  </a:lnTo>
                  <a:lnTo>
                    <a:pt x="16832812" y="14526481"/>
                  </a:lnTo>
                  <a:lnTo>
                    <a:pt x="16823280" y="14512185"/>
                  </a:lnTo>
                  <a:lnTo>
                    <a:pt x="16823280" y="14502653"/>
                  </a:lnTo>
                  <a:lnTo>
                    <a:pt x="16823280" y="14493125"/>
                  </a:lnTo>
                  <a:lnTo>
                    <a:pt x="16818516" y="14488357"/>
                  </a:lnTo>
                  <a:lnTo>
                    <a:pt x="16818516" y="14478829"/>
                  </a:lnTo>
                  <a:lnTo>
                    <a:pt x="16823280" y="14464533"/>
                  </a:lnTo>
                  <a:lnTo>
                    <a:pt x="16823280" y="14445473"/>
                  </a:lnTo>
                  <a:lnTo>
                    <a:pt x="16818516" y="14426413"/>
                  </a:lnTo>
                  <a:lnTo>
                    <a:pt x="16799456" y="14393057"/>
                  </a:lnTo>
                  <a:lnTo>
                    <a:pt x="16775632" y="14354933"/>
                  </a:lnTo>
                  <a:lnTo>
                    <a:pt x="16756568" y="14326345"/>
                  </a:lnTo>
                  <a:lnTo>
                    <a:pt x="16756568" y="14312049"/>
                  </a:lnTo>
                  <a:lnTo>
                    <a:pt x="16751804" y="14297753"/>
                  </a:lnTo>
                  <a:lnTo>
                    <a:pt x="16747040" y="14288221"/>
                  </a:lnTo>
                  <a:lnTo>
                    <a:pt x="16747040" y="14273929"/>
                  </a:lnTo>
                  <a:lnTo>
                    <a:pt x="16747040" y="14259633"/>
                  </a:lnTo>
                  <a:lnTo>
                    <a:pt x="16742276" y="14240573"/>
                  </a:lnTo>
                  <a:lnTo>
                    <a:pt x="16742276" y="14226277"/>
                  </a:lnTo>
                  <a:lnTo>
                    <a:pt x="16737512" y="14216745"/>
                  </a:lnTo>
                  <a:lnTo>
                    <a:pt x="16723216" y="14211981"/>
                  </a:lnTo>
                  <a:lnTo>
                    <a:pt x="16723216" y="14202449"/>
                  </a:lnTo>
                  <a:lnTo>
                    <a:pt x="16723216" y="14178625"/>
                  </a:lnTo>
                  <a:lnTo>
                    <a:pt x="16718448" y="14159565"/>
                  </a:lnTo>
                  <a:lnTo>
                    <a:pt x="16694624" y="14121445"/>
                  </a:lnTo>
                  <a:lnTo>
                    <a:pt x="16689860" y="14092853"/>
                  </a:lnTo>
                  <a:lnTo>
                    <a:pt x="16685092" y="14069025"/>
                  </a:lnTo>
                  <a:lnTo>
                    <a:pt x="16675564" y="14059497"/>
                  </a:lnTo>
                  <a:lnTo>
                    <a:pt x="16675564" y="14045201"/>
                  </a:lnTo>
                  <a:lnTo>
                    <a:pt x="16675564" y="14030905"/>
                  </a:lnTo>
                  <a:lnTo>
                    <a:pt x="16670800" y="14026141"/>
                  </a:lnTo>
                  <a:lnTo>
                    <a:pt x="16666032" y="14016609"/>
                  </a:lnTo>
                  <a:lnTo>
                    <a:pt x="16666032" y="14011845"/>
                  </a:lnTo>
                  <a:lnTo>
                    <a:pt x="16661268" y="14002317"/>
                  </a:lnTo>
                  <a:lnTo>
                    <a:pt x="16651736" y="13988021"/>
                  </a:lnTo>
                  <a:lnTo>
                    <a:pt x="16646972" y="13978489"/>
                  </a:lnTo>
                  <a:lnTo>
                    <a:pt x="16642208" y="13968961"/>
                  </a:lnTo>
                  <a:lnTo>
                    <a:pt x="16637440" y="13964193"/>
                  </a:lnTo>
                  <a:lnTo>
                    <a:pt x="16623148" y="13954665"/>
                  </a:lnTo>
                  <a:lnTo>
                    <a:pt x="16618384" y="13945133"/>
                  </a:lnTo>
                  <a:lnTo>
                    <a:pt x="16618384" y="13935605"/>
                  </a:lnTo>
                  <a:lnTo>
                    <a:pt x="16623148" y="13930837"/>
                  </a:lnTo>
                  <a:lnTo>
                    <a:pt x="16623148" y="13926073"/>
                  </a:lnTo>
                  <a:lnTo>
                    <a:pt x="16623148" y="13911777"/>
                  </a:lnTo>
                  <a:lnTo>
                    <a:pt x="16613616" y="13907013"/>
                  </a:lnTo>
                  <a:lnTo>
                    <a:pt x="16604088" y="13897481"/>
                  </a:lnTo>
                  <a:lnTo>
                    <a:pt x="16594556" y="13878421"/>
                  </a:lnTo>
                  <a:lnTo>
                    <a:pt x="16580260" y="13873657"/>
                  </a:lnTo>
                  <a:lnTo>
                    <a:pt x="16570728" y="13873657"/>
                  </a:lnTo>
                  <a:lnTo>
                    <a:pt x="16565964" y="13864125"/>
                  </a:lnTo>
                  <a:lnTo>
                    <a:pt x="16565964" y="13854597"/>
                  </a:lnTo>
                  <a:lnTo>
                    <a:pt x="16565964" y="13845065"/>
                  </a:lnTo>
                  <a:lnTo>
                    <a:pt x="16561200" y="13835537"/>
                  </a:lnTo>
                  <a:lnTo>
                    <a:pt x="16551672" y="13830769"/>
                  </a:lnTo>
                  <a:lnTo>
                    <a:pt x="16542140" y="13830769"/>
                  </a:lnTo>
                  <a:lnTo>
                    <a:pt x="16523080" y="13826005"/>
                  </a:lnTo>
                  <a:lnTo>
                    <a:pt x="16494488" y="13802181"/>
                  </a:lnTo>
                  <a:lnTo>
                    <a:pt x="16470664" y="13792649"/>
                  </a:lnTo>
                  <a:lnTo>
                    <a:pt x="16451600" y="13792649"/>
                  </a:lnTo>
                  <a:lnTo>
                    <a:pt x="16442072" y="13802181"/>
                  </a:lnTo>
                  <a:lnTo>
                    <a:pt x="16437308" y="13811709"/>
                  </a:lnTo>
                  <a:lnTo>
                    <a:pt x="16427776" y="13811709"/>
                  </a:lnTo>
                  <a:lnTo>
                    <a:pt x="16403952" y="13792649"/>
                  </a:lnTo>
                  <a:lnTo>
                    <a:pt x="16375360" y="13787885"/>
                  </a:lnTo>
                  <a:lnTo>
                    <a:pt x="16361064" y="13773589"/>
                  </a:lnTo>
                  <a:lnTo>
                    <a:pt x="16346768" y="13754529"/>
                  </a:lnTo>
                  <a:lnTo>
                    <a:pt x="16337240" y="13749765"/>
                  </a:lnTo>
                  <a:lnTo>
                    <a:pt x="16327708" y="13749765"/>
                  </a:lnTo>
                  <a:lnTo>
                    <a:pt x="16299120" y="13740233"/>
                  </a:lnTo>
                  <a:lnTo>
                    <a:pt x="16260996" y="13711641"/>
                  </a:lnTo>
                  <a:lnTo>
                    <a:pt x="16241936" y="13702113"/>
                  </a:lnTo>
                  <a:lnTo>
                    <a:pt x="16232408" y="13706877"/>
                  </a:lnTo>
                  <a:lnTo>
                    <a:pt x="16227640" y="13706877"/>
                  </a:lnTo>
                  <a:lnTo>
                    <a:pt x="16222876" y="13706877"/>
                  </a:lnTo>
                  <a:lnTo>
                    <a:pt x="16213344" y="13706877"/>
                  </a:lnTo>
                  <a:lnTo>
                    <a:pt x="16194284" y="13702113"/>
                  </a:lnTo>
                  <a:lnTo>
                    <a:pt x="16170460" y="13702113"/>
                  </a:lnTo>
                  <a:lnTo>
                    <a:pt x="16137104" y="13716409"/>
                  </a:lnTo>
                  <a:lnTo>
                    <a:pt x="16103748" y="13721173"/>
                  </a:lnTo>
                  <a:lnTo>
                    <a:pt x="16070392" y="13725937"/>
                  </a:lnTo>
                  <a:lnTo>
                    <a:pt x="16046568" y="13725937"/>
                  </a:lnTo>
                  <a:lnTo>
                    <a:pt x="16041800" y="13716409"/>
                  </a:lnTo>
                  <a:lnTo>
                    <a:pt x="16003680" y="13725937"/>
                  </a:lnTo>
                  <a:lnTo>
                    <a:pt x="15951264" y="13744997"/>
                  </a:lnTo>
                  <a:lnTo>
                    <a:pt x="15894080" y="13764057"/>
                  </a:lnTo>
                  <a:lnTo>
                    <a:pt x="15832136" y="13773589"/>
                  </a:lnTo>
                  <a:lnTo>
                    <a:pt x="15789248" y="13802181"/>
                  </a:lnTo>
                  <a:lnTo>
                    <a:pt x="15741600" y="13854597"/>
                  </a:lnTo>
                  <a:lnTo>
                    <a:pt x="15713008" y="13887953"/>
                  </a:lnTo>
                  <a:lnTo>
                    <a:pt x="15693948" y="13902249"/>
                  </a:lnTo>
                  <a:lnTo>
                    <a:pt x="15684416" y="13916541"/>
                  </a:lnTo>
                  <a:lnTo>
                    <a:pt x="15689184" y="13940369"/>
                  </a:lnTo>
                  <a:lnTo>
                    <a:pt x="15703476" y="13949897"/>
                  </a:lnTo>
                  <a:lnTo>
                    <a:pt x="15732068" y="13940369"/>
                  </a:lnTo>
                  <a:lnTo>
                    <a:pt x="15760660" y="13945133"/>
                  </a:lnTo>
                  <a:lnTo>
                    <a:pt x="15779720" y="13959429"/>
                  </a:lnTo>
                  <a:lnTo>
                    <a:pt x="15784484" y="13973725"/>
                  </a:lnTo>
                  <a:lnTo>
                    <a:pt x="15779720" y="14002317"/>
                  </a:lnTo>
                  <a:lnTo>
                    <a:pt x="15779720" y="14026141"/>
                  </a:lnTo>
                  <a:lnTo>
                    <a:pt x="15794016" y="14049965"/>
                  </a:lnTo>
                  <a:lnTo>
                    <a:pt x="15794016" y="14078557"/>
                  </a:lnTo>
                  <a:lnTo>
                    <a:pt x="15784484" y="14107149"/>
                  </a:lnTo>
                  <a:lnTo>
                    <a:pt x="15755896" y="14140505"/>
                  </a:lnTo>
                  <a:lnTo>
                    <a:pt x="15713008" y="14173861"/>
                  </a:lnTo>
                  <a:lnTo>
                    <a:pt x="15689184" y="14202449"/>
                  </a:lnTo>
                  <a:lnTo>
                    <a:pt x="15670120" y="14245337"/>
                  </a:lnTo>
                  <a:lnTo>
                    <a:pt x="15646296" y="14288221"/>
                  </a:lnTo>
                  <a:lnTo>
                    <a:pt x="15636764" y="14307285"/>
                  </a:lnTo>
                  <a:lnTo>
                    <a:pt x="15636764" y="14326345"/>
                  </a:lnTo>
                  <a:lnTo>
                    <a:pt x="15627236" y="14345405"/>
                  </a:lnTo>
                  <a:lnTo>
                    <a:pt x="15612940" y="14364465"/>
                  </a:lnTo>
                  <a:lnTo>
                    <a:pt x="15598644" y="14388289"/>
                  </a:lnTo>
                  <a:lnTo>
                    <a:pt x="15598644" y="14407349"/>
                  </a:lnTo>
                  <a:lnTo>
                    <a:pt x="15589112" y="14426413"/>
                  </a:lnTo>
                  <a:lnTo>
                    <a:pt x="15574820" y="14445473"/>
                  </a:lnTo>
                  <a:lnTo>
                    <a:pt x="15565288" y="14459769"/>
                  </a:lnTo>
                  <a:lnTo>
                    <a:pt x="15560524" y="14478829"/>
                  </a:lnTo>
                  <a:lnTo>
                    <a:pt x="15555760" y="14493125"/>
                  </a:lnTo>
                  <a:lnTo>
                    <a:pt x="15546228" y="14497889"/>
                  </a:lnTo>
                  <a:lnTo>
                    <a:pt x="15550992" y="14507417"/>
                  </a:lnTo>
                  <a:lnTo>
                    <a:pt x="15570056" y="14512185"/>
                  </a:lnTo>
                  <a:lnTo>
                    <a:pt x="15574820" y="14531245"/>
                  </a:lnTo>
                  <a:lnTo>
                    <a:pt x="15570056" y="14559833"/>
                  </a:lnTo>
                  <a:lnTo>
                    <a:pt x="15560524" y="14583661"/>
                  </a:lnTo>
                  <a:lnTo>
                    <a:pt x="15541464" y="14593189"/>
                  </a:lnTo>
                  <a:lnTo>
                    <a:pt x="15517636" y="14602721"/>
                  </a:lnTo>
                  <a:lnTo>
                    <a:pt x="15484280" y="14607485"/>
                  </a:lnTo>
                  <a:lnTo>
                    <a:pt x="15436632" y="14636077"/>
                  </a:lnTo>
                  <a:lnTo>
                    <a:pt x="15393744" y="14674197"/>
                  </a:lnTo>
                  <a:lnTo>
                    <a:pt x="15346092" y="14717085"/>
                  </a:lnTo>
                  <a:lnTo>
                    <a:pt x="15336560" y="14717085"/>
                  </a:lnTo>
                  <a:lnTo>
                    <a:pt x="15317504" y="14712317"/>
                  </a:lnTo>
                  <a:lnTo>
                    <a:pt x="15284144" y="14693257"/>
                  </a:lnTo>
                  <a:lnTo>
                    <a:pt x="15246024" y="14688493"/>
                  </a:lnTo>
                  <a:lnTo>
                    <a:pt x="15212668" y="14674197"/>
                  </a:lnTo>
                  <a:lnTo>
                    <a:pt x="15188844" y="14664669"/>
                  </a:lnTo>
                  <a:lnTo>
                    <a:pt x="15160252" y="14640841"/>
                  </a:lnTo>
                  <a:lnTo>
                    <a:pt x="15150720" y="14626545"/>
                  </a:lnTo>
                  <a:lnTo>
                    <a:pt x="15136428" y="14617017"/>
                  </a:lnTo>
                  <a:lnTo>
                    <a:pt x="15107836" y="14602721"/>
                  </a:lnTo>
                  <a:lnTo>
                    <a:pt x="15084012" y="14597957"/>
                  </a:lnTo>
                  <a:lnTo>
                    <a:pt x="15074480" y="14597957"/>
                  </a:lnTo>
                  <a:lnTo>
                    <a:pt x="15041124" y="14612253"/>
                  </a:lnTo>
                  <a:lnTo>
                    <a:pt x="15022064" y="14621781"/>
                  </a:lnTo>
                  <a:lnTo>
                    <a:pt x="15007768" y="14626545"/>
                  </a:lnTo>
                  <a:lnTo>
                    <a:pt x="14988708" y="14626545"/>
                  </a:lnTo>
                  <a:lnTo>
                    <a:pt x="14964880" y="14621781"/>
                  </a:lnTo>
                  <a:lnTo>
                    <a:pt x="14955352" y="14621781"/>
                  </a:lnTo>
                  <a:lnTo>
                    <a:pt x="14941056" y="14612253"/>
                  </a:lnTo>
                  <a:lnTo>
                    <a:pt x="14912464" y="14583661"/>
                  </a:lnTo>
                  <a:lnTo>
                    <a:pt x="14898172" y="14564601"/>
                  </a:lnTo>
                  <a:lnTo>
                    <a:pt x="14879112" y="14555069"/>
                  </a:lnTo>
                  <a:lnTo>
                    <a:pt x="14855284" y="14540773"/>
                  </a:lnTo>
                  <a:lnTo>
                    <a:pt x="14845752" y="14540773"/>
                  </a:lnTo>
                  <a:lnTo>
                    <a:pt x="14826696" y="14540773"/>
                  </a:lnTo>
                  <a:lnTo>
                    <a:pt x="14798104" y="14536009"/>
                  </a:lnTo>
                  <a:lnTo>
                    <a:pt x="14783808" y="14531245"/>
                  </a:lnTo>
                  <a:lnTo>
                    <a:pt x="14774276" y="14536009"/>
                  </a:lnTo>
                  <a:lnTo>
                    <a:pt x="14750452" y="14550305"/>
                  </a:lnTo>
                  <a:lnTo>
                    <a:pt x="14721860" y="14574129"/>
                  </a:lnTo>
                  <a:lnTo>
                    <a:pt x="14698036" y="14583661"/>
                  </a:lnTo>
                  <a:lnTo>
                    <a:pt x="14674208" y="14597957"/>
                  </a:lnTo>
                  <a:lnTo>
                    <a:pt x="14636088" y="14631313"/>
                  </a:lnTo>
                  <a:lnTo>
                    <a:pt x="14607496" y="14645609"/>
                  </a:lnTo>
                  <a:lnTo>
                    <a:pt x="14597968" y="14674197"/>
                  </a:lnTo>
                  <a:lnTo>
                    <a:pt x="14593200" y="14693257"/>
                  </a:lnTo>
                  <a:lnTo>
                    <a:pt x="14569376" y="14702789"/>
                  </a:lnTo>
                  <a:lnTo>
                    <a:pt x="14555080" y="14712317"/>
                  </a:lnTo>
                  <a:lnTo>
                    <a:pt x="14536020" y="14717085"/>
                  </a:lnTo>
                  <a:lnTo>
                    <a:pt x="14502664" y="14712317"/>
                  </a:lnTo>
                  <a:lnTo>
                    <a:pt x="14488368" y="14717085"/>
                  </a:lnTo>
                  <a:lnTo>
                    <a:pt x="14440720" y="14736145"/>
                  </a:lnTo>
                  <a:lnTo>
                    <a:pt x="14416892" y="14740909"/>
                  </a:lnTo>
                  <a:lnTo>
                    <a:pt x="14402596" y="14740909"/>
                  </a:lnTo>
                  <a:lnTo>
                    <a:pt x="14388304" y="14745673"/>
                  </a:lnTo>
                  <a:lnTo>
                    <a:pt x="14359712" y="14750441"/>
                  </a:lnTo>
                  <a:lnTo>
                    <a:pt x="14350180" y="14750441"/>
                  </a:lnTo>
                  <a:lnTo>
                    <a:pt x="14340652" y="14755205"/>
                  </a:lnTo>
                  <a:lnTo>
                    <a:pt x="14326356" y="14755205"/>
                  </a:lnTo>
                  <a:lnTo>
                    <a:pt x="14302528" y="14764737"/>
                  </a:lnTo>
                  <a:lnTo>
                    <a:pt x="14245348" y="14798093"/>
                  </a:lnTo>
                  <a:lnTo>
                    <a:pt x="14226288" y="14802857"/>
                  </a:lnTo>
                  <a:lnTo>
                    <a:pt x="14211992" y="14807621"/>
                  </a:lnTo>
                  <a:lnTo>
                    <a:pt x="14197696" y="14793325"/>
                  </a:lnTo>
                  <a:lnTo>
                    <a:pt x="14183400" y="14788561"/>
                  </a:lnTo>
                  <a:lnTo>
                    <a:pt x="14164340" y="14788561"/>
                  </a:lnTo>
                  <a:lnTo>
                    <a:pt x="14145280" y="14798093"/>
                  </a:lnTo>
                  <a:lnTo>
                    <a:pt x="14111924" y="14788561"/>
                  </a:lnTo>
                  <a:lnTo>
                    <a:pt x="14073804" y="14783797"/>
                  </a:lnTo>
                  <a:lnTo>
                    <a:pt x="14040448" y="14774265"/>
                  </a:lnTo>
                  <a:lnTo>
                    <a:pt x="14030916" y="14769501"/>
                  </a:lnTo>
                  <a:lnTo>
                    <a:pt x="13997560" y="14759969"/>
                  </a:lnTo>
                  <a:lnTo>
                    <a:pt x="13916552" y="14759969"/>
                  </a:lnTo>
                  <a:lnTo>
                    <a:pt x="13897496" y="14759969"/>
                  </a:lnTo>
                  <a:lnTo>
                    <a:pt x="13883200" y="14755205"/>
                  </a:lnTo>
                  <a:lnTo>
                    <a:pt x="13864136" y="14745673"/>
                  </a:lnTo>
                  <a:lnTo>
                    <a:pt x="13835548" y="14712317"/>
                  </a:lnTo>
                  <a:lnTo>
                    <a:pt x="13816488" y="14702789"/>
                  </a:lnTo>
                  <a:lnTo>
                    <a:pt x="13806956" y="14698025"/>
                  </a:lnTo>
                  <a:lnTo>
                    <a:pt x="13802192" y="14683729"/>
                  </a:lnTo>
                  <a:lnTo>
                    <a:pt x="13797424" y="14683729"/>
                  </a:lnTo>
                  <a:lnTo>
                    <a:pt x="13792660" y="14674197"/>
                  </a:lnTo>
                  <a:lnTo>
                    <a:pt x="13792660" y="14659901"/>
                  </a:lnTo>
                  <a:lnTo>
                    <a:pt x="13792660" y="14636077"/>
                  </a:lnTo>
                  <a:lnTo>
                    <a:pt x="13792660" y="14617017"/>
                  </a:lnTo>
                  <a:lnTo>
                    <a:pt x="13787896" y="14612253"/>
                  </a:lnTo>
                  <a:lnTo>
                    <a:pt x="13768836" y="14607485"/>
                  </a:lnTo>
                  <a:lnTo>
                    <a:pt x="13745008" y="14602721"/>
                  </a:lnTo>
                  <a:lnTo>
                    <a:pt x="13702124" y="14602721"/>
                  </a:lnTo>
                  <a:lnTo>
                    <a:pt x="13683064" y="14602721"/>
                  </a:lnTo>
                  <a:lnTo>
                    <a:pt x="13668768" y="14588425"/>
                  </a:lnTo>
                  <a:lnTo>
                    <a:pt x="13654472" y="14578897"/>
                  </a:lnTo>
                  <a:lnTo>
                    <a:pt x="13635412" y="14550305"/>
                  </a:lnTo>
                  <a:lnTo>
                    <a:pt x="13625880" y="14536009"/>
                  </a:lnTo>
                  <a:lnTo>
                    <a:pt x="13602056" y="14521713"/>
                  </a:lnTo>
                  <a:lnTo>
                    <a:pt x="13578232" y="14516949"/>
                  </a:lnTo>
                  <a:lnTo>
                    <a:pt x="13549640" y="14521713"/>
                  </a:lnTo>
                  <a:lnTo>
                    <a:pt x="13525816" y="14521713"/>
                  </a:lnTo>
                  <a:lnTo>
                    <a:pt x="13501988" y="14516949"/>
                  </a:lnTo>
                  <a:lnTo>
                    <a:pt x="13487692" y="14507417"/>
                  </a:lnTo>
                  <a:lnTo>
                    <a:pt x="13468632" y="14497889"/>
                  </a:lnTo>
                  <a:lnTo>
                    <a:pt x="13444808" y="14497889"/>
                  </a:lnTo>
                  <a:lnTo>
                    <a:pt x="13420980" y="14493125"/>
                  </a:lnTo>
                  <a:lnTo>
                    <a:pt x="13392392" y="14483593"/>
                  </a:lnTo>
                  <a:lnTo>
                    <a:pt x="13378096" y="14483593"/>
                  </a:lnTo>
                  <a:lnTo>
                    <a:pt x="13363800" y="14493125"/>
                  </a:lnTo>
                  <a:lnTo>
                    <a:pt x="13349504" y="14502653"/>
                  </a:lnTo>
                  <a:lnTo>
                    <a:pt x="13330444" y="14507417"/>
                  </a:lnTo>
                  <a:lnTo>
                    <a:pt x="13287560" y="14516949"/>
                  </a:lnTo>
                  <a:lnTo>
                    <a:pt x="13273264" y="14521713"/>
                  </a:lnTo>
                  <a:lnTo>
                    <a:pt x="13249436" y="14521713"/>
                  </a:lnTo>
                  <a:lnTo>
                    <a:pt x="13235140" y="14531245"/>
                  </a:lnTo>
                  <a:lnTo>
                    <a:pt x="13220848" y="14545541"/>
                  </a:lnTo>
                  <a:lnTo>
                    <a:pt x="13206552" y="14555069"/>
                  </a:lnTo>
                  <a:lnTo>
                    <a:pt x="13192256" y="14559833"/>
                  </a:lnTo>
                  <a:lnTo>
                    <a:pt x="13173192" y="14559833"/>
                  </a:lnTo>
                  <a:lnTo>
                    <a:pt x="13154136" y="14555069"/>
                  </a:lnTo>
                  <a:lnTo>
                    <a:pt x="13149368" y="14555069"/>
                  </a:lnTo>
                  <a:lnTo>
                    <a:pt x="13135072" y="14559833"/>
                  </a:lnTo>
                  <a:lnTo>
                    <a:pt x="13120776" y="14564601"/>
                  </a:lnTo>
                  <a:lnTo>
                    <a:pt x="13096952" y="14559833"/>
                  </a:lnTo>
                  <a:lnTo>
                    <a:pt x="13087424" y="14555069"/>
                  </a:lnTo>
                  <a:lnTo>
                    <a:pt x="13068360" y="14550305"/>
                  </a:lnTo>
                  <a:lnTo>
                    <a:pt x="13058832" y="14536009"/>
                  </a:lnTo>
                  <a:lnTo>
                    <a:pt x="13049300" y="14526481"/>
                  </a:lnTo>
                  <a:lnTo>
                    <a:pt x="13030240" y="14526481"/>
                  </a:lnTo>
                  <a:lnTo>
                    <a:pt x="13001648" y="14516949"/>
                  </a:lnTo>
                  <a:lnTo>
                    <a:pt x="12987352" y="14507417"/>
                  </a:lnTo>
                  <a:lnTo>
                    <a:pt x="12973060" y="14502653"/>
                  </a:lnTo>
                  <a:lnTo>
                    <a:pt x="12949232" y="14483593"/>
                  </a:lnTo>
                  <a:lnTo>
                    <a:pt x="12939704" y="14469297"/>
                  </a:lnTo>
                  <a:lnTo>
                    <a:pt x="12930172" y="14469297"/>
                  </a:lnTo>
                  <a:lnTo>
                    <a:pt x="12915880" y="14464533"/>
                  </a:lnTo>
                  <a:lnTo>
                    <a:pt x="12911112" y="14455001"/>
                  </a:lnTo>
                  <a:lnTo>
                    <a:pt x="12911112" y="14440705"/>
                  </a:lnTo>
                  <a:lnTo>
                    <a:pt x="12911112" y="14435941"/>
                  </a:lnTo>
                  <a:lnTo>
                    <a:pt x="12915880" y="14421645"/>
                  </a:lnTo>
                  <a:lnTo>
                    <a:pt x="12911112" y="14412117"/>
                  </a:lnTo>
                  <a:lnTo>
                    <a:pt x="12901584" y="14402585"/>
                  </a:lnTo>
                  <a:lnTo>
                    <a:pt x="12896816" y="14393057"/>
                  </a:lnTo>
                  <a:lnTo>
                    <a:pt x="12901584" y="14378761"/>
                  </a:lnTo>
                  <a:lnTo>
                    <a:pt x="12896816" y="14359701"/>
                  </a:lnTo>
                  <a:lnTo>
                    <a:pt x="12896816" y="14340641"/>
                  </a:lnTo>
                  <a:lnTo>
                    <a:pt x="12887288" y="14326345"/>
                  </a:lnTo>
                  <a:lnTo>
                    <a:pt x="12887288" y="14297753"/>
                  </a:lnTo>
                  <a:lnTo>
                    <a:pt x="12892052" y="14288221"/>
                  </a:lnTo>
                  <a:lnTo>
                    <a:pt x="12892052" y="14273929"/>
                  </a:lnTo>
                  <a:lnTo>
                    <a:pt x="12882520" y="14264397"/>
                  </a:lnTo>
                  <a:lnTo>
                    <a:pt x="12863460" y="14259633"/>
                  </a:lnTo>
                  <a:lnTo>
                    <a:pt x="12839636" y="14250101"/>
                  </a:lnTo>
                  <a:lnTo>
                    <a:pt x="12796748" y="14235805"/>
                  </a:lnTo>
                  <a:lnTo>
                    <a:pt x="12782456" y="14235805"/>
                  </a:lnTo>
                  <a:lnTo>
                    <a:pt x="12768160" y="14240573"/>
                  </a:lnTo>
                  <a:lnTo>
                    <a:pt x="12758628" y="14235805"/>
                  </a:lnTo>
                  <a:lnTo>
                    <a:pt x="12744332" y="14226277"/>
                  </a:lnTo>
                  <a:lnTo>
                    <a:pt x="12720508" y="14216745"/>
                  </a:lnTo>
                  <a:lnTo>
                    <a:pt x="12696680" y="14202449"/>
                  </a:lnTo>
                  <a:lnTo>
                    <a:pt x="12663328" y="14188153"/>
                  </a:lnTo>
                  <a:lnTo>
                    <a:pt x="12639500" y="14173861"/>
                  </a:lnTo>
                  <a:lnTo>
                    <a:pt x="12625204" y="14169093"/>
                  </a:lnTo>
                  <a:lnTo>
                    <a:pt x="12587084" y="14169093"/>
                  </a:lnTo>
                  <a:lnTo>
                    <a:pt x="12558492" y="14169093"/>
                  </a:lnTo>
                  <a:lnTo>
                    <a:pt x="12539432" y="14164329"/>
                  </a:lnTo>
                  <a:lnTo>
                    <a:pt x="12520372" y="14145269"/>
                  </a:lnTo>
                  <a:lnTo>
                    <a:pt x="12510840" y="14135737"/>
                  </a:lnTo>
                  <a:lnTo>
                    <a:pt x="12491780" y="14130973"/>
                  </a:lnTo>
                  <a:lnTo>
                    <a:pt x="12482252" y="14126209"/>
                  </a:lnTo>
                  <a:lnTo>
                    <a:pt x="12463192" y="14121445"/>
                  </a:lnTo>
                  <a:lnTo>
                    <a:pt x="12425068" y="14102381"/>
                  </a:lnTo>
                  <a:lnTo>
                    <a:pt x="12410776" y="14092853"/>
                  </a:lnTo>
                  <a:lnTo>
                    <a:pt x="12401244" y="14092853"/>
                  </a:lnTo>
                  <a:lnTo>
                    <a:pt x="12391712" y="14078557"/>
                  </a:lnTo>
                  <a:lnTo>
                    <a:pt x="12382184" y="14073793"/>
                  </a:lnTo>
                  <a:lnTo>
                    <a:pt x="12372652" y="14083321"/>
                  </a:lnTo>
                  <a:lnTo>
                    <a:pt x="12367888" y="14111913"/>
                  </a:lnTo>
                  <a:lnTo>
                    <a:pt x="12358360" y="14126209"/>
                  </a:lnTo>
                  <a:lnTo>
                    <a:pt x="12339296" y="14154801"/>
                  </a:lnTo>
                  <a:lnTo>
                    <a:pt x="12296412" y="14173861"/>
                  </a:lnTo>
                  <a:lnTo>
                    <a:pt x="12286880" y="14183389"/>
                  </a:lnTo>
                  <a:lnTo>
                    <a:pt x="12277352" y="14207217"/>
                  </a:lnTo>
                  <a:lnTo>
                    <a:pt x="12277352" y="14226277"/>
                  </a:lnTo>
                  <a:lnTo>
                    <a:pt x="12267820" y="14231041"/>
                  </a:lnTo>
                  <a:lnTo>
                    <a:pt x="12260672" y="14231041"/>
                  </a:lnTo>
                  <a:lnTo>
                    <a:pt x="12251144" y="14240573"/>
                  </a:lnTo>
                  <a:lnTo>
                    <a:pt x="12241612" y="14259633"/>
                  </a:lnTo>
                  <a:lnTo>
                    <a:pt x="12236848" y="14264397"/>
                  </a:lnTo>
                  <a:lnTo>
                    <a:pt x="12232080" y="14283457"/>
                  </a:lnTo>
                  <a:lnTo>
                    <a:pt x="12232080" y="14288221"/>
                  </a:lnTo>
                  <a:lnTo>
                    <a:pt x="12232080" y="14297753"/>
                  </a:lnTo>
                  <a:lnTo>
                    <a:pt x="12227316" y="14312049"/>
                  </a:lnTo>
                  <a:lnTo>
                    <a:pt x="12217784" y="14340641"/>
                  </a:lnTo>
                  <a:lnTo>
                    <a:pt x="12217784" y="14354933"/>
                  </a:lnTo>
                  <a:lnTo>
                    <a:pt x="12222552" y="14364465"/>
                  </a:lnTo>
                  <a:lnTo>
                    <a:pt x="12232080" y="14378761"/>
                  </a:lnTo>
                  <a:lnTo>
                    <a:pt x="12236848" y="14388289"/>
                  </a:lnTo>
                  <a:lnTo>
                    <a:pt x="12236848" y="14397821"/>
                  </a:lnTo>
                  <a:lnTo>
                    <a:pt x="12236848" y="14412117"/>
                  </a:lnTo>
                  <a:lnTo>
                    <a:pt x="12241612" y="14426413"/>
                  </a:lnTo>
                  <a:lnTo>
                    <a:pt x="12246376" y="14440705"/>
                  </a:lnTo>
                  <a:lnTo>
                    <a:pt x="12255908" y="14450237"/>
                  </a:lnTo>
                  <a:lnTo>
                    <a:pt x="12265440" y="14459769"/>
                  </a:lnTo>
                  <a:lnTo>
                    <a:pt x="12277352" y="14459769"/>
                  </a:lnTo>
                  <a:lnTo>
                    <a:pt x="12286880" y="14469297"/>
                  </a:lnTo>
                  <a:lnTo>
                    <a:pt x="12286880" y="14478829"/>
                  </a:lnTo>
                  <a:lnTo>
                    <a:pt x="12282116" y="14493125"/>
                  </a:lnTo>
                  <a:lnTo>
                    <a:pt x="12277352" y="14526481"/>
                  </a:lnTo>
                  <a:lnTo>
                    <a:pt x="12272584" y="14545541"/>
                  </a:lnTo>
                  <a:lnTo>
                    <a:pt x="12267820" y="14555069"/>
                  </a:lnTo>
                  <a:lnTo>
                    <a:pt x="12260672" y="14574129"/>
                  </a:lnTo>
                  <a:lnTo>
                    <a:pt x="12260672" y="14578897"/>
                  </a:lnTo>
                  <a:lnTo>
                    <a:pt x="12241612" y="14593189"/>
                  </a:lnTo>
                  <a:lnTo>
                    <a:pt x="12232080" y="14597957"/>
                  </a:lnTo>
                  <a:lnTo>
                    <a:pt x="12222552" y="14612253"/>
                  </a:lnTo>
                  <a:lnTo>
                    <a:pt x="12208256" y="14612253"/>
                  </a:lnTo>
                  <a:lnTo>
                    <a:pt x="12198728" y="14612253"/>
                  </a:lnTo>
                  <a:lnTo>
                    <a:pt x="12189196" y="14612253"/>
                  </a:lnTo>
                  <a:lnTo>
                    <a:pt x="12179664" y="14621781"/>
                  </a:lnTo>
                  <a:lnTo>
                    <a:pt x="12170136" y="14636077"/>
                  </a:lnTo>
                  <a:lnTo>
                    <a:pt x="12151076" y="14655137"/>
                  </a:lnTo>
                  <a:lnTo>
                    <a:pt x="12141544" y="14659901"/>
                  </a:lnTo>
                  <a:lnTo>
                    <a:pt x="12117720" y="14664669"/>
                  </a:lnTo>
                  <a:lnTo>
                    <a:pt x="12108188" y="14655137"/>
                  </a:lnTo>
                  <a:lnTo>
                    <a:pt x="12103424" y="14645609"/>
                  </a:lnTo>
                  <a:lnTo>
                    <a:pt x="12093892" y="14640841"/>
                  </a:lnTo>
                  <a:lnTo>
                    <a:pt x="12084364" y="14626545"/>
                  </a:lnTo>
                  <a:lnTo>
                    <a:pt x="12041476" y="14621781"/>
                  </a:lnTo>
                  <a:lnTo>
                    <a:pt x="12031944" y="14621781"/>
                  </a:lnTo>
                  <a:lnTo>
                    <a:pt x="12022416" y="14626545"/>
                  </a:lnTo>
                  <a:lnTo>
                    <a:pt x="12017652" y="14626545"/>
                  </a:lnTo>
                  <a:lnTo>
                    <a:pt x="12008120" y="14617017"/>
                  </a:lnTo>
                  <a:lnTo>
                    <a:pt x="12003356" y="14621781"/>
                  </a:lnTo>
                  <a:lnTo>
                    <a:pt x="11989060" y="14621781"/>
                  </a:lnTo>
                  <a:lnTo>
                    <a:pt x="11979528" y="14621781"/>
                  </a:lnTo>
                  <a:lnTo>
                    <a:pt x="11965236" y="14607485"/>
                  </a:lnTo>
                  <a:lnTo>
                    <a:pt x="11946176" y="14602721"/>
                  </a:lnTo>
                  <a:lnTo>
                    <a:pt x="11941408" y="14597957"/>
                  </a:lnTo>
                  <a:lnTo>
                    <a:pt x="11931880" y="14597957"/>
                  </a:lnTo>
                  <a:lnTo>
                    <a:pt x="11927112" y="14607485"/>
                  </a:lnTo>
                  <a:lnTo>
                    <a:pt x="11922348" y="14607485"/>
                  </a:lnTo>
                  <a:lnTo>
                    <a:pt x="11917584" y="14602721"/>
                  </a:lnTo>
                  <a:lnTo>
                    <a:pt x="11908052" y="14593189"/>
                  </a:lnTo>
                  <a:lnTo>
                    <a:pt x="11898524" y="14593189"/>
                  </a:lnTo>
                  <a:lnTo>
                    <a:pt x="11884228" y="14607485"/>
                  </a:lnTo>
                  <a:lnTo>
                    <a:pt x="11865168" y="14612253"/>
                  </a:lnTo>
                  <a:lnTo>
                    <a:pt x="11855636" y="14621781"/>
                  </a:lnTo>
                  <a:lnTo>
                    <a:pt x="11841340" y="14617017"/>
                  </a:lnTo>
                  <a:lnTo>
                    <a:pt x="11836576" y="14612253"/>
                  </a:lnTo>
                  <a:lnTo>
                    <a:pt x="11827048" y="14612253"/>
                  </a:lnTo>
                  <a:lnTo>
                    <a:pt x="11798456" y="14612253"/>
                  </a:lnTo>
                  <a:lnTo>
                    <a:pt x="11793688" y="14612253"/>
                  </a:lnTo>
                  <a:lnTo>
                    <a:pt x="11779396" y="14607485"/>
                  </a:lnTo>
                  <a:lnTo>
                    <a:pt x="11774632" y="14597957"/>
                  </a:lnTo>
                  <a:lnTo>
                    <a:pt x="11765100" y="14588425"/>
                  </a:lnTo>
                  <a:lnTo>
                    <a:pt x="11746040" y="14588425"/>
                  </a:lnTo>
                  <a:lnTo>
                    <a:pt x="11731744" y="14588425"/>
                  </a:lnTo>
                  <a:lnTo>
                    <a:pt x="11722212" y="14593189"/>
                  </a:lnTo>
                  <a:lnTo>
                    <a:pt x="11712684" y="14593189"/>
                  </a:lnTo>
                  <a:lnTo>
                    <a:pt x="11707920" y="14578897"/>
                  </a:lnTo>
                  <a:lnTo>
                    <a:pt x="11693624" y="14564601"/>
                  </a:lnTo>
                  <a:lnTo>
                    <a:pt x="11688856" y="14559833"/>
                  </a:lnTo>
                  <a:lnTo>
                    <a:pt x="11679328" y="14555069"/>
                  </a:lnTo>
                  <a:lnTo>
                    <a:pt x="11674560" y="14545541"/>
                  </a:lnTo>
                  <a:lnTo>
                    <a:pt x="11674560" y="14526481"/>
                  </a:lnTo>
                  <a:lnTo>
                    <a:pt x="11669796" y="14497889"/>
                  </a:lnTo>
                  <a:lnTo>
                    <a:pt x="11665032" y="14474061"/>
                  </a:lnTo>
                  <a:lnTo>
                    <a:pt x="11655500" y="14464533"/>
                  </a:lnTo>
                  <a:lnTo>
                    <a:pt x="11631676" y="14459769"/>
                  </a:lnTo>
                  <a:lnTo>
                    <a:pt x="11617380" y="14459769"/>
                  </a:lnTo>
                  <a:lnTo>
                    <a:pt x="11588792" y="14455001"/>
                  </a:lnTo>
                  <a:lnTo>
                    <a:pt x="11564964" y="14455001"/>
                  </a:lnTo>
                  <a:lnTo>
                    <a:pt x="11560200" y="14455001"/>
                  </a:lnTo>
                  <a:lnTo>
                    <a:pt x="11541136" y="14450237"/>
                  </a:lnTo>
                  <a:lnTo>
                    <a:pt x="11522080" y="14450237"/>
                  </a:lnTo>
                  <a:lnTo>
                    <a:pt x="11503016" y="14445473"/>
                  </a:lnTo>
                  <a:lnTo>
                    <a:pt x="11498252" y="14450237"/>
                  </a:lnTo>
                  <a:lnTo>
                    <a:pt x="11479192" y="14450237"/>
                  </a:lnTo>
                  <a:lnTo>
                    <a:pt x="11464896" y="14440705"/>
                  </a:lnTo>
                  <a:lnTo>
                    <a:pt x="11455368" y="14421645"/>
                  </a:lnTo>
                  <a:lnTo>
                    <a:pt x="11455368" y="14416881"/>
                  </a:lnTo>
                  <a:lnTo>
                    <a:pt x="11455368" y="14407349"/>
                  </a:lnTo>
                  <a:lnTo>
                    <a:pt x="11441072" y="14402585"/>
                  </a:lnTo>
                  <a:lnTo>
                    <a:pt x="11426776" y="14407349"/>
                  </a:lnTo>
                  <a:lnTo>
                    <a:pt x="11422008" y="14426413"/>
                  </a:lnTo>
                  <a:lnTo>
                    <a:pt x="11412480" y="14431177"/>
                  </a:lnTo>
                  <a:lnTo>
                    <a:pt x="11402952" y="14431177"/>
                  </a:lnTo>
                  <a:lnTo>
                    <a:pt x="11398184" y="14421645"/>
                  </a:lnTo>
                  <a:lnTo>
                    <a:pt x="11383888" y="14412117"/>
                  </a:lnTo>
                  <a:lnTo>
                    <a:pt x="11374360" y="14402585"/>
                  </a:lnTo>
                  <a:lnTo>
                    <a:pt x="11360064" y="14388289"/>
                  </a:lnTo>
                  <a:lnTo>
                    <a:pt x="11350532" y="14388289"/>
                  </a:lnTo>
                  <a:lnTo>
                    <a:pt x="11350532" y="14397821"/>
                  </a:lnTo>
                  <a:lnTo>
                    <a:pt x="11345768" y="14407349"/>
                  </a:lnTo>
                  <a:lnTo>
                    <a:pt x="11336240" y="14426413"/>
                  </a:lnTo>
                  <a:lnTo>
                    <a:pt x="11321944" y="14431177"/>
                  </a:lnTo>
                  <a:lnTo>
                    <a:pt x="11298116" y="14426413"/>
                  </a:lnTo>
                  <a:lnTo>
                    <a:pt x="11274292" y="14431177"/>
                  </a:lnTo>
                  <a:lnTo>
                    <a:pt x="11259996" y="14435941"/>
                  </a:lnTo>
                  <a:lnTo>
                    <a:pt x="11250464" y="14445473"/>
                  </a:lnTo>
                  <a:lnTo>
                    <a:pt x="11240936" y="14459769"/>
                  </a:lnTo>
                  <a:lnTo>
                    <a:pt x="11231404" y="14459769"/>
                  </a:lnTo>
                  <a:lnTo>
                    <a:pt x="11221876" y="14469297"/>
                  </a:lnTo>
                  <a:lnTo>
                    <a:pt x="11217112" y="14483593"/>
                  </a:lnTo>
                  <a:lnTo>
                    <a:pt x="11202816" y="14483593"/>
                  </a:lnTo>
                  <a:lnTo>
                    <a:pt x="11198048" y="14483593"/>
                  </a:lnTo>
                  <a:lnTo>
                    <a:pt x="11183752" y="14488357"/>
                  </a:lnTo>
                  <a:lnTo>
                    <a:pt x="11159928" y="14493125"/>
                  </a:lnTo>
                  <a:lnTo>
                    <a:pt x="11155164" y="14497889"/>
                  </a:lnTo>
                  <a:lnTo>
                    <a:pt x="11136104" y="14512185"/>
                  </a:lnTo>
                  <a:lnTo>
                    <a:pt x="11126572" y="14521713"/>
                  </a:lnTo>
                  <a:lnTo>
                    <a:pt x="11112276" y="14521713"/>
                  </a:lnTo>
                  <a:lnTo>
                    <a:pt x="11102748" y="14536009"/>
                  </a:lnTo>
                  <a:lnTo>
                    <a:pt x="11097980" y="14545541"/>
                  </a:lnTo>
                  <a:lnTo>
                    <a:pt x="11074156" y="14545541"/>
                  </a:lnTo>
                  <a:lnTo>
                    <a:pt x="11050328" y="14559833"/>
                  </a:lnTo>
                  <a:lnTo>
                    <a:pt x="11040800" y="14559833"/>
                  </a:lnTo>
                  <a:lnTo>
                    <a:pt x="11026504" y="14569365"/>
                  </a:lnTo>
                  <a:lnTo>
                    <a:pt x="11012208" y="14574129"/>
                  </a:lnTo>
                  <a:lnTo>
                    <a:pt x="11002680" y="14574129"/>
                  </a:lnTo>
                  <a:lnTo>
                    <a:pt x="10993148" y="14583661"/>
                  </a:lnTo>
                  <a:lnTo>
                    <a:pt x="10988384" y="14602721"/>
                  </a:lnTo>
                  <a:lnTo>
                    <a:pt x="10974088" y="14612253"/>
                  </a:lnTo>
                  <a:lnTo>
                    <a:pt x="10955028" y="14612253"/>
                  </a:lnTo>
                  <a:lnTo>
                    <a:pt x="10935968" y="14621781"/>
                  </a:lnTo>
                  <a:lnTo>
                    <a:pt x="10935968" y="14640841"/>
                  </a:lnTo>
                  <a:lnTo>
                    <a:pt x="10940732" y="14659901"/>
                  </a:lnTo>
                  <a:lnTo>
                    <a:pt x="10940732" y="14669433"/>
                  </a:lnTo>
                  <a:lnTo>
                    <a:pt x="10926436" y="14669433"/>
                  </a:lnTo>
                  <a:lnTo>
                    <a:pt x="10912140" y="14678965"/>
                  </a:lnTo>
                  <a:lnTo>
                    <a:pt x="10897848" y="14693257"/>
                  </a:lnTo>
                  <a:lnTo>
                    <a:pt x="10883552" y="14693257"/>
                  </a:lnTo>
                  <a:lnTo>
                    <a:pt x="10874020" y="14688493"/>
                  </a:lnTo>
                  <a:lnTo>
                    <a:pt x="10869256" y="14698025"/>
                  </a:lnTo>
                  <a:lnTo>
                    <a:pt x="10864488" y="14712317"/>
                  </a:lnTo>
                  <a:lnTo>
                    <a:pt x="10854960" y="14717085"/>
                  </a:lnTo>
                  <a:lnTo>
                    <a:pt x="10840664" y="14726613"/>
                  </a:lnTo>
                  <a:lnTo>
                    <a:pt x="10831136" y="14721849"/>
                  </a:lnTo>
                  <a:lnTo>
                    <a:pt x="10831136" y="14717085"/>
                  </a:lnTo>
                  <a:lnTo>
                    <a:pt x="10821604" y="14707553"/>
                  </a:lnTo>
                  <a:lnTo>
                    <a:pt x="10816840" y="14712317"/>
                  </a:lnTo>
                  <a:lnTo>
                    <a:pt x="10816840" y="14721849"/>
                  </a:lnTo>
                  <a:lnTo>
                    <a:pt x="10812072" y="14731381"/>
                  </a:lnTo>
                  <a:lnTo>
                    <a:pt x="10797776" y="14731381"/>
                  </a:lnTo>
                  <a:lnTo>
                    <a:pt x="10788248" y="14726613"/>
                  </a:lnTo>
                  <a:lnTo>
                    <a:pt x="10778720" y="14721849"/>
                  </a:lnTo>
                  <a:lnTo>
                    <a:pt x="10764424" y="14721849"/>
                  </a:lnTo>
                  <a:lnTo>
                    <a:pt x="10750128" y="14726613"/>
                  </a:lnTo>
                  <a:lnTo>
                    <a:pt x="10740596" y="14721849"/>
                  </a:lnTo>
                  <a:lnTo>
                    <a:pt x="10735832" y="14726613"/>
                  </a:lnTo>
                  <a:lnTo>
                    <a:pt x="10712008" y="14731381"/>
                  </a:lnTo>
                  <a:lnTo>
                    <a:pt x="10702476" y="14745673"/>
                  </a:lnTo>
                  <a:lnTo>
                    <a:pt x="10702476" y="14769501"/>
                  </a:lnTo>
                  <a:lnTo>
                    <a:pt x="10697712" y="14779029"/>
                  </a:lnTo>
                  <a:lnTo>
                    <a:pt x="10688180" y="14788561"/>
                  </a:lnTo>
                  <a:lnTo>
                    <a:pt x="10678648" y="14793325"/>
                  </a:lnTo>
                  <a:lnTo>
                    <a:pt x="10669120" y="14798093"/>
                  </a:lnTo>
                  <a:lnTo>
                    <a:pt x="10654824" y="14802857"/>
                  </a:lnTo>
                  <a:lnTo>
                    <a:pt x="10650060" y="14802857"/>
                  </a:lnTo>
                  <a:lnTo>
                    <a:pt x="10645296" y="14798093"/>
                  </a:lnTo>
                  <a:lnTo>
                    <a:pt x="10631000" y="14802857"/>
                  </a:lnTo>
                  <a:lnTo>
                    <a:pt x="10616704" y="14807621"/>
                  </a:lnTo>
                  <a:lnTo>
                    <a:pt x="10607172" y="14807621"/>
                  </a:lnTo>
                  <a:lnTo>
                    <a:pt x="10597644" y="14817153"/>
                  </a:lnTo>
                  <a:lnTo>
                    <a:pt x="10588112" y="14821917"/>
                  </a:lnTo>
                  <a:lnTo>
                    <a:pt x="10573816" y="14817153"/>
                  </a:lnTo>
                  <a:lnTo>
                    <a:pt x="10573816" y="14802857"/>
                  </a:lnTo>
                  <a:lnTo>
                    <a:pt x="10559520" y="14788561"/>
                  </a:lnTo>
                  <a:lnTo>
                    <a:pt x="10549992" y="14783797"/>
                  </a:lnTo>
                  <a:lnTo>
                    <a:pt x="10535696" y="14779029"/>
                  </a:lnTo>
                  <a:lnTo>
                    <a:pt x="10526168" y="14769501"/>
                  </a:lnTo>
                  <a:lnTo>
                    <a:pt x="10516636" y="14764737"/>
                  </a:lnTo>
                  <a:lnTo>
                    <a:pt x="10497576" y="14721849"/>
                  </a:lnTo>
                  <a:lnTo>
                    <a:pt x="10478516" y="14707553"/>
                  </a:lnTo>
                  <a:lnTo>
                    <a:pt x="10468984" y="14702789"/>
                  </a:lnTo>
                  <a:lnTo>
                    <a:pt x="10464220" y="14693257"/>
                  </a:lnTo>
                  <a:lnTo>
                    <a:pt x="10473752" y="14678965"/>
                  </a:lnTo>
                  <a:lnTo>
                    <a:pt x="10483280" y="14674197"/>
                  </a:lnTo>
                  <a:lnTo>
                    <a:pt x="10483280" y="14659901"/>
                  </a:lnTo>
                  <a:lnTo>
                    <a:pt x="10473752" y="14650373"/>
                  </a:lnTo>
                  <a:lnTo>
                    <a:pt x="10464220" y="14655137"/>
                  </a:lnTo>
                  <a:lnTo>
                    <a:pt x="10449924" y="14669433"/>
                  </a:lnTo>
                  <a:lnTo>
                    <a:pt x="10435628" y="14688493"/>
                  </a:lnTo>
                  <a:lnTo>
                    <a:pt x="10416568" y="14698025"/>
                  </a:lnTo>
                  <a:lnTo>
                    <a:pt x="10407040" y="14707553"/>
                  </a:lnTo>
                  <a:lnTo>
                    <a:pt x="10397508" y="14717085"/>
                  </a:lnTo>
                  <a:lnTo>
                    <a:pt x="10383212" y="14717085"/>
                  </a:lnTo>
                  <a:lnTo>
                    <a:pt x="10373680" y="14717085"/>
                  </a:lnTo>
                  <a:lnTo>
                    <a:pt x="10364152" y="14717085"/>
                  </a:lnTo>
                  <a:lnTo>
                    <a:pt x="10359388" y="14707553"/>
                  </a:lnTo>
                  <a:lnTo>
                    <a:pt x="10349856" y="14707553"/>
                  </a:lnTo>
                  <a:lnTo>
                    <a:pt x="10292676" y="14693257"/>
                  </a:lnTo>
                  <a:lnTo>
                    <a:pt x="10268848" y="14688493"/>
                  </a:lnTo>
                  <a:lnTo>
                    <a:pt x="10259320" y="14693257"/>
                  </a:lnTo>
                  <a:lnTo>
                    <a:pt x="10249788" y="14693257"/>
                  </a:lnTo>
                  <a:lnTo>
                    <a:pt x="10245024" y="14678965"/>
                  </a:lnTo>
                  <a:lnTo>
                    <a:pt x="10235492" y="14659901"/>
                  </a:lnTo>
                  <a:lnTo>
                    <a:pt x="10225964" y="14640841"/>
                  </a:lnTo>
                  <a:lnTo>
                    <a:pt x="10211668" y="14626545"/>
                  </a:lnTo>
                  <a:lnTo>
                    <a:pt x="10206904" y="14612253"/>
                  </a:lnTo>
                  <a:lnTo>
                    <a:pt x="10211668" y="14597957"/>
                  </a:lnTo>
                  <a:lnTo>
                    <a:pt x="10211668" y="14583661"/>
                  </a:lnTo>
                  <a:lnTo>
                    <a:pt x="10202136" y="14578897"/>
                  </a:lnTo>
                  <a:lnTo>
                    <a:pt x="10187840" y="14574129"/>
                  </a:lnTo>
                  <a:lnTo>
                    <a:pt x="10149720" y="14550305"/>
                  </a:lnTo>
                  <a:lnTo>
                    <a:pt x="10135424" y="14545541"/>
                  </a:lnTo>
                  <a:lnTo>
                    <a:pt x="10121128" y="14540773"/>
                  </a:lnTo>
                  <a:lnTo>
                    <a:pt x="10106836" y="14540773"/>
                  </a:lnTo>
                  <a:lnTo>
                    <a:pt x="10097304" y="14526481"/>
                  </a:lnTo>
                  <a:lnTo>
                    <a:pt x="10087776" y="14493125"/>
                  </a:lnTo>
                  <a:lnTo>
                    <a:pt x="10083008" y="14469297"/>
                  </a:lnTo>
                  <a:lnTo>
                    <a:pt x="10073480" y="14450237"/>
                  </a:lnTo>
                  <a:lnTo>
                    <a:pt x="10059184" y="14431177"/>
                  </a:lnTo>
                  <a:lnTo>
                    <a:pt x="10049652" y="14407349"/>
                  </a:lnTo>
                  <a:lnTo>
                    <a:pt x="10035360" y="14397821"/>
                  </a:lnTo>
                  <a:lnTo>
                    <a:pt x="10011532" y="14378761"/>
                  </a:lnTo>
                  <a:lnTo>
                    <a:pt x="9992472" y="14369229"/>
                  </a:lnTo>
                  <a:lnTo>
                    <a:pt x="9954352" y="14354933"/>
                  </a:lnTo>
                  <a:lnTo>
                    <a:pt x="9944820" y="14354933"/>
                  </a:lnTo>
                  <a:lnTo>
                    <a:pt x="9925760" y="14354933"/>
                  </a:lnTo>
                  <a:lnTo>
                    <a:pt x="9916232" y="14364465"/>
                  </a:lnTo>
                  <a:lnTo>
                    <a:pt x="9901936" y="14378761"/>
                  </a:lnTo>
                  <a:lnTo>
                    <a:pt x="9887640" y="14378761"/>
                  </a:lnTo>
                  <a:lnTo>
                    <a:pt x="9863812" y="14378761"/>
                  </a:lnTo>
                  <a:lnTo>
                    <a:pt x="9854284" y="14383525"/>
                  </a:lnTo>
                  <a:lnTo>
                    <a:pt x="9854284" y="14397821"/>
                  </a:lnTo>
                  <a:lnTo>
                    <a:pt x="9839988" y="14412117"/>
                  </a:lnTo>
                  <a:lnTo>
                    <a:pt x="9820928" y="14421645"/>
                  </a:lnTo>
                  <a:lnTo>
                    <a:pt x="9797104" y="14416881"/>
                  </a:lnTo>
                  <a:lnTo>
                    <a:pt x="9778040" y="14421645"/>
                  </a:lnTo>
                  <a:lnTo>
                    <a:pt x="9758980" y="14426413"/>
                  </a:lnTo>
                  <a:lnTo>
                    <a:pt x="9735156" y="14412117"/>
                  </a:lnTo>
                  <a:lnTo>
                    <a:pt x="9706564" y="14412117"/>
                  </a:lnTo>
                  <a:lnTo>
                    <a:pt x="9687504" y="14416881"/>
                  </a:lnTo>
                  <a:lnTo>
                    <a:pt x="9658912" y="14416881"/>
                  </a:lnTo>
                  <a:lnTo>
                    <a:pt x="9654148" y="14412117"/>
                  </a:lnTo>
                  <a:lnTo>
                    <a:pt x="9658912" y="14397821"/>
                  </a:lnTo>
                  <a:lnTo>
                    <a:pt x="9654148" y="14383525"/>
                  </a:lnTo>
                  <a:lnTo>
                    <a:pt x="9654148" y="14373993"/>
                  </a:lnTo>
                  <a:lnTo>
                    <a:pt x="9649384" y="14364465"/>
                  </a:lnTo>
                  <a:lnTo>
                    <a:pt x="9639852" y="14359701"/>
                  </a:lnTo>
                  <a:lnTo>
                    <a:pt x="9606496" y="14364465"/>
                  </a:lnTo>
                  <a:lnTo>
                    <a:pt x="9596968" y="14359701"/>
                  </a:lnTo>
                  <a:lnTo>
                    <a:pt x="9601732" y="14350169"/>
                  </a:lnTo>
                  <a:lnTo>
                    <a:pt x="9606496" y="14335873"/>
                  </a:lnTo>
                  <a:lnTo>
                    <a:pt x="9611264" y="14316813"/>
                  </a:lnTo>
                  <a:lnTo>
                    <a:pt x="9606496" y="14307285"/>
                  </a:lnTo>
                  <a:lnTo>
                    <a:pt x="9592200" y="14307285"/>
                  </a:lnTo>
                  <a:lnTo>
                    <a:pt x="9582672" y="14307285"/>
                  </a:lnTo>
                  <a:lnTo>
                    <a:pt x="9577904" y="14292989"/>
                  </a:lnTo>
                  <a:lnTo>
                    <a:pt x="9568376" y="14283457"/>
                  </a:lnTo>
                  <a:lnTo>
                    <a:pt x="9558844" y="14283457"/>
                  </a:lnTo>
                  <a:lnTo>
                    <a:pt x="9544552" y="14278693"/>
                  </a:lnTo>
                  <a:lnTo>
                    <a:pt x="9535020" y="14283457"/>
                  </a:lnTo>
                  <a:lnTo>
                    <a:pt x="9525488" y="14297753"/>
                  </a:lnTo>
                  <a:lnTo>
                    <a:pt x="9515960" y="14297753"/>
                  </a:lnTo>
                  <a:lnTo>
                    <a:pt x="9506428" y="14302517"/>
                  </a:lnTo>
                  <a:lnTo>
                    <a:pt x="9501664" y="14307285"/>
                  </a:lnTo>
                  <a:lnTo>
                    <a:pt x="9496900" y="14316813"/>
                  </a:lnTo>
                  <a:lnTo>
                    <a:pt x="9501664" y="14331109"/>
                  </a:lnTo>
                  <a:lnTo>
                    <a:pt x="9501664" y="14354933"/>
                  </a:lnTo>
                  <a:lnTo>
                    <a:pt x="9496900" y="14364465"/>
                  </a:lnTo>
                  <a:lnTo>
                    <a:pt x="9487368" y="14373993"/>
                  </a:lnTo>
                  <a:lnTo>
                    <a:pt x="9473072" y="14373993"/>
                  </a:lnTo>
                  <a:lnTo>
                    <a:pt x="9468308" y="14373993"/>
                  </a:lnTo>
                  <a:lnTo>
                    <a:pt x="9454012" y="14388289"/>
                  </a:lnTo>
                  <a:lnTo>
                    <a:pt x="9444480" y="14393057"/>
                  </a:lnTo>
                  <a:lnTo>
                    <a:pt x="9444480" y="14402585"/>
                  </a:lnTo>
                  <a:lnTo>
                    <a:pt x="9439716" y="14412117"/>
                  </a:lnTo>
                  <a:lnTo>
                    <a:pt x="9430188" y="14407349"/>
                  </a:lnTo>
                  <a:lnTo>
                    <a:pt x="9411128" y="14364465"/>
                  </a:lnTo>
                  <a:lnTo>
                    <a:pt x="9387300" y="14312049"/>
                  </a:lnTo>
                  <a:lnTo>
                    <a:pt x="9363476" y="14259633"/>
                  </a:lnTo>
                  <a:lnTo>
                    <a:pt x="9349180" y="14231041"/>
                  </a:lnTo>
                  <a:lnTo>
                    <a:pt x="9296764" y="14135737"/>
                  </a:lnTo>
                  <a:lnTo>
                    <a:pt x="9272936" y="14088089"/>
                  </a:lnTo>
                  <a:lnTo>
                    <a:pt x="9230052" y="14011845"/>
                  </a:lnTo>
                  <a:lnTo>
                    <a:pt x="9191932" y="13940369"/>
                  </a:lnTo>
                  <a:lnTo>
                    <a:pt x="9149044" y="13864125"/>
                  </a:lnTo>
                  <a:lnTo>
                    <a:pt x="9125220" y="13821241"/>
                  </a:lnTo>
                  <a:lnTo>
                    <a:pt x="9096628" y="13773589"/>
                  </a:lnTo>
                  <a:lnTo>
                    <a:pt x="9087096" y="13764057"/>
                  </a:lnTo>
                  <a:lnTo>
                    <a:pt x="9072804" y="13744997"/>
                  </a:lnTo>
                  <a:lnTo>
                    <a:pt x="9034680" y="13716409"/>
                  </a:lnTo>
                  <a:lnTo>
                    <a:pt x="8982264" y="13668757"/>
                  </a:lnTo>
                  <a:lnTo>
                    <a:pt x="8934612" y="13630637"/>
                  </a:lnTo>
                  <a:lnTo>
                    <a:pt x="8896492" y="13597281"/>
                  </a:lnTo>
                  <a:lnTo>
                    <a:pt x="8886964" y="13582985"/>
                  </a:lnTo>
                  <a:lnTo>
                    <a:pt x="8882196" y="13578217"/>
                  </a:lnTo>
                  <a:lnTo>
                    <a:pt x="8877432" y="13568689"/>
                  </a:lnTo>
                  <a:lnTo>
                    <a:pt x="8872668" y="13554393"/>
                  </a:lnTo>
                  <a:lnTo>
                    <a:pt x="8872668" y="13540097"/>
                  </a:lnTo>
                  <a:lnTo>
                    <a:pt x="8910788" y="13544861"/>
                  </a:lnTo>
                  <a:lnTo>
                    <a:pt x="8915552" y="13535333"/>
                  </a:lnTo>
                  <a:lnTo>
                    <a:pt x="8929848" y="13497213"/>
                  </a:lnTo>
                  <a:lnTo>
                    <a:pt x="8939380" y="13463857"/>
                  </a:lnTo>
                  <a:lnTo>
                    <a:pt x="8925084" y="13463857"/>
                  </a:lnTo>
                  <a:lnTo>
                    <a:pt x="8901256" y="13478153"/>
                  </a:lnTo>
                  <a:lnTo>
                    <a:pt x="8891728" y="13487681"/>
                  </a:lnTo>
                  <a:lnTo>
                    <a:pt x="8886964" y="13492445"/>
                  </a:lnTo>
                  <a:lnTo>
                    <a:pt x="8848840" y="13497213"/>
                  </a:lnTo>
                  <a:lnTo>
                    <a:pt x="8829780" y="13516273"/>
                  </a:lnTo>
                  <a:lnTo>
                    <a:pt x="8786896" y="13540097"/>
                  </a:lnTo>
                  <a:lnTo>
                    <a:pt x="8758304" y="13554393"/>
                  </a:lnTo>
                  <a:lnTo>
                    <a:pt x="8753540" y="13554393"/>
                  </a:lnTo>
                  <a:lnTo>
                    <a:pt x="8720184" y="13559157"/>
                  </a:lnTo>
                  <a:lnTo>
                    <a:pt x="8710652" y="13563925"/>
                  </a:lnTo>
                  <a:lnTo>
                    <a:pt x="8710652" y="13578217"/>
                  </a:lnTo>
                  <a:lnTo>
                    <a:pt x="8710652" y="13592513"/>
                  </a:lnTo>
                  <a:lnTo>
                    <a:pt x="8686828" y="13611573"/>
                  </a:lnTo>
                  <a:lnTo>
                    <a:pt x="8658236" y="13630637"/>
                  </a:lnTo>
                  <a:lnTo>
                    <a:pt x="8648704" y="13630637"/>
                  </a:lnTo>
                  <a:lnTo>
                    <a:pt x="8634412" y="13625869"/>
                  </a:lnTo>
                  <a:lnTo>
                    <a:pt x="8624880" y="13630637"/>
                  </a:lnTo>
                  <a:lnTo>
                    <a:pt x="8601056" y="13649697"/>
                  </a:lnTo>
                  <a:lnTo>
                    <a:pt x="8562932" y="13678285"/>
                  </a:lnTo>
                  <a:lnTo>
                    <a:pt x="8562932" y="13687817"/>
                  </a:lnTo>
                  <a:lnTo>
                    <a:pt x="8562932" y="13702113"/>
                  </a:lnTo>
                  <a:lnTo>
                    <a:pt x="8558168" y="13711641"/>
                  </a:lnTo>
                  <a:lnTo>
                    <a:pt x="8548640" y="13716409"/>
                  </a:lnTo>
                  <a:lnTo>
                    <a:pt x="8539108" y="13706877"/>
                  </a:lnTo>
                  <a:lnTo>
                    <a:pt x="8529576" y="13692581"/>
                  </a:lnTo>
                  <a:lnTo>
                    <a:pt x="8505752" y="13687817"/>
                  </a:lnTo>
                  <a:lnTo>
                    <a:pt x="8472396" y="13683053"/>
                  </a:lnTo>
                  <a:lnTo>
                    <a:pt x="8453336" y="13687817"/>
                  </a:lnTo>
                  <a:lnTo>
                    <a:pt x="8439040" y="13692581"/>
                  </a:lnTo>
                  <a:lnTo>
                    <a:pt x="8410448" y="13721173"/>
                  </a:lnTo>
                  <a:lnTo>
                    <a:pt x="8400920" y="13730701"/>
                  </a:lnTo>
                  <a:lnTo>
                    <a:pt x="8396152" y="13725937"/>
                  </a:lnTo>
                  <a:lnTo>
                    <a:pt x="8396152" y="13711641"/>
                  </a:lnTo>
                  <a:lnTo>
                    <a:pt x="8391388" y="13702113"/>
                  </a:lnTo>
                  <a:lnTo>
                    <a:pt x="8381860" y="13687817"/>
                  </a:lnTo>
                  <a:lnTo>
                    <a:pt x="8386624" y="13659225"/>
                  </a:lnTo>
                  <a:lnTo>
                    <a:pt x="8400920" y="13630637"/>
                  </a:lnTo>
                  <a:lnTo>
                    <a:pt x="8424744" y="13616341"/>
                  </a:lnTo>
                  <a:lnTo>
                    <a:pt x="8443804" y="13602045"/>
                  </a:lnTo>
                  <a:lnTo>
                    <a:pt x="8448572" y="13582985"/>
                  </a:lnTo>
                  <a:lnTo>
                    <a:pt x="8448572" y="13573453"/>
                  </a:lnTo>
                  <a:lnTo>
                    <a:pt x="8443804" y="13568689"/>
                  </a:lnTo>
                  <a:lnTo>
                    <a:pt x="8434276" y="13563925"/>
                  </a:lnTo>
                  <a:lnTo>
                    <a:pt x="8429512" y="13568689"/>
                  </a:lnTo>
                  <a:lnTo>
                    <a:pt x="8415216" y="13582985"/>
                  </a:lnTo>
                  <a:lnTo>
                    <a:pt x="8396152" y="13592513"/>
                  </a:lnTo>
                  <a:lnTo>
                    <a:pt x="8381860" y="13592513"/>
                  </a:lnTo>
                  <a:lnTo>
                    <a:pt x="8372328" y="13592513"/>
                  </a:lnTo>
                  <a:lnTo>
                    <a:pt x="8358032" y="13587749"/>
                  </a:lnTo>
                  <a:lnTo>
                    <a:pt x="8324676" y="13554393"/>
                  </a:lnTo>
                  <a:lnTo>
                    <a:pt x="8296088" y="13549629"/>
                  </a:lnTo>
                  <a:lnTo>
                    <a:pt x="8281792" y="13549629"/>
                  </a:lnTo>
                  <a:lnTo>
                    <a:pt x="8272260" y="13549629"/>
                  </a:lnTo>
                  <a:lnTo>
                    <a:pt x="8272260" y="13559157"/>
                  </a:lnTo>
                  <a:lnTo>
                    <a:pt x="8272260" y="13568689"/>
                  </a:lnTo>
                  <a:lnTo>
                    <a:pt x="8277024" y="13578217"/>
                  </a:lnTo>
                  <a:lnTo>
                    <a:pt x="8272260" y="13582985"/>
                  </a:lnTo>
                  <a:lnTo>
                    <a:pt x="8262732" y="13587749"/>
                  </a:lnTo>
                  <a:lnTo>
                    <a:pt x="8253200" y="13597281"/>
                  </a:lnTo>
                  <a:lnTo>
                    <a:pt x="8243672" y="13592513"/>
                  </a:lnTo>
                  <a:lnTo>
                    <a:pt x="8243672" y="13568689"/>
                  </a:lnTo>
                  <a:lnTo>
                    <a:pt x="8243672" y="13549629"/>
                  </a:lnTo>
                  <a:lnTo>
                    <a:pt x="8234140" y="13535333"/>
                  </a:lnTo>
                  <a:lnTo>
                    <a:pt x="8224608" y="13511505"/>
                  </a:lnTo>
                  <a:lnTo>
                    <a:pt x="8210312" y="13497213"/>
                  </a:lnTo>
                  <a:lnTo>
                    <a:pt x="8200784" y="13501977"/>
                  </a:lnTo>
                  <a:lnTo>
                    <a:pt x="8191252" y="13521037"/>
                  </a:lnTo>
                  <a:lnTo>
                    <a:pt x="8181724" y="13530569"/>
                  </a:lnTo>
                  <a:lnTo>
                    <a:pt x="8162664" y="13525801"/>
                  </a:lnTo>
                  <a:lnTo>
                    <a:pt x="8129308" y="13535333"/>
                  </a:lnTo>
                  <a:lnTo>
                    <a:pt x="8076892" y="13540097"/>
                  </a:lnTo>
                  <a:lnTo>
                    <a:pt x="8038768" y="13525801"/>
                  </a:lnTo>
                  <a:lnTo>
                    <a:pt x="8034004" y="13511505"/>
                  </a:lnTo>
                  <a:lnTo>
                    <a:pt x="8048300" y="13487681"/>
                  </a:lnTo>
                  <a:lnTo>
                    <a:pt x="8053064" y="13459089"/>
                  </a:lnTo>
                  <a:lnTo>
                    <a:pt x="8053064" y="13440029"/>
                  </a:lnTo>
                  <a:lnTo>
                    <a:pt x="8053064" y="13420969"/>
                  </a:lnTo>
                  <a:lnTo>
                    <a:pt x="8043536" y="13392377"/>
                  </a:lnTo>
                  <a:lnTo>
                    <a:pt x="8024472" y="13325668"/>
                  </a:lnTo>
                  <a:lnTo>
                    <a:pt x="8010180" y="13278016"/>
                  </a:lnTo>
                  <a:lnTo>
                    <a:pt x="7991120" y="13244660"/>
                  </a:lnTo>
                  <a:lnTo>
                    <a:pt x="7986352" y="13230365"/>
                  </a:lnTo>
                  <a:lnTo>
                    <a:pt x="7948232" y="13235130"/>
                  </a:lnTo>
                  <a:lnTo>
                    <a:pt x="7933936" y="13244660"/>
                  </a:lnTo>
                  <a:lnTo>
                    <a:pt x="7929172" y="13254191"/>
                  </a:lnTo>
                  <a:lnTo>
                    <a:pt x="7914876" y="13263721"/>
                  </a:lnTo>
                  <a:lnTo>
                    <a:pt x="7895816" y="13268486"/>
                  </a:lnTo>
                  <a:lnTo>
                    <a:pt x="7881520" y="13263721"/>
                  </a:lnTo>
                  <a:lnTo>
                    <a:pt x="7867224" y="13258956"/>
                  </a:lnTo>
                  <a:lnTo>
                    <a:pt x="7848164" y="13244660"/>
                  </a:lnTo>
                  <a:lnTo>
                    <a:pt x="7829104" y="13230365"/>
                  </a:lnTo>
                  <a:lnTo>
                    <a:pt x="7790984" y="13216070"/>
                  </a:lnTo>
                  <a:lnTo>
                    <a:pt x="7752864" y="13211304"/>
                  </a:lnTo>
                  <a:lnTo>
                    <a:pt x="7709976" y="13206539"/>
                  </a:lnTo>
                  <a:lnTo>
                    <a:pt x="7690916" y="13216070"/>
                  </a:lnTo>
                  <a:lnTo>
                    <a:pt x="7667088" y="13230365"/>
                  </a:lnTo>
                  <a:lnTo>
                    <a:pt x="7638500" y="13258956"/>
                  </a:lnTo>
                  <a:lnTo>
                    <a:pt x="7624204" y="13258956"/>
                  </a:lnTo>
                  <a:lnTo>
                    <a:pt x="7605144" y="13263721"/>
                  </a:lnTo>
                  <a:lnTo>
                    <a:pt x="7590848" y="13268486"/>
                  </a:lnTo>
                  <a:lnTo>
                    <a:pt x="7590848" y="13282781"/>
                  </a:lnTo>
                  <a:lnTo>
                    <a:pt x="7595612" y="13301842"/>
                  </a:lnTo>
                  <a:lnTo>
                    <a:pt x="7590848" y="13311372"/>
                  </a:lnTo>
                  <a:lnTo>
                    <a:pt x="7581316" y="13320902"/>
                  </a:lnTo>
                  <a:lnTo>
                    <a:pt x="7567024" y="13325668"/>
                  </a:lnTo>
                  <a:lnTo>
                    <a:pt x="7547960" y="13325668"/>
                  </a:lnTo>
                  <a:lnTo>
                    <a:pt x="7528900" y="13330433"/>
                  </a:lnTo>
                  <a:lnTo>
                    <a:pt x="7509840" y="13349493"/>
                  </a:lnTo>
                  <a:lnTo>
                    <a:pt x="7476484" y="13354258"/>
                  </a:lnTo>
                  <a:lnTo>
                    <a:pt x="7443128" y="13359023"/>
                  </a:lnTo>
                  <a:lnTo>
                    <a:pt x="7414536" y="13373319"/>
                  </a:lnTo>
                  <a:lnTo>
                    <a:pt x="7362120" y="13382849"/>
                  </a:lnTo>
                  <a:lnTo>
                    <a:pt x="7333532" y="13392377"/>
                  </a:lnTo>
                  <a:lnTo>
                    <a:pt x="7281116" y="13401909"/>
                  </a:lnTo>
                  <a:lnTo>
                    <a:pt x="7238228" y="13406673"/>
                  </a:lnTo>
                  <a:lnTo>
                    <a:pt x="7233464" y="13397145"/>
                  </a:lnTo>
                  <a:lnTo>
                    <a:pt x="7200108" y="13416205"/>
                  </a:lnTo>
                  <a:lnTo>
                    <a:pt x="7161984" y="13416205"/>
                  </a:lnTo>
                  <a:lnTo>
                    <a:pt x="7157220" y="13425733"/>
                  </a:lnTo>
                  <a:lnTo>
                    <a:pt x="7147692" y="13430501"/>
                  </a:lnTo>
                  <a:lnTo>
                    <a:pt x="7138160" y="13435265"/>
                  </a:lnTo>
                  <a:lnTo>
                    <a:pt x="7123864" y="13444797"/>
                  </a:lnTo>
                  <a:lnTo>
                    <a:pt x="7119100" y="13463857"/>
                  </a:lnTo>
                  <a:lnTo>
                    <a:pt x="7114336" y="13487681"/>
                  </a:lnTo>
                  <a:lnTo>
                    <a:pt x="7104804" y="13492445"/>
                  </a:lnTo>
                  <a:lnTo>
                    <a:pt x="7090508" y="13482917"/>
                  </a:lnTo>
                  <a:lnTo>
                    <a:pt x="7076216" y="13478153"/>
                  </a:lnTo>
                  <a:lnTo>
                    <a:pt x="7057152" y="13482917"/>
                  </a:lnTo>
                  <a:lnTo>
                    <a:pt x="7033328" y="13487681"/>
                  </a:lnTo>
                  <a:lnTo>
                    <a:pt x="7014268" y="13487681"/>
                  </a:lnTo>
                  <a:lnTo>
                    <a:pt x="7004736" y="13478153"/>
                  </a:lnTo>
                  <a:lnTo>
                    <a:pt x="6961852" y="13492445"/>
                  </a:lnTo>
                  <a:lnTo>
                    <a:pt x="6942792" y="13501977"/>
                  </a:lnTo>
                  <a:lnTo>
                    <a:pt x="6938024" y="13506741"/>
                  </a:lnTo>
                  <a:lnTo>
                    <a:pt x="6933260" y="13511505"/>
                  </a:lnTo>
                  <a:lnTo>
                    <a:pt x="6909436" y="13521037"/>
                  </a:lnTo>
                  <a:lnTo>
                    <a:pt x="6890376" y="13516273"/>
                  </a:lnTo>
                  <a:lnTo>
                    <a:pt x="6885608" y="13516273"/>
                  </a:lnTo>
                  <a:lnTo>
                    <a:pt x="6866548" y="13525801"/>
                  </a:lnTo>
                  <a:lnTo>
                    <a:pt x="6842724" y="13535333"/>
                  </a:lnTo>
                  <a:lnTo>
                    <a:pt x="6823664" y="13535333"/>
                  </a:lnTo>
                  <a:lnTo>
                    <a:pt x="6804600" y="13535333"/>
                  </a:lnTo>
                  <a:lnTo>
                    <a:pt x="6795072" y="13544861"/>
                  </a:lnTo>
                  <a:lnTo>
                    <a:pt x="6790304" y="13554393"/>
                  </a:lnTo>
                  <a:lnTo>
                    <a:pt x="6718828" y="13563925"/>
                  </a:lnTo>
                  <a:lnTo>
                    <a:pt x="6714064" y="13573453"/>
                  </a:lnTo>
                  <a:lnTo>
                    <a:pt x="6699768" y="13578217"/>
                  </a:lnTo>
                  <a:lnTo>
                    <a:pt x="6628292" y="13582985"/>
                  </a:lnTo>
                  <a:lnTo>
                    <a:pt x="6618760" y="13587749"/>
                  </a:lnTo>
                  <a:lnTo>
                    <a:pt x="6618760" y="13597281"/>
                  </a:lnTo>
                  <a:lnTo>
                    <a:pt x="6609232" y="13597281"/>
                  </a:lnTo>
                  <a:lnTo>
                    <a:pt x="6556816" y="13582985"/>
                  </a:lnTo>
                  <a:lnTo>
                    <a:pt x="6518696" y="13568689"/>
                  </a:lnTo>
                  <a:lnTo>
                    <a:pt x="6499632" y="13578217"/>
                  </a:lnTo>
                  <a:lnTo>
                    <a:pt x="6485336" y="13592513"/>
                  </a:lnTo>
                  <a:lnTo>
                    <a:pt x="6480572" y="13616341"/>
                  </a:lnTo>
                  <a:lnTo>
                    <a:pt x="6480572" y="13649697"/>
                  </a:lnTo>
                  <a:lnTo>
                    <a:pt x="6475808" y="13659225"/>
                  </a:lnTo>
                  <a:lnTo>
                    <a:pt x="6461512" y="13673521"/>
                  </a:lnTo>
                  <a:lnTo>
                    <a:pt x="6461512" y="13683053"/>
                  </a:lnTo>
                  <a:lnTo>
                    <a:pt x="6480572" y="13692581"/>
                  </a:lnTo>
                  <a:lnTo>
                    <a:pt x="6504400" y="13702113"/>
                  </a:lnTo>
                  <a:lnTo>
                    <a:pt x="6518696" y="13697345"/>
                  </a:lnTo>
                  <a:lnTo>
                    <a:pt x="6528224" y="13692581"/>
                  </a:lnTo>
                  <a:lnTo>
                    <a:pt x="6537756" y="13692581"/>
                  </a:lnTo>
                  <a:lnTo>
                    <a:pt x="6547284" y="13702113"/>
                  </a:lnTo>
                  <a:lnTo>
                    <a:pt x="6547284" y="13706877"/>
                  </a:lnTo>
                  <a:lnTo>
                    <a:pt x="6547284" y="13716409"/>
                  </a:lnTo>
                  <a:lnTo>
                    <a:pt x="6542520" y="13716409"/>
                  </a:lnTo>
                  <a:lnTo>
                    <a:pt x="6528224" y="13725937"/>
                  </a:lnTo>
                  <a:lnTo>
                    <a:pt x="6513928" y="13725937"/>
                  </a:lnTo>
                  <a:lnTo>
                    <a:pt x="6499632" y="13730701"/>
                  </a:lnTo>
                  <a:lnTo>
                    <a:pt x="6494868" y="13740233"/>
                  </a:lnTo>
                  <a:lnTo>
                    <a:pt x="6490104" y="13759293"/>
                  </a:lnTo>
                  <a:lnTo>
                    <a:pt x="6494868" y="13768825"/>
                  </a:lnTo>
                  <a:lnTo>
                    <a:pt x="6513928" y="13773589"/>
                  </a:lnTo>
                  <a:lnTo>
                    <a:pt x="6532988" y="13783121"/>
                  </a:lnTo>
                  <a:lnTo>
                    <a:pt x="6552048" y="13787885"/>
                  </a:lnTo>
                  <a:lnTo>
                    <a:pt x="6566344" y="13787885"/>
                  </a:lnTo>
                  <a:lnTo>
                    <a:pt x="6585408" y="13802181"/>
                  </a:lnTo>
                  <a:lnTo>
                    <a:pt x="6623528" y="13816477"/>
                  </a:lnTo>
                  <a:lnTo>
                    <a:pt x="6633056" y="13830769"/>
                  </a:lnTo>
                  <a:lnTo>
                    <a:pt x="6633056" y="13845065"/>
                  </a:lnTo>
                  <a:lnTo>
                    <a:pt x="6623528" y="13854597"/>
                  </a:lnTo>
                  <a:lnTo>
                    <a:pt x="6613996" y="13859361"/>
                  </a:lnTo>
                  <a:lnTo>
                    <a:pt x="6604468" y="13854597"/>
                  </a:lnTo>
                  <a:lnTo>
                    <a:pt x="6575876" y="13854597"/>
                  </a:lnTo>
                  <a:lnTo>
                    <a:pt x="6547284" y="13849829"/>
                  </a:lnTo>
                  <a:lnTo>
                    <a:pt x="6528224" y="13845065"/>
                  </a:lnTo>
                  <a:lnTo>
                    <a:pt x="6494868" y="13849829"/>
                  </a:lnTo>
                  <a:lnTo>
                    <a:pt x="6471044" y="13854597"/>
                  </a:lnTo>
                  <a:lnTo>
                    <a:pt x="6466276" y="13864125"/>
                  </a:lnTo>
                  <a:lnTo>
                    <a:pt x="6456748" y="13883185"/>
                  </a:lnTo>
                  <a:lnTo>
                    <a:pt x="6447216" y="13892717"/>
                  </a:lnTo>
                  <a:lnTo>
                    <a:pt x="6432920" y="13911777"/>
                  </a:lnTo>
                  <a:lnTo>
                    <a:pt x="6428156" y="13930837"/>
                  </a:lnTo>
                  <a:lnTo>
                    <a:pt x="6437688" y="13954665"/>
                  </a:lnTo>
                  <a:lnTo>
                    <a:pt x="6461512" y="14002317"/>
                  </a:lnTo>
                  <a:lnTo>
                    <a:pt x="6461512" y="14016609"/>
                  </a:lnTo>
                  <a:lnTo>
                    <a:pt x="6456748" y="14030905"/>
                  </a:lnTo>
                  <a:lnTo>
                    <a:pt x="6437688" y="14040437"/>
                  </a:lnTo>
                  <a:lnTo>
                    <a:pt x="6413860" y="14064261"/>
                  </a:lnTo>
                  <a:lnTo>
                    <a:pt x="6385272" y="14064261"/>
                  </a:lnTo>
                  <a:lnTo>
                    <a:pt x="6375740" y="14069025"/>
                  </a:lnTo>
                  <a:lnTo>
                    <a:pt x="6342384" y="14097617"/>
                  </a:lnTo>
                  <a:lnTo>
                    <a:pt x="6318560" y="14107149"/>
                  </a:lnTo>
                  <a:lnTo>
                    <a:pt x="6313792" y="14121445"/>
                  </a:lnTo>
                  <a:lnTo>
                    <a:pt x="6318560" y="14130973"/>
                  </a:lnTo>
                  <a:lnTo>
                    <a:pt x="6351916" y="14145269"/>
                  </a:lnTo>
                  <a:lnTo>
                    <a:pt x="6366208" y="14159565"/>
                  </a:lnTo>
                  <a:lnTo>
                    <a:pt x="6370976" y="14178625"/>
                  </a:lnTo>
                  <a:lnTo>
                    <a:pt x="6380504" y="14192921"/>
                  </a:lnTo>
                  <a:lnTo>
                    <a:pt x="6404332" y="14197685"/>
                  </a:lnTo>
                  <a:lnTo>
                    <a:pt x="6461512" y="14216745"/>
                  </a:lnTo>
                  <a:lnTo>
                    <a:pt x="6461512" y="14221509"/>
                  </a:lnTo>
                  <a:lnTo>
                    <a:pt x="6466276" y="14231041"/>
                  </a:lnTo>
                  <a:lnTo>
                    <a:pt x="6518696" y="14240573"/>
                  </a:lnTo>
                  <a:lnTo>
                    <a:pt x="6528224" y="14250101"/>
                  </a:lnTo>
                  <a:lnTo>
                    <a:pt x="6552048" y="14273929"/>
                  </a:lnTo>
                  <a:lnTo>
                    <a:pt x="6556816" y="14297753"/>
                  </a:lnTo>
                  <a:lnTo>
                    <a:pt x="6542520" y="14316813"/>
                  </a:lnTo>
                  <a:lnTo>
                    <a:pt x="6537756" y="14354933"/>
                  </a:lnTo>
                  <a:lnTo>
                    <a:pt x="6523460" y="14388289"/>
                  </a:lnTo>
                  <a:lnTo>
                    <a:pt x="6499632" y="14407349"/>
                  </a:lnTo>
                  <a:lnTo>
                    <a:pt x="6456748" y="14426413"/>
                  </a:lnTo>
                  <a:lnTo>
                    <a:pt x="6409096" y="14435941"/>
                  </a:lnTo>
                  <a:lnTo>
                    <a:pt x="6385272" y="14435941"/>
                  </a:lnTo>
                  <a:lnTo>
                    <a:pt x="6375740" y="14431177"/>
                  </a:lnTo>
                  <a:lnTo>
                    <a:pt x="6351916" y="14426413"/>
                  </a:lnTo>
                  <a:lnTo>
                    <a:pt x="6337620" y="14412117"/>
                  </a:lnTo>
                  <a:lnTo>
                    <a:pt x="6323324" y="14393057"/>
                  </a:lnTo>
                  <a:lnTo>
                    <a:pt x="6318560" y="14388289"/>
                  </a:lnTo>
                  <a:lnTo>
                    <a:pt x="6309028" y="14393057"/>
                  </a:lnTo>
                  <a:lnTo>
                    <a:pt x="6299496" y="14402585"/>
                  </a:lnTo>
                  <a:lnTo>
                    <a:pt x="6289968" y="14431177"/>
                  </a:lnTo>
                  <a:lnTo>
                    <a:pt x="6280436" y="14455001"/>
                  </a:lnTo>
                  <a:lnTo>
                    <a:pt x="6270908" y="14464533"/>
                  </a:lnTo>
                  <a:lnTo>
                    <a:pt x="6232788" y="14478829"/>
                  </a:lnTo>
                  <a:lnTo>
                    <a:pt x="6228020" y="14474061"/>
                  </a:lnTo>
                  <a:lnTo>
                    <a:pt x="6232788" y="14455001"/>
                  </a:lnTo>
                  <a:lnTo>
                    <a:pt x="6228020" y="14450237"/>
                  </a:lnTo>
                  <a:lnTo>
                    <a:pt x="6223256" y="14445473"/>
                  </a:lnTo>
                  <a:lnTo>
                    <a:pt x="6180368" y="14440705"/>
                  </a:lnTo>
                  <a:lnTo>
                    <a:pt x="6161308" y="14435941"/>
                  </a:lnTo>
                  <a:lnTo>
                    <a:pt x="6147016" y="14431177"/>
                  </a:lnTo>
                  <a:lnTo>
                    <a:pt x="6132720" y="14431177"/>
                  </a:lnTo>
                  <a:lnTo>
                    <a:pt x="6123188" y="14416881"/>
                  </a:lnTo>
                  <a:lnTo>
                    <a:pt x="6099364" y="14388289"/>
                  </a:lnTo>
                  <a:lnTo>
                    <a:pt x="6080304" y="14359701"/>
                  </a:lnTo>
                  <a:lnTo>
                    <a:pt x="6051712" y="14335873"/>
                  </a:lnTo>
                  <a:lnTo>
                    <a:pt x="6023120" y="14331109"/>
                  </a:lnTo>
                  <a:lnTo>
                    <a:pt x="6023120" y="14335873"/>
                  </a:lnTo>
                  <a:lnTo>
                    <a:pt x="6004060" y="14335873"/>
                  </a:lnTo>
                  <a:lnTo>
                    <a:pt x="5970704" y="14331109"/>
                  </a:lnTo>
                  <a:lnTo>
                    <a:pt x="5956408" y="14340641"/>
                  </a:lnTo>
                  <a:lnTo>
                    <a:pt x="5951644" y="14359701"/>
                  </a:lnTo>
                  <a:lnTo>
                    <a:pt x="5942112" y="14373993"/>
                  </a:lnTo>
                  <a:lnTo>
                    <a:pt x="5927816" y="14378761"/>
                  </a:lnTo>
                  <a:lnTo>
                    <a:pt x="5908756" y="14378761"/>
                  </a:lnTo>
                  <a:lnTo>
                    <a:pt x="5889696" y="14364465"/>
                  </a:lnTo>
                  <a:lnTo>
                    <a:pt x="5865872" y="14345405"/>
                  </a:lnTo>
                  <a:lnTo>
                    <a:pt x="5842048" y="14335873"/>
                  </a:lnTo>
                  <a:lnTo>
                    <a:pt x="5818220" y="14340641"/>
                  </a:lnTo>
                  <a:lnTo>
                    <a:pt x="5803924" y="14345405"/>
                  </a:lnTo>
                  <a:lnTo>
                    <a:pt x="5780100" y="14359701"/>
                  </a:lnTo>
                  <a:lnTo>
                    <a:pt x="5770568" y="14350169"/>
                  </a:lnTo>
                  <a:lnTo>
                    <a:pt x="5761040" y="14350169"/>
                  </a:lnTo>
                  <a:lnTo>
                    <a:pt x="5732448" y="14369229"/>
                  </a:lnTo>
                  <a:lnTo>
                    <a:pt x="5703856" y="14393057"/>
                  </a:lnTo>
                  <a:lnTo>
                    <a:pt x="5699092" y="14407349"/>
                  </a:lnTo>
                  <a:lnTo>
                    <a:pt x="5689560" y="14421645"/>
                  </a:lnTo>
                  <a:lnTo>
                    <a:pt x="5670500" y="14440705"/>
                  </a:lnTo>
                  <a:lnTo>
                    <a:pt x="5651440" y="14450237"/>
                  </a:lnTo>
                  <a:lnTo>
                    <a:pt x="5632380" y="14455001"/>
                  </a:lnTo>
                  <a:lnTo>
                    <a:pt x="5613320" y="14450237"/>
                  </a:lnTo>
                  <a:lnTo>
                    <a:pt x="5584728" y="14435941"/>
                  </a:lnTo>
                  <a:lnTo>
                    <a:pt x="5556136" y="14416881"/>
                  </a:lnTo>
                  <a:lnTo>
                    <a:pt x="5527548" y="14383525"/>
                  </a:lnTo>
                  <a:lnTo>
                    <a:pt x="5508488" y="14369229"/>
                  </a:lnTo>
                  <a:lnTo>
                    <a:pt x="5484660" y="14354933"/>
                  </a:lnTo>
                  <a:lnTo>
                    <a:pt x="5470368" y="14350169"/>
                  </a:lnTo>
                  <a:lnTo>
                    <a:pt x="5460836" y="14354933"/>
                  </a:lnTo>
                  <a:lnTo>
                    <a:pt x="5456072" y="14364465"/>
                  </a:lnTo>
                  <a:lnTo>
                    <a:pt x="5460836" y="14373993"/>
                  </a:lnTo>
                  <a:lnTo>
                    <a:pt x="5465600" y="14383525"/>
                  </a:lnTo>
                  <a:lnTo>
                    <a:pt x="5470368" y="14407349"/>
                  </a:lnTo>
                  <a:lnTo>
                    <a:pt x="5470368" y="14435941"/>
                  </a:lnTo>
                  <a:lnTo>
                    <a:pt x="5470368" y="14455001"/>
                  </a:lnTo>
                  <a:lnTo>
                    <a:pt x="5465600" y="14464533"/>
                  </a:lnTo>
                  <a:lnTo>
                    <a:pt x="5456072" y="14469297"/>
                  </a:lnTo>
                  <a:lnTo>
                    <a:pt x="5451304" y="14464533"/>
                  </a:lnTo>
                  <a:lnTo>
                    <a:pt x="5446540" y="14455001"/>
                  </a:lnTo>
                  <a:lnTo>
                    <a:pt x="5441776" y="14435941"/>
                  </a:lnTo>
                  <a:lnTo>
                    <a:pt x="5437008" y="14407349"/>
                  </a:lnTo>
                  <a:lnTo>
                    <a:pt x="5417948" y="14373993"/>
                  </a:lnTo>
                  <a:lnTo>
                    <a:pt x="5398888" y="14354933"/>
                  </a:lnTo>
                  <a:lnTo>
                    <a:pt x="5394124" y="14340641"/>
                  </a:lnTo>
                  <a:lnTo>
                    <a:pt x="5375064" y="14326345"/>
                  </a:lnTo>
                  <a:lnTo>
                    <a:pt x="5365532" y="14312049"/>
                  </a:lnTo>
                  <a:lnTo>
                    <a:pt x="5336944" y="14297753"/>
                  </a:lnTo>
                  <a:lnTo>
                    <a:pt x="5322648" y="14288221"/>
                  </a:lnTo>
                  <a:lnTo>
                    <a:pt x="5298820" y="14254865"/>
                  </a:lnTo>
                  <a:lnTo>
                    <a:pt x="5284528" y="14240573"/>
                  </a:lnTo>
                  <a:lnTo>
                    <a:pt x="5265464" y="14231041"/>
                  </a:lnTo>
                  <a:lnTo>
                    <a:pt x="5251168" y="14231041"/>
                  </a:lnTo>
                  <a:lnTo>
                    <a:pt x="5222580" y="14235805"/>
                  </a:lnTo>
                  <a:lnTo>
                    <a:pt x="5198752" y="14235805"/>
                  </a:lnTo>
                  <a:lnTo>
                    <a:pt x="5184460" y="14231041"/>
                  </a:lnTo>
                  <a:lnTo>
                    <a:pt x="5174928" y="14226277"/>
                  </a:lnTo>
                  <a:lnTo>
                    <a:pt x="5170164" y="14226277"/>
                  </a:lnTo>
                  <a:lnTo>
                    <a:pt x="5155868" y="14235805"/>
                  </a:lnTo>
                  <a:lnTo>
                    <a:pt x="5155868" y="14231041"/>
                  </a:lnTo>
                  <a:lnTo>
                    <a:pt x="5146336" y="14231041"/>
                  </a:lnTo>
                  <a:lnTo>
                    <a:pt x="5136808" y="14226277"/>
                  </a:lnTo>
                  <a:lnTo>
                    <a:pt x="5122512" y="14202449"/>
                  </a:lnTo>
                  <a:lnTo>
                    <a:pt x="5108216" y="14183389"/>
                  </a:lnTo>
                  <a:lnTo>
                    <a:pt x="5093920" y="14173861"/>
                  </a:lnTo>
                  <a:lnTo>
                    <a:pt x="5060564" y="14183389"/>
                  </a:lnTo>
                  <a:lnTo>
                    <a:pt x="5022444" y="14216745"/>
                  </a:lnTo>
                  <a:lnTo>
                    <a:pt x="4998620" y="14231041"/>
                  </a:lnTo>
                  <a:lnTo>
                    <a:pt x="4974792" y="14231041"/>
                  </a:lnTo>
                  <a:lnTo>
                    <a:pt x="4965264" y="14235805"/>
                  </a:lnTo>
                  <a:lnTo>
                    <a:pt x="4955732" y="14235805"/>
                  </a:lnTo>
                  <a:lnTo>
                    <a:pt x="4950968" y="14226277"/>
                  </a:lnTo>
                  <a:lnTo>
                    <a:pt x="4946200" y="14216745"/>
                  </a:lnTo>
                  <a:lnTo>
                    <a:pt x="4946200" y="14202449"/>
                  </a:lnTo>
                  <a:lnTo>
                    <a:pt x="4927140" y="14192921"/>
                  </a:lnTo>
                  <a:lnTo>
                    <a:pt x="4903316" y="14183389"/>
                  </a:lnTo>
                  <a:lnTo>
                    <a:pt x="4884256" y="14173861"/>
                  </a:lnTo>
                  <a:lnTo>
                    <a:pt x="4869960" y="14169093"/>
                  </a:lnTo>
                  <a:lnTo>
                    <a:pt x="4865196" y="14183389"/>
                  </a:lnTo>
                  <a:lnTo>
                    <a:pt x="4846136" y="14207217"/>
                  </a:lnTo>
                  <a:lnTo>
                    <a:pt x="4827072" y="14226277"/>
                  </a:lnTo>
                  <a:lnTo>
                    <a:pt x="4803248" y="14259633"/>
                  </a:lnTo>
                  <a:lnTo>
                    <a:pt x="4793716" y="14273929"/>
                  </a:lnTo>
                  <a:lnTo>
                    <a:pt x="4784188" y="14278693"/>
                  </a:lnTo>
                  <a:lnTo>
                    <a:pt x="4760360" y="14288221"/>
                  </a:lnTo>
                  <a:lnTo>
                    <a:pt x="4736536" y="14302517"/>
                  </a:lnTo>
                  <a:lnTo>
                    <a:pt x="4717476" y="14321577"/>
                  </a:lnTo>
                  <a:lnTo>
                    <a:pt x="4693652" y="14326345"/>
                  </a:lnTo>
                  <a:lnTo>
                    <a:pt x="4665060" y="14331109"/>
                  </a:lnTo>
                  <a:lnTo>
                    <a:pt x="4655528" y="14345405"/>
                  </a:lnTo>
                  <a:lnTo>
                    <a:pt x="4650764" y="14369229"/>
                  </a:lnTo>
                  <a:lnTo>
                    <a:pt x="4641232" y="14388289"/>
                  </a:lnTo>
                  <a:lnTo>
                    <a:pt x="4598348" y="14421645"/>
                  </a:lnTo>
                  <a:lnTo>
                    <a:pt x="4574520" y="14440705"/>
                  </a:lnTo>
                  <a:lnTo>
                    <a:pt x="4560228" y="14450237"/>
                  </a:lnTo>
                  <a:lnTo>
                    <a:pt x="4545932" y="14450237"/>
                  </a:lnTo>
                  <a:lnTo>
                    <a:pt x="4536400" y="14445473"/>
                  </a:lnTo>
                  <a:lnTo>
                    <a:pt x="4531636" y="14450237"/>
                  </a:lnTo>
                  <a:lnTo>
                    <a:pt x="4536400" y="14464533"/>
                  </a:lnTo>
                  <a:lnTo>
                    <a:pt x="4541168" y="14512185"/>
                  </a:lnTo>
                  <a:lnTo>
                    <a:pt x="4550696" y="14545541"/>
                  </a:lnTo>
                  <a:lnTo>
                    <a:pt x="4555460" y="14559833"/>
                  </a:lnTo>
                  <a:lnTo>
                    <a:pt x="4560228" y="14574129"/>
                  </a:lnTo>
                  <a:lnTo>
                    <a:pt x="4564992" y="14593189"/>
                  </a:lnTo>
                  <a:lnTo>
                    <a:pt x="4560228" y="14607485"/>
                  </a:lnTo>
                  <a:lnTo>
                    <a:pt x="4550696" y="14617017"/>
                  </a:lnTo>
                  <a:lnTo>
                    <a:pt x="4526872" y="14631313"/>
                  </a:lnTo>
                  <a:lnTo>
                    <a:pt x="4503044" y="14640841"/>
                  </a:lnTo>
                  <a:lnTo>
                    <a:pt x="4483984" y="14631313"/>
                  </a:lnTo>
                  <a:lnTo>
                    <a:pt x="4469688" y="14617017"/>
                  </a:lnTo>
                  <a:lnTo>
                    <a:pt x="4460160" y="14607485"/>
                  </a:lnTo>
                  <a:lnTo>
                    <a:pt x="4441100" y="14574129"/>
                  </a:lnTo>
                  <a:lnTo>
                    <a:pt x="4407744" y="14531245"/>
                  </a:lnTo>
                  <a:lnTo>
                    <a:pt x="4388680" y="14507417"/>
                  </a:lnTo>
                  <a:lnTo>
                    <a:pt x="4369620" y="14497889"/>
                  </a:lnTo>
                  <a:lnTo>
                    <a:pt x="4355328" y="14497889"/>
                  </a:lnTo>
                  <a:lnTo>
                    <a:pt x="4345796" y="14512185"/>
                  </a:lnTo>
                  <a:lnTo>
                    <a:pt x="4336264" y="14521713"/>
                  </a:lnTo>
                  <a:lnTo>
                    <a:pt x="4326736" y="14531245"/>
                  </a:lnTo>
                  <a:lnTo>
                    <a:pt x="4321972" y="14545541"/>
                  </a:lnTo>
                  <a:lnTo>
                    <a:pt x="4321972" y="14564601"/>
                  </a:lnTo>
                  <a:lnTo>
                    <a:pt x="4321972" y="14583661"/>
                  </a:lnTo>
                  <a:lnTo>
                    <a:pt x="4317204" y="14597957"/>
                  </a:lnTo>
                  <a:lnTo>
                    <a:pt x="4298144" y="14612253"/>
                  </a:lnTo>
                  <a:lnTo>
                    <a:pt x="4274320" y="14636077"/>
                  </a:lnTo>
                  <a:lnTo>
                    <a:pt x="4260024" y="14674197"/>
                  </a:lnTo>
                  <a:lnTo>
                    <a:pt x="4250492" y="14717085"/>
                  </a:lnTo>
                  <a:lnTo>
                    <a:pt x="4245728" y="14750441"/>
                  </a:lnTo>
                  <a:lnTo>
                    <a:pt x="4255260" y="14764737"/>
                  </a:lnTo>
                  <a:lnTo>
                    <a:pt x="4269552" y="14779029"/>
                  </a:lnTo>
                  <a:lnTo>
                    <a:pt x="4279084" y="14793325"/>
                  </a:lnTo>
                  <a:lnTo>
                    <a:pt x="4283848" y="14802857"/>
                  </a:lnTo>
                  <a:lnTo>
                    <a:pt x="4279084" y="14817153"/>
                  </a:lnTo>
                  <a:lnTo>
                    <a:pt x="4269552" y="14831449"/>
                  </a:lnTo>
                  <a:lnTo>
                    <a:pt x="4255260" y="14845741"/>
                  </a:lnTo>
                  <a:lnTo>
                    <a:pt x="4231432" y="14883865"/>
                  </a:lnTo>
                  <a:lnTo>
                    <a:pt x="4217136" y="14941045"/>
                  </a:lnTo>
                  <a:lnTo>
                    <a:pt x="4221904" y="14979165"/>
                  </a:lnTo>
                  <a:lnTo>
                    <a:pt x="4255260" y="14998225"/>
                  </a:lnTo>
                  <a:lnTo>
                    <a:pt x="4279084" y="15007757"/>
                  </a:lnTo>
                  <a:lnTo>
                    <a:pt x="4288616" y="15022053"/>
                  </a:lnTo>
                  <a:lnTo>
                    <a:pt x="4298144" y="15045877"/>
                  </a:lnTo>
                  <a:lnTo>
                    <a:pt x="4293380" y="15069705"/>
                  </a:lnTo>
                  <a:lnTo>
                    <a:pt x="4293380" y="15088765"/>
                  </a:lnTo>
                  <a:lnTo>
                    <a:pt x="4298144" y="15103061"/>
                  </a:lnTo>
                  <a:lnTo>
                    <a:pt x="4307676" y="15122121"/>
                  </a:lnTo>
                  <a:lnTo>
                    <a:pt x="4321972" y="15136417"/>
                  </a:lnTo>
                  <a:lnTo>
                    <a:pt x="4336264" y="15126885"/>
                  </a:lnTo>
                  <a:lnTo>
                    <a:pt x="4350560" y="15122121"/>
                  </a:lnTo>
                  <a:lnTo>
                    <a:pt x="4369620" y="15122121"/>
                  </a:lnTo>
                  <a:lnTo>
                    <a:pt x="4422040" y="15131649"/>
                  </a:lnTo>
                  <a:lnTo>
                    <a:pt x="4450628" y="15136417"/>
                  </a:lnTo>
                  <a:lnTo>
                    <a:pt x="4460160" y="15141181"/>
                  </a:lnTo>
                  <a:lnTo>
                    <a:pt x="4474456" y="15169773"/>
                  </a:lnTo>
                  <a:lnTo>
                    <a:pt x="4498280" y="15203129"/>
                  </a:lnTo>
                  <a:lnTo>
                    <a:pt x="4522104" y="15231717"/>
                  </a:lnTo>
                  <a:lnTo>
                    <a:pt x="4526872" y="15246013"/>
                  </a:lnTo>
                  <a:lnTo>
                    <a:pt x="4545932" y="15284133"/>
                  </a:lnTo>
                  <a:lnTo>
                    <a:pt x="4564992" y="15317489"/>
                  </a:lnTo>
                  <a:lnTo>
                    <a:pt x="4584052" y="15355613"/>
                  </a:lnTo>
                  <a:lnTo>
                    <a:pt x="4584052" y="15369905"/>
                  </a:lnTo>
                  <a:lnTo>
                    <a:pt x="4569756" y="15374673"/>
                  </a:lnTo>
                  <a:lnTo>
                    <a:pt x="4555460" y="15369905"/>
                  </a:lnTo>
                  <a:lnTo>
                    <a:pt x="4541168" y="15365141"/>
                  </a:lnTo>
                  <a:lnTo>
                    <a:pt x="4536400" y="15360377"/>
                  </a:lnTo>
                  <a:lnTo>
                    <a:pt x="4526872" y="15360377"/>
                  </a:lnTo>
                  <a:lnTo>
                    <a:pt x="4522104" y="15360377"/>
                  </a:lnTo>
                  <a:lnTo>
                    <a:pt x="4512576" y="15365141"/>
                  </a:lnTo>
                  <a:lnTo>
                    <a:pt x="4512576" y="15374673"/>
                  </a:lnTo>
                  <a:lnTo>
                    <a:pt x="4512576" y="15384201"/>
                  </a:lnTo>
                  <a:lnTo>
                    <a:pt x="4517340" y="15393733"/>
                  </a:lnTo>
                  <a:lnTo>
                    <a:pt x="4526872" y="15403261"/>
                  </a:lnTo>
                  <a:lnTo>
                    <a:pt x="4555460" y="15417557"/>
                  </a:lnTo>
                  <a:lnTo>
                    <a:pt x="4584052" y="15431853"/>
                  </a:lnTo>
                  <a:lnTo>
                    <a:pt x="4617408" y="15455677"/>
                  </a:lnTo>
                  <a:lnTo>
                    <a:pt x="4626940" y="15455677"/>
                  </a:lnTo>
                  <a:lnTo>
                    <a:pt x="4626940" y="15465209"/>
                  </a:lnTo>
                  <a:lnTo>
                    <a:pt x="4607876" y="15469973"/>
                  </a:lnTo>
                  <a:lnTo>
                    <a:pt x="4607876" y="15479505"/>
                  </a:lnTo>
                  <a:lnTo>
                    <a:pt x="4603112" y="15489033"/>
                  </a:lnTo>
                  <a:lnTo>
                    <a:pt x="4560228" y="15508097"/>
                  </a:lnTo>
                  <a:lnTo>
                    <a:pt x="4550696" y="15508097"/>
                  </a:lnTo>
                  <a:lnTo>
                    <a:pt x="4541168" y="15512861"/>
                  </a:lnTo>
                  <a:lnTo>
                    <a:pt x="4541168" y="15527157"/>
                  </a:lnTo>
                  <a:lnTo>
                    <a:pt x="4541168" y="15536685"/>
                  </a:lnTo>
                  <a:lnTo>
                    <a:pt x="4550696" y="15550981"/>
                  </a:lnTo>
                  <a:lnTo>
                    <a:pt x="4545932" y="15555745"/>
                  </a:lnTo>
                  <a:lnTo>
                    <a:pt x="4541168" y="15555745"/>
                  </a:lnTo>
                  <a:lnTo>
                    <a:pt x="4531636" y="15555745"/>
                  </a:lnTo>
                  <a:lnTo>
                    <a:pt x="4526872" y="15546217"/>
                  </a:lnTo>
                  <a:lnTo>
                    <a:pt x="4517340" y="15546217"/>
                  </a:lnTo>
                  <a:lnTo>
                    <a:pt x="4507812" y="15546217"/>
                  </a:lnTo>
                  <a:lnTo>
                    <a:pt x="4474456" y="15584337"/>
                  </a:lnTo>
                  <a:lnTo>
                    <a:pt x="4460160" y="15593869"/>
                  </a:lnTo>
                  <a:lnTo>
                    <a:pt x="4441100" y="15593869"/>
                  </a:lnTo>
                  <a:lnTo>
                    <a:pt x="4407744" y="15608161"/>
                  </a:lnTo>
                  <a:lnTo>
                    <a:pt x="4398212" y="15608161"/>
                  </a:lnTo>
                  <a:lnTo>
                    <a:pt x="4388680" y="15603397"/>
                  </a:lnTo>
                  <a:lnTo>
                    <a:pt x="4379152" y="15608161"/>
                  </a:lnTo>
                  <a:lnTo>
                    <a:pt x="4374388" y="15627225"/>
                  </a:lnTo>
                  <a:lnTo>
                    <a:pt x="4364856" y="15612929"/>
                  </a:lnTo>
                  <a:lnTo>
                    <a:pt x="4355328" y="15608161"/>
                  </a:lnTo>
                  <a:lnTo>
                    <a:pt x="4350560" y="15603397"/>
                  </a:lnTo>
                  <a:lnTo>
                    <a:pt x="4360092" y="15622457"/>
                  </a:lnTo>
                  <a:lnTo>
                    <a:pt x="4360092" y="15636753"/>
                  </a:lnTo>
                  <a:lnTo>
                    <a:pt x="4355328" y="15646285"/>
                  </a:lnTo>
                  <a:lnTo>
                    <a:pt x="4355328" y="15655813"/>
                  </a:lnTo>
                  <a:lnTo>
                    <a:pt x="4350560" y="15660581"/>
                  </a:lnTo>
                  <a:lnTo>
                    <a:pt x="4341032" y="15660581"/>
                  </a:lnTo>
                  <a:lnTo>
                    <a:pt x="4336264" y="15689169"/>
                  </a:lnTo>
                  <a:lnTo>
                    <a:pt x="4331500" y="15708229"/>
                  </a:lnTo>
                  <a:lnTo>
                    <a:pt x="4321972" y="15722525"/>
                  </a:lnTo>
                  <a:lnTo>
                    <a:pt x="4312440" y="15751117"/>
                  </a:lnTo>
                  <a:lnTo>
                    <a:pt x="4302908" y="15760645"/>
                  </a:lnTo>
                  <a:lnTo>
                    <a:pt x="4293380" y="15774941"/>
                  </a:lnTo>
                  <a:lnTo>
                    <a:pt x="4288616" y="15794001"/>
                  </a:lnTo>
                  <a:lnTo>
                    <a:pt x="4283848" y="15789237"/>
                  </a:lnTo>
                  <a:lnTo>
                    <a:pt x="4279084" y="15784473"/>
                  </a:lnTo>
                  <a:lnTo>
                    <a:pt x="4274320" y="15794001"/>
                  </a:lnTo>
                  <a:lnTo>
                    <a:pt x="4269552" y="15803533"/>
                  </a:lnTo>
                  <a:lnTo>
                    <a:pt x="4250492" y="15817829"/>
                  </a:lnTo>
                  <a:lnTo>
                    <a:pt x="4240964" y="15832125"/>
                  </a:lnTo>
                  <a:lnTo>
                    <a:pt x="4231432" y="15851185"/>
                  </a:lnTo>
                  <a:lnTo>
                    <a:pt x="4231432" y="15865481"/>
                  </a:lnTo>
                  <a:lnTo>
                    <a:pt x="4231432" y="15875009"/>
                  </a:lnTo>
                  <a:lnTo>
                    <a:pt x="4240964" y="15884541"/>
                  </a:lnTo>
                  <a:lnTo>
                    <a:pt x="4264788" y="15889305"/>
                  </a:lnTo>
                  <a:lnTo>
                    <a:pt x="4279084" y="15898837"/>
                  </a:lnTo>
                  <a:lnTo>
                    <a:pt x="4298144" y="15917897"/>
                  </a:lnTo>
                  <a:lnTo>
                    <a:pt x="4312440" y="15932193"/>
                  </a:lnTo>
                  <a:lnTo>
                    <a:pt x="4326736" y="15951253"/>
                  </a:lnTo>
                  <a:lnTo>
                    <a:pt x="4331500" y="15975077"/>
                  </a:lnTo>
                  <a:lnTo>
                    <a:pt x="4345796" y="16022729"/>
                  </a:lnTo>
                  <a:lnTo>
                    <a:pt x="4350560" y="16070381"/>
                  </a:lnTo>
                  <a:lnTo>
                    <a:pt x="4364856" y="16013197"/>
                  </a:lnTo>
                  <a:lnTo>
                    <a:pt x="4379152" y="15998905"/>
                  </a:lnTo>
                  <a:lnTo>
                    <a:pt x="4374388" y="16017965"/>
                  </a:lnTo>
                  <a:lnTo>
                    <a:pt x="4364856" y="16041789"/>
                  </a:lnTo>
                  <a:lnTo>
                    <a:pt x="4355328" y="16079909"/>
                  </a:lnTo>
                  <a:lnTo>
                    <a:pt x="4355328" y="16108501"/>
                  </a:lnTo>
                  <a:lnTo>
                    <a:pt x="4355328" y="16132325"/>
                  </a:lnTo>
                  <a:lnTo>
                    <a:pt x="4355328" y="16141857"/>
                  </a:lnTo>
                  <a:lnTo>
                    <a:pt x="4350560" y="16184745"/>
                  </a:lnTo>
                  <a:lnTo>
                    <a:pt x="4355328" y="16189509"/>
                  </a:lnTo>
                  <a:lnTo>
                    <a:pt x="4360092" y="16199037"/>
                  </a:lnTo>
                  <a:lnTo>
                    <a:pt x="4374388" y="16208569"/>
                  </a:lnTo>
                  <a:lnTo>
                    <a:pt x="4388680" y="16232393"/>
                  </a:lnTo>
                  <a:lnTo>
                    <a:pt x="4388680" y="16256221"/>
                  </a:lnTo>
                  <a:lnTo>
                    <a:pt x="4398212" y="16265749"/>
                  </a:lnTo>
                  <a:lnTo>
                    <a:pt x="4407744" y="16270517"/>
                  </a:lnTo>
                  <a:lnTo>
                    <a:pt x="4445864" y="16327697"/>
                  </a:lnTo>
                  <a:lnTo>
                    <a:pt x="4469688" y="16365817"/>
                  </a:lnTo>
                  <a:lnTo>
                    <a:pt x="4479220" y="16384877"/>
                  </a:lnTo>
                  <a:lnTo>
                    <a:pt x="4493516" y="16413469"/>
                  </a:lnTo>
                  <a:lnTo>
                    <a:pt x="4498280" y="16418233"/>
                  </a:lnTo>
                  <a:lnTo>
                    <a:pt x="4507812" y="16423001"/>
                  </a:lnTo>
                  <a:lnTo>
                    <a:pt x="4522104" y="16432529"/>
                  </a:lnTo>
                  <a:lnTo>
                    <a:pt x="4512576" y="16446825"/>
                  </a:lnTo>
                  <a:lnTo>
                    <a:pt x="4503044" y="16470649"/>
                  </a:lnTo>
                  <a:lnTo>
                    <a:pt x="4493516" y="16484945"/>
                  </a:lnTo>
                  <a:lnTo>
                    <a:pt x="4479220" y="16499241"/>
                  </a:lnTo>
                  <a:lnTo>
                    <a:pt x="4455392" y="16508773"/>
                  </a:lnTo>
                  <a:lnTo>
                    <a:pt x="4441100" y="16513537"/>
                  </a:lnTo>
                  <a:lnTo>
                    <a:pt x="4426804" y="16542129"/>
                  </a:lnTo>
                  <a:lnTo>
                    <a:pt x="4412508" y="16565953"/>
                  </a:lnTo>
                  <a:lnTo>
                    <a:pt x="4402976" y="16570717"/>
                  </a:lnTo>
                  <a:lnTo>
                    <a:pt x="4369620" y="16565953"/>
                  </a:lnTo>
                  <a:lnTo>
                    <a:pt x="4360092" y="16561189"/>
                  </a:lnTo>
                  <a:lnTo>
                    <a:pt x="4326736" y="16551657"/>
                  </a:lnTo>
                  <a:lnTo>
                    <a:pt x="4317204" y="16546893"/>
                  </a:lnTo>
                  <a:lnTo>
                    <a:pt x="4307676" y="16513537"/>
                  </a:lnTo>
                  <a:lnTo>
                    <a:pt x="4298144" y="16504005"/>
                  </a:lnTo>
                  <a:lnTo>
                    <a:pt x="4288616" y="16494477"/>
                  </a:lnTo>
                  <a:lnTo>
                    <a:pt x="4279084" y="16489713"/>
                  </a:lnTo>
                  <a:lnTo>
                    <a:pt x="4274320" y="16480181"/>
                  </a:lnTo>
                  <a:lnTo>
                    <a:pt x="4264788" y="16470649"/>
                  </a:lnTo>
                  <a:lnTo>
                    <a:pt x="4250492" y="16456357"/>
                  </a:lnTo>
                  <a:lnTo>
                    <a:pt x="4236200" y="16442061"/>
                  </a:lnTo>
                  <a:lnTo>
                    <a:pt x="4231432" y="16437293"/>
                  </a:lnTo>
                  <a:lnTo>
                    <a:pt x="4217136" y="16442061"/>
                  </a:lnTo>
                  <a:lnTo>
                    <a:pt x="4212372" y="16442061"/>
                  </a:lnTo>
                  <a:lnTo>
                    <a:pt x="4207608" y="16442061"/>
                  </a:lnTo>
                  <a:lnTo>
                    <a:pt x="4207608" y="16427765"/>
                  </a:lnTo>
                  <a:lnTo>
                    <a:pt x="4188548" y="16423001"/>
                  </a:lnTo>
                  <a:lnTo>
                    <a:pt x="4183780" y="16423001"/>
                  </a:lnTo>
                  <a:lnTo>
                    <a:pt x="4164720" y="16408705"/>
                  </a:lnTo>
                  <a:lnTo>
                    <a:pt x="4155192" y="16403941"/>
                  </a:lnTo>
                  <a:lnTo>
                    <a:pt x="4145660" y="16403941"/>
                  </a:lnTo>
                  <a:lnTo>
                    <a:pt x="4126600" y="16399173"/>
                  </a:lnTo>
                  <a:lnTo>
                    <a:pt x="4112304" y="16394409"/>
                  </a:lnTo>
                  <a:lnTo>
                    <a:pt x="4107540" y="16389645"/>
                  </a:lnTo>
                  <a:lnTo>
                    <a:pt x="4098008" y="16380113"/>
                  </a:lnTo>
                  <a:lnTo>
                    <a:pt x="4078948" y="16370585"/>
                  </a:lnTo>
                  <a:lnTo>
                    <a:pt x="4064652" y="16356289"/>
                  </a:lnTo>
                  <a:lnTo>
                    <a:pt x="4064652" y="16351521"/>
                  </a:lnTo>
                  <a:lnTo>
                    <a:pt x="4074184" y="16327697"/>
                  </a:lnTo>
                  <a:lnTo>
                    <a:pt x="4078948" y="16303873"/>
                  </a:lnTo>
                  <a:lnTo>
                    <a:pt x="4074184" y="16299105"/>
                  </a:lnTo>
                  <a:lnTo>
                    <a:pt x="4064652" y="16294341"/>
                  </a:lnTo>
                  <a:lnTo>
                    <a:pt x="4055124" y="16289577"/>
                  </a:lnTo>
                  <a:lnTo>
                    <a:pt x="4017000" y="16289577"/>
                  </a:lnTo>
                  <a:lnTo>
                    <a:pt x="3997940" y="16265749"/>
                  </a:lnTo>
                  <a:lnTo>
                    <a:pt x="3988412" y="16260985"/>
                  </a:lnTo>
                  <a:lnTo>
                    <a:pt x="3974116" y="16256221"/>
                  </a:lnTo>
                  <a:lnTo>
                    <a:pt x="3955056" y="16246689"/>
                  </a:lnTo>
                  <a:lnTo>
                    <a:pt x="3945524" y="16241925"/>
                  </a:lnTo>
                  <a:lnTo>
                    <a:pt x="3940760" y="16246689"/>
                  </a:lnTo>
                  <a:lnTo>
                    <a:pt x="3931228" y="16270517"/>
                  </a:lnTo>
                  <a:lnTo>
                    <a:pt x="3916936" y="16251453"/>
                  </a:lnTo>
                  <a:lnTo>
                    <a:pt x="3907404" y="16246689"/>
                  </a:lnTo>
                  <a:lnTo>
                    <a:pt x="3897872" y="16241925"/>
                  </a:lnTo>
                  <a:lnTo>
                    <a:pt x="3888344" y="16241925"/>
                  </a:lnTo>
                  <a:lnTo>
                    <a:pt x="3859752" y="16251453"/>
                  </a:lnTo>
                  <a:lnTo>
                    <a:pt x="3840692" y="16265749"/>
                  </a:lnTo>
                  <a:lnTo>
                    <a:pt x="3826396" y="16270517"/>
                  </a:lnTo>
                  <a:lnTo>
                    <a:pt x="3807336" y="16275281"/>
                  </a:lnTo>
                  <a:lnTo>
                    <a:pt x="3802572" y="16280045"/>
                  </a:lnTo>
                  <a:lnTo>
                    <a:pt x="3783512" y="16280045"/>
                  </a:lnTo>
                  <a:lnTo>
                    <a:pt x="3769216" y="16275281"/>
                  </a:lnTo>
                  <a:lnTo>
                    <a:pt x="3769216" y="16270517"/>
                  </a:lnTo>
                  <a:lnTo>
                    <a:pt x="3769216" y="16260985"/>
                  </a:lnTo>
                  <a:lnTo>
                    <a:pt x="3778744" y="16251453"/>
                  </a:lnTo>
                  <a:lnTo>
                    <a:pt x="3778744" y="16246689"/>
                  </a:lnTo>
                  <a:lnTo>
                    <a:pt x="3773980" y="16246689"/>
                  </a:lnTo>
                  <a:lnTo>
                    <a:pt x="3750156" y="16232393"/>
                  </a:lnTo>
                  <a:lnTo>
                    <a:pt x="3740624" y="16222865"/>
                  </a:lnTo>
                  <a:lnTo>
                    <a:pt x="3707268" y="16213333"/>
                  </a:lnTo>
                  <a:lnTo>
                    <a:pt x="3664384" y="16194273"/>
                  </a:lnTo>
                  <a:lnTo>
                    <a:pt x="3650088" y="16179977"/>
                  </a:lnTo>
                  <a:lnTo>
                    <a:pt x="3650088" y="16170449"/>
                  </a:lnTo>
                  <a:lnTo>
                    <a:pt x="3635792" y="16160917"/>
                  </a:lnTo>
                  <a:lnTo>
                    <a:pt x="3616732" y="16156153"/>
                  </a:lnTo>
                  <a:lnTo>
                    <a:pt x="3597672" y="16156153"/>
                  </a:lnTo>
                  <a:lnTo>
                    <a:pt x="3583376" y="16156153"/>
                  </a:lnTo>
                  <a:lnTo>
                    <a:pt x="3564316" y="16141857"/>
                  </a:lnTo>
                  <a:lnTo>
                    <a:pt x="3540488" y="16141857"/>
                  </a:lnTo>
                  <a:lnTo>
                    <a:pt x="3516664" y="16146621"/>
                  </a:lnTo>
                  <a:lnTo>
                    <a:pt x="3502368" y="16151389"/>
                  </a:lnTo>
                  <a:lnTo>
                    <a:pt x="3430892" y="16141857"/>
                  </a:lnTo>
                  <a:lnTo>
                    <a:pt x="3411832" y="16132325"/>
                  </a:lnTo>
                  <a:lnTo>
                    <a:pt x="3397536" y="16118033"/>
                  </a:lnTo>
                  <a:lnTo>
                    <a:pt x="3354648" y="16108501"/>
                  </a:lnTo>
                  <a:lnTo>
                    <a:pt x="3330824" y="16098969"/>
                  </a:lnTo>
                  <a:lnTo>
                    <a:pt x="3307000" y="16084677"/>
                  </a:lnTo>
                  <a:lnTo>
                    <a:pt x="3283172" y="16075145"/>
                  </a:lnTo>
                  <a:lnTo>
                    <a:pt x="3264112" y="16079909"/>
                  </a:lnTo>
                  <a:lnTo>
                    <a:pt x="3235520" y="16075145"/>
                  </a:lnTo>
                  <a:lnTo>
                    <a:pt x="3206932" y="16065617"/>
                  </a:lnTo>
                  <a:lnTo>
                    <a:pt x="3197400" y="16070381"/>
                  </a:lnTo>
                  <a:lnTo>
                    <a:pt x="3187868" y="16084677"/>
                  </a:lnTo>
                  <a:lnTo>
                    <a:pt x="3178340" y="16098969"/>
                  </a:lnTo>
                  <a:lnTo>
                    <a:pt x="3164044" y="16089441"/>
                  </a:lnTo>
                  <a:lnTo>
                    <a:pt x="3106864" y="16032261"/>
                  </a:lnTo>
                  <a:lnTo>
                    <a:pt x="3078272" y="15998905"/>
                  </a:lnTo>
                  <a:lnTo>
                    <a:pt x="2982968" y="15913129"/>
                  </a:lnTo>
                  <a:lnTo>
                    <a:pt x="2968672" y="15903601"/>
                  </a:lnTo>
                  <a:lnTo>
                    <a:pt x="2921024" y="15894069"/>
                  </a:lnTo>
                  <a:lnTo>
                    <a:pt x="2901964" y="15884541"/>
                  </a:lnTo>
                  <a:lnTo>
                    <a:pt x="2849544" y="15822593"/>
                  </a:lnTo>
                  <a:lnTo>
                    <a:pt x="2825720" y="15832125"/>
                  </a:lnTo>
                  <a:lnTo>
                    <a:pt x="2806660" y="15827357"/>
                  </a:lnTo>
                  <a:lnTo>
                    <a:pt x="2792364" y="15822593"/>
                  </a:lnTo>
                  <a:lnTo>
                    <a:pt x="2778068" y="15813065"/>
                  </a:lnTo>
                  <a:lnTo>
                    <a:pt x="2768540" y="15803533"/>
                  </a:lnTo>
                  <a:lnTo>
                    <a:pt x="2759008" y="15774941"/>
                  </a:lnTo>
                  <a:lnTo>
                    <a:pt x="2749480" y="15760645"/>
                  </a:lnTo>
                  <a:lnTo>
                    <a:pt x="2706592" y="15741585"/>
                  </a:lnTo>
                  <a:lnTo>
                    <a:pt x="2658940" y="15727293"/>
                  </a:lnTo>
                  <a:lnTo>
                    <a:pt x="2658940" y="15722525"/>
                  </a:lnTo>
                  <a:lnTo>
                    <a:pt x="2654176" y="15712997"/>
                  </a:lnTo>
                  <a:lnTo>
                    <a:pt x="2697060" y="15698701"/>
                  </a:lnTo>
                  <a:lnTo>
                    <a:pt x="2706592" y="15689169"/>
                  </a:lnTo>
                  <a:lnTo>
                    <a:pt x="2687532" y="15679641"/>
                  </a:lnTo>
                  <a:lnTo>
                    <a:pt x="2678000" y="15679641"/>
                  </a:lnTo>
                  <a:lnTo>
                    <a:pt x="2673236" y="15674873"/>
                  </a:lnTo>
                  <a:lnTo>
                    <a:pt x="2682768" y="15665345"/>
                  </a:lnTo>
                  <a:lnTo>
                    <a:pt x="2692296" y="15660581"/>
                  </a:lnTo>
                  <a:lnTo>
                    <a:pt x="2711356" y="15670109"/>
                  </a:lnTo>
                  <a:lnTo>
                    <a:pt x="2730416" y="15689169"/>
                  </a:lnTo>
                  <a:lnTo>
                    <a:pt x="2749480" y="15693937"/>
                  </a:lnTo>
                  <a:lnTo>
                    <a:pt x="2759008" y="15689169"/>
                  </a:lnTo>
                  <a:lnTo>
                    <a:pt x="2816192" y="15670109"/>
                  </a:lnTo>
                  <a:lnTo>
                    <a:pt x="2820956" y="15660581"/>
                  </a:lnTo>
                  <a:lnTo>
                    <a:pt x="2820956" y="15646285"/>
                  </a:lnTo>
                  <a:lnTo>
                    <a:pt x="2816192" y="15646285"/>
                  </a:lnTo>
                  <a:lnTo>
                    <a:pt x="2811424" y="15646285"/>
                  </a:lnTo>
                  <a:lnTo>
                    <a:pt x="2811424" y="15631989"/>
                  </a:lnTo>
                  <a:lnTo>
                    <a:pt x="2820956" y="15608161"/>
                  </a:lnTo>
                  <a:lnTo>
                    <a:pt x="2844780" y="15579573"/>
                  </a:lnTo>
                  <a:lnTo>
                    <a:pt x="2859076" y="15531921"/>
                  </a:lnTo>
                  <a:lnTo>
                    <a:pt x="2873372" y="15522389"/>
                  </a:lnTo>
                  <a:lnTo>
                    <a:pt x="2882900" y="15527157"/>
                  </a:lnTo>
                  <a:lnTo>
                    <a:pt x="2882900" y="15541453"/>
                  </a:lnTo>
                  <a:lnTo>
                    <a:pt x="2882900" y="15546217"/>
                  </a:lnTo>
                  <a:lnTo>
                    <a:pt x="2892432" y="15531921"/>
                  </a:lnTo>
                  <a:lnTo>
                    <a:pt x="2901964" y="15512861"/>
                  </a:lnTo>
                  <a:lnTo>
                    <a:pt x="2921024" y="15512861"/>
                  </a:lnTo>
                  <a:lnTo>
                    <a:pt x="2935320" y="15512861"/>
                  </a:lnTo>
                  <a:lnTo>
                    <a:pt x="2949612" y="15512861"/>
                  </a:lnTo>
                  <a:lnTo>
                    <a:pt x="2921024" y="15479505"/>
                  </a:lnTo>
                  <a:lnTo>
                    <a:pt x="2882900" y="15441385"/>
                  </a:lnTo>
                  <a:lnTo>
                    <a:pt x="2868608" y="15446149"/>
                  </a:lnTo>
                  <a:lnTo>
                    <a:pt x="2859076" y="15441385"/>
                  </a:lnTo>
                  <a:lnTo>
                    <a:pt x="2840016" y="15412793"/>
                  </a:lnTo>
                  <a:lnTo>
                    <a:pt x="2835252" y="15388969"/>
                  </a:lnTo>
                  <a:lnTo>
                    <a:pt x="2849544" y="15388969"/>
                  </a:lnTo>
                  <a:lnTo>
                    <a:pt x="2868608" y="15393733"/>
                  </a:lnTo>
                  <a:lnTo>
                    <a:pt x="2897196" y="15374673"/>
                  </a:lnTo>
                  <a:lnTo>
                    <a:pt x="2906728" y="15374673"/>
                  </a:lnTo>
                  <a:lnTo>
                    <a:pt x="2925788" y="15379437"/>
                  </a:lnTo>
                  <a:lnTo>
                    <a:pt x="2949612" y="15384201"/>
                  </a:lnTo>
                  <a:lnTo>
                    <a:pt x="2949612" y="15365141"/>
                  </a:lnTo>
                  <a:lnTo>
                    <a:pt x="2940084" y="15350845"/>
                  </a:lnTo>
                  <a:lnTo>
                    <a:pt x="2968672" y="15336549"/>
                  </a:lnTo>
                  <a:lnTo>
                    <a:pt x="2997264" y="15327021"/>
                  </a:lnTo>
                  <a:lnTo>
                    <a:pt x="3049680" y="15298429"/>
                  </a:lnTo>
                  <a:lnTo>
                    <a:pt x="3068740" y="15293665"/>
                  </a:lnTo>
                  <a:lnTo>
                    <a:pt x="3073508" y="15288901"/>
                  </a:lnTo>
                  <a:lnTo>
                    <a:pt x="3073508" y="15279369"/>
                  </a:lnTo>
                  <a:lnTo>
                    <a:pt x="3063976" y="15260309"/>
                  </a:lnTo>
                  <a:lnTo>
                    <a:pt x="3059212" y="15246013"/>
                  </a:lnTo>
                  <a:lnTo>
                    <a:pt x="3030620" y="15241249"/>
                  </a:lnTo>
                  <a:lnTo>
                    <a:pt x="3016324" y="15265073"/>
                  </a:lnTo>
                  <a:lnTo>
                    <a:pt x="2978204" y="15274605"/>
                  </a:lnTo>
                  <a:lnTo>
                    <a:pt x="2959144" y="15269837"/>
                  </a:lnTo>
                  <a:lnTo>
                    <a:pt x="2973440" y="15255545"/>
                  </a:lnTo>
                  <a:lnTo>
                    <a:pt x="2987736" y="15250777"/>
                  </a:lnTo>
                  <a:lnTo>
                    <a:pt x="2992500" y="15246013"/>
                  </a:lnTo>
                  <a:lnTo>
                    <a:pt x="2963908" y="15250777"/>
                  </a:lnTo>
                  <a:lnTo>
                    <a:pt x="2944848" y="15265073"/>
                  </a:lnTo>
                  <a:lnTo>
                    <a:pt x="2906728" y="15284133"/>
                  </a:lnTo>
                  <a:lnTo>
                    <a:pt x="2901964" y="15274605"/>
                  </a:lnTo>
                  <a:lnTo>
                    <a:pt x="2901964" y="15265073"/>
                  </a:lnTo>
                  <a:lnTo>
                    <a:pt x="2906728" y="15255545"/>
                  </a:lnTo>
                  <a:lnTo>
                    <a:pt x="2911492" y="15250777"/>
                  </a:lnTo>
                  <a:lnTo>
                    <a:pt x="2916256" y="15246013"/>
                  </a:lnTo>
                  <a:lnTo>
                    <a:pt x="2916256" y="15241249"/>
                  </a:lnTo>
                  <a:lnTo>
                    <a:pt x="2906728" y="15241249"/>
                  </a:lnTo>
                  <a:lnTo>
                    <a:pt x="2901964" y="15236481"/>
                  </a:lnTo>
                  <a:lnTo>
                    <a:pt x="2901964" y="15231717"/>
                  </a:lnTo>
                  <a:lnTo>
                    <a:pt x="2906728" y="15226953"/>
                  </a:lnTo>
                  <a:lnTo>
                    <a:pt x="2911492" y="15222189"/>
                  </a:lnTo>
                  <a:lnTo>
                    <a:pt x="2911492" y="15212657"/>
                  </a:lnTo>
                  <a:lnTo>
                    <a:pt x="2911492" y="15193597"/>
                  </a:lnTo>
                  <a:lnTo>
                    <a:pt x="2916256" y="15179301"/>
                  </a:lnTo>
                  <a:lnTo>
                    <a:pt x="2930552" y="15165005"/>
                  </a:lnTo>
                  <a:lnTo>
                    <a:pt x="2949612" y="15160241"/>
                  </a:lnTo>
                  <a:lnTo>
                    <a:pt x="2973440" y="15150709"/>
                  </a:lnTo>
                  <a:lnTo>
                    <a:pt x="2982968" y="15141181"/>
                  </a:lnTo>
                  <a:lnTo>
                    <a:pt x="3002028" y="15112589"/>
                  </a:lnTo>
                  <a:lnTo>
                    <a:pt x="3011560" y="15107825"/>
                  </a:lnTo>
                  <a:lnTo>
                    <a:pt x="3035384" y="15107825"/>
                  </a:lnTo>
                  <a:lnTo>
                    <a:pt x="3054448" y="15112589"/>
                  </a:lnTo>
                  <a:lnTo>
                    <a:pt x="3087804" y="15112589"/>
                  </a:lnTo>
                  <a:lnTo>
                    <a:pt x="3130688" y="15112589"/>
                  </a:lnTo>
                  <a:lnTo>
                    <a:pt x="3140220" y="15112589"/>
                  </a:lnTo>
                  <a:lnTo>
                    <a:pt x="3149748" y="15103061"/>
                  </a:lnTo>
                  <a:lnTo>
                    <a:pt x="3149748" y="15083997"/>
                  </a:lnTo>
                  <a:lnTo>
                    <a:pt x="3154512" y="15064937"/>
                  </a:lnTo>
                  <a:lnTo>
                    <a:pt x="3164044" y="15036349"/>
                  </a:lnTo>
                  <a:lnTo>
                    <a:pt x="3178340" y="15017289"/>
                  </a:lnTo>
                  <a:lnTo>
                    <a:pt x="3178340" y="15012521"/>
                  </a:lnTo>
                  <a:lnTo>
                    <a:pt x="3173576" y="15007757"/>
                  </a:lnTo>
                  <a:lnTo>
                    <a:pt x="3164044" y="15007757"/>
                  </a:lnTo>
                  <a:lnTo>
                    <a:pt x="3159280" y="15002993"/>
                  </a:lnTo>
                  <a:lnTo>
                    <a:pt x="3159280" y="14998225"/>
                  </a:lnTo>
                  <a:lnTo>
                    <a:pt x="3168808" y="14988697"/>
                  </a:lnTo>
                  <a:lnTo>
                    <a:pt x="3164044" y="14979165"/>
                  </a:lnTo>
                  <a:lnTo>
                    <a:pt x="3159280" y="14960105"/>
                  </a:lnTo>
                  <a:lnTo>
                    <a:pt x="3159280" y="14945809"/>
                  </a:lnTo>
                  <a:lnTo>
                    <a:pt x="3149748" y="14941045"/>
                  </a:lnTo>
                  <a:lnTo>
                    <a:pt x="3125924" y="14936281"/>
                  </a:lnTo>
                  <a:lnTo>
                    <a:pt x="3130688" y="14917221"/>
                  </a:lnTo>
                  <a:lnTo>
                    <a:pt x="3140220" y="14902925"/>
                  </a:lnTo>
                  <a:lnTo>
                    <a:pt x="3144984" y="14888629"/>
                  </a:lnTo>
                  <a:lnTo>
                    <a:pt x="3149748" y="14883865"/>
                  </a:lnTo>
                  <a:lnTo>
                    <a:pt x="3168808" y="14888629"/>
                  </a:lnTo>
                  <a:lnTo>
                    <a:pt x="3183104" y="14883865"/>
                  </a:lnTo>
                  <a:lnTo>
                    <a:pt x="3183104" y="14874333"/>
                  </a:lnTo>
                  <a:lnTo>
                    <a:pt x="3164044" y="14869569"/>
                  </a:lnTo>
                  <a:lnTo>
                    <a:pt x="3144984" y="14860037"/>
                  </a:lnTo>
                  <a:lnTo>
                    <a:pt x="3140220" y="14850509"/>
                  </a:lnTo>
                  <a:lnTo>
                    <a:pt x="3135452" y="14836213"/>
                  </a:lnTo>
                  <a:lnTo>
                    <a:pt x="3144984" y="14831449"/>
                  </a:lnTo>
                  <a:lnTo>
                    <a:pt x="3168808" y="14821917"/>
                  </a:lnTo>
                  <a:lnTo>
                    <a:pt x="3178340" y="14807621"/>
                  </a:lnTo>
                  <a:lnTo>
                    <a:pt x="3192636" y="14793325"/>
                  </a:lnTo>
                  <a:lnTo>
                    <a:pt x="3202164" y="14779029"/>
                  </a:lnTo>
                  <a:lnTo>
                    <a:pt x="3202164" y="14764737"/>
                  </a:lnTo>
                  <a:lnTo>
                    <a:pt x="3202164" y="14750441"/>
                  </a:lnTo>
                  <a:lnTo>
                    <a:pt x="3192636" y="14736145"/>
                  </a:lnTo>
                  <a:lnTo>
                    <a:pt x="3192636" y="14721849"/>
                  </a:lnTo>
                  <a:lnTo>
                    <a:pt x="3197400" y="14707553"/>
                  </a:lnTo>
                  <a:lnTo>
                    <a:pt x="3197400" y="14702789"/>
                  </a:lnTo>
                  <a:lnTo>
                    <a:pt x="3187868" y="14698025"/>
                  </a:lnTo>
                  <a:lnTo>
                    <a:pt x="3178340" y="14698025"/>
                  </a:lnTo>
                  <a:lnTo>
                    <a:pt x="3164044" y="14702789"/>
                  </a:lnTo>
                  <a:lnTo>
                    <a:pt x="3149748" y="14702789"/>
                  </a:lnTo>
                  <a:lnTo>
                    <a:pt x="3125924" y="14683729"/>
                  </a:lnTo>
                  <a:lnTo>
                    <a:pt x="3102096" y="14664669"/>
                  </a:lnTo>
                  <a:lnTo>
                    <a:pt x="3083036" y="14664669"/>
                  </a:lnTo>
                  <a:lnTo>
                    <a:pt x="3073508" y="14659901"/>
                  </a:lnTo>
                  <a:lnTo>
                    <a:pt x="3063976" y="14650373"/>
                  </a:lnTo>
                  <a:lnTo>
                    <a:pt x="3059212" y="14640841"/>
                  </a:lnTo>
                  <a:lnTo>
                    <a:pt x="3054448" y="14631313"/>
                  </a:lnTo>
                  <a:lnTo>
                    <a:pt x="3044916" y="14636077"/>
                  </a:lnTo>
                  <a:lnTo>
                    <a:pt x="3030620" y="14640841"/>
                  </a:lnTo>
                  <a:lnTo>
                    <a:pt x="3016324" y="14640841"/>
                  </a:lnTo>
                  <a:lnTo>
                    <a:pt x="2992500" y="14626545"/>
                  </a:lnTo>
                  <a:lnTo>
                    <a:pt x="2973440" y="14612253"/>
                  </a:lnTo>
                  <a:lnTo>
                    <a:pt x="2959144" y="14607485"/>
                  </a:lnTo>
                  <a:lnTo>
                    <a:pt x="2940084" y="14607485"/>
                  </a:lnTo>
                  <a:lnTo>
                    <a:pt x="2911492" y="14588425"/>
                  </a:lnTo>
                  <a:lnTo>
                    <a:pt x="2901964" y="14588425"/>
                  </a:lnTo>
                  <a:lnTo>
                    <a:pt x="2897196" y="14593189"/>
                  </a:lnTo>
                  <a:lnTo>
                    <a:pt x="2897196" y="14607485"/>
                  </a:lnTo>
                  <a:lnTo>
                    <a:pt x="2897196" y="14612253"/>
                  </a:lnTo>
                  <a:lnTo>
                    <a:pt x="2887668" y="14617017"/>
                  </a:lnTo>
                  <a:lnTo>
                    <a:pt x="2878136" y="14617017"/>
                  </a:lnTo>
                  <a:lnTo>
                    <a:pt x="2863840" y="14607485"/>
                  </a:lnTo>
                  <a:lnTo>
                    <a:pt x="2825720" y="14574129"/>
                  </a:lnTo>
                  <a:lnTo>
                    <a:pt x="2811424" y="14545541"/>
                  </a:lnTo>
                  <a:lnTo>
                    <a:pt x="2806660" y="14526481"/>
                  </a:lnTo>
                  <a:lnTo>
                    <a:pt x="2792364" y="14516949"/>
                  </a:lnTo>
                  <a:lnTo>
                    <a:pt x="2782832" y="14497889"/>
                  </a:lnTo>
                  <a:lnTo>
                    <a:pt x="2768540" y="14497889"/>
                  </a:lnTo>
                  <a:lnTo>
                    <a:pt x="2754244" y="14502653"/>
                  </a:lnTo>
                  <a:lnTo>
                    <a:pt x="2739948" y="14512185"/>
                  </a:lnTo>
                  <a:lnTo>
                    <a:pt x="2735184" y="14512185"/>
                  </a:lnTo>
                  <a:lnTo>
                    <a:pt x="2711356" y="14516949"/>
                  </a:lnTo>
                  <a:lnTo>
                    <a:pt x="2678000" y="14526481"/>
                  </a:lnTo>
                  <a:lnTo>
                    <a:pt x="2668472" y="14540773"/>
                  </a:lnTo>
                  <a:lnTo>
                    <a:pt x="2654176" y="14545541"/>
                  </a:lnTo>
                  <a:lnTo>
                    <a:pt x="2644644" y="14540773"/>
                  </a:lnTo>
                  <a:lnTo>
                    <a:pt x="2635116" y="14531245"/>
                  </a:lnTo>
                  <a:lnTo>
                    <a:pt x="2616056" y="14526481"/>
                  </a:lnTo>
                  <a:lnTo>
                    <a:pt x="2606524" y="14531245"/>
                  </a:lnTo>
                  <a:lnTo>
                    <a:pt x="2596996" y="14521713"/>
                  </a:lnTo>
                  <a:lnTo>
                    <a:pt x="2587464" y="14507417"/>
                  </a:lnTo>
                  <a:lnTo>
                    <a:pt x="2577932" y="14497889"/>
                  </a:lnTo>
                  <a:lnTo>
                    <a:pt x="2558872" y="14497889"/>
                  </a:lnTo>
                  <a:lnTo>
                    <a:pt x="2544576" y="14493125"/>
                  </a:lnTo>
                  <a:lnTo>
                    <a:pt x="2525516" y="14497889"/>
                  </a:lnTo>
                  <a:lnTo>
                    <a:pt x="2506456" y="14512185"/>
                  </a:lnTo>
                  <a:lnTo>
                    <a:pt x="2496928" y="14507417"/>
                  </a:lnTo>
                  <a:lnTo>
                    <a:pt x="2487396" y="14493125"/>
                  </a:lnTo>
                  <a:lnTo>
                    <a:pt x="2477864" y="14483593"/>
                  </a:lnTo>
                  <a:lnTo>
                    <a:pt x="2468336" y="14469297"/>
                  </a:lnTo>
                  <a:lnTo>
                    <a:pt x="2463572" y="14450237"/>
                  </a:lnTo>
                  <a:lnTo>
                    <a:pt x="2468336" y="14440705"/>
                  </a:lnTo>
                  <a:lnTo>
                    <a:pt x="2473100" y="14431177"/>
                  </a:lnTo>
                  <a:lnTo>
                    <a:pt x="2473100" y="14421645"/>
                  </a:lnTo>
                  <a:lnTo>
                    <a:pt x="2468336" y="14412117"/>
                  </a:lnTo>
                  <a:lnTo>
                    <a:pt x="2463572" y="14402585"/>
                  </a:lnTo>
                  <a:lnTo>
                    <a:pt x="2458804" y="14378761"/>
                  </a:lnTo>
                  <a:lnTo>
                    <a:pt x="2454040" y="14364465"/>
                  </a:lnTo>
                  <a:lnTo>
                    <a:pt x="2449276" y="14354933"/>
                  </a:lnTo>
                  <a:lnTo>
                    <a:pt x="2454040" y="14350169"/>
                  </a:lnTo>
                  <a:lnTo>
                    <a:pt x="2454040" y="14340641"/>
                  </a:lnTo>
                  <a:lnTo>
                    <a:pt x="2444512" y="14340641"/>
                  </a:lnTo>
                  <a:lnTo>
                    <a:pt x="2434980" y="14340641"/>
                  </a:lnTo>
                  <a:lnTo>
                    <a:pt x="2430216" y="14335873"/>
                  </a:lnTo>
                  <a:lnTo>
                    <a:pt x="2420684" y="14321577"/>
                  </a:lnTo>
                  <a:lnTo>
                    <a:pt x="2415920" y="14307285"/>
                  </a:lnTo>
                  <a:lnTo>
                    <a:pt x="2411156" y="14302517"/>
                  </a:lnTo>
                  <a:lnTo>
                    <a:pt x="2401624" y="14302517"/>
                  </a:lnTo>
                  <a:lnTo>
                    <a:pt x="2382564" y="14307285"/>
                  </a:lnTo>
                  <a:lnTo>
                    <a:pt x="2368268" y="14312049"/>
                  </a:lnTo>
                  <a:lnTo>
                    <a:pt x="2358736" y="14312049"/>
                  </a:lnTo>
                  <a:lnTo>
                    <a:pt x="2344444" y="14302517"/>
                  </a:lnTo>
                  <a:lnTo>
                    <a:pt x="2325380" y="14292989"/>
                  </a:lnTo>
                  <a:lnTo>
                    <a:pt x="2282496" y="14292989"/>
                  </a:lnTo>
                  <a:lnTo>
                    <a:pt x="2282496" y="14288221"/>
                  </a:lnTo>
                  <a:lnTo>
                    <a:pt x="2282496" y="14283457"/>
                  </a:lnTo>
                  <a:lnTo>
                    <a:pt x="2292024" y="14273929"/>
                  </a:lnTo>
                  <a:lnTo>
                    <a:pt x="2292024" y="14269161"/>
                  </a:lnTo>
                  <a:lnTo>
                    <a:pt x="2282496" y="14264397"/>
                  </a:lnTo>
                  <a:lnTo>
                    <a:pt x="2277732" y="14250101"/>
                  </a:lnTo>
                  <a:lnTo>
                    <a:pt x="2277732" y="14231041"/>
                  </a:lnTo>
                  <a:lnTo>
                    <a:pt x="2277732" y="14216745"/>
                  </a:lnTo>
                  <a:lnTo>
                    <a:pt x="2268200" y="14202449"/>
                  </a:lnTo>
                  <a:lnTo>
                    <a:pt x="2263436" y="14192921"/>
                  </a:lnTo>
                  <a:lnTo>
                    <a:pt x="2263436" y="14183389"/>
                  </a:lnTo>
                  <a:lnTo>
                    <a:pt x="2282496" y="14178625"/>
                  </a:lnTo>
                  <a:lnTo>
                    <a:pt x="2306320" y="14173861"/>
                  </a:lnTo>
                  <a:lnTo>
                    <a:pt x="2311088" y="14169093"/>
                  </a:lnTo>
                  <a:lnTo>
                    <a:pt x="2311088" y="14159565"/>
                  </a:lnTo>
                  <a:lnTo>
                    <a:pt x="2263436" y="14107149"/>
                  </a:lnTo>
                  <a:lnTo>
                    <a:pt x="2249140" y="14064261"/>
                  </a:lnTo>
                  <a:lnTo>
                    <a:pt x="2234844" y="14040437"/>
                  </a:lnTo>
                  <a:lnTo>
                    <a:pt x="2220548" y="14021377"/>
                  </a:lnTo>
                  <a:lnTo>
                    <a:pt x="2206252" y="14011845"/>
                  </a:lnTo>
                  <a:lnTo>
                    <a:pt x="2187192" y="14016609"/>
                  </a:lnTo>
                  <a:lnTo>
                    <a:pt x="2163368" y="14016609"/>
                  </a:lnTo>
                  <a:lnTo>
                    <a:pt x="2134776" y="14011845"/>
                  </a:lnTo>
                  <a:lnTo>
                    <a:pt x="2115716" y="14016609"/>
                  </a:lnTo>
                  <a:lnTo>
                    <a:pt x="2072832" y="14035669"/>
                  </a:lnTo>
                  <a:lnTo>
                    <a:pt x="2058536" y="14035669"/>
                  </a:lnTo>
                  <a:lnTo>
                    <a:pt x="2034708" y="14030905"/>
                  </a:lnTo>
                  <a:lnTo>
                    <a:pt x="2015648" y="14021377"/>
                  </a:lnTo>
                  <a:lnTo>
                    <a:pt x="2001352" y="14026141"/>
                  </a:lnTo>
                  <a:lnTo>
                    <a:pt x="1996588" y="14026141"/>
                  </a:lnTo>
                  <a:lnTo>
                    <a:pt x="1991824" y="14030905"/>
                  </a:lnTo>
                  <a:lnTo>
                    <a:pt x="1977528" y="14073793"/>
                  </a:lnTo>
                  <a:lnTo>
                    <a:pt x="1967996" y="14083321"/>
                  </a:lnTo>
                  <a:lnTo>
                    <a:pt x="1953700" y="14088089"/>
                  </a:lnTo>
                  <a:lnTo>
                    <a:pt x="1939408" y="14088089"/>
                  </a:lnTo>
                  <a:lnTo>
                    <a:pt x="1929876" y="14088089"/>
                  </a:lnTo>
                  <a:lnTo>
                    <a:pt x="1915580" y="14083321"/>
                  </a:lnTo>
                  <a:lnTo>
                    <a:pt x="1901284" y="14078557"/>
                  </a:lnTo>
                  <a:lnTo>
                    <a:pt x="1896520" y="14078557"/>
                  </a:lnTo>
                  <a:lnTo>
                    <a:pt x="1896520" y="14069025"/>
                  </a:lnTo>
                  <a:lnTo>
                    <a:pt x="1886992" y="14045201"/>
                  </a:lnTo>
                  <a:lnTo>
                    <a:pt x="1882224" y="14035669"/>
                  </a:lnTo>
                  <a:lnTo>
                    <a:pt x="1872696" y="14030905"/>
                  </a:lnTo>
                  <a:lnTo>
                    <a:pt x="1867928" y="14021377"/>
                  </a:lnTo>
                  <a:lnTo>
                    <a:pt x="1867928" y="13992785"/>
                  </a:lnTo>
                  <a:lnTo>
                    <a:pt x="1867928" y="13964193"/>
                  </a:lnTo>
                  <a:lnTo>
                    <a:pt x="1872696" y="13964193"/>
                  </a:lnTo>
                  <a:lnTo>
                    <a:pt x="1858400" y="13940369"/>
                  </a:lnTo>
                  <a:lnTo>
                    <a:pt x="1858400" y="13921309"/>
                  </a:lnTo>
                  <a:lnTo>
                    <a:pt x="1867928" y="13916541"/>
                  </a:lnTo>
                  <a:lnTo>
                    <a:pt x="1867928" y="13907013"/>
                  </a:lnTo>
                  <a:lnTo>
                    <a:pt x="1863164" y="13897481"/>
                  </a:lnTo>
                  <a:lnTo>
                    <a:pt x="1848870" y="13883185"/>
                  </a:lnTo>
                  <a:lnTo>
                    <a:pt x="1834574" y="13864125"/>
                  </a:lnTo>
                  <a:lnTo>
                    <a:pt x="1825044" y="13849829"/>
                  </a:lnTo>
                  <a:lnTo>
                    <a:pt x="1820278" y="13840301"/>
                  </a:lnTo>
                  <a:lnTo>
                    <a:pt x="1825044" y="13830769"/>
                  </a:lnTo>
                  <a:lnTo>
                    <a:pt x="1834574" y="13811709"/>
                  </a:lnTo>
                  <a:lnTo>
                    <a:pt x="1839338" y="13797413"/>
                  </a:lnTo>
                  <a:lnTo>
                    <a:pt x="1844104" y="13792649"/>
                  </a:lnTo>
                  <a:lnTo>
                    <a:pt x="1867928" y="13792649"/>
                  </a:lnTo>
                  <a:lnTo>
                    <a:pt x="1882224" y="13792649"/>
                  </a:lnTo>
                  <a:lnTo>
                    <a:pt x="1896520" y="13797413"/>
                  </a:lnTo>
                  <a:lnTo>
                    <a:pt x="1901284" y="13806945"/>
                  </a:lnTo>
                  <a:lnTo>
                    <a:pt x="1910816" y="13816477"/>
                  </a:lnTo>
                  <a:lnTo>
                    <a:pt x="1944172" y="13821241"/>
                  </a:lnTo>
                  <a:lnTo>
                    <a:pt x="1958468" y="13821241"/>
                  </a:lnTo>
                  <a:lnTo>
                    <a:pt x="1972764" y="13811709"/>
                  </a:lnTo>
                  <a:lnTo>
                    <a:pt x="2001352" y="13792649"/>
                  </a:lnTo>
                  <a:lnTo>
                    <a:pt x="2006120" y="13773589"/>
                  </a:lnTo>
                  <a:lnTo>
                    <a:pt x="2025180" y="13764057"/>
                  </a:lnTo>
                  <a:lnTo>
                    <a:pt x="2034708" y="13759293"/>
                  </a:lnTo>
                  <a:lnTo>
                    <a:pt x="2044240" y="13759293"/>
                  </a:lnTo>
                  <a:lnTo>
                    <a:pt x="2044240" y="13749765"/>
                  </a:lnTo>
                  <a:lnTo>
                    <a:pt x="2044240" y="13735469"/>
                  </a:lnTo>
                  <a:lnTo>
                    <a:pt x="2039476" y="13730701"/>
                  </a:lnTo>
                  <a:lnTo>
                    <a:pt x="2006120" y="13702113"/>
                  </a:lnTo>
                  <a:lnTo>
                    <a:pt x="2001352" y="13692581"/>
                  </a:lnTo>
                  <a:lnTo>
                    <a:pt x="2001352" y="13683053"/>
                  </a:lnTo>
                  <a:lnTo>
                    <a:pt x="2006120" y="13673521"/>
                  </a:lnTo>
                  <a:lnTo>
                    <a:pt x="2006120" y="13663993"/>
                  </a:lnTo>
                  <a:lnTo>
                    <a:pt x="1967996" y="13640165"/>
                  </a:lnTo>
                  <a:lnTo>
                    <a:pt x="1934640" y="13635401"/>
                  </a:lnTo>
                  <a:lnTo>
                    <a:pt x="1906052" y="13640165"/>
                  </a:lnTo>
                  <a:lnTo>
                    <a:pt x="1896520" y="13635401"/>
                  </a:lnTo>
                  <a:lnTo>
                    <a:pt x="1901284" y="13621105"/>
                  </a:lnTo>
                  <a:lnTo>
                    <a:pt x="1906052" y="13602045"/>
                  </a:lnTo>
                  <a:lnTo>
                    <a:pt x="1910816" y="13582985"/>
                  </a:lnTo>
                  <a:lnTo>
                    <a:pt x="1906052" y="13573453"/>
                  </a:lnTo>
                  <a:lnTo>
                    <a:pt x="1901284" y="13568689"/>
                  </a:lnTo>
                  <a:lnTo>
                    <a:pt x="1877460" y="13554393"/>
                  </a:lnTo>
                  <a:lnTo>
                    <a:pt x="1839338" y="13530569"/>
                  </a:lnTo>
                  <a:lnTo>
                    <a:pt x="1825044" y="13506741"/>
                  </a:lnTo>
                  <a:lnTo>
                    <a:pt x="1815514" y="13478153"/>
                  </a:lnTo>
                  <a:lnTo>
                    <a:pt x="1805982" y="13463857"/>
                  </a:lnTo>
                  <a:lnTo>
                    <a:pt x="1791688" y="13449561"/>
                  </a:lnTo>
                  <a:lnTo>
                    <a:pt x="1791688" y="13444797"/>
                  </a:lnTo>
                  <a:lnTo>
                    <a:pt x="1801218" y="13420969"/>
                  </a:lnTo>
                  <a:lnTo>
                    <a:pt x="1801218" y="13416205"/>
                  </a:lnTo>
                  <a:lnTo>
                    <a:pt x="1796452" y="13411441"/>
                  </a:lnTo>
                  <a:lnTo>
                    <a:pt x="1777392" y="13397145"/>
                  </a:lnTo>
                  <a:lnTo>
                    <a:pt x="1748802" y="13373319"/>
                  </a:lnTo>
                  <a:lnTo>
                    <a:pt x="1744036" y="13368554"/>
                  </a:lnTo>
                  <a:lnTo>
                    <a:pt x="1748802" y="13354258"/>
                  </a:lnTo>
                  <a:lnTo>
                    <a:pt x="1753566" y="13335198"/>
                  </a:lnTo>
                  <a:lnTo>
                    <a:pt x="1758332" y="13330433"/>
                  </a:lnTo>
                  <a:lnTo>
                    <a:pt x="1772628" y="13301842"/>
                  </a:lnTo>
                  <a:lnTo>
                    <a:pt x="1772628" y="13287546"/>
                  </a:lnTo>
                  <a:lnTo>
                    <a:pt x="1772628" y="13278016"/>
                  </a:lnTo>
                  <a:lnTo>
                    <a:pt x="1758332" y="13254191"/>
                  </a:lnTo>
                  <a:lnTo>
                    <a:pt x="1748802" y="13239895"/>
                  </a:lnTo>
                  <a:lnTo>
                    <a:pt x="1748802" y="13230365"/>
                  </a:lnTo>
                  <a:lnTo>
                    <a:pt x="1748802" y="13225600"/>
                  </a:lnTo>
                  <a:lnTo>
                    <a:pt x="1758332" y="13216070"/>
                  </a:lnTo>
                  <a:lnTo>
                    <a:pt x="1763096" y="13206539"/>
                  </a:lnTo>
                  <a:lnTo>
                    <a:pt x="1763096" y="13168418"/>
                  </a:lnTo>
                  <a:lnTo>
                    <a:pt x="1763096" y="13158888"/>
                  </a:lnTo>
                  <a:lnTo>
                    <a:pt x="1758332" y="13149358"/>
                  </a:lnTo>
                  <a:lnTo>
                    <a:pt x="1753566" y="13149358"/>
                  </a:lnTo>
                  <a:lnTo>
                    <a:pt x="1748802" y="13149358"/>
                  </a:lnTo>
                  <a:lnTo>
                    <a:pt x="1734506" y="13144593"/>
                  </a:lnTo>
                  <a:lnTo>
                    <a:pt x="1724976" y="13135062"/>
                  </a:lnTo>
                  <a:lnTo>
                    <a:pt x="1720210" y="13130297"/>
                  </a:lnTo>
                  <a:lnTo>
                    <a:pt x="1715446" y="13120767"/>
                  </a:lnTo>
                  <a:lnTo>
                    <a:pt x="1696384" y="13101707"/>
                  </a:lnTo>
                  <a:lnTo>
                    <a:pt x="1691620" y="13096941"/>
                  </a:lnTo>
                  <a:lnTo>
                    <a:pt x="1658264" y="13082646"/>
                  </a:lnTo>
                  <a:lnTo>
                    <a:pt x="1629674" y="13082646"/>
                  </a:lnTo>
                  <a:lnTo>
                    <a:pt x="1610612" y="13082646"/>
                  </a:lnTo>
                  <a:lnTo>
                    <a:pt x="1605848" y="13082646"/>
                  </a:lnTo>
                  <a:lnTo>
                    <a:pt x="1596318" y="13096941"/>
                  </a:lnTo>
                  <a:lnTo>
                    <a:pt x="1582022" y="13101707"/>
                  </a:lnTo>
                  <a:lnTo>
                    <a:pt x="1572492" y="13101707"/>
                  </a:lnTo>
                  <a:lnTo>
                    <a:pt x="1562962" y="13106472"/>
                  </a:lnTo>
                  <a:lnTo>
                    <a:pt x="1539136" y="13125532"/>
                  </a:lnTo>
                  <a:lnTo>
                    <a:pt x="1529606" y="13116002"/>
                  </a:lnTo>
                  <a:lnTo>
                    <a:pt x="1520076" y="13096941"/>
                  </a:lnTo>
                  <a:lnTo>
                    <a:pt x="1524840" y="13082646"/>
                  </a:lnTo>
                  <a:lnTo>
                    <a:pt x="1529606" y="13073116"/>
                  </a:lnTo>
                  <a:lnTo>
                    <a:pt x="1529606" y="13063586"/>
                  </a:lnTo>
                  <a:lnTo>
                    <a:pt x="1524840" y="13054055"/>
                  </a:lnTo>
                  <a:lnTo>
                    <a:pt x="1510546" y="13049290"/>
                  </a:lnTo>
                  <a:lnTo>
                    <a:pt x="1477190" y="13030230"/>
                  </a:lnTo>
                  <a:lnTo>
                    <a:pt x="1472424" y="13030230"/>
                  </a:lnTo>
                  <a:lnTo>
                    <a:pt x="1458128" y="13039760"/>
                  </a:lnTo>
                  <a:lnTo>
                    <a:pt x="1434302" y="13054055"/>
                  </a:lnTo>
                  <a:lnTo>
                    <a:pt x="1424772" y="13049290"/>
                  </a:lnTo>
                  <a:lnTo>
                    <a:pt x="1415242" y="13039760"/>
                  </a:lnTo>
                  <a:lnTo>
                    <a:pt x="1410478" y="13020699"/>
                  </a:lnTo>
                  <a:lnTo>
                    <a:pt x="1396182" y="13011169"/>
                  </a:lnTo>
                  <a:lnTo>
                    <a:pt x="1372356" y="13011169"/>
                  </a:lnTo>
                  <a:lnTo>
                    <a:pt x="1372356" y="13015934"/>
                  </a:lnTo>
                  <a:lnTo>
                    <a:pt x="1358060" y="13025465"/>
                  </a:lnTo>
                  <a:lnTo>
                    <a:pt x="1353296" y="13020699"/>
                  </a:lnTo>
                  <a:lnTo>
                    <a:pt x="1334236" y="12996874"/>
                  </a:lnTo>
                  <a:lnTo>
                    <a:pt x="1339000" y="12982578"/>
                  </a:lnTo>
                  <a:lnTo>
                    <a:pt x="1339000" y="12963518"/>
                  </a:lnTo>
                  <a:lnTo>
                    <a:pt x="1339000" y="12949222"/>
                  </a:lnTo>
                  <a:lnTo>
                    <a:pt x="1334236" y="12930162"/>
                  </a:lnTo>
                  <a:lnTo>
                    <a:pt x="1329470" y="12892041"/>
                  </a:lnTo>
                  <a:lnTo>
                    <a:pt x="1324706" y="12882511"/>
                  </a:lnTo>
                  <a:lnTo>
                    <a:pt x="1310410" y="12868215"/>
                  </a:lnTo>
                  <a:lnTo>
                    <a:pt x="1305644" y="12853920"/>
                  </a:lnTo>
                  <a:lnTo>
                    <a:pt x="1300880" y="12839625"/>
                  </a:lnTo>
                  <a:lnTo>
                    <a:pt x="1291350" y="12830094"/>
                  </a:lnTo>
                  <a:lnTo>
                    <a:pt x="1291350" y="12806269"/>
                  </a:lnTo>
                  <a:lnTo>
                    <a:pt x="1286584" y="12796738"/>
                  </a:lnTo>
                  <a:lnTo>
                    <a:pt x="1277054" y="12791973"/>
                  </a:lnTo>
                  <a:lnTo>
                    <a:pt x="1257994" y="12801504"/>
                  </a:lnTo>
                  <a:lnTo>
                    <a:pt x="1253228" y="12796738"/>
                  </a:lnTo>
                  <a:lnTo>
                    <a:pt x="1262758" y="12763383"/>
                  </a:lnTo>
                  <a:lnTo>
                    <a:pt x="1267524" y="12739557"/>
                  </a:lnTo>
                  <a:lnTo>
                    <a:pt x="1272288" y="12715731"/>
                  </a:lnTo>
                  <a:lnTo>
                    <a:pt x="1281818" y="12706201"/>
                  </a:lnTo>
                  <a:lnTo>
                    <a:pt x="1281818" y="12696671"/>
                  </a:lnTo>
                  <a:lnTo>
                    <a:pt x="1286584" y="12682375"/>
                  </a:lnTo>
                  <a:lnTo>
                    <a:pt x="1281818" y="12672845"/>
                  </a:lnTo>
                  <a:lnTo>
                    <a:pt x="1277054" y="12663315"/>
                  </a:lnTo>
                  <a:lnTo>
                    <a:pt x="1257994" y="12649019"/>
                  </a:lnTo>
                  <a:lnTo>
                    <a:pt x="1238932" y="12629959"/>
                  </a:lnTo>
                  <a:lnTo>
                    <a:pt x="1234168" y="12610898"/>
                  </a:lnTo>
                  <a:lnTo>
                    <a:pt x="1224638" y="12601368"/>
                  </a:lnTo>
                  <a:lnTo>
                    <a:pt x="1210342" y="12601368"/>
                  </a:lnTo>
                  <a:lnTo>
                    <a:pt x="1210342" y="12596603"/>
                  </a:lnTo>
                  <a:lnTo>
                    <a:pt x="1210342" y="12577543"/>
                  </a:lnTo>
                  <a:lnTo>
                    <a:pt x="1215108" y="12563247"/>
                  </a:lnTo>
                  <a:lnTo>
                    <a:pt x="1229402" y="12544187"/>
                  </a:lnTo>
                  <a:lnTo>
                    <a:pt x="1234168" y="12534656"/>
                  </a:lnTo>
                  <a:lnTo>
                    <a:pt x="1238932" y="12525126"/>
                  </a:lnTo>
                  <a:lnTo>
                    <a:pt x="1272288" y="12510831"/>
                  </a:lnTo>
                  <a:lnTo>
                    <a:pt x="1277054" y="12506066"/>
                  </a:lnTo>
                  <a:lnTo>
                    <a:pt x="1277054" y="12501301"/>
                  </a:lnTo>
                  <a:lnTo>
                    <a:pt x="1272288" y="12496535"/>
                  </a:lnTo>
                  <a:lnTo>
                    <a:pt x="1267524" y="12491770"/>
                  </a:lnTo>
                  <a:lnTo>
                    <a:pt x="1257994" y="12482240"/>
                  </a:lnTo>
                  <a:lnTo>
                    <a:pt x="1253228" y="12458414"/>
                  </a:lnTo>
                  <a:lnTo>
                    <a:pt x="1257994" y="12458414"/>
                  </a:lnTo>
                  <a:lnTo>
                    <a:pt x="1277054" y="12467945"/>
                  </a:lnTo>
                  <a:lnTo>
                    <a:pt x="1291350" y="12482240"/>
                  </a:lnTo>
                  <a:lnTo>
                    <a:pt x="1291350" y="12487005"/>
                  </a:lnTo>
                  <a:lnTo>
                    <a:pt x="1296114" y="12496535"/>
                  </a:lnTo>
                  <a:lnTo>
                    <a:pt x="1310410" y="12501301"/>
                  </a:lnTo>
                  <a:lnTo>
                    <a:pt x="1324706" y="12506066"/>
                  </a:lnTo>
                  <a:lnTo>
                    <a:pt x="1334236" y="12491770"/>
                  </a:lnTo>
                  <a:lnTo>
                    <a:pt x="1334236" y="12472710"/>
                  </a:lnTo>
                  <a:lnTo>
                    <a:pt x="1324706" y="12453649"/>
                  </a:lnTo>
                  <a:lnTo>
                    <a:pt x="1305644" y="12425059"/>
                  </a:lnTo>
                  <a:lnTo>
                    <a:pt x="1286584" y="12415528"/>
                  </a:lnTo>
                  <a:lnTo>
                    <a:pt x="1262758" y="12415528"/>
                  </a:lnTo>
                  <a:lnTo>
                    <a:pt x="1243698" y="12410763"/>
                  </a:lnTo>
                  <a:lnTo>
                    <a:pt x="1243698" y="12401233"/>
                  </a:lnTo>
                  <a:lnTo>
                    <a:pt x="1238932" y="12386937"/>
                  </a:lnTo>
                  <a:lnTo>
                    <a:pt x="1243698" y="12372642"/>
                  </a:lnTo>
                  <a:lnTo>
                    <a:pt x="1272288" y="12339286"/>
                  </a:lnTo>
                  <a:lnTo>
                    <a:pt x="1277054" y="12334521"/>
                  </a:lnTo>
                  <a:lnTo>
                    <a:pt x="1281818" y="12320226"/>
                  </a:lnTo>
                  <a:lnTo>
                    <a:pt x="1281818" y="12296400"/>
                  </a:lnTo>
                  <a:lnTo>
                    <a:pt x="1272288" y="12191567"/>
                  </a:lnTo>
                  <a:lnTo>
                    <a:pt x="1257994" y="12172507"/>
                  </a:lnTo>
                  <a:lnTo>
                    <a:pt x="1272288" y="12148681"/>
                  </a:lnTo>
                  <a:lnTo>
                    <a:pt x="1286584" y="12105795"/>
                  </a:lnTo>
                  <a:lnTo>
                    <a:pt x="1296114" y="12081969"/>
                  </a:lnTo>
                  <a:lnTo>
                    <a:pt x="1300880" y="12072439"/>
                  </a:lnTo>
                  <a:lnTo>
                    <a:pt x="1310410" y="12072439"/>
                  </a:lnTo>
                  <a:lnTo>
                    <a:pt x="1315174" y="12067674"/>
                  </a:lnTo>
                  <a:lnTo>
                    <a:pt x="1319940" y="12062909"/>
                  </a:lnTo>
                  <a:lnTo>
                    <a:pt x="1329470" y="12058144"/>
                  </a:lnTo>
                  <a:lnTo>
                    <a:pt x="1334236" y="12053378"/>
                  </a:lnTo>
                  <a:lnTo>
                    <a:pt x="1329470" y="12043848"/>
                  </a:lnTo>
                  <a:lnTo>
                    <a:pt x="1319940" y="12024788"/>
                  </a:lnTo>
                  <a:lnTo>
                    <a:pt x="1310410" y="12020022"/>
                  </a:lnTo>
                  <a:lnTo>
                    <a:pt x="1319940" y="11996197"/>
                  </a:lnTo>
                  <a:lnTo>
                    <a:pt x="1315174" y="11967606"/>
                  </a:lnTo>
                  <a:lnTo>
                    <a:pt x="1310410" y="11943780"/>
                  </a:lnTo>
                  <a:lnTo>
                    <a:pt x="1319940" y="11924720"/>
                  </a:lnTo>
                  <a:lnTo>
                    <a:pt x="1329470" y="11924720"/>
                  </a:lnTo>
                  <a:lnTo>
                    <a:pt x="1343766" y="11943780"/>
                  </a:lnTo>
                  <a:lnTo>
                    <a:pt x="1362826" y="11953311"/>
                  </a:lnTo>
                  <a:lnTo>
                    <a:pt x="1377122" y="11939016"/>
                  </a:lnTo>
                  <a:lnTo>
                    <a:pt x="1381886" y="11915190"/>
                  </a:lnTo>
                  <a:lnTo>
                    <a:pt x="1391416" y="11905660"/>
                  </a:lnTo>
                  <a:lnTo>
                    <a:pt x="1405712" y="11915190"/>
                  </a:lnTo>
                  <a:lnTo>
                    <a:pt x="1424772" y="11919955"/>
                  </a:lnTo>
                  <a:lnTo>
                    <a:pt x="1443834" y="11915190"/>
                  </a:lnTo>
                  <a:lnTo>
                    <a:pt x="1458128" y="11910425"/>
                  </a:lnTo>
                  <a:lnTo>
                    <a:pt x="1462894" y="11900894"/>
                  </a:lnTo>
                  <a:lnTo>
                    <a:pt x="1467658" y="11886599"/>
                  </a:lnTo>
                  <a:lnTo>
                    <a:pt x="1477190" y="11872304"/>
                  </a:lnTo>
                  <a:lnTo>
                    <a:pt x="1486720" y="11858008"/>
                  </a:lnTo>
                  <a:lnTo>
                    <a:pt x="1572492" y="11872304"/>
                  </a:lnTo>
                  <a:lnTo>
                    <a:pt x="1639204" y="11896130"/>
                  </a:lnTo>
                  <a:lnTo>
                    <a:pt x="1648734" y="11886599"/>
                  </a:lnTo>
                  <a:lnTo>
                    <a:pt x="1648734" y="11872304"/>
                  </a:lnTo>
                  <a:lnTo>
                    <a:pt x="1629674" y="11858008"/>
                  </a:lnTo>
                  <a:lnTo>
                    <a:pt x="1620142" y="11848478"/>
                  </a:lnTo>
                  <a:lnTo>
                    <a:pt x="1601082" y="11819888"/>
                  </a:lnTo>
                  <a:lnTo>
                    <a:pt x="1577256" y="11796062"/>
                  </a:lnTo>
                  <a:lnTo>
                    <a:pt x="1553432" y="11796062"/>
                  </a:lnTo>
                  <a:lnTo>
                    <a:pt x="1524840" y="11800827"/>
                  </a:lnTo>
                  <a:lnTo>
                    <a:pt x="1477190" y="11796062"/>
                  </a:lnTo>
                  <a:lnTo>
                    <a:pt x="1434302" y="11753176"/>
                  </a:lnTo>
                  <a:lnTo>
                    <a:pt x="1410478" y="11738880"/>
                  </a:lnTo>
                  <a:lnTo>
                    <a:pt x="1391416" y="11705524"/>
                  </a:lnTo>
                  <a:lnTo>
                    <a:pt x="1386652" y="11686464"/>
                  </a:lnTo>
                  <a:lnTo>
                    <a:pt x="1405712" y="11700759"/>
                  </a:lnTo>
                  <a:lnTo>
                    <a:pt x="1410478" y="11686464"/>
                  </a:lnTo>
                  <a:lnTo>
                    <a:pt x="1410478" y="11662638"/>
                  </a:lnTo>
                  <a:lnTo>
                    <a:pt x="1400948" y="11653108"/>
                  </a:lnTo>
                  <a:lnTo>
                    <a:pt x="1391416" y="11643578"/>
                  </a:lnTo>
                  <a:lnTo>
                    <a:pt x="1339000" y="11676934"/>
                  </a:lnTo>
                  <a:lnTo>
                    <a:pt x="1277054" y="11691229"/>
                  </a:lnTo>
                  <a:lnTo>
                    <a:pt x="1334236" y="11619752"/>
                  </a:lnTo>
                  <a:lnTo>
                    <a:pt x="1372356" y="11572101"/>
                  </a:lnTo>
                  <a:lnTo>
                    <a:pt x="1381886" y="11567336"/>
                  </a:lnTo>
                  <a:lnTo>
                    <a:pt x="1396182" y="11553040"/>
                  </a:lnTo>
                  <a:lnTo>
                    <a:pt x="1415242" y="11538745"/>
                  </a:lnTo>
                  <a:lnTo>
                    <a:pt x="1424772" y="11519684"/>
                  </a:lnTo>
                  <a:lnTo>
                    <a:pt x="1462894" y="11486328"/>
                  </a:lnTo>
                  <a:lnTo>
                    <a:pt x="1505780" y="11448208"/>
                  </a:lnTo>
                  <a:lnTo>
                    <a:pt x="1543900" y="11395791"/>
                  </a:lnTo>
                  <a:lnTo>
                    <a:pt x="1558196" y="11381496"/>
                  </a:lnTo>
                  <a:lnTo>
                    <a:pt x="1572492" y="11362435"/>
                  </a:lnTo>
                  <a:lnTo>
                    <a:pt x="1610612" y="11310019"/>
                  </a:lnTo>
                  <a:lnTo>
                    <a:pt x="1624908" y="11290958"/>
                  </a:lnTo>
                  <a:lnTo>
                    <a:pt x="1667794" y="11224246"/>
                  </a:lnTo>
                  <a:lnTo>
                    <a:pt x="1696384" y="11190890"/>
                  </a:lnTo>
                  <a:lnTo>
                    <a:pt x="1710680" y="11171830"/>
                  </a:lnTo>
                  <a:lnTo>
                    <a:pt x="1767862" y="11105118"/>
                  </a:lnTo>
                  <a:lnTo>
                    <a:pt x="1805982" y="11052702"/>
                  </a:lnTo>
                  <a:lnTo>
                    <a:pt x="1825044" y="11024111"/>
                  </a:lnTo>
                  <a:lnTo>
                    <a:pt x="1839338" y="10981225"/>
                  </a:lnTo>
                  <a:lnTo>
                    <a:pt x="1848870" y="10952634"/>
                  </a:lnTo>
                  <a:lnTo>
                    <a:pt x="1863164" y="10914513"/>
                  </a:lnTo>
                  <a:lnTo>
                    <a:pt x="1863164" y="10900218"/>
                  </a:lnTo>
                  <a:lnTo>
                    <a:pt x="1858400" y="10890688"/>
                  </a:lnTo>
                  <a:lnTo>
                    <a:pt x="1848870" y="10871627"/>
                  </a:lnTo>
                  <a:lnTo>
                    <a:pt x="1829808" y="10852566"/>
                  </a:lnTo>
                  <a:lnTo>
                    <a:pt x="1815514" y="10823976"/>
                  </a:lnTo>
                  <a:lnTo>
                    <a:pt x="1805982" y="10804916"/>
                  </a:lnTo>
                  <a:lnTo>
                    <a:pt x="1772628" y="10771560"/>
                  </a:lnTo>
                  <a:lnTo>
                    <a:pt x="1724976" y="10728674"/>
                  </a:lnTo>
                  <a:lnTo>
                    <a:pt x="1686854" y="10700082"/>
                  </a:lnTo>
                  <a:lnTo>
                    <a:pt x="1629674" y="10633370"/>
                  </a:lnTo>
                  <a:lnTo>
                    <a:pt x="1620142" y="10619076"/>
                  </a:lnTo>
                  <a:lnTo>
                    <a:pt x="1620142" y="10614310"/>
                  </a:lnTo>
                  <a:lnTo>
                    <a:pt x="1653498" y="10595250"/>
                  </a:lnTo>
                  <a:lnTo>
                    <a:pt x="1686854" y="10542834"/>
                  </a:lnTo>
                  <a:lnTo>
                    <a:pt x="1701150" y="10519008"/>
                  </a:lnTo>
                  <a:lnTo>
                    <a:pt x="1705916" y="10495182"/>
                  </a:lnTo>
                  <a:lnTo>
                    <a:pt x="1705916" y="10476122"/>
                  </a:lnTo>
                  <a:lnTo>
                    <a:pt x="1701150" y="10452296"/>
                  </a:lnTo>
                  <a:lnTo>
                    <a:pt x="1696384" y="10438000"/>
                  </a:lnTo>
                  <a:lnTo>
                    <a:pt x="1682090" y="10423705"/>
                  </a:lnTo>
                  <a:lnTo>
                    <a:pt x="1639204" y="10395114"/>
                  </a:lnTo>
                  <a:lnTo>
                    <a:pt x="1629674" y="10366524"/>
                  </a:lnTo>
                  <a:lnTo>
                    <a:pt x="1620142" y="10337933"/>
                  </a:lnTo>
                  <a:lnTo>
                    <a:pt x="1620142" y="10323638"/>
                  </a:lnTo>
                  <a:lnTo>
                    <a:pt x="1639204" y="10290282"/>
                  </a:lnTo>
                  <a:lnTo>
                    <a:pt x="1643968" y="10275986"/>
                  </a:lnTo>
                  <a:lnTo>
                    <a:pt x="1639204" y="10261691"/>
                  </a:lnTo>
                  <a:lnTo>
                    <a:pt x="1634438" y="10247396"/>
                  </a:lnTo>
                  <a:lnTo>
                    <a:pt x="1586788" y="10233100"/>
                  </a:lnTo>
                  <a:lnTo>
                    <a:pt x="1577256" y="10218804"/>
                  </a:lnTo>
                  <a:lnTo>
                    <a:pt x="1567726" y="10194979"/>
                  </a:lnTo>
                  <a:lnTo>
                    <a:pt x="1562962" y="10171154"/>
                  </a:lnTo>
                  <a:lnTo>
                    <a:pt x="1558196" y="10161623"/>
                  </a:lnTo>
                  <a:lnTo>
                    <a:pt x="1562962" y="10147328"/>
                  </a:lnTo>
                  <a:lnTo>
                    <a:pt x="1577256" y="10133032"/>
                  </a:lnTo>
                  <a:lnTo>
                    <a:pt x="1591552" y="10123502"/>
                  </a:lnTo>
                  <a:lnTo>
                    <a:pt x="1596318" y="10109207"/>
                  </a:lnTo>
                  <a:lnTo>
                    <a:pt x="1596318" y="10094912"/>
                  </a:lnTo>
                  <a:lnTo>
                    <a:pt x="1591552" y="10085381"/>
                  </a:lnTo>
                  <a:lnTo>
                    <a:pt x="1562962" y="10080616"/>
                  </a:lnTo>
                  <a:lnTo>
                    <a:pt x="1562962" y="10075851"/>
                  </a:lnTo>
                  <a:lnTo>
                    <a:pt x="1562962" y="10071086"/>
                  </a:lnTo>
                  <a:lnTo>
                    <a:pt x="1562962" y="10061556"/>
                  </a:lnTo>
                  <a:lnTo>
                    <a:pt x="1577256" y="10037730"/>
                  </a:lnTo>
                  <a:lnTo>
                    <a:pt x="1577256" y="9985314"/>
                  </a:lnTo>
                  <a:lnTo>
                    <a:pt x="1591552" y="9947192"/>
                  </a:lnTo>
                  <a:lnTo>
                    <a:pt x="1577256" y="9928132"/>
                  </a:lnTo>
                  <a:lnTo>
                    <a:pt x="1577256" y="9923367"/>
                  </a:lnTo>
                  <a:lnTo>
                    <a:pt x="1605848" y="9913836"/>
                  </a:lnTo>
                  <a:lnTo>
                    <a:pt x="1624908" y="9909072"/>
                  </a:lnTo>
                  <a:lnTo>
                    <a:pt x="1634438" y="9904306"/>
                  </a:lnTo>
                  <a:lnTo>
                    <a:pt x="1639204" y="9890011"/>
                  </a:lnTo>
                  <a:lnTo>
                    <a:pt x="1634438" y="9866186"/>
                  </a:lnTo>
                  <a:lnTo>
                    <a:pt x="1610612" y="9775648"/>
                  </a:lnTo>
                  <a:lnTo>
                    <a:pt x="1605848" y="9751822"/>
                  </a:lnTo>
                  <a:lnTo>
                    <a:pt x="1591552" y="9718466"/>
                  </a:lnTo>
                  <a:lnTo>
                    <a:pt x="1577256" y="9694640"/>
                  </a:lnTo>
                  <a:lnTo>
                    <a:pt x="1572492" y="9680346"/>
                  </a:lnTo>
                  <a:lnTo>
                    <a:pt x="1558196" y="9646990"/>
                  </a:lnTo>
                  <a:lnTo>
                    <a:pt x="1548666" y="9613634"/>
                  </a:lnTo>
                  <a:lnTo>
                    <a:pt x="1539136" y="9580278"/>
                  </a:lnTo>
                  <a:lnTo>
                    <a:pt x="1524840" y="9546922"/>
                  </a:lnTo>
                  <a:lnTo>
                    <a:pt x="1510546" y="9513566"/>
                  </a:lnTo>
                  <a:lnTo>
                    <a:pt x="1481954" y="9451619"/>
                  </a:lnTo>
                  <a:lnTo>
                    <a:pt x="1477190" y="9437324"/>
                  </a:lnTo>
                  <a:lnTo>
                    <a:pt x="1477190" y="9423028"/>
                  </a:lnTo>
                  <a:lnTo>
                    <a:pt x="1477190" y="9403968"/>
                  </a:lnTo>
                  <a:lnTo>
                    <a:pt x="1505780" y="9356316"/>
                  </a:lnTo>
                  <a:lnTo>
                    <a:pt x="1524840" y="9313430"/>
                  </a:lnTo>
                  <a:lnTo>
                    <a:pt x="1553432" y="9261014"/>
                  </a:lnTo>
                  <a:lnTo>
                    <a:pt x="1582022" y="9222893"/>
                  </a:lnTo>
                  <a:lnTo>
                    <a:pt x="1610612" y="9170477"/>
                  </a:lnTo>
                  <a:lnTo>
                    <a:pt x="1620142" y="9122826"/>
                  </a:lnTo>
                  <a:lnTo>
                    <a:pt x="1620142" y="9113295"/>
                  </a:lnTo>
                  <a:lnTo>
                    <a:pt x="1596318" y="9089470"/>
                  </a:lnTo>
                  <a:lnTo>
                    <a:pt x="1548666" y="9013228"/>
                  </a:lnTo>
                  <a:lnTo>
                    <a:pt x="1520076" y="8960811"/>
                  </a:lnTo>
                  <a:lnTo>
                    <a:pt x="1477190" y="8936986"/>
                  </a:lnTo>
                  <a:lnTo>
                    <a:pt x="1415242" y="8903630"/>
                  </a:lnTo>
                  <a:lnTo>
                    <a:pt x="1396182" y="8836918"/>
                  </a:lnTo>
                  <a:lnTo>
                    <a:pt x="1381886" y="8779736"/>
                  </a:lnTo>
                  <a:lnTo>
                    <a:pt x="1381886" y="8760676"/>
                  </a:lnTo>
                  <a:lnTo>
                    <a:pt x="1429538" y="8655843"/>
                  </a:lnTo>
                  <a:lnTo>
                    <a:pt x="1429538" y="8641548"/>
                  </a:lnTo>
                  <a:lnTo>
                    <a:pt x="1429538" y="8627252"/>
                  </a:lnTo>
                  <a:lnTo>
                    <a:pt x="1424772" y="8622487"/>
                  </a:lnTo>
                  <a:lnTo>
                    <a:pt x="1420008" y="8617722"/>
                  </a:lnTo>
                  <a:lnTo>
                    <a:pt x="1381886" y="8612957"/>
                  </a:lnTo>
                  <a:lnTo>
                    <a:pt x="1372356" y="8598662"/>
                  </a:lnTo>
                  <a:lnTo>
                    <a:pt x="1396182" y="8589132"/>
                  </a:lnTo>
                  <a:lnTo>
                    <a:pt x="1420008" y="8574836"/>
                  </a:lnTo>
                  <a:lnTo>
                    <a:pt x="1448598" y="8555776"/>
                  </a:lnTo>
                  <a:lnTo>
                    <a:pt x="1458128" y="8551010"/>
                  </a:lnTo>
                  <a:lnTo>
                    <a:pt x="1486720" y="8536715"/>
                  </a:lnTo>
                  <a:lnTo>
                    <a:pt x="1491484" y="8527184"/>
                  </a:lnTo>
                  <a:lnTo>
                    <a:pt x="1496250" y="8517654"/>
                  </a:lnTo>
                  <a:lnTo>
                    <a:pt x="1520076" y="8441412"/>
                  </a:lnTo>
                  <a:lnTo>
                    <a:pt x="1524840" y="8427117"/>
                  </a:lnTo>
                  <a:lnTo>
                    <a:pt x="1596318" y="8398526"/>
                  </a:lnTo>
                  <a:lnTo>
                    <a:pt x="1620142" y="8384231"/>
                  </a:lnTo>
                  <a:lnTo>
                    <a:pt x="1634438" y="8369936"/>
                  </a:lnTo>
                  <a:lnTo>
                    <a:pt x="1643968" y="8355640"/>
                  </a:lnTo>
                  <a:lnTo>
                    <a:pt x="1648734" y="8336580"/>
                  </a:lnTo>
                  <a:lnTo>
                    <a:pt x="1653498" y="8317519"/>
                  </a:lnTo>
                  <a:lnTo>
                    <a:pt x="1653498" y="8303224"/>
                  </a:lnTo>
                  <a:lnTo>
                    <a:pt x="1648734" y="8279398"/>
                  </a:lnTo>
                  <a:lnTo>
                    <a:pt x="1658264" y="8279398"/>
                  </a:lnTo>
                  <a:lnTo>
                    <a:pt x="1682090" y="8303224"/>
                  </a:lnTo>
                  <a:lnTo>
                    <a:pt x="1720210" y="8322284"/>
                  </a:lnTo>
                  <a:lnTo>
                    <a:pt x="1744036" y="8327050"/>
                  </a:lnTo>
                  <a:lnTo>
                    <a:pt x="1758332" y="8322284"/>
                  </a:lnTo>
                  <a:lnTo>
                    <a:pt x="1763096" y="8312754"/>
                  </a:lnTo>
                  <a:lnTo>
                    <a:pt x="1767862" y="8288928"/>
                  </a:lnTo>
                  <a:lnTo>
                    <a:pt x="1767862" y="8269868"/>
                  </a:lnTo>
                  <a:lnTo>
                    <a:pt x="1758332" y="8212686"/>
                  </a:lnTo>
                  <a:lnTo>
                    <a:pt x="1786922" y="8217452"/>
                  </a:lnTo>
                  <a:lnTo>
                    <a:pt x="1848870" y="8255572"/>
                  </a:lnTo>
                  <a:lnTo>
                    <a:pt x="1863164" y="8250807"/>
                  </a:lnTo>
                  <a:lnTo>
                    <a:pt x="1882224" y="8241277"/>
                  </a:lnTo>
                  <a:lnTo>
                    <a:pt x="1901284" y="8198391"/>
                  </a:lnTo>
                  <a:lnTo>
                    <a:pt x="1915580" y="8188860"/>
                  </a:lnTo>
                  <a:lnTo>
                    <a:pt x="1934640" y="8198391"/>
                  </a:lnTo>
                  <a:lnTo>
                    <a:pt x="1939408" y="8188860"/>
                  </a:lnTo>
                  <a:lnTo>
                    <a:pt x="1929876" y="8150740"/>
                  </a:lnTo>
                  <a:lnTo>
                    <a:pt x="1929876" y="8131679"/>
                  </a:lnTo>
                  <a:lnTo>
                    <a:pt x="1996588" y="8174565"/>
                  </a:lnTo>
                  <a:lnTo>
                    <a:pt x="2020412" y="8198391"/>
                  </a:lnTo>
                  <a:lnTo>
                    <a:pt x="2082360" y="8226982"/>
                  </a:lnTo>
                  <a:lnTo>
                    <a:pt x="2091892" y="8236512"/>
                  </a:lnTo>
                  <a:lnTo>
                    <a:pt x="2091892" y="8260338"/>
                  </a:lnTo>
                  <a:lnTo>
                    <a:pt x="2087124" y="8279398"/>
                  </a:lnTo>
                  <a:lnTo>
                    <a:pt x="2077596" y="8293694"/>
                  </a:lnTo>
                  <a:lnTo>
                    <a:pt x="2053768" y="8288928"/>
                  </a:lnTo>
                  <a:lnTo>
                    <a:pt x="1963232" y="8260338"/>
                  </a:lnTo>
                  <a:lnTo>
                    <a:pt x="1948936" y="8279398"/>
                  </a:lnTo>
                  <a:lnTo>
                    <a:pt x="1958468" y="8293694"/>
                  </a:lnTo>
                  <a:lnTo>
                    <a:pt x="1987056" y="8312754"/>
                  </a:lnTo>
                  <a:lnTo>
                    <a:pt x="1991824" y="8346110"/>
                  </a:lnTo>
                  <a:lnTo>
                    <a:pt x="2034708" y="8341344"/>
                  </a:lnTo>
                  <a:lnTo>
                    <a:pt x="2072832" y="8355640"/>
                  </a:lnTo>
                  <a:lnTo>
                    <a:pt x="2091892" y="8350875"/>
                  </a:lnTo>
                  <a:lnTo>
                    <a:pt x="2091892" y="8360405"/>
                  </a:lnTo>
                  <a:lnTo>
                    <a:pt x="2082360" y="8388996"/>
                  </a:lnTo>
                  <a:lnTo>
                    <a:pt x="2087124" y="8398526"/>
                  </a:lnTo>
                  <a:lnTo>
                    <a:pt x="2130012" y="8369936"/>
                  </a:lnTo>
                  <a:lnTo>
                    <a:pt x="2149072" y="8365170"/>
                  </a:lnTo>
                  <a:lnTo>
                    <a:pt x="2163368" y="8369936"/>
                  </a:lnTo>
                  <a:lnTo>
                    <a:pt x="2163368" y="8393761"/>
                  </a:lnTo>
                  <a:lnTo>
                    <a:pt x="2153836" y="8422352"/>
                  </a:lnTo>
                  <a:lnTo>
                    <a:pt x="2153836" y="8441412"/>
                  </a:lnTo>
                  <a:lnTo>
                    <a:pt x="2139540" y="8493828"/>
                  </a:lnTo>
                  <a:lnTo>
                    <a:pt x="2120480" y="8508124"/>
                  </a:lnTo>
                  <a:lnTo>
                    <a:pt x="2110952" y="8527184"/>
                  </a:lnTo>
                  <a:lnTo>
                    <a:pt x="2144308" y="8517654"/>
                  </a:lnTo>
                  <a:lnTo>
                    <a:pt x="2158604" y="8503359"/>
                  </a:lnTo>
                  <a:lnTo>
                    <a:pt x="2187192" y="8431882"/>
                  </a:lnTo>
                  <a:lnTo>
                    <a:pt x="2196724" y="8422352"/>
                  </a:lnTo>
                  <a:lnTo>
                    <a:pt x="2282496" y="8422352"/>
                  </a:lnTo>
                  <a:lnTo>
                    <a:pt x="2301556" y="8427117"/>
                  </a:lnTo>
                  <a:lnTo>
                    <a:pt x="2382564" y="8460473"/>
                  </a:lnTo>
                  <a:lnTo>
                    <a:pt x="2406388" y="8460473"/>
                  </a:lnTo>
                  <a:lnTo>
                    <a:pt x="2430216" y="8460473"/>
                  </a:lnTo>
                  <a:lnTo>
                    <a:pt x="2439744" y="8441412"/>
                  </a:lnTo>
                  <a:lnTo>
                    <a:pt x="2449276" y="8436647"/>
                  </a:lnTo>
                  <a:lnTo>
                    <a:pt x="2535048" y="8474768"/>
                  </a:lnTo>
                  <a:lnTo>
                    <a:pt x="2654176" y="8555776"/>
                  </a:lnTo>
                  <a:lnTo>
                    <a:pt x="2830484" y="8693964"/>
                  </a:lnTo>
                  <a:lnTo>
                    <a:pt x="2925788" y="8813092"/>
                  </a:lnTo>
                  <a:lnTo>
                    <a:pt x="2940084" y="8836918"/>
                  </a:lnTo>
                  <a:lnTo>
                    <a:pt x="2973440" y="8851213"/>
                  </a:lnTo>
                  <a:lnTo>
                    <a:pt x="2982968" y="8841683"/>
                  </a:lnTo>
                  <a:lnTo>
                    <a:pt x="3002028" y="8846448"/>
                  </a:lnTo>
                  <a:lnTo>
                    <a:pt x="3116392" y="8956046"/>
                  </a:lnTo>
                  <a:lnTo>
                    <a:pt x="3154512" y="8960811"/>
                  </a:lnTo>
                  <a:lnTo>
                    <a:pt x="3149748" y="8936986"/>
                  </a:lnTo>
                  <a:lnTo>
                    <a:pt x="3144984" y="8917925"/>
                  </a:lnTo>
                  <a:lnTo>
                    <a:pt x="3154512" y="8922690"/>
                  </a:lnTo>
                  <a:lnTo>
                    <a:pt x="3168808" y="8936986"/>
                  </a:lnTo>
                  <a:lnTo>
                    <a:pt x="3187868" y="8979872"/>
                  </a:lnTo>
                  <a:lnTo>
                    <a:pt x="3216460" y="9008462"/>
                  </a:lnTo>
                  <a:lnTo>
                    <a:pt x="3245052" y="9056114"/>
                  </a:lnTo>
                  <a:lnTo>
                    <a:pt x="3264112" y="9070409"/>
                  </a:lnTo>
                  <a:lnTo>
                    <a:pt x="3287936" y="9079940"/>
                  </a:lnTo>
                  <a:lnTo>
                    <a:pt x="3302232" y="9089470"/>
                  </a:lnTo>
                  <a:lnTo>
                    <a:pt x="3335588" y="9103765"/>
                  </a:lnTo>
                  <a:lnTo>
                    <a:pt x="3349884" y="9213363"/>
                  </a:lnTo>
                  <a:lnTo>
                    <a:pt x="3359416" y="9237188"/>
                  </a:lnTo>
                  <a:lnTo>
                    <a:pt x="3359416" y="9284840"/>
                  </a:lnTo>
                  <a:lnTo>
                    <a:pt x="3383240" y="9303900"/>
                  </a:lnTo>
                  <a:lnTo>
                    <a:pt x="3397536" y="9308666"/>
                  </a:lnTo>
                  <a:lnTo>
                    <a:pt x="3397536" y="9346786"/>
                  </a:lnTo>
                  <a:lnTo>
                    <a:pt x="3383240" y="9427794"/>
                  </a:lnTo>
                  <a:lnTo>
                    <a:pt x="3368944" y="9461150"/>
                  </a:lnTo>
                  <a:lnTo>
                    <a:pt x="3264112" y="9613634"/>
                  </a:lnTo>
                  <a:lnTo>
                    <a:pt x="3202164" y="9670815"/>
                  </a:lnTo>
                  <a:lnTo>
                    <a:pt x="3073508" y="9732762"/>
                  </a:lnTo>
                  <a:lnTo>
                    <a:pt x="2973440" y="9756588"/>
                  </a:lnTo>
                  <a:lnTo>
                    <a:pt x="2935320" y="9761352"/>
                  </a:lnTo>
                  <a:lnTo>
                    <a:pt x="2854312" y="9747057"/>
                  </a:lnTo>
                  <a:lnTo>
                    <a:pt x="2811424" y="9737527"/>
                  </a:lnTo>
                  <a:lnTo>
                    <a:pt x="2763772" y="9699406"/>
                  </a:lnTo>
                  <a:lnTo>
                    <a:pt x="2711356" y="9680346"/>
                  </a:lnTo>
                  <a:lnTo>
                    <a:pt x="2678000" y="9670815"/>
                  </a:lnTo>
                  <a:lnTo>
                    <a:pt x="2616056" y="9666050"/>
                  </a:lnTo>
                  <a:lnTo>
                    <a:pt x="2482632" y="9632694"/>
                  </a:lnTo>
                  <a:lnTo>
                    <a:pt x="2458804" y="9618398"/>
                  </a:lnTo>
                  <a:lnTo>
                    <a:pt x="2377800" y="9546922"/>
                  </a:lnTo>
                  <a:lnTo>
                    <a:pt x="2339676" y="9565982"/>
                  </a:lnTo>
                  <a:lnTo>
                    <a:pt x="2320616" y="9570748"/>
                  </a:lnTo>
                  <a:lnTo>
                    <a:pt x="2311088" y="9546922"/>
                  </a:lnTo>
                  <a:lnTo>
                    <a:pt x="2315852" y="9542156"/>
                  </a:lnTo>
                  <a:lnTo>
                    <a:pt x="2315852" y="9532626"/>
                  </a:lnTo>
                  <a:lnTo>
                    <a:pt x="2268200" y="9508801"/>
                  </a:lnTo>
                  <a:lnTo>
                    <a:pt x="2230080" y="9508801"/>
                  </a:lnTo>
                  <a:lnTo>
                    <a:pt x="2211020" y="9494506"/>
                  </a:lnTo>
                  <a:lnTo>
                    <a:pt x="2182428" y="9480210"/>
                  </a:lnTo>
                  <a:lnTo>
                    <a:pt x="2172896" y="9484975"/>
                  </a:lnTo>
                  <a:lnTo>
                    <a:pt x="2163368" y="9484975"/>
                  </a:lnTo>
                  <a:lnTo>
                    <a:pt x="2115716" y="9456384"/>
                  </a:lnTo>
                  <a:lnTo>
                    <a:pt x="2091892" y="9427794"/>
                  </a:lnTo>
                  <a:lnTo>
                    <a:pt x="2068064" y="9384908"/>
                  </a:lnTo>
                  <a:lnTo>
                    <a:pt x="2072832" y="9370612"/>
                  </a:lnTo>
                  <a:lnTo>
                    <a:pt x="2077596" y="9356316"/>
                  </a:lnTo>
                  <a:lnTo>
                    <a:pt x="1996588" y="9332491"/>
                  </a:lnTo>
                  <a:lnTo>
                    <a:pt x="1920344" y="9327726"/>
                  </a:lnTo>
                  <a:lnTo>
                    <a:pt x="1929876" y="9342022"/>
                  </a:lnTo>
                  <a:lnTo>
                    <a:pt x="1967996" y="9346786"/>
                  </a:lnTo>
                  <a:lnTo>
                    <a:pt x="1987056" y="9365847"/>
                  </a:lnTo>
                  <a:lnTo>
                    <a:pt x="2010884" y="9389672"/>
                  </a:lnTo>
                  <a:lnTo>
                    <a:pt x="2006120" y="9427794"/>
                  </a:lnTo>
                  <a:lnTo>
                    <a:pt x="2039476" y="9461150"/>
                  </a:lnTo>
                  <a:lnTo>
                    <a:pt x="2068064" y="9494506"/>
                  </a:lnTo>
                  <a:lnTo>
                    <a:pt x="2068064" y="9504036"/>
                  </a:lnTo>
                  <a:lnTo>
                    <a:pt x="2077596" y="9508801"/>
                  </a:lnTo>
                  <a:lnTo>
                    <a:pt x="2120480" y="9518331"/>
                  </a:lnTo>
                  <a:lnTo>
                    <a:pt x="2125248" y="9551687"/>
                  </a:lnTo>
                  <a:lnTo>
                    <a:pt x="2120480" y="9561217"/>
                  </a:lnTo>
                  <a:lnTo>
                    <a:pt x="2125248" y="9580278"/>
                  </a:lnTo>
                  <a:lnTo>
                    <a:pt x="2153836" y="9599338"/>
                  </a:lnTo>
                  <a:lnTo>
                    <a:pt x="2172896" y="9604104"/>
                  </a:lnTo>
                  <a:lnTo>
                    <a:pt x="2191960" y="9613634"/>
                  </a:lnTo>
                  <a:lnTo>
                    <a:pt x="2182428" y="9637459"/>
                  </a:lnTo>
                  <a:lnTo>
                    <a:pt x="2163368" y="9651754"/>
                  </a:lnTo>
                  <a:lnTo>
                    <a:pt x="2149072" y="9656520"/>
                  </a:lnTo>
                  <a:lnTo>
                    <a:pt x="2153836" y="9661285"/>
                  </a:lnTo>
                  <a:lnTo>
                    <a:pt x="2177664" y="9661285"/>
                  </a:lnTo>
                  <a:lnTo>
                    <a:pt x="2263436" y="9699406"/>
                  </a:lnTo>
                  <a:lnTo>
                    <a:pt x="2311088" y="9737527"/>
                  </a:lnTo>
                  <a:lnTo>
                    <a:pt x="2353972" y="9804238"/>
                  </a:lnTo>
                  <a:lnTo>
                    <a:pt x="2368268" y="9837594"/>
                  </a:lnTo>
                  <a:lnTo>
                    <a:pt x="2373032" y="9856655"/>
                  </a:lnTo>
                  <a:lnTo>
                    <a:pt x="2368268" y="9875716"/>
                  </a:lnTo>
                  <a:lnTo>
                    <a:pt x="2363504" y="9894776"/>
                  </a:lnTo>
                  <a:lnTo>
                    <a:pt x="2358736" y="9913836"/>
                  </a:lnTo>
                  <a:lnTo>
                    <a:pt x="2344444" y="9971018"/>
                  </a:lnTo>
                  <a:lnTo>
                    <a:pt x="2330148" y="9990078"/>
                  </a:lnTo>
                  <a:lnTo>
                    <a:pt x="2311088" y="10013904"/>
                  </a:lnTo>
                  <a:lnTo>
                    <a:pt x="2330148" y="10056790"/>
                  </a:lnTo>
                  <a:lnTo>
                    <a:pt x="2353972" y="10099676"/>
                  </a:lnTo>
                  <a:lnTo>
                    <a:pt x="2373032" y="10166388"/>
                  </a:lnTo>
                  <a:lnTo>
                    <a:pt x="2377800" y="10194979"/>
                  </a:lnTo>
                  <a:lnTo>
                    <a:pt x="2377800" y="10233100"/>
                  </a:lnTo>
                  <a:lnTo>
                    <a:pt x="2396860" y="10252160"/>
                  </a:lnTo>
                  <a:lnTo>
                    <a:pt x="2387328" y="10256926"/>
                  </a:lnTo>
                  <a:lnTo>
                    <a:pt x="2382564" y="10271221"/>
                  </a:lnTo>
                  <a:lnTo>
                    <a:pt x="2382564" y="10323638"/>
                  </a:lnTo>
                  <a:lnTo>
                    <a:pt x="2406388" y="10366524"/>
                  </a:lnTo>
                  <a:lnTo>
                    <a:pt x="2449276" y="10395114"/>
                  </a:lnTo>
                  <a:lnTo>
                    <a:pt x="2468336" y="10399880"/>
                  </a:lnTo>
                  <a:lnTo>
                    <a:pt x="2506456" y="10390350"/>
                  </a:lnTo>
                  <a:lnTo>
                    <a:pt x="2530284" y="10404644"/>
                  </a:lnTo>
                  <a:lnTo>
                    <a:pt x="2582700" y="10457061"/>
                  </a:lnTo>
                  <a:lnTo>
                    <a:pt x="2606524" y="10514242"/>
                  </a:lnTo>
                  <a:lnTo>
                    <a:pt x="2616056" y="10523773"/>
                  </a:lnTo>
                  <a:lnTo>
                    <a:pt x="2668472" y="10542834"/>
                  </a:lnTo>
                  <a:lnTo>
                    <a:pt x="2711356" y="10557128"/>
                  </a:lnTo>
                  <a:lnTo>
                    <a:pt x="2773304" y="10590484"/>
                  </a:lnTo>
                  <a:lnTo>
                    <a:pt x="2782832" y="10590484"/>
                  </a:lnTo>
                  <a:lnTo>
                    <a:pt x="2816192" y="10561894"/>
                  </a:lnTo>
                  <a:lnTo>
                    <a:pt x="2868608" y="10542834"/>
                  </a:lnTo>
                  <a:lnTo>
                    <a:pt x="2882900" y="10514242"/>
                  </a:lnTo>
                  <a:lnTo>
                    <a:pt x="2882900" y="10490417"/>
                  </a:lnTo>
                  <a:lnTo>
                    <a:pt x="2868608" y="10452296"/>
                  </a:lnTo>
                  <a:lnTo>
                    <a:pt x="2863840" y="10409410"/>
                  </a:lnTo>
                  <a:lnTo>
                    <a:pt x="2844780" y="10395114"/>
                  </a:lnTo>
                  <a:lnTo>
                    <a:pt x="2830484" y="10380819"/>
                  </a:lnTo>
                  <a:lnTo>
                    <a:pt x="2782832" y="10390350"/>
                  </a:lnTo>
                  <a:lnTo>
                    <a:pt x="2759008" y="10390350"/>
                  </a:lnTo>
                  <a:lnTo>
                    <a:pt x="2744712" y="10376054"/>
                  </a:lnTo>
                  <a:lnTo>
                    <a:pt x="2720888" y="10347463"/>
                  </a:lnTo>
                  <a:lnTo>
                    <a:pt x="2678000" y="10275986"/>
                  </a:lnTo>
                  <a:lnTo>
                    <a:pt x="2654176" y="10252160"/>
                  </a:lnTo>
                  <a:lnTo>
                    <a:pt x="2649412" y="10237865"/>
                  </a:lnTo>
                  <a:lnTo>
                    <a:pt x="2639880" y="10218804"/>
                  </a:lnTo>
                  <a:lnTo>
                    <a:pt x="2644644" y="10185449"/>
                  </a:lnTo>
                  <a:lnTo>
                    <a:pt x="2663704" y="10185449"/>
                  </a:lnTo>
                  <a:lnTo>
                    <a:pt x="2682768" y="10166388"/>
                  </a:lnTo>
                  <a:lnTo>
                    <a:pt x="2697060" y="10099676"/>
                  </a:lnTo>
                  <a:lnTo>
                    <a:pt x="2725652" y="10090146"/>
                  </a:lnTo>
                  <a:lnTo>
                    <a:pt x="2739948" y="10090146"/>
                  </a:lnTo>
                  <a:lnTo>
                    <a:pt x="2797128" y="10123502"/>
                  </a:lnTo>
                  <a:lnTo>
                    <a:pt x="2873372" y="10204510"/>
                  </a:lnTo>
                  <a:lnTo>
                    <a:pt x="2887668" y="10214040"/>
                  </a:lnTo>
                  <a:lnTo>
                    <a:pt x="2906728" y="10214040"/>
                  </a:lnTo>
                  <a:lnTo>
                    <a:pt x="2935320" y="10214040"/>
                  </a:lnTo>
                  <a:lnTo>
                    <a:pt x="2940084" y="10223570"/>
                  </a:lnTo>
                  <a:lnTo>
                    <a:pt x="2954380" y="10237865"/>
                  </a:lnTo>
                  <a:lnTo>
                    <a:pt x="2968672" y="10242630"/>
                  </a:lnTo>
                  <a:lnTo>
                    <a:pt x="3035384" y="10266456"/>
                  </a:lnTo>
                  <a:lnTo>
                    <a:pt x="3116392" y="10318872"/>
                  </a:lnTo>
                  <a:lnTo>
                    <a:pt x="3144984" y="10318872"/>
                  </a:lnTo>
                  <a:lnTo>
                    <a:pt x="3159280" y="10290282"/>
                  </a:lnTo>
                  <a:lnTo>
                    <a:pt x="3159280" y="10275986"/>
                  </a:lnTo>
                  <a:lnTo>
                    <a:pt x="3192636" y="10247396"/>
                  </a:lnTo>
                  <a:lnTo>
                    <a:pt x="3216460" y="10242630"/>
                  </a:lnTo>
                  <a:lnTo>
                    <a:pt x="3249816" y="10252160"/>
                  </a:lnTo>
                  <a:lnTo>
                    <a:pt x="3254580" y="10242630"/>
                  </a:lnTo>
                  <a:lnTo>
                    <a:pt x="3240288" y="10199744"/>
                  </a:lnTo>
                  <a:lnTo>
                    <a:pt x="3225992" y="10161623"/>
                  </a:lnTo>
                  <a:lnTo>
                    <a:pt x="3206932" y="10137798"/>
                  </a:lnTo>
                  <a:lnTo>
                    <a:pt x="3168808" y="10066320"/>
                  </a:lnTo>
                  <a:lnTo>
                    <a:pt x="3154512" y="10032964"/>
                  </a:lnTo>
                  <a:lnTo>
                    <a:pt x="3144984" y="9994844"/>
                  </a:lnTo>
                  <a:lnTo>
                    <a:pt x="3149748" y="9961488"/>
                  </a:lnTo>
                  <a:lnTo>
                    <a:pt x="3154512" y="9937662"/>
                  </a:lnTo>
                  <a:lnTo>
                    <a:pt x="3235520" y="9880480"/>
                  </a:lnTo>
                  <a:lnTo>
                    <a:pt x="3264112" y="9842360"/>
                  </a:lnTo>
                  <a:lnTo>
                    <a:pt x="3292704" y="9799474"/>
                  </a:lnTo>
                  <a:lnTo>
                    <a:pt x="3307000" y="9789944"/>
                  </a:lnTo>
                  <a:lnTo>
                    <a:pt x="3349884" y="9775648"/>
                  </a:lnTo>
                  <a:lnTo>
                    <a:pt x="3416596" y="9737527"/>
                  </a:lnTo>
                  <a:lnTo>
                    <a:pt x="3464248" y="9685110"/>
                  </a:lnTo>
                  <a:lnTo>
                    <a:pt x="3507132" y="9604104"/>
                  </a:lnTo>
                  <a:lnTo>
                    <a:pt x="3530960" y="9585043"/>
                  </a:lnTo>
                  <a:lnTo>
                    <a:pt x="3545256" y="9585043"/>
                  </a:lnTo>
                  <a:lnTo>
                    <a:pt x="3569080" y="9599338"/>
                  </a:lnTo>
                  <a:lnTo>
                    <a:pt x="3588140" y="9623164"/>
                  </a:lnTo>
                  <a:lnTo>
                    <a:pt x="3621496" y="9627929"/>
                  </a:lnTo>
                  <a:lnTo>
                    <a:pt x="3654852" y="9623164"/>
                  </a:lnTo>
                  <a:lnTo>
                    <a:pt x="3688208" y="9623164"/>
                  </a:lnTo>
                  <a:lnTo>
                    <a:pt x="3740624" y="9661285"/>
                  </a:lnTo>
                  <a:lnTo>
                    <a:pt x="3745388" y="9670815"/>
                  </a:lnTo>
                  <a:lnTo>
                    <a:pt x="3754920" y="9689876"/>
                  </a:lnTo>
                  <a:lnTo>
                    <a:pt x="3740624" y="9718466"/>
                  </a:lnTo>
                  <a:lnTo>
                    <a:pt x="3735860" y="9737527"/>
                  </a:lnTo>
                  <a:lnTo>
                    <a:pt x="3750156" y="9727996"/>
                  </a:lnTo>
                  <a:lnTo>
                    <a:pt x="3769216" y="9723232"/>
                  </a:lnTo>
                  <a:lnTo>
                    <a:pt x="3783512" y="9732762"/>
                  </a:lnTo>
                  <a:lnTo>
                    <a:pt x="3797808" y="9747057"/>
                  </a:lnTo>
                  <a:lnTo>
                    <a:pt x="3812100" y="9766118"/>
                  </a:lnTo>
                  <a:lnTo>
                    <a:pt x="3826396" y="9780413"/>
                  </a:lnTo>
                  <a:lnTo>
                    <a:pt x="3831160" y="9761352"/>
                  </a:lnTo>
                  <a:lnTo>
                    <a:pt x="3831160" y="9742292"/>
                  </a:lnTo>
                  <a:lnTo>
                    <a:pt x="3821632" y="9694640"/>
                  </a:lnTo>
                  <a:lnTo>
                    <a:pt x="3845456" y="9627929"/>
                  </a:lnTo>
                  <a:lnTo>
                    <a:pt x="3859752" y="9599338"/>
                  </a:lnTo>
                  <a:lnTo>
                    <a:pt x="3883580" y="9523096"/>
                  </a:lnTo>
                  <a:lnTo>
                    <a:pt x="3878812" y="9475445"/>
                  </a:lnTo>
                  <a:lnTo>
                    <a:pt x="3874048" y="9418264"/>
                  </a:lnTo>
                  <a:lnTo>
                    <a:pt x="3869284" y="9389672"/>
                  </a:lnTo>
                  <a:lnTo>
                    <a:pt x="3854988" y="9351552"/>
                  </a:lnTo>
                  <a:lnTo>
                    <a:pt x="3821632" y="9327726"/>
                  </a:lnTo>
                  <a:lnTo>
                    <a:pt x="3788276" y="9318196"/>
                  </a:lnTo>
                  <a:lnTo>
                    <a:pt x="3773980" y="9289605"/>
                  </a:lnTo>
                  <a:lnTo>
                    <a:pt x="3778744" y="9261014"/>
                  </a:lnTo>
                  <a:lnTo>
                    <a:pt x="3788276" y="9218128"/>
                  </a:lnTo>
                  <a:lnTo>
                    <a:pt x="3816868" y="9122826"/>
                  </a:lnTo>
                  <a:lnTo>
                    <a:pt x="3845456" y="8984637"/>
                  </a:lnTo>
                  <a:lnTo>
                    <a:pt x="3845456" y="8956046"/>
                  </a:lnTo>
                  <a:lnTo>
                    <a:pt x="3840692" y="8936986"/>
                  </a:lnTo>
                  <a:lnTo>
                    <a:pt x="3845456" y="8922690"/>
                  </a:lnTo>
                  <a:lnTo>
                    <a:pt x="3840692" y="8879804"/>
                  </a:lnTo>
                  <a:lnTo>
                    <a:pt x="3835928" y="8846448"/>
                  </a:lnTo>
                  <a:lnTo>
                    <a:pt x="3716800" y="8727320"/>
                  </a:lnTo>
                  <a:lnTo>
                    <a:pt x="3707268" y="8717790"/>
                  </a:lnTo>
                  <a:lnTo>
                    <a:pt x="3702504" y="8698729"/>
                  </a:lnTo>
                  <a:lnTo>
                    <a:pt x="3716800" y="8698729"/>
                  </a:lnTo>
                  <a:lnTo>
                    <a:pt x="3726328" y="8698729"/>
                  </a:lnTo>
                  <a:lnTo>
                    <a:pt x="3816868" y="8751146"/>
                  </a:lnTo>
                  <a:lnTo>
                    <a:pt x="3835928" y="8755910"/>
                  </a:lnTo>
                  <a:lnTo>
                    <a:pt x="3978880" y="8741616"/>
                  </a:lnTo>
                  <a:lnTo>
                    <a:pt x="4045592" y="8755910"/>
                  </a:lnTo>
                  <a:lnTo>
                    <a:pt x="4102776" y="8784502"/>
                  </a:lnTo>
                  <a:lnTo>
                    <a:pt x="4145660" y="8860744"/>
                  </a:lnTo>
                  <a:lnTo>
                    <a:pt x="4188548" y="8936986"/>
                  </a:lnTo>
                  <a:lnTo>
                    <a:pt x="4226668" y="8998932"/>
                  </a:lnTo>
                  <a:lnTo>
                    <a:pt x="4231432" y="9046584"/>
                  </a:lnTo>
                  <a:lnTo>
                    <a:pt x="4188548" y="9056114"/>
                  </a:lnTo>
                  <a:lnTo>
                    <a:pt x="4150424" y="9060879"/>
                  </a:lnTo>
                  <a:lnTo>
                    <a:pt x="4045592" y="9084704"/>
                  </a:lnTo>
                  <a:lnTo>
                    <a:pt x="4021768" y="9113295"/>
                  </a:lnTo>
                  <a:lnTo>
                    <a:pt x="3955056" y="9199068"/>
                  </a:lnTo>
                  <a:lnTo>
                    <a:pt x="3950292" y="9227658"/>
                  </a:lnTo>
                  <a:lnTo>
                    <a:pt x="3955056" y="9251484"/>
                  </a:lnTo>
                  <a:lnTo>
                    <a:pt x="3988412" y="9280074"/>
                  </a:lnTo>
                  <a:lnTo>
                    <a:pt x="4055124" y="9318196"/>
                  </a:lnTo>
                  <a:lnTo>
                    <a:pt x="4083712" y="9399203"/>
                  </a:lnTo>
                  <a:lnTo>
                    <a:pt x="4102776" y="9437324"/>
                  </a:lnTo>
                  <a:lnTo>
                    <a:pt x="4117068" y="9451619"/>
                  </a:lnTo>
                  <a:lnTo>
                    <a:pt x="4136132" y="9456384"/>
                  </a:lnTo>
                  <a:lnTo>
                    <a:pt x="4169488" y="9456384"/>
                  </a:lnTo>
                  <a:lnTo>
                    <a:pt x="4193312" y="9465914"/>
                  </a:lnTo>
                  <a:lnTo>
                    <a:pt x="4198076" y="9470680"/>
                  </a:lnTo>
                  <a:lnTo>
                    <a:pt x="4207608" y="9465914"/>
                  </a:lnTo>
                  <a:lnTo>
                    <a:pt x="4231432" y="9461150"/>
                  </a:lnTo>
                  <a:lnTo>
                    <a:pt x="4355328" y="9423028"/>
                  </a:lnTo>
                  <a:lnTo>
                    <a:pt x="4379152" y="9403968"/>
                  </a:lnTo>
                  <a:lnTo>
                    <a:pt x="4388680" y="9375377"/>
                  </a:lnTo>
                  <a:lnTo>
                    <a:pt x="4398212" y="9284840"/>
                  </a:lnTo>
                  <a:lnTo>
                    <a:pt x="4407744" y="9251484"/>
                  </a:lnTo>
                  <a:lnTo>
                    <a:pt x="4417272" y="9208598"/>
                  </a:lnTo>
                  <a:lnTo>
                    <a:pt x="4417272" y="9184772"/>
                  </a:lnTo>
                  <a:lnTo>
                    <a:pt x="4412508" y="9156182"/>
                  </a:lnTo>
                  <a:lnTo>
                    <a:pt x="4474456" y="9127590"/>
                  </a:lnTo>
                  <a:lnTo>
                    <a:pt x="4536400" y="9113295"/>
                  </a:lnTo>
                  <a:lnTo>
                    <a:pt x="4564992" y="9118060"/>
                  </a:lnTo>
                  <a:lnTo>
                    <a:pt x="4569756" y="9094234"/>
                  </a:lnTo>
                  <a:lnTo>
                    <a:pt x="4550696" y="9056114"/>
                  </a:lnTo>
                  <a:lnTo>
                    <a:pt x="4541168" y="9037053"/>
                  </a:lnTo>
                  <a:lnTo>
                    <a:pt x="4550696" y="9027523"/>
                  </a:lnTo>
                  <a:lnTo>
                    <a:pt x="4564992" y="9037053"/>
                  </a:lnTo>
                  <a:lnTo>
                    <a:pt x="4584052" y="9046584"/>
                  </a:lnTo>
                  <a:lnTo>
                    <a:pt x="4612644" y="9037053"/>
                  </a:lnTo>
                  <a:lnTo>
                    <a:pt x="4736536" y="8956046"/>
                  </a:lnTo>
                  <a:lnTo>
                    <a:pt x="4784188" y="8913160"/>
                  </a:lnTo>
                  <a:lnTo>
                    <a:pt x="4812780" y="8894100"/>
                  </a:lnTo>
                  <a:lnTo>
                    <a:pt x="4855664" y="8851213"/>
                  </a:lnTo>
                  <a:lnTo>
                    <a:pt x="4874724" y="8836918"/>
                  </a:lnTo>
                  <a:lnTo>
                    <a:pt x="4912848" y="8832152"/>
                  </a:lnTo>
                  <a:lnTo>
                    <a:pt x="4955732" y="8817858"/>
                  </a:lnTo>
                  <a:lnTo>
                    <a:pt x="4998620" y="8784502"/>
                  </a:lnTo>
                  <a:lnTo>
                    <a:pt x="5055800" y="8755910"/>
                  </a:lnTo>
                  <a:lnTo>
                    <a:pt x="5065328" y="8755910"/>
                  </a:lnTo>
                  <a:lnTo>
                    <a:pt x="5079624" y="8760676"/>
                  </a:lnTo>
                  <a:lnTo>
                    <a:pt x="5103452" y="8789266"/>
                  </a:lnTo>
                  <a:lnTo>
                    <a:pt x="5093920" y="8808327"/>
                  </a:lnTo>
                  <a:lnTo>
                    <a:pt x="5089156" y="8827388"/>
                  </a:lnTo>
                  <a:lnTo>
                    <a:pt x="5098688" y="8836918"/>
                  </a:lnTo>
                  <a:lnTo>
                    <a:pt x="5108216" y="8841683"/>
                  </a:lnTo>
                  <a:lnTo>
                    <a:pt x="5117748" y="8836918"/>
                  </a:lnTo>
                  <a:lnTo>
                    <a:pt x="5132040" y="8822622"/>
                  </a:lnTo>
                  <a:lnTo>
                    <a:pt x="5165396" y="8803562"/>
                  </a:lnTo>
                  <a:lnTo>
                    <a:pt x="5170164" y="8779736"/>
                  </a:lnTo>
                  <a:lnTo>
                    <a:pt x="5160632" y="8770206"/>
                  </a:lnTo>
                  <a:lnTo>
                    <a:pt x="5141572" y="8736850"/>
                  </a:lnTo>
                  <a:lnTo>
                    <a:pt x="5127276" y="8727320"/>
                  </a:lnTo>
                  <a:lnTo>
                    <a:pt x="5112980" y="8727320"/>
                  </a:lnTo>
                  <a:lnTo>
                    <a:pt x="5165396" y="8674904"/>
                  </a:lnTo>
                  <a:lnTo>
                    <a:pt x="5279760" y="8598662"/>
                  </a:lnTo>
                  <a:lnTo>
                    <a:pt x="5341708" y="8560540"/>
                  </a:lnTo>
                  <a:lnTo>
                    <a:pt x="5398888" y="8555776"/>
                  </a:lnTo>
                  <a:lnTo>
                    <a:pt x="5446540" y="8560540"/>
                  </a:lnTo>
                  <a:lnTo>
                    <a:pt x="5427480" y="8574836"/>
                  </a:lnTo>
                  <a:lnTo>
                    <a:pt x="5351236" y="8589132"/>
                  </a:lnTo>
                  <a:lnTo>
                    <a:pt x="5336944" y="8598662"/>
                  </a:lnTo>
                  <a:lnTo>
                    <a:pt x="5336944" y="8608192"/>
                  </a:lnTo>
                  <a:lnTo>
                    <a:pt x="5360768" y="8612957"/>
                  </a:lnTo>
                  <a:lnTo>
                    <a:pt x="5365532" y="8627252"/>
                  </a:lnTo>
                  <a:lnTo>
                    <a:pt x="5360768" y="8641548"/>
                  </a:lnTo>
                  <a:lnTo>
                    <a:pt x="5351236" y="8646313"/>
                  </a:lnTo>
                  <a:lnTo>
                    <a:pt x="5346472" y="8684434"/>
                  </a:lnTo>
                  <a:lnTo>
                    <a:pt x="5332176" y="8717790"/>
                  </a:lnTo>
                  <a:lnTo>
                    <a:pt x="5356004" y="8760676"/>
                  </a:lnTo>
                  <a:lnTo>
                    <a:pt x="5360768" y="8803562"/>
                  </a:lnTo>
                  <a:lnTo>
                    <a:pt x="5346472" y="8822622"/>
                  </a:lnTo>
                  <a:lnTo>
                    <a:pt x="5322648" y="8817858"/>
                  </a:lnTo>
                  <a:lnTo>
                    <a:pt x="5303588" y="8832152"/>
                  </a:lnTo>
                  <a:lnTo>
                    <a:pt x="5270232" y="8841683"/>
                  </a:lnTo>
                  <a:lnTo>
                    <a:pt x="5260700" y="8855978"/>
                  </a:lnTo>
                  <a:lnTo>
                    <a:pt x="5255936" y="8875039"/>
                  </a:lnTo>
                  <a:lnTo>
                    <a:pt x="5279760" y="8879804"/>
                  </a:lnTo>
                  <a:lnTo>
                    <a:pt x="5294056" y="8875039"/>
                  </a:lnTo>
                  <a:lnTo>
                    <a:pt x="5356004" y="8889334"/>
                  </a:lnTo>
                  <a:lnTo>
                    <a:pt x="5365532" y="8889334"/>
                  </a:lnTo>
                  <a:lnTo>
                    <a:pt x="5384592" y="8875039"/>
                  </a:lnTo>
                  <a:lnTo>
                    <a:pt x="5408420" y="8875039"/>
                  </a:lnTo>
                  <a:lnTo>
                    <a:pt x="5432244" y="8870274"/>
                  </a:lnTo>
                  <a:lnTo>
                    <a:pt x="5446540" y="8860744"/>
                  </a:lnTo>
                  <a:lnTo>
                    <a:pt x="5460836" y="8870274"/>
                  </a:lnTo>
                  <a:lnTo>
                    <a:pt x="5484660" y="8908395"/>
                  </a:lnTo>
                  <a:lnTo>
                    <a:pt x="5503720" y="8898864"/>
                  </a:lnTo>
                  <a:lnTo>
                    <a:pt x="5513252" y="8827388"/>
                  </a:lnTo>
                  <a:lnTo>
                    <a:pt x="5551372" y="8784502"/>
                  </a:lnTo>
                  <a:lnTo>
                    <a:pt x="5594260" y="8746380"/>
                  </a:lnTo>
                  <a:lnTo>
                    <a:pt x="5632380" y="8741616"/>
                  </a:lnTo>
                  <a:lnTo>
                    <a:pt x="5670500" y="8713024"/>
                  </a:lnTo>
                  <a:lnTo>
                    <a:pt x="5689560" y="8708260"/>
                  </a:lnTo>
                  <a:lnTo>
                    <a:pt x="5727684" y="8722555"/>
                  </a:lnTo>
                  <a:lnTo>
                    <a:pt x="5780100" y="8722555"/>
                  </a:lnTo>
                  <a:lnTo>
                    <a:pt x="5822984" y="8746380"/>
                  </a:lnTo>
                  <a:lnTo>
                    <a:pt x="5861108" y="8751146"/>
                  </a:lnTo>
                  <a:lnTo>
                    <a:pt x="5908756" y="8713024"/>
                  </a:lnTo>
                  <a:lnTo>
                    <a:pt x="6023120" y="8608192"/>
                  </a:lnTo>
                  <a:lnTo>
                    <a:pt x="6032652" y="8632018"/>
                  </a:lnTo>
                  <a:lnTo>
                    <a:pt x="6051712" y="8593896"/>
                  </a:lnTo>
                  <a:lnTo>
                    <a:pt x="6137484" y="8555776"/>
                  </a:lnTo>
                  <a:lnTo>
                    <a:pt x="6161308" y="8555776"/>
                  </a:lnTo>
                  <a:lnTo>
                    <a:pt x="6161308" y="8570070"/>
                  </a:lnTo>
                  <a:lnTo>
                    <a:pt x="6170840" y="8603426"/>
                  </a:lnTo>
                  <a:lnTo>
                    <a:pt x="6185136" y="8622487"/>
                  </a:lnTo>
                  <a:lnTo>
                    <a:pt x="6208960" y="8670138"/>
                  </a:lnTo>
                  <a:lnTo>
                    <a:pt x="6199432" y="8684434"/>
                  </a:lnTo>
                  <a:lnTo>
                    <a:pt x="6185136" y="8693964"/>
                  </a:lnTo>
                  <a:lnTo>
                    <a:pt x="6170840" y="8722555"/>
                  </a:lnTo>
                  <a:lnTo>
                    <a:pt x="6166076" y="8798797"/>
                  </a:lnTo>
                  <a:lnTo>
                    <a:pt x="6199432" y="8817858"/>
                  </a:lnTo>
                  <a:lnTo>
                    <a:pt x="6247080" y="8836918"/>
                  </a:lnTo>
                  <a:lnTo>
                    <a:pt x="6266144" y="8836918"/>
                  </a:lnTo>
                  <a:lnTo>
                    <a:pt x="6280436" y="8827388"/>
                  </a:lnTo>
                  <a:lnTo>
                    <a:pt x="6285204" y="8817858"/>
                  </a:lnTo>
                  <a:lnTo>
                    <a:pt x="6289968" y="8808327"/>
                  </a:lnTo>
                  <a:lnTo>
                    <a:pt x="6299496" y="8770206"/>
                  </a:lnTo>
                  <a:lnTo>
                    <a:pt x="6285204" y="8727320"/>
                  </a:lnTo>
                  <a:lnTo>
                    <a:pt x="6289968" y="8684434"/>
                  </a:lnTo>
                  <a:lnTo>
                    <a:pt x="6332856" y="8689199"/>
                  </a:lnTo>
                  <a:lnTo>
                    <a:pt x="6385272" y="8674904"/>
                  </a:lnTo>
                  <a:lnTo>
                    <a:pt x="6409096" y="8651078"/>
                  </a:lnTo>
                  <a:lnTo>
                    <a:pt x="6437688" y="8603426"/>
                  </a:lnTo>
                  <a:lnTo>
                    <a:pt x="6451984" y="8565306"/>
                  </a:lnTo>
                  <a:lnTo>
                    <a:pt x="6442452" y="8493828"/>
                  </a:lnTo>
                  <a:lnTo>
                    <a:pt x="6409096" y="8512889"/>
                  </a:lnTo>
                  <a:lnTo>
                    <a:pt x="6361444" y="8355640"/>
                  </a:lnTo>
                  <a:lnTo>
                    <a:pt x="6332856" y="8298458"/>
                  </a:lnTo>
                  <a:lnTo>
                    <a:pt x="6351916" y="8269868"/>
                  </a:lnTo>
                  <a:lnTo>
                    <a:pt x="6394800" y="8250807"/>
                  </a:lnTo>
                  <a:lnTo>
                    <a:pt x="6432920" y="8193626"/>
                  </a:lnTo>
                  <a:lnTo>
                    <a:pt x="6451984" y="8184096"/>
                  </a:lnTo>
                  <a:lnTo>
                    <a:pt x="6466276" y="8179330"/>
                  </a:lnTo>
                  <a:lnTo>
                    <a:pt x="6585408" y="8222216"/>
                  </a:lnTo>
                  <a:lnTo>
                    <a:pt x="6718828" y="8231746"/>
                  </a:lnTo>
                  <a:lnTo>
                    <a:pt x="6833192" y="8260338"/>
                  </a:lnTo>
                  <a:lnTo>
                    <a:pt x="6961852" y="8322284"/>
                  </a:lnTo>
                  <a:lnTo>
                    <a:pt x="7023796" y="8365170"/>
                  </a:lnTo>
                  <a:lnTo>
                    <a:pt x="7076216" y="8417586"/>
                  </a:lnTo>
                  <a:lnTo>
                    <a:pt x="7071448" y="8450942"/>
                  </a:lnTo>
                  <a:lnTo>
                    <a:pt x="7095276" y="8441412"/>
                  </a:lnTo>
                  <a:lnTo>
                    <a:pt x="7138160" y="8470003"/>
                  </a:lnTo>
                  <a:lnTo>
                    <a:pt x="7171516" y="8484298"/>
                  </a:lnTo>
                  <a:lnTo>
                    <a:pt x="7204872" y="8503359"/>
                  </a:lnTo>
                  <a:lnTo>
                    <a:pt x="7214404" y="8527184"/>
                  </a:lnTo>
                  <a:lnTo>
                    <a:pt x="7257288" y="8541480"/>
                  </a:lnTo>
                  <a:lnTo>
                    <a:pt x="7300176" y="8574836"/>
                  </a:lnTo>
                  <a:lnTo>
                    <a:pt x="7309704" y="8579601"/>
                  </a:lnTo>
                  <a:lnTo>
                    <a:pt x="7362120" y="8603426"/>
                  </a:lnTo>
                  <a:lnTo>
                    <a:pt x="7400244" y="8612957"/>
                  </a:lnTo>
                  <a:lnTo>
                    <a:pt x="7424068" y="8665374"/>
                  </a:lnTo>
                  <a:lnTo>
                    <a:pt x="7500312" y="8741616"/>
                  </a:lnTo>
                  <a:lnTo>
                    <a:pt x="7514604" y="8770206"/>
                  </a:lnTo>
                  <a:lnTo>
                    <a:pt x="7581316" y="8817858"/>
                  </a:lnTo>
                  <a:lnTo>
                    <a:pt x="7614672" y="8851213"/>
                  </a:lnTo>
                  <a:lnTo>
                    <a:pt x="7638500" y="8836918"/>
                  </a:lnTo>
                  <a:lnTo>
                    <a:pt x="7686152" y="8746380"/>
                  </a:lnTo>
                  <a:lnTo>
                    <a:pt x="7719504" y="8636782"/>
                  </a:lnTo>
                  <a:lnTo>
                    <a:pt x="7733800" y="8579601"/>
                  </a:lnTo>
                  <a:lnTo>
                    <a:pt x="7700444" y="8579601"/>
                  </a:lnTo>
                  <a:lnTo>
                    <a:pt x="7676620" y="8593896"/>
                  </a:lnTo>
                  <a:lnTo>
                    <a:pt x="7662324" y="8589132"/>
                  </a:lnTo>
                  <a:lnTo>
                    <a:pt x="7643264" y="8574836"/>
                  </a:lnTo>
                  <a:lnTo>
                    <a:pt x="7614672" y="8527184"/>
                  </a:lnTo>
                  <a:lnTo>
                    <a:pt x="7576552" y="8455708"/>
                  </a:lnTo>
                  <a:lnTo>
                    <a:pt x="7567024" y="8374700"/>
                  </a:lnTo>
                  <a:lnTo>
                    <a:pt x="7557492" y="8346110"/>
                  </a:lnTo>
                  <a:lnTo>
                    <a:pt x="7524136" y="8327050"/>
                  </a:lnTo>
                  <a:lnTo>
                    <a:pt x="7500312" y="8303224"/>
                  </a:lnTo>
                  <a:lnTo>
                    <a:pt x="7409772" y="8250807"/>
                  </a:lnTo>
                  <a:lnTo>
                    <a:pt x="7395476" y="8269868"/>
                  </a:lnTo>
                  <a:lnTo>
                    <a:pt x="7390712" y="8293694"/>
                  </a:lnTo>
                  <a:lnTo>
                    <a:pt x="7385948" y="8312754"/>
                  </a:lnTo>
                  <a:lnTo>
                    <a:pt x="7376416" y="8288928"/>
                  </a:lnTo>
                  <a:lnTo>
                    <a:pt x="7371652" y="8265102"/>
                  </a:lnTo>
                  <a:lnTo>
                    <a:pt x="7371652" y="8231746"/>
                  </a:lnTo>
                  <a:lnTo>
                    <a:pt x="7376416" y="8184096"/>
                  </a:lnTo>
                  <a:lnTo>
                    <a:pt x="7390712" y="8107854"/>
                  </a:lnTo>
                  <a:lnTo>
                    <a:pt x="7414536" y="8112618"/>
                  </a:lnTo>
                  <a:lnTo>
                    <a:pt x="7424068" y="8098323"/>
                  </a:lnTo>
                  <a:lnTo>
                    <a:pt x="7438364" y="8064968"/>
                  </a:lnTo>
                  <a:lnTo>
                    <a:pt x="7433600" y="8036376"/>
                  </a:lnTo>
                  <a:lnTo>
                    <a:pt x="7424068" y="8012551"/>
                  </a:lnTo>
                  <a:lnTo>
                    <a:pt x="7424068" y="7979195"/>
                  </a:lnTo>
                  <a:lnTo>
                    <a:pt x="7438364" y="7883892"/>
                  </a:lnTo>
                  <a:lnTo>
                    <a:pt x="7447896" y="7769530"/>
                  </a:lnTo>
                  <a:lnTo>
                    <a:pt x="7433600" y="7740939"/>
                  </a:lnTo>
                  <a:lnTo>
                    <a:pt x="7424068" y="7721878"/>
                  </a:lnTo>
                  <a:lnTo>
                    <a:pt x="7371652" y="7740939"/>
                  </a:lnTo>
                  <a:lnTo>
                    <a:pt x="7352592" y="7731408"/>
                  </a:lnTo>
                  <a:lnTo>
                    <a:pt x="7352592" y="7707583"/>
                  </a:lnTo>
                  <a:lnTo>
                    <a:pt x="7347824" y="7693288"/>
                  </a:lnTo>
                  <a:lnTo>
                    <a:pt x="7362120" y="7664696"/>
                  </a:lnTo>
                  <a:lnTo>
                    <a:pt x="7376416" y="7612280"/>
                  </a:lnTo>
                  <a:lnTo>
                    <a:pt x="7352592" y="7626576"/>
                  </a:lnTo>
                  <a:lnTo>
                    <a:pt x="7343060" y="7607515"/>
                  </a:lnTo>
                  <a:lnTo>
                    <a:pt x="7366888" y="7578924"/>
                  </a:lnTo>
                  <a:lnTo>
                    <a:pt x="7385948" y="7507448"/>
                  </a:lnTo>
                  <a:lnTo>
                    <a:pt x="7443128" y="7474092"/>
                  </a:lnTo>
                  <a:lnTo>
                    <a:pt x="7486016" y="7445501"/>
                  </a:lnTo>
                  <a:lnTo>
                    <a:pt x="7552728" y="7378789"/>
                  </a:lnTo>
                  <a:lnTo>
                    <a:pt x="7600376" y="7312077"/>
                  </a:lnTo>
                  <a:lnTo>
                    <a:pt x="7628968" y="7226305"/>
                  </a:lnTo>
                  <a:lnTo>
                    <a:pt x="7652796" y="7145298"/>
                  </a:lnTo>
                  <a:lnTo>
                    <a:pt x="7686152" y="6957075"/>
                  </a:lnTo>
                  <a:lnTo>
                    <a:pt x="7719504" y="6809356"/>
                  </a:lnTo>
                  <a:lnTo>
                    <a:pt x="7776688" y="6656872"/>
                  </a:lnTo>
                  <a:lnTo>
                    <a:pt x="7810044" y="6647342"/>
                  </a:lnTo>
                  <a:lnTo>
                    <a:pt x="7819576" y="6647342"/>
                  </a:lnTo>
                  <a:lnTo>
                    <a:pt x="7824340" y="6656872"/>
                  </a:lnTo>
                  <a:lnTo>
                    <a:pt x="7814808" y="6671168"/>
                  </a:lnTo>
                  <a:lnTo>
                    <a:pt x="7814808" y="6690228"/>
                  </a:lnTo>
                  <a:lnTo>
                    <a:pt x="7829104" y="6694993"/>
                  </a:lnTo>
                  <a:lnTo>
                    <a:pt x="7852928" y="6699758"/>
                  </a:lnTo>
                  <a:lnTo>
                    <a:pt x="7895816" y="6690228"/>
                  </a:lnTo>
                  <a:lnTo>
                    <a:pt x="7972056" y="6694993"/>
                  </a:lnTo>
                  <a:lnTo>
                    <a:pt x="8105480" y="6680698"/>
                  </a:lnTo>
                  <a:lnTo>
                    <a:pt x="8124544" y="6685463"/>
                  </a:lnTo>
                  <a:lnTo>
                    <a:pt x="8172192" y="6733114"/>
                  </a:lnTo>
                  <a:lnTo>
                    <a:pt x="8196020" y="6728349"/>
                  </a:lnTo>
                  <a:lnTo>
                    <a:pt x="8253200" y="6747410"/>
                  </a:lnTo>
                  <a:lnTo>
                    <a:pt x="8281792" y="6771235"/>
                  </a:lnTo>
                  <a:lnTo>
                    <a:pt x="8310384" y="6799826"/>
                  </a:lnTo>
                  <a:lnTo>
                    <a:pt x="8305616" y="6909424"/>
                  </a:lnTo>
                  <a:lnTo>
                    <a:pt x="8300852" y="6980901"/>
                  </a:lnTo>
                  <a:lnTo>
                    <a:pt x="8281792" y="7114324"/>
                  </a:lnTo>
                  <a:lnTo>
                    <a:pt x="8272260" y="7145298"/>
                  </a:lnTo>
                  <a:lnTo>
                    <a:pt x="8238904" y="7240600"/>
                  </a:lnTo>
                  <a:lnTo>
                    <a:pt x="8224608" y="7307312"/>
                  </a:lnTo>
                  <a:lnTo>
                    <a:pt x="8200784" y="7350198"/>
                  </a:lnTo>
                  <a:lnTo>
                    <a:pt x="8167428" y="7378789"/>
                  </a:lnTo>
                  <a:lnTo>
                    <a:pt x="8162664" y="7397850"/>
                  </a:lnTo>
                  <a:lnTo>
                    <a:pt x="8162664" y="7421675"/>
                  </a:lnTo>
                  <a:lnTo>
                    <a:pt x="8196020" y="7497917"/>
                  </a:lnTo>
                  <a:lnTo>
                    <a:pt x="8272260" y="7574159"/>
                  </a:lnTo>
                  <a:lnTo>
                    <a:pt x="8291320" y="7664696"/>
                  </a:lnTo>
                  <a:lnTo>
                    <a:pt x="8296088" y="7731408"/>
                  </a:lnTo>
                  <a:lnTo>
                    <a:pt x="8291320" y="7902953"/>
                  </a:lnTo>
                  <a:lnTo>
                    <a:pt x="8286556" y="7926778"/>
                  </a:lnTo>
                  <a:lnTo>
                    <a:pt x="8267496" y="7955370"/>
                  </a:lnTo>
                  <a:lnTo>
                    <a:pt x="8257964" y="7983960"/>
                  </a:lnTo>
                  <a:lnTo>
                    <a:pt x="8262732" y="8031612"/>
                  </a:lnTo>
                  <a:lnTo>
                    <a:pt x="8277024" y="8207921"/>
                  </a:lnTo>
                  <a:lnTo>
                    <a:pt x="8277024" y="8346110"/>
                  </a:lnTo>
                  <a:lnTo>
                    <a:pt x="8267496" y="8393761"/>
                  </a:lnTo>
                  <a:lnTo>
                    <a:pt x="8262732" y="8489064"/>
                  </a:lnTo>
                  <a:lnTo>
                    <a:pt x="8262732" y="8522420"/>
                  </a:lnTo>
                  <a:lnTo>
                    <a:pt x="8272260" y="8570070"/>
                  </a:lnTo>
                  <a:lnTo>
                    <a:pt x="8286556" y="8612957"/>
                  </a:lnTo>
                  <a:lnTo>
                    <a:pt x="8310384" y="8641548"/>
                  </a:lnTo>
                  <a:lnTo>
                    <a:pt x="8367564" y="8684434"/>
                  </a:lnTo>
                  <a:lnTo>
                    <a:pt x="8424744" y="8741616"/>
                  </a:lnTo>
                  <a:lnTo>
                    <a:pt x="8429512" y="8760676"/>
                  </a:lnTo>
                  <a:lnTo>
                    <a:pt x="8429512" y="8779736"/>
                  </a:lnTo>
                  <a:lnTo>
                    <a:pt x="8410448" y="8803562"/>
                  </a:lnTo>
                  <a:lnTo>
                    <a:pt x="8381860" y="8860744"/>
                  </a:lnTo>
                  <a:lnTo>
                    <a:pt x="8358032" y="8908395"/>
                  </a:lnTo>
                  <a:lnTo>
                    <a:pt x="8358032" y="8946516"/>
                  </a:lnTo>
                  <a:lnTo>
                    <a:pt x="8367564" y="8994167"/>
                  </a:lnTo>
                  <a:lnTo>
                    <a:pt x="8362800" y="9041818"/>
                  </a:lnTo>
                  <a:lnTo>
                    <a:pt x="8348504" y="9079940"/>
                  </a:lnTo>
                  <a:lnTo>
                    <a:pt x="8329444" y="9113295"/>
                  </a:lnTo>
                  <a:lnTo>
                    <a:pt x="8277024" y="9156182"/>
                  </a:lnTo>
                  <a:lnTo>
                    <a:pt x="8157896" y="9389672"/>
                  </a:lnTo>
                  <a:lnTo>
                    <a:pt x="8129308" y="9418264"/>
                  </a:lnTo>
                  <a:lnTo>
                    <a:pt x="8081656" y="9408733"/>
                  </a:lnTo>
                  <a:lnTo>
                    <a:pt x="8095952" y="9442089"/>
                  </a:lnTo>
                  <a:lnTo>
                    <a:pt x="8110248" y="9489740"/>
                  </a:lnTo>
                  <a:lnTo>
                    <a:pt x="8110248" y="9518331"/>
                  </a:lnTo>
                  <a:lnTo>
                    <a:pt x="8081656" y="9518331"/>
                  </a:lnTo>
                  <a:lnTo>
                    <a:pt x="8034004" y="9551687"/>
                  </a:lnTo>
                  <a:lnTo>
                    <a:pt x="8014944" y="9570748"/>
                  </a:lnTo>
                  <a:lnTo>
                    <a:pt x="7981588" y="9585043"/>
                  </a:lnTo>
                  <a:lnTo>
                    <a:pt x="7957764" y="9570748"/>
                  </a:lnTo>
                  <a:lnTo>
                    <a:pt x="7929172" y="9551687"/>
                  </a:lnTo>
                  <a:lnTo>
                    <a:pt x="7933936" y="9532626"/>
                  </a:lnTo>
                  <a:lnTo>
                    <a:pt x="7938704" y="9523096"/>
                  </a:lnTo>
                  <a:lnTo>
                    <a:pt x="7957764" y="9513566"/>
                  </a:lnTo>
                  <a:lnTo>
                    <a:pt x="7976824" y="9494506"/>
                  </a:lnTo>
                  <a:lnTo>
                    <a:pt x="7967292" y="9489740"/>
                  </a:lnTo>
                  <a:lnTo>
                    <a:pt x="7962528" y="9489740"/>
                  </a:lnTo>
                  <a:lnTo>
                    <a:pt x="7938704" y="9513566"/>
                  </a:lnTo>
                  <a:lnTo>
                    <a:pt x="7914876" y="9518331"/>
                  </a:lnTo>
                  <a:lnTo>
                    <a:pt x="7886284" y="9489740"/>
                  </a:lnTo>
                  <a:lnTo>
                    <a:pt x="7862460" y="9461150"/>
                  </a:lnTo>
                  <a:lnTo>
                    <a:pt x="7852928" y="9456384"/>
                  </a:lnTo>
                  <a:lnTo>
                    <a:pt x="7829104" y="9465914"/>
                  </a:lnTo>
                  <a:lnTo>
                    <a:pt x="7748096" y="9461150"/>
                  </a:lnTo>
                  <a:lnTo>
                    <a:pt x="7724272" y="9465914"/>
                  </a:lnTo>
                  <a:lnTo>
                    <a:pt x="7714740" y="9480210"/>
                  </a:lnTo>
                  <a:lnTo>
                    <a:pt x="7719504" y="9484975"/>
                  </a:lnTo>
                  <a:lnTo>
                    <a:pt x="7729036" y="9504036"/>
                  </a:lnTo>
                  <a:lnTo>
                    <a:pt x="7733800" y="9537392"/>
                  </a:lnTo>
                  <a:lnTo>
                    <a:pt x="7743332" y="9561217"/>
                  </a:lnTo>
                  <a:lnTo>
                    <a:pt x="7776688" y="9585043"/>
                  </a:lnTo>
                  <a:lnTo>
                    <a:pt x="7824340" y="9599338"/>
                  </a:lnTo>
                  <a:lnTo>
                    <a:pt x="7867224" y="9627929"/>
                  </a:lnTo>
                  <a:lnTo>
                    <a:pt x="7924408" y="9651754"/>
                  </a:lnTo>
                  <a:lnTo>
                    <a:pt x="8048300" y="9642224"/>
                  </a:lnTo>
                  <a:lnTo>
                    <a:pt x="8081656" y="9646990"/>
                  </a:lnTo>
                  <a:lnTo>
                    <a:pt x="8115012" y="9656520"/>
                  </a:lnTo>
                  <a:lnTo>
                    <a:pt x="8167428" y="9689876"/>
                  </a:lnTo>
                  <a:lnTo>
                    <a:pt x="8191252" y="9685110"/>
                  </a:lnTo>
                  <a:lnTo>
                    <a:pt x="8234140" y="9656520"/>
                  </a:lnTo>
                  <a:lnTo>
                    <a:pt x="8243672" y="9589808"/>
                  </a:lnTo>
                  <a:lnTo>
                    <a:pt x="8248436" y="9565982"/>
                  </a:lnTo>
                  <a:lnTo>
                    <a:pt x="8391388" y="9470680"/>
                  </a:lnTo>
                  <a:lnTo>
                    <a:pt x="8419980" y="9446854"/>
                  </a:lnTo>
                  <a:lnTo>
                    <a:pt x="8462864" y="9394438"/>
                  </a:lnTo>
                  <a:lnTo>
                    <a:pt x="8477160" y="9361082"/>
                  </a:lnTo>
                  <a:lnTo>
                    <a:pt x="8491456" y="9261014"/>
                  </a:lnTo>
                  <a:lnTo>
                    <a:pt x="8505752" y="9227658"/>
                  </a:lnTo>
                  <a:lnTo>
                    <a:pt x="8601056" y="9113295"/>
                  </a:lnTo>
                  <a:lnTo>
                    <a:pt x="8615352" y="9079940"/>
                  </a:lnTo>
                  <a:lnTo>
                    <a:pt x="8615352" y="9027523"/>
                  </a:lnTo>
                  <a:lnTo>
                    <a:pt x="8615352" y="8989402"/>
                  </a:lnTo>
                  <a:lnTo>
                    <a:pt x="8610584" y="8956046"/>
                  </a:lnTo>
                  <a:lnTo>
                    <a:pt x="8591524" y="8894100"/>
                  </a:lnTo>
                  <a:lnTo>
                    <a:pt x="8572464" y="8855978"/>
                  </a:lnTo>
                  <a:lnTo>
                    <a:pt x="8553404" y="8808327"/>
                  </a:lnTo>
                  <a:lnTo>
                    <a:pt x="8567700" y="8708260"/>
                  </a:lnTo>
                  <a:lnTo>
                    <a:pt x="8586760" y="8665374"/>
                  </a:lnTo>
                  <a:lnTo>
                    <a:pt x="8672532" y="8617722"/>
                  </a:lnTo>
                  <a:lnTo>
                    <a:pt x="8744008" y="8603426"/>
                  </a:lnTo>
                  <a:lnTo>
                    <a:pt x="8825016" y="8570070"/>
                  </a:lnTo>
                  <a:lnTo>
                    <a:pt x="8858372" y="8560540"/>
                  </a:lnTo>
                  <a:lnTo>
                    <a:pt x="8877432" y="8570070"/>
                  </a:lnTo>
                  <a:lnTo>
                    <a:pt x="8901256" y="8603426"/>
                  </a:lnTo>
                  <a:lnTo>
                    <a:pt x="8920320" y="8655843"/>
                  </a:lnTo>
                  <a:lnTo>
                    <a:pt x="8982264" y="8732085"/>
                  </a:lnTo>
                  <a:lnTo>
                    <a:pt x="9001324" y="8789266"/>
                  </a:lnTo>
                  <a:lnTo>
                    <a:pt x="9006092" y="8851213"/>
                  </a:lnTo>
                  <a:lnTo>
                    <a:pt x="9001324" y="9008462"/>
                  </a:lnTo>
                  <a:lnTo>
                    <a:pt x="8991796" y="9075174"/>
                  </a:lnTo>
                  <a:lnTo>
                    <a:pt x="9015620" y="9094234"/>
                  </a:lnTo>
                  <a:lnTo>
                    <a:pt x="9025152" y="9108530"/>
                  </a:lnTo>
                  <a:lnTo>
                    <a:pt x="9053744" y="9132356"/>
                  </a:lnTo>
                  <a:lnTo>
                    <a:pt x="9068036" y="9156182"/>
                  </a:lnTo>
                  <a:lnTo>
                    <a:pt x="9082332" y="9160946"/>
                  </a:lnTo>
                  <a:lnTo>
                    <a:pt x="9115688" y="9165712"/>
                  </a:lnTo>
                  <a:lnTo>
                    <a:pt x="9210992" y="9160946"/>
                  </a:lnTo>
                  <a:lnTo>
                    <a:pt x="9263408" y="9156182"/>
                  </a:lnTo>
                  <a:lnTo>
                    <a:pt x="9258644" y="9146651"/>
                  </a:lnTo>
                  <a:lnTo>
                    <a:pt x="9249112" y="9137121"/>
                  </a:lnTo>
                  <a:lnTo>
                    <a:pt x="9206224" y="9132356"/>
                  </a:lnTo>
                  <a:lnTo>
                    <a:pt x="9144280" y="9118060"/>
                  </a:lnTo>
                  <a:lnTo>
                    <a:pt x="9053744" y="9089470"/>
                  </a:lnTo>
                  <a:lnTo>
                    <a:pt x="9044212" y="9022758"/>
                  </a:lnTo>
                  <a:lnTo>
                    <a:pt x="9048976" y="8979872"/>
                  </a:lnTo>
                  <a:lnTo>
                    <a:pt x="9068036" y="8903630"/>
                  </a:lnTo>
                  <a:lnTo>
                    <a:pt x="9082332" y="8894100"/>
                  </a:lnTo>
                  <a:lnTo>
                    <a:pt x="9096628" y="8884569"/>
                  </a:lnTo>
                  <a:lnTo>
                    <a:pt x="9120452" y="8875039"/>
                  </a:lnTo>
                  <a:lnTo>
                    <a:pt x="9115688" y="8827388"/>
                  </a:lnTo>
                  <a:lnTo>
                    <a:pt x="9106160" y="8779736"/>
                  </a:lnTo>
                  <a:lnTo>
                    <a:pt x="9087096" y="8717790"/>
                  </a:lnTo>
                  <a:lnTo>
                    <a:pt x="9063272" y="8603426"/>
                  </a:lnTo>
                  <a:lnTo>
                    <a:pt x="9034680" y="8598662"/>
                  </a:lnTo>
                  <a:lnTo>
                    <a:pt x="9015620" y="8574836"/>
                  </a:lnTo>
                  <a:lnTo>
                    <a:pt x="8906024" y="8508124"/>
                  </a:lnTo>
                  <a:lnTo>
                    <a:pt x="8805956" y="8455708"/>
                  </a:lnTo>
                  <a:lnTo>
                    <a:pt x="8739244" y="8446178"/>
                  </a:lnTo>
                  <a:lnTo>
                    <a:pt x="8715416" y="8455708"/>
                  </a:lnTo>
                  <a:lnTo>
                    <a:pt x="8658236" y="8508124"/>
                  </a:lnTo>
                  <a:lnTo>
                    <a:pt x="8620116" y="8517654"/>
                  </a:lnTo>
                  <a:lnTo>
                    <a:pt x="8553404" y="8493828"/>
                  </a:lnTo>
                  <a:lnTo>
                    <a:pt x="8491456" y="8508124"/>
                  </a:lnTo>
                  <a:lnTo>
                    <a:pt x="8467632" y="8493828"/>
                  </a:lnTo>
                  <a:lnTo>
                    <a:pt x="8458100" y="8470003"/>
                  </a:lnTo>
                  <a:lnTo>
                    <a:pt x="8477160" y="8374700"/>
                  </a:lnTo>
                  <a:lnTo>
                    <a:pt x="8467632" y="8336580"/>
                  </a:lnTo>
                  <a:lnTo>
                    <a:pt x="8443804" y="8284163"/>
                  </a:lnTo>
                  <a:lnTo>
                    <a:pt x="8424744" y="8246042"/>
                  </a:lnTo>
                  <a:lnTo>
                    <a:pt x="8429512" y="8203156"/>
                  </a:lnTo>
                  <a:lnTo>
                    <a:pt x="8467632" y="8031612"/>
                  </a:lnTo>
                  <a:lnTo>
                    <a:pt x="8486692" y="7988726"/>
                  </a:lnTo>
                  <a:lnTo>
                    <a:pt x="8529576" y="7907718"/>
                  </a:lnTo>
                  <a:lnTo>
                    <a:pt x="8548640" y="7845772"/>
                  </a:lnTo>
                  <a:lnTo>
                    <a:pt x="8543872" y="7807650"/>
                  </a:lnTo>
                  <a:lnTo>
                    <a:pt x="8453336" y="7612280"/>
                  </a:lnTo>
                  <a:lnTo>
                    <a:pt x="8429512" y="7540803"/>
                  </a:lnTo>
                  <a:lnTo>
                    <a:pt x="8419980" y="7516978"/>
                  </a:lnTo>
                  <a:lnTo>
                    <a:pt x="8396152" y="7488387"/>
                  </a:lnTo>
                  <a:lnTo>
                    <a:pt x="8362800" y="7459796"/>
                  </a:lnTo>
                  <a:lnTo>
                    <a:pt x="8353268" y="7431206"/>
                  </a:lnTo>
                  <a:lnTo>
                    <a:pt x="8443804" y="7231070"/>
                  </a:lnTo>
                  <a:lnTo>
                    <a:pt x="8486692" y="7197714"/>
                  </a:lnTo>
                  <a:lnTo>
                    <a:pt x="8543872" y="7173888"/>
                  </a:lnTo>
                  <a:lnTo>
                    <a:pt x="8572464" y="7154828"/>
                  </a:lnTo>
                  <a:lnTo>
                    <a:pt x="8620116" y="7114324"/>
                  </a:lnTo>
                  <a:lnTo>
                    <a:pt x="8648704" y="7080968"/>
                  </a:lnTo>
                  <a:lnTo>
                    <a:pt x="8658236" y="7052378"/>
                  </a:lnTo>
                  <a:lnTo>
                    <a:pt x="8663000" y="7019022"/>
                  </a:lnTo>
                  <a:lnTo>
                    <a:pt x="8667768" y="6938015"/>
                  </a:lnTo>
                  <a:lnTo>
                    <a:pt x="8658236" y="6871303"/>
                  </a:lnTo>
                  <a:lnTo>
                    <a:pt x="8653472" y="6837947"/>
                  </a:lnTo>
                  <a:lnTo>
                    <a:pt x="8634412" y="6790296"/>
                  </a:lnTo>
                  <a:lnTo>
                    <a:pt x="8615352" y="6733114"/>
                  </a:lnTo>
                  <a:lnTo>
                    <a:pt x="8629644" y="6723584"/>
                  </a:lnTo>
                  <a:lnTo>
                    <a:pt x="8639176" y="6714054"/>
                  </a:lnTo>
                  <a:lnTo>
                    <a:pt x="8672532" y="6714054"/>
                  </a:lnTo>
                  <a:lnTo>
                    <a:pt x="8710652" y="6742644"/>
                  </a:lnTo>
                  <a:lnTo>
                    <a:pt x="8724948" y="6799826"/>
                  </a:lnTo>
                  <a:lnTo>
                    <a:pt x="8744008" y="6857008"/>
                  </a:lnTo>
                  <a:lnTo>
                    <a:pt x="8744008" y="6890364"/>
                  </a:lnTo>
                  <a:lnTo>
                    <a:pt x="8744008" y="6918954"/>
                  </a:lnTo>
                  <a:lnTo>
                    <a:pt x="8753540" y="6961840"/>
                  </a:lnTo>
                  <a:lnTo>
                    <a:pt x="8758304" y="6976136"/>
                  </a:lnTo>
                  <a:lnTo>
                    <a:pt x="8767832" y="7004726"/>
                  </a:lnTo>
                  <a:lnTo>
                    <a:pt x="8758304" y="7023787"/>
                  </a:lnTo>
                  <a:lnTo>
                    <a:pt x="8753540" y="7038082"/>
                  </a:lnTo>
                  <a:lnTo>
                    <a:pt x="8734480" y="7066673"/>
                  </a:lnTo>
                  <a:lnTo>
                    <a:pt x="8710652" y="7159593"/>
                  </a:lnTo>
                  <a:lnTo>
                    <a:pt x="8691592" y="7173888"/>
                  </a:lnTo>
                  <a:lnTo>
                    <a:pt x="8691592" y="7245366"/>
                  </a:lnTo>
                  <a:lnTo>
                    <a:pt x="8729712" y="7326372"/>
                  </a:lnTo>
                  <a:lnTo>
                    <a:pt x="8724948" y="7383554"/>
                  </a:lnTo>
                  <a:lnTo>
                    <a:pt x="8715416" y="7402615"/>
                  </a:lnTo>
                  <a:lnTo>
                    <a:pt x="8696356" y="7435970"/>
                  </a:lnTo>
                  <a:lnTo>
                    <a:pt x="8696356" y="7459796"/>
                  </a:lnTo>
                  <a:lnTo>
                    <a:pt x="8701124" y="7478857"/>
                  </a:lnTo>
                  <a:lnTo>
                    <a:pt x="8767832" y="7516978"/>
                  </a:lnTo>
                  <a:lnTo>
                    <a:pt x="8825016" y="7540803"/>
                  </a:lnTo>
                  <a:lnTo>
                    <a:pt x="8925084" y="7545568"/>
                  </a:lnTo>
                  <a:lnTo>
                    <a:pt x="8953672" y="7583690"/>
                  </a:lnTo>
                  <a:lnTo>
                    <a:pt x="8963204" y="7555099"/>
                  </a:lnTo>
                  <a:lnTo>
                    <a:pt x="9053744" y="7564629"/>
                  </a:lnTo>
                  <a:lnTo>
                    <a:pt x="9129984" y="7650401"/>
                  </a:lnTo>
                  <a:lnTo>
                    <a:pt x="9168104" y="7678992"/>
                  </a:lnTo>
                  <a:lnTo>
                    <a:pt x="9201460" y="7688522"/>
                  </a:lnTo>
                  <a:lnTo>
                    <a:pt x="9268172" y="7678992"/>
                  </a:lnTo>
                  <a:lnTo>
                    <a:pt x="9277704" y="7669462"/>
                  </a:lnTo>
                  <a:lnTo>
                    <a:pt x="9287232" y="7645636"/>
                  </a:lnTo>
                  <a:lnTo>
                    <a:pt x="9258644" y="7645636"/>
                  </a:lnTo>
                  <a:lnTo>
                    <a:pt x="9244348" y="7655166"/>
                  </a:lnTo>
                  <a:lnTo>
                    <a:pt x="9234816" y="7655166"/>
                  </a:lnTo>
                  <a:lnTo>
                    <a:pt x="9210992" y="7645636"/>
                  </a:lnTo>
                  <a:lnTo>
                    <a:pt x="9196696" y="7631341"/>
                  </a:lnTo>
                  <a:lnTo>
                    <a:pt x="9177636" y="7602750"/>
                  </a:lnTo>
                  <a:lnTo>
                    <a:pt x="9153808" y="7516978"/>
                  </a:lnTo>
                  <a:lnTo>
                    <a:pt x="9106160" y="7488387"/>
                  </a:lnTo>
                  <a:lnTo>
                    <a:pt x="9072804" y="7497917"/>
                  </a:lnTo>
                  <a:lnTo>
                    <a:pt x="9039448" y="7493152"/>
                  </a:lnTo>
                  <a:lnTo>
                    <a:pt x="8982264" y="7445501"/>
                  </a:lnTo>
                  <a:lnTo>
                    <a:pt x="8944144" y="7426440"/>
                  </a:lnTo>
                  <a:lnTo>
                    <a:pt x="8872668" y="7374024"/>
                  </a:lnTo>
                  <a:lnTo>
                    <a:pt x="8853608" y="7354963"/>
                  </a:lnTo>
                  <a:lnTo>
                    <a:pt x="8839312" y="7312077"/>
                  </a:lnTo>
                  <a:lnTo>
                    <a:pt x="8825016" y="7240600"/>
                  </a:lnTo>
                  <a:lnTo>
                    <a:pt x="8810720" y="7197714"/>
                  </a:lnTo>
                  <a:lnTo>
                    <a:pt x="8825016" y="7188184"/>
                  </a:lnTo>
                  <a:lnTo>
                    <a:pt x="8872668" y="7150063"/>
                  </a:lnTo>
                  <a:lnTo>
                    <a:pt x="8944144" y="7135768"/>
                  </a:lnTo>
                  <a:lnTo>
                    <a:pt x="8972736" y="7150063"/>
                  </a:lnTo>
                  <a:lnTo>
                    <a:pt x="9048976" y="7231070"/>
                  </a:lnTo>
                  <a:lnTo>
                    <a:pt x="9082332" y="7235835"/>
                  </a:lnTo>
                  <a:lnTo>
                    <a:pt x="9149044" y="7197714"/>
                  </a:lnTo>
                  <a:lnTo>
                    <a:pt x="9153808" y="7178654"/>
                  </a:lnTo>
                  <a:lnTo>
                    <a:pt x="9139512" y="7131002"/>
                  </a:lnTo>
                  <a:lnTo>
                    <a:pt x="9120452" y="7109559"/>
                  </a:lnTo>
                  <a:lnTo>
                    <a:pt x="9087096" y="7095264"/>
                  </a:lnTo>
                  <a:lnTo>
                    <a:pt x="9039448" y="7116707"/>
                  </a:lnTo>
                  <a:lnTo>
                    <a:pt x="9025152" y="7100029"/>
                  </a:lnTo>
                  <a:lnTo>
                    <a:pt x="9029916" y="7076204"/>
                  </a:lnTo>
                  <a:lnTo>
                    <a:pt x="9039448" y="7057143"/>
                  </a:lnTo>
                  <a:lnTo>
                    <a:pt x="9063272" y="7052378"/>
                  </a:lnTo>
                  <a:lnTo>
                    <a:pt x="9077568" y="7038082"/>
                  </a:lnTo>
                  <a:lnTo>
                    <a:pt x="9115688" y="6985666"/>
                  </a:lnTo>
                  <a:lnTo>
                    <a:pt x="9153808" y="6961840"/>
                  </a:lnTo>
                  <a:lnTo>
                    <a:pt x="9196696" y="6952310"/>
                  </a:lnTo>
                  <a:lnTo>
                    <a:pt x="9339648" y="6961840"/>
                  </a:lnTo>
                  <a:lnTo>
                    <a:pt x="9425420" y="7042848"/>
                  </a:lnTo>
                  <a:lnTo>
                    <a:pt x="9506428" y="7076204"/>
                  </a:lnTo>
                  <a:lnTo>
                    <a:pt x="9539784" y="7104794"/>
                  </a:lnTo>
                  <a:lnTo>
                    <a:pt x="9549316" y="7109559"/>
                  </a:lnTo>
                  <a:lnTo>
                    <a:pt x="9558844" y="7126237"/>
                  </a:lnTo>
                  <a:lnTo>
                    <a:pt x="9563612" y="7169124"/>
                  </a:lnTo>
                  <a:lnTo>
                    <a:pt x="9668444" y="7278721"/>
                  </a:lnTo>
                  <a:lnTo>
                    <a:pt x="9692268" y="7293017"/>
                  </a:lnTo>
                  <a:lnTo>
                    <a:pt x="9754216" y="7297782"/>
                  </a:lnTo>
                  <a:lnTo>
                    <a:pt x="9830456" y="7273956"/>
                  </a:lnTo>
                  <a:lnTo>
                    <a:pt x="9863812" y="7269191"/>
                  </a:lnTo>
                  <a:lnTo>
                    <a:pt x="9897168" y="7278721"/>
                  </a:lnTo>
                  <a:lnTo>
                    <a:pt x="9916232" y="7293017"/>
                  </a:lnTo>
                  <a:lnTo>
                    <a:pt x="9935288" y="7316842"/>
                  </a:lnTo>
                  <a:lnTo>
                    <a:pt x="9925760" y="7350198"/>
                  </a:lnTo>
                  <a:lnTo>
                    <a:pt x="9916232" y="7369259"/>
                  </a:lnTo>
                  <a:lnTo>
                    <a:pt x="9897168" y="7426440"/>
                  </a:lnTo>
                  <a:lnTo>
                    <a:pt x="9887640" y="7440736"/>
                  </a:lnTo>
                  <a:lnTo>
                    <a:pt x="9820928" y="7502682"/>
                  </a:lnTo>
                  <a:lnTo>
                    <a:pt x="9792336" y="7516978"/>
                  </a:lnTo>
                  <a:lnTo>
                    <a:pt x="9787572" y="7597985"/>
                  </a:lnTo>
                  <a:lnTo>
                    <a:pt x="9782808" y="7617045"/>
                  </a:lnTo>
                  <a:lnTo>
                    <a:pt x="9782808" y="7645636"/>
                  </a:lnTo>
                  <a:lnTo>
                    <a:pt x="9792336" y="7702818"/>
                  </a:lnTo>
                  <a:lnTo>
                    <a:pt x="9797104" y="7736174"/>
                  </a:lnTo>
                  <a:lnTo>
                    <a:pt x="9787572" y="7783825"/>
                  </a:lnTo>
                  <a:lnTo>
                    <a:pt x="9768512" y="7836241"/>
                  </a:lnTo>
                  <a:lnTo>
                    <a:pt x="9773276" y="7874362"/>
                  </a:lnTo>
                  <a:lnTo>
                    <a:pt x="9778040" y="7931544"/>
                  </a:lnTo>
                  <a:lnTo>
                    <a:pt x="9782808" y="7912483"/>
                  </a:lnTo>
                  <a:lnTo>
                    <a:pt x="9782808" y="7888658"/>
                  </a:lnTo>
                  <a:lnTo>
                    <a:pt x="9782808" y="7860067"/>
                  </a:lnTo>
                  <a:lnTo>
                    <a:pt x="9816160" y="7793355"/>
                  </a:lnTo>
                  <a:lnTo>
                    <a:pt x="9835224" y="7698052"/>
                  </a:lnTo>
                  <a:lnTo>
                    <a:pt x="9859048" y="7674227"/>
                  </a:lnTo>
                  <a:lnTo>
                    <a:pt x="9878108" y="7664696"/>
                  </a:lnTo>
                  <a:lnTo>
                    <a:pt x="9901936" y="7693288"/>
                  </a:lnTo>
                  <a:lnTo>
                    <a:pt x="9906700" y="7731408"/>
                  </a:lnTo>
                  <a:lnTo>
                    <a:pt x="9911464" y="7788590"/>
                  </a:lnTo>
                  <a:lnTo>
                    <a:pt x="9906700" y="7845772"/>
                  </a:lnTo>
                  <a:lnTo>
                    <a:pt x="9887640" y="7926778"/>
                  </a:lnTo>
                  <a:lnTo>
                    <a:pt x="9859048" y="7979195"/>
                  </a:lnTo>
                  <a:lnTo>
                    <a:pt x="9849520" y="8012551"/>
                  </a:lnTo>
                  <a:lnTo>
                    <a:pt x="9863812" y="8041142"/>
                  </a:lnTo>
                  <a:lnTo>
                    <a:pt x="9878108" y="8064968"/>
                  </a:lnTo>
                  <a:lnTo>
                    <a:pt x="9892404" y="8074498"/>
                  </a:lnTo>
                  <a:lnTo>
                    <a:pt x="9911464" y="8069732"/>
                  </a:lnTo>
                  <a:lnTo>
                    <a:pt x="9916232" y="8060202"/>
                  </a:lnTo>
                  <a:lnTo>
                    <a:pt x="9920996" y="8041142"/>
                  </a:lnTo>
                  <a:lnTo>
                    <a:pt x="9916232" y="8012551"/>
                  </a:lnTo>
                  <a:lnTo>
                    <a:pt x="9911464" y="7983960"/>
                  </a:lnTo>
                  <a:lnTo>
                    <a:pt x="9944820" y="7964900"/>
                  </a:lnTo>
                  <a:lnTo>
                    <a:pt x="9978176" y="7955370"/>
                  </a:lnTo>
                  <a:lnTo>
                    <a:pt x="10002000" y="7922014"/>
                  </a:lnTo>
                  <a:lnTo>
                    <a:pt x="10011532" y="7898188"/>
                  </a:lnTo>
                  <a:lnTo>
                    <a:pt x="10016296" y="7860067"/>
                  </a:lnTo>
                  <a:lnTo>
                    <a:pt x="10002000" y="7802885"/>
                  </a:lnTo>
                  <a:lnTo>
                    <a:pt x="9992472" y="7755234"/>
                  </a:lnTo>
                  <a:lnTo>
                    <a:pt x="9954352" y="7650401"/>
                  </a:lnTo>
                  <a:lnTo>
                    <a:pt x="9925760" y="7593220"/>
                  </a:lnTo>
                  <a:lnTo>
                    <a:pt x="9940056" y="7512212"/>
                  </a:lnTo>
                  <a:lnTo>
                    <a:pt x="9973412" y="7416910"/>
                  </a:lnTo>
                  <a:lnTo>
                    <a:pt x="9982944" y="7393084"/>
                  </a:lnTo>
                  <a:lnTo>
                    <a:pt x="9987708" y="7378789"/>
                  </a:lnTo>
                  <a:lnTo>
                    <a:pt x="9987708" y="7354963"/>
                  </a:lnTo>
                  <a:lnTo>
                    <a:pt x="9987708" y="7326372"/>
                  </a:lnTo>
                  <a:lnTo>
                    <a:pt x="9982944" y="7312077"/>
                  </a:lnTo>
                  <a:lnTo>
                    <a:pt x="9954352" y="7240600"/>
                  </a:lnTo>
                  <a:lnTo>
                    <a:pt x="9930524" y="7216775"/>
                  </a:lnTo>
                  <a:lnTo>
                    <a:pt x="9863812" y="7202479"/>
                  </a:lnTo>
                  <a:lnTo>
                    <a:pt x="9844752" y="7188184"/>
                  </a:lnTo>
                  <a:lnTo>
                    <a:pt x="9792336" y="7116707"/>
                  </a:lnTo>
                  <a:lnTo>
                    <a:pt x="9787572" y="7100029"/>
                  </a:lnTo>
                  <a:lnTo>
                    <a:pt x="9778040" y="7047613"/>
                  </a:lnTo>
                  <a:lnTo>
                    <a:pt x="9773276" y="7033317"/>
                  </a:lnTo>
                  <a:lnTo>
                    <a:pt x="9758980" y="7019022"/>
                  </a:lnTo>
                  <a:lnTo>
                    <a:pt x="9711328" y="6990431"/>
                  </a:lnTo>
                  <a:lnTo>
                    <a:pt x="9677972" y="6976136"/>
                  </a:lnTo>
                  <a:lnTo>
                    <a:pt x="9630320" y="6971371"/>
                  </a:lnTo>
                  <a:lnTo>
                    <a:pt x="9601732" y="6957075"/>
                  </a:lnTo>
                  <a:lnTo>
                    <a:pt x="9558844" y="6904659"/>
                  </a:lnTo>
                  <a:lnTo>
                    <a:pt x="9554080" y="6890364"/>
                  </a:lnTo>
                  <a:lnTo>
                    <a:pt x="9544552" y="6823652"/>
                  </a:lnTo>
                  <a:lnTo>
                    <a:pt x="9535020" y="6785531"/>
                  </a:lnTo>
                  <a:lnTo>
                    <a:pt x="9535020" y="6761705"/>
                  </a:lnTo>
                  <a:lnTo>
                    <a:pt x="9554080" y="6709289"/>
                  </a:lnTo>
                  <a:lnTo>
                    <a:pt x="9563612" y="6661638"/>
                  </a:lnTo>
                  <a:lnTo>
                    <a:pt x="9549316" y="6623516"/>
                  </a:lnTo>
                  <a:lnTo>
                    <a:pt x="9530256" y="6609221"/>
                  </a:lnTo>
                  <a:lnTo>
                    <a:pt x="9511192" y="6590160"/>
                  </a:lnTo>
                  <a:lnTo>
                    <a:pt x="9501664" y="6552040"/>
                  </a:lnTo>
                  <a:lnTo>
                    <a:pt x="9496900" y="6509153"/>
                  </a:lnTo>
                  <a:lnTo>
                    <a:pt x="9496900" y="6480562"/>
                  </a:lnTo>
                  <a:lnTo>
                    <a:pt x="9492132" y="6442442"/>
                  </a:lnTo>
                  <a:lnTo>
                    <a:pt x="9501664" y="6413851"/>
                  </a:lnTo>
                  <a:lnTo>
                    <a:pt x="9525488" y="6380495"/>
                  </a:lnTo>
                  <a:lnTo>
                    <a:pt x="9520724" y="6356669"/>
                  </a:lnTo>
                  <a:lnTo>
                    <a:pt x="9520724" y="6328078"/>
                  </a:lnTo>
                  <a:lnTo>
                    <a:pt x="9663680" y="6285192"/>
                  </a:lnTo>
                  <a:lnTo>
                    <a:pt x="9716096" y="6275662"/>
                  </a:lnTo>
                  <a:lnTo>
                    <a:pt x="9987708" y="6270897"/>
                  </a:lnTo>
                  <a:lnTo>
                    <a:pt x="10006768" y="6261367"/>
                  </a:lnTo>
                  <a:lnTo>
                    <a:pt x="10121128" y="6242306"/>
                  </a:lnTo>
                  <a:lnTo>
                    <a:pt x="10173548" y="6218480"/>
                  </a:lnTo>
                  <a:lnTo>
                    <a:pt x="10225964" y="6242306"/>
                  </a:lnTo>
                  <a:lnTo>
                    <a:pt x="10245024" y="6242306"/>
                  </a:lnTo>
                  <a:lnTo>
                    <a:pt x="10283144" y="6232776"/>
                  </a:lnTo>
                  <a:lnTo>
                    <a:pt x="10306968" y="6185125"/>
                  </a:lnTo>
                  <a:lnTo>
                    <a:pt x="10364152" y="6166064"/>
                  </a:lnTo>
                  <a:lnTo>
                    <a:pt x="10459456" y="6147004"/>
                  </a:lnTo>
                  <a:lnTo>
                    <a:pt x="10507104" y="6147004"/>
                  </a:lnTo>
                  <a:lnTo>
                    <a:pt x="10516636" y="6161299"/>
                  </a:lnTo>
                  <a:lnTo>
                    <a:pt x="10530932" y="6185125"/>
                  </a:lnTo>
                  <a:lnTo>
                    <a:pt x="10478516" y="6242306"/>
                  </a:lnTo>
                  <a:lnTo>
                    <a:pt x="10426096" y="6299488"/>
                  </a:lnTo>
                  <a:lnTo>
                    <a:pt x="10383212" y="6323313"/>
                  </a:lnTo>
                  <a:lnTo>
                    <a:pt x="10340328" y="6366200"/>
                  </a:lnTo>
                  <a:lnTo>
                    <a:pt x="10335560" y="6385260"/>
                  </a:lnTo>
                  <a:lnTo>
                    <a:pt x="10335560" y="6399556"/>
                  </a:lnTo>
                  <a:lnTo>
                    <a:pt x="10340328" y="6432911"/>
                  </a:lnTo>
                  <a:lnTo>
                    <a:pt x="10340328" y="6456737"/>
                  </a:lnTo>
                  <a:lnTo>
                    <a:pt x="10383212" y="6490093"/>
                  </a:lnTo>
                  <a:lnTo>
                    <a:pt x="10416568" y="6528214"/>
                  </a:lnTo>
                  <a:lnTo>
                    <a:pt x="10449924" y="6561570"/>
                  </a:lnTo>
                  <a:lnTo>
                    <a:pt x="10473752" y="6575865"/>
                  </a:lnTo>
                  <a:lnTo>
                    <a:pt x="10478516" y="6566335"/>
                  </a:lnTo>
                  <a:lnTo>
                    <a:pt x="10387976" y="6471032"/>
                  </a:lnTo>
                  <a:lnTo>
                    <a:pt x="10364152" y="6447207"/>
                  </a:lnTo>
                  <a:lnTo>
                    <a:pt x="10354624" y="6423381"/>
                  </a:lnTo>
                  <a:lnTo>
                    <a:pt x="10359388" y="6390025"/>
                  </a:lnTo>
                  <a:lnTo>
                    <a:pt x="10368916" y="6370965"/>
                  </a:lnTo>
                  <a:lnTo>
                    <a:pt x="10383212" y="6351904"/>
                  </a:lnTo>
                  <a:lnTo>
                    <a:pt x="10392744" y="6347139"/>
                  </a:lnTo>
                  <a:lnTo>
                    <a:pt x="10426096" y="6328078"/>
                  </a:lnTo>
                  <a:lnTo>
                    <a:pt x="10545228" y="6299488"/>
                  </a:lnTo>
                  <a:lnTo>
                    <a:pt x="10569052" y="6251836"/>
                  </a:lnTo>
                  <a:lnTo>
                    <a:pt x="10583348" y="6223246"/>
                  </a:lnTo>
                  <a:lnTo>
                    <a:pt x="10611936" y="6189890"/>
                  </a:lnTo>
                  <a:lnTo>
                    <a:pt x="10602408" y="6180360"/>
                  </a:lnTo>
                  <a:lnTo>
                    <a:pt x="10578584" y="6170829"/>
                  </a:lnTo>
                  <a:lnTo>
                    <a:pt x="10559520" y="6151769"/>
                  </a:lnTo>
                  <a:lnTo>
                    <a:pt x="10478516" y="5975459"/>
                  </a:lnTo>
                  <a:lnTo>
                    <a:pt x="10459456" y="5946868"/>
                  </a:lnTo>
                  <a:lnTo>
                    <a:pt x="10397508" y="5927808"/>
                  </a:lnTo>
                  <a:lnTo>
                    <a:pt x="10368916" y="5903982"/>
                  </a:lnTo>
                  <a:lnTo>
                    <a:pt x="10397508" y="5842036"/>
                  </a:lnTo>
                  <a:lnTo>
                    <a:pt x="10430864" y="5827740"/>
                  </a:lnTo>
                  <a:lnTo>
                    <a:pt x="10454688" y="5827740"/>
                  </a:lnTo>
                  <a:lnTo>
                    <a:pt x="10473752" y="5846801"/>
                  </a:lnTo>
                  <a:lnTo>
                    <a:pt x="10507104" y="5899217"/>
                  </a:lnTo>
                  <a:lnTo>
                    <a:pt x="10559520" y="5875392"/>
                  </a:lnTo>
                  <a:lnTo>
                    <a:pt x="10540464" y="5851566"/>
                  </a:lnTo>
                  <a:lnTo>
                    <a:pt x="10507104" y="5827740"/>
                  </a:lnTo>
                  <a:lnTo>
                    <a:pt x="10478516" y="5784854"/>
                  </a:lnTo>
                  <a:lnTo>
                    <a:pt x="10435628" y="5746733"/>
                  </a:lnTo>
                  <a:lnTo>
                    <a:pt x="10387976" y="5722907"/>
                  </a:lnTo>
                  <a:lnTo>
                    <a:pt x="10335560" y="5713377"/>
                  </a:lnTo>
                  <a:lnTo>
                    <a:pt x="10349856" y="5656196"/>
                  </a:lnTo>
                  <a:lnTo>
                    <a:pt x="10378448" y="5660961"/>
                  </a:lnTo>
                  <a:lnTo>
                    <a:pt x="10387976" y="5646665"/>
                  </a:lnTo>
                  <a:lnTo>
                    <a:pt x="10402272" y="5608544"/>
                  </a:lnTo>
                  <a:lnTo>
                    <a:pt x="10468984" y="5689552"/>
                  </a:lnTo>
                  <a:lnTo>
                    <a:pt x="10502340" y="5670491"/>
                  </a:lnTo>
                  <a:lnTo>
                    <a:pt x="10530932" y="5632370"/>
                  </a:lnTo>
                  <a:lnTo>
                    <a:pt x="10592880" y="5537067"/>
                  </a:lnTo>
                  <a:lnTo>
                    <a:pt x="10597644" y="5494181"/>
                  </a:lnTo>
                  <a:lnTo>
                    <a:pt x="10569052" y="5470356"/>
                  </a:lnTo>
                  <a:lnTo>
                    <a:pt x="10545228" y="5456060"/>
                  </a:lnTo>
                  <a:lnTo>
                    <a:pt x="10516636" y="5460825"/>
                  </a:lnTo>
                  <a:lnTo>
                    <a:pt x="10511872" y="5432235"/>
                  </a:lnTo>
                  <a:lnTo>
                    <a:pt x="10526168" y="5398879"/>
                  </a:lnTo>
                  <a:lnTo>
                    <a:pt x="10549992" y="5384583"/>
                  </a:lnTo>
                  <a:lnTo>
                    <a:pt x="10631000" y="5422704"/>
                  </a:lnTo>
                  <a:lnTo>
                    <a:pt x="10759656" y="5322637"/>
                  </a:lnTo>
                  <a:lnTo>
                    <a:pt x="10797776" y="5274985"/>
                  </a:lnTo>
                  <a:lnTo>
                    <a:pt x="10883552" y="5213039"/>
                  </a:lnTo>
                  <a:lnTo>
                    <a:pt x="10931200" y="5217804"/>
                  </a:lnTo>
                  <a:lnTo>
                    <a:pt x="11021740" y="5136797"/>
                  </a:lnTo>
                  <a:lnTo>
                    <a:pt x="11150400" y="5098676"/>
                  </a:lnTo>
                  <a:lnTo>
                    <a:pt x="11226640" y="5098676"/>
                  </a:lnTo>
                  <a:lnTo>
                    <a:pt x="11283820" y="5051024"/>
                  </a:lnTo>
                  <a:lnTo>
                    <a:pt x="11369592" y="5036729"/>
                  </a:lnTo>
                  <a:lnTo>
                    <a:pt x="11398184" y="5017669"/>
                  </a:lnTo>
                  <a:lnTo>
                    <a:pt x="11545904" y="4970028"/>
                  </a:lnTo>
                  <a:lnTo>
                    <a:pt x="11631676" y="4931907"/>
                  </a:lnTo>
                  <a:lnTo>
                    <a:pt x="11641208" y="4903317"/>
                  </a:lnTo>
                  <a:lnTo>
                    <a:pt x="11569728" y="4927142"/>
                  </a:lnTo>
                  <a:lnTo>
                    <a:pt x="11550668" y="4903317"/>
                  </a:lnTo>
                  <a:lnTo>
                    <a:pt x="11536372" y="4917613"/>
                  </a:lnTo>
                  <a:lnTo>
                    <a:pt x="11526844" y="4941437"/>
                  </a:lnTo>
                  <a:lnTo>
                    <a:pt x="11488720" y="4903317"/>
                  </a:lnTo>
                  <a:lnTo>
                    <a:pt x="11479192" y="4912847"/>
                  </a:lnTo>
                  <a:lnTo>
                    <a:pt x="11474428" y="4931907"/>
                  </a:lnTo>
                  <a:lnTo>
                    <a:pt x="11460132" y="4936672"/>
                  </a:lnTo>
                  <a:lnTo>
                    <a:pt x="11445836" y="4931907"/>
                  </a:lnTo>
                  <a:lnTo>
                    <a:pt x="11441072" y="4889022"/>
                  </a:lnTo>
                  <a:lnTo>
                    <a:pt x="11455368" y="4827076"/>
                  </a:lnTo>
                  <a:lnTo>
                    <a:pt x="11479192" y="4860432"/>
                  </a:lnTo>
                  <a:lnTo>
                    <a:pt x="11503016" y="4812779"/>
                  </a:lnTo>
                  <a:lnTo>
                    <a:pt x="11517312" y="4812779"/>
                  </a:lnTo>
                  <a:lnTo>
                    <a:pt x="11564964" y="4841371"/>
                  </a:lnTo>
                  <a:lnTo>
                    <a:pt x="11593556" y="4812779"/>
                  </a:lnTo>
                  <a:lnTo>
                    <a:pt x="11636440" y="4793719"/>
                  </a:lnTo>
                  <a:lnTo>
                    <a:pt x="11679328" y="4808015"/>
                  </a:lnTo>
                  <a:lnTo>
                    <a:pt x="11698388" y="4808015"/>
                  </a:lnTo>
                  <a:lnTo>
                    <a:pt x="11707920" y="4779425"/>
                  </a:lnTo>
                  <a:lnTo>
                    <a:pt x="11779396" y="4803249"/>
                  </a:lnTo>
                  <a:lnTo>
                    <a:pt x="11831812" y="4784188"/>
                  </a:lnTo>
                  <a:lnTo>
                    <a:pt x="11865168" y="4788950"/>
                  </a:lnTo>
                  <a:lnTo>
                    <a:pt x="11917584" y="4803249"/>
                  </a:lnTo>
                  <a:lnTo>
                    <a:pt x="11941408" y="4822310"/>
                  </a:lnTo>
                  <a:lnTo>
                    <a:pt x="11927112" y="4869961"/>
                  </a:lnTo>
                  <a:lnTo>
                    <a:pt x="11874696" y="4946203"/>
                  </a:lnTo>
                  <a:lnTo>
                    <a:pt x="11888992" y="4955732"/>
                  </a:lnTo>
                  <a:lnTo>
                    <a:pt x="11922348" y="4922378"/>
                  </a:lnTo>
                  <a:lnTo>
                    <a:pt x="12012888" y="4874726"/>
                  </a:lnTo>
                  <a:lnTo>
                    <a:pt x="12022416" y="4884257"/>
                  </a:lnTo>
                  <a:lnTo>
                    <a:pt x="12012888" y="4927142"/>
                  </a:lnTo>
                  <a:lnTo>
                    <a:pt x="12008120" y="4946203"/>
                  </a:lnTo>
                  <a:lnTo>
                    <a:pt x="12070068" y="4922378"/>
                  </a:lnTo>
                  <a:lnTo>
                    <a:pt x="12117720" y="4865194"/>
                  </a:lnTo>
                  <a:lnTo>
                    <a:pt x="12141544" y="4855665"/>
                  </a:lnTo>
                  <a:lnTo>
                    <a:pt x="12165368" y="4889022"/>
                  </a:lnTo>
                  <a:lnTo>
                    <a:pt x="12189196" y="4855665"/>
                  </a:lnTo>
                  <a:lnTo>
                    <a:pt x="12193960" y="4827076"/>
                  </a:lnTo>
                  <a:lnTo>
                    <a:pt x="12232080" y="4817545"/>
                  </a:lnTo>
                  <a:lnTo>
                    <a:pt x="12246376" y="4788950"/>
                  </a:lnTo>
                  <a:lnTo>
                    <a:pt x="12272584" y="4769894"/>
                  </a:lnTo>
                  <a:lnTo>
                    <a:pt x="12296412" y="4760362"/>
                  </a:lnTo>
                  <a:lnTo>
                    <a:pt x="12344064" y="4717477"/>
                  </a:lnTo>
                  <a:lnTo>
                    <a:pt x="12363124" y="4731773"/>
                  </a:lnTo>
                  <a:lnTo>
                    <a:pt x="12396480" y="4741303"/>
                  </a:lnTo>
                  <a:lnTo>
                    <a:pt x="12425068" y="4760362"/>
                  </a:lnTo>
                  <a:lnTo>
                    <a:pt x="12487016" y="4808015"/>
                  </a:lnTo>
                  <a:lnTo>
                    <a:pt x="12491780" y="4822310"/>
                  </a:lnTo>
                  <a:lnTo>
                    <a:pt x="12501312" y="4827076"/>
                  </a:lnTo>
                  <a:lnTo>
                    <a:pt x="12515608" y="4855665"/>
                  </a:lnTo>
                  <a:lnTo>
                    <a:pt x="12506076" y="4903317"/>
                  </a:lnTo>
                  <a:lnTo>
                    <a:pt x="12491780" y="4970028"/>
                  </a:lnTo>
                  <a:lnTo>
                    <a:pt x="12467956" y="5003373"/>
                  </a:lnTo>
                  <a:lnTo>
                    <a:pt x="12482252" y="5003373"/>
                  </a:lnTo>
                  <a:lnTo>
                    <a:pt x="12491780" y="4998608"/>
                  </a:lnTo>
                  <a:lnTo>
                    <a:pt x="12510840" y="4950968"/>
                  </a:lnTo>
                  <a:lnTo>
                    <a:pt x="12529904" y="4922378"/>
                  </a:lnTo>
                  <a:lnTo>
                    <a:pt x="12525136" y="4788950"/>
                  </a:lnTo>
                  <a:lnTo>
                    <a:pt x="12491780" y="4717477"/>
                  </a:lnTo>
                  <a:lnTo>
                    <a:pt x="12467956" y="4698417"/>
                  </a:lnTo>
                  <a:lnTo>
                    <a:pt x="12410776" y="4622175"/>
                  </a:lnTo>
                  <a:lnTo>
                    <a:pt x="12391712" y="4593584"/>
                  </a:lnTo>
                  <a:lnTo>
                    <a:pt x="12367888" y="4560228"/>
                  </a:lnTo>
                  <a:lnTo>
                    <a:pt x="12377416" y="4541168"/>
                  </a:lnTo>
                  <a:lnTo>
                    <a:pt x="12487016" y="4564993"/>
                  </a:lnTo>
                  <a:lnTo>
                    <a:pt x="12544200" y="4555462"/>
                  </a:lnTo>
                  <a:lnTo>
                    <a:pt x="12601380" y="4560228"/>
                  </a:lnTo>
                  <a:lnTo>
                    <a:pt x="12687152" y="4531638"/>
                  </a:lnTo>
                  <a:lnTo>
                    <a:pt x="12720508" y="4564993"/>
                  </a:lnTo>
                  <a:lnTo>
                    <a:pt x="12758628" y="4560228"/>
                  </a:lnTo>
                  <a:lnTo>
                    <a:pt x="12801516" y="4588816"/>
                  </a:lnTo>
                  <a:lnTo>
                    <a:pt x="12815808" y="4555462"/>
                  </a:lnTo>
                  <a:lnTo>
                    <a:pt x="12744332" y="4522107"/>
                  </a:lnTo>
                  <a:lnTo>
                    <a:pt x="12710976" y="4526871"/>
                  </a:lnTo>
                  <a:lnTo>
                    <a:pt x="12696680" y="4507811"/>
                  </a:lnTo>
                  <a:lnTo>
                    <a:pt x="12710976" y="4469690"/>
                  </a:lnTo>
                  <a:lnTo>
                    <a:pt x="12725272" y="4407743"/>
                  </a:lnTo>
                  <a:lnTo>
                    <a:pt x="12710976" y="4355328"/>
                  </a:lnTo>
                  <a:lnTo>
                    <a:pt x="12696680" y="4331501"/>
                  </a:lnTo>
                  <a:lnTo>
                    <a:pt x="12696680" y="4274320"/>
                  </a:lnTo>
                  <a:lnTo>
                    <a:pt x="12706212" y="4212373"/>
                  </a:lnTo>
                  <a:lnTo>
                    <a:pt x="12739568" y="4188547"/>
                  </a:lnTo>
                  <a:lnTo>
                    <a:pt x="12753864" y="4136131"/>
                  </a:lnTo>
                  <a:lnTo>
                    <a:pt x="12791984" y="4069419"/>
                  </a:lnTo>
                  <a:lnTo>
                    <a:pt x="12958764" y="3845458"/>
                  </a:lnTo>
                  <a:lnTo>
                    <a:pt x="13039772" y="3759686"/>
                  </a:lnTo>
                  <a:lnTo>
                    <a:pt x="13073128" y="3750156"/>
                  </a:lnTo>
                  <a:lnTo>
                    <a:pt x="13111248" y="3754921"/>
                  </a:lnTo>
                  <a:close/>
                  <a:moveTo>
                    <a:pt x="13725948" y="3340351"/>
                  </a:moveTo>
                  <a:lnTo>
                    <a:pt x="13735480" y="3345115"/>
                  </a:lnTo>
                  <a:lnTo>
                    <a:pt x="13754540" y="3388002"/>
                  </a:lnTo>
                  <a:lnTo>
                    <a:pt x="13740244" y="3421357"/>
                  </a:lnTo>
                  <a:lnTo>
                    <a:pt x="13721184" y="3440417"/>
                  </a:lnTo>
                  <a:lnTo>
                    <a:pt x="13702124" y="3411828"/>
                  </a:lnTo>
                  <a:lnTo>
                    <a:pt x="13644944" y="3411828"/>
                  </a:lnTo>
                  <a:lnTo>
                    <a:pt x="13554404" y="3378471"/>
                  </a:lnTo>
                  <a:lnTo>
                    <a:pt x="13582996" y="3359411"/>
                  </a:lnTo>
                  <a:close/>
                  <a:moveTo>
                    <a:pt x="13563936" y="3225991"/>
                  </a:moveTo>
                  <a:lnTo>
                    <a:pt x="13592528" y="3230756"/>
                  </a:lnTo>
                  <a:lnTo>
                    <a:pt x="13597292" y="3245050"/>
                  </a:lnTo>
                  <a:lnTo>
                    <a:pt x="13602056" y="3259348"/>
                  </a:lnTo>
                  <a:lnTo>
                    <a:pt x="13602056" y="3283172"/>
                  </a:lnTo>
                  <a:lnTo>
                    <a:pt x="13597292" y="3283172"/>
                  </a:lnTo>
                  <a:lnTo>
                    <a:pt x="13568700" y="3287937"/>
                  </a:lnTo>
                  <a:lnTo>
                    <a:pt x="13563936" y="3297468"/>
                  </a:lnTo>
                  <a:lnTo>
                    <a:pt x="13535344" y="3330825"/>
                  </a:lnTo>
                  <a:lnTo>
                    <a:pt x="13511520" y="3335588"/>
                  </a:lnTo>
                  <a:lnTo>
                    <a:pt x="13492460" y="3316528"/>
                  </a:lnTo>
                  <a:lnTo>
                    <a:pt x="13501988" y="3283172"/>
                  </a:lnTo>
                  <a:lnTo>
                    <a:pt x="13544876" y="3278407"/>
                  </a:lnTo>
                  <a:close/>
                  <a:moveTo>
                    <a:pt x="12930172" y="2339679"/>
                  </a:moveTo>
                  <a:lnTo>
                    <a:pt x="12987356" y="2373034"/>
                  </a:lnTo>
                  <a:lnTo>
                    <a:pt x="13030240" y="2425449"/>
                  </a:lnTo>
                  <a:lnTo>
                    <a:pt x="13035008" y="2454038"/>
                  </a:lnTo>
                  <a:lnTo>
                    <a:pt x="13030240" y="2468337"/>
                  </a:lnTo>
                  <a:lnTo>
                    <a:pt x="13011180" y="2477867"/>
                  </a:lnTo>
                  <a:lnTo>
                    <a:pt x="13001652" y="2492161"/>
                  </a:lnTo>
                  <a:lnTo>
                    <a:pt x="12987356" y="2554109"/>
                  </a:lnTo>
                  <a:lnTo>
                    <a:pt x="12982592" y="2616058"/>
                  </a:lnTo>
                  <a:lnTo>
                    <a:pt x="12934940" y="2801896"/>
                  </a:lnTo>
                  <a:lnTo>
                    <a:pt x="12930172" y="2835252"/>
                  </a:lnTo>
                  <a:lnTo>
                    <a:pt x="12958764" y="2806660"/>
                  </a:lnTo>
                  <a:lnTo>
                    <a:pt x="12982592" y="2739947"/>
                  </a:lnTo>
                  <a:lnTo>
                    <a:pt x="12996884" y="2687531"/>
                  </a:lnTo>
                  <a:lnTo>
                    <a:pt x="13015948" y="2654176"/>
                  </a:lnTo>
                  <a:lnTo>
                    <a:pt x="13035008" y="2654176"/>
                  </a:lnTo>
                  <a:lnTo>
                    <a:pt x="13054068" y="2644647"/>
                  </a:lnTo>
                  <a:lnTo>
                    <a:pt x="13087424" y="2596995"/>
                  </a:lnTo>
                  <a:lnTo>
                    <a:pt x="13125544" y="2577935"/>
                  </a:lnTo>
                  <a:lnTo>
                    <a:pt x="13149368" y="2577935"/>
                  </a:lnTo>
                  <a:lnTo>
                    <a:pt x="13168432" y="2601757"/>
                  </a:lnTo>
                  <a:lnTo>
                    <a:pt x="13177960" y="2649410"/>
                  </a:lnTo>
                  <a:lnTo>
                    <a:pt x="13192256" y="2692298"/>
                  </a:lnTo>
                  <a:lnTo>
                    <a:pt x="13239908" y="2720888"/>
                  </a:lnTo>
                  <a:lnTo>
                    <a:pt x="13249436" y="2730419"/>
                  </a:lnTo>
                  <a:lnTo>
                    <a:pt x="13254204" y="2763775"/>
                  </a:lnTo>
                  <a:lnTo>
                    <a:pt x="13249436" y="2797130"/>
                  </a:lnTo>
                  <a:lnTo>
                    <a:pt x="13278028" y="2835252"/>
                  </a:lnTo>
                  <a:lnTo>
                    <a:pt x="13316148" y="2820956"/>
                  </a:lnTo>
                  <a:lnTo>
                    <a:pt x="13335208" y="2825722"/>
                  </a:lnTo>
                  <a:lnTo>
                    <a:pt x="13359036" y="2849544"/>
                  </a:lnTo>
                  <a:lnTo>
                    <a:pt x="13368564" y="2878139"/>
                  </a:lnTo>
                  <a:lnTo>
                    <a:pt x="13373332" y="2916257"/>
                  </a:lnTo>
                  <a:lnTo>
                    <a:pt x="13382860" y="2968674"/>
                  </a:lnTo>
                  <a:lnTo>
                    <a:pt x="13387624" y="3025857"/>
                  </a:lnTo>
                  <a:lnTo>
                    <a:pt x="13382860" y="3102098"/>
                  </a:lnTo>
                  <a:lnTo>
                    <a:pt x="13306620" y="3216460"/>
                  </a:lnTo>
                  <a:lnTo>
                    <a:pt x="13292324" y="3225991"/>
                  </a:lnTo>
                  <a:lnTo>
                    <a:pt x="13258968" y="3216460"/>
                  </a:lnTo>
                  <a:lnTo>
                    <a:pt x="13225612" y="3230756"/>
                  </a:lnTo>
                  <a:lnTo>
                    <a:pt x="13135076" y="3287939"/>
                  </a:lnTo>
                  <a:lnTo>
                    <a:pt x="13020712" y="3292704"/>
                  </a:lnTo>
                  <a:lnTo>
                    <a:pt x="12992120" y="3345118"/>
                  </a:lnTo>
                  <a:lnTo>
                    <a:pt x="12977824" y="3340355"/>
                  </a:lnTo>
                  <a:lnTo>
                    <a:pt x="12973060" y="3330825"/>
                  </a:lnTo>
                  <a:lnTo>
                    <a:pt x="12963528" y="3316530"/>
                  </a:lnTo>
                  <a:lnTo>
                    <a:pt x="12892052" y="3330825"/>
                  </a:lnTo>
                  <a:lnTo>
                    <a:pt x="12815812" y="3340355"/>
                  </a:lnTo>
                  <a:lnTo>
                    <a:pt x="12739568" y="3340355"/>
                  </a:lnTo>
                  <a:lnTo>
                    <a:pt x="12715744" y="3378477"/>
                  </a:lnTo>
                  <a:lnTo>
                    <a:pt x="12639500" y="3449953"/>
                  </a:lnTo>
                  <a:lnTo>
                    <a:pt x="12568024" y="3502368"/>
                  </a:lnTo>
                  <a:lnTo>
                    <a:pt x="12529904" y="3516664"/>
                  </a:lnTo>
                  <a:lnTo>
                    <a:pt x="12472720" y="3502368"/>
                  </a:lnTo>
                  <a:lnTo>
                    <a:pt x="12458428" y="3483308"/>
                  </a:lnTo>
                  <a:lnTo>
                    <a:pt x="12444132" y="3454718"/>
                  </a:lnTo>
                  <a:lnTo>
                    <a:pt x="12467956" y="3421361"/>
                  </a:lnTo>
                  <a:lnTo>
                    <a:pt x="12482252" y="3349886"/>
                  </a:lnTo>
                  <a:lnTo>
                    <a:pt x="12501312" y="3306997"/>
                  </a:lnTo>
                  <a:lnTo>
                    <a:pt x="12558496" y="3225991"/>
                  </a:lnTo>
                  <a:lnTo>
                    <a:pt x="12563260" y="3192635"/>
                  </a:lnTo>
                  <a:lnTo>
                    <a:pt x="12572788" y="3125921"/>
                  </a:lnTo>
                  <a:lnTo>
                    <a:pt x="12577556" y="3097333"/>
                  </a:lnTo>
                  <a:lnTo>
                    <a:pt x="12587084" y="3073507"/>
                  </a:lnTo>
                  <a:lnTo>
                    <a:pt x="12591848" y="3044916"/>
                  </a:lnTo>
                  <a:lnTo>
                    <a:pt x="12596616" y="2997263"/>
                  </a:lnTo>
                  <a:lnTo>
                    <a:pt x="12596616" y="2959145"/>
                  </a:lnTo>
                  <a:lnTo>
                    <a:pt x="12620440" y="2901965"/>
                  </a:lnTo>
                  <a:lnTo>
                    <a:pt x="12634736" y="2873373"/>
                  </a:lnTo>
                  <a:lnTo>
                    <a:pt x="12649032" y="2863843"/>
                  </a:lnTo>
                  <a:lnTo>
                    <a:pt x="12691916" y="2878139"/>
                  </a:lnTo>
                  <a:lnTo>
                    <a:pt x="12701448" y="2873373"/>
                  </a:lnTo>
                  <a:lnTo>
                    <a:pt x="12691916" y="2854313"/>
                  </a:lnTo>
                  <a:lnTo>
                    <a:pt x="12687152" y="2782835"/>
                  </a:lnTo>
                  <a:lnTo>
                    <a:pt x="12687152" y="2759009"/>
                  </a:lnTo>
                  <a:lnTo>
                    <a:pt x="12696684" y="2716122"/>
                  </a:lnTo>
                  <a:lnTo>
                    <a:pt x="12706212" y="2697062"/>
                  </a:lnTo>
                  <a:lnTo>
                    <a:pt x="12715744" y="2682768"/>
                  </a:lnTo>
                  <a:lnTo>
                    <a:pt x="12720508" y="2620820"/>
                  </a:lnTo>
                  <a:lnTo>
                    <a:pt x="12715744" y="2601757"/>
                  </a:lnTo>
                  <a:lnTo>
                    <a:pt x="12734804" y="2573167"/>
                  </a:lnTo>
                  <a:lnTo>
                    <a:pt x="12739568" y="2530283"/>
                  </a:lnTo>
                  <a:lnTo>
                    <a:pt x="12758628" y="2506457"/>
                  </a:lnTo>
                  <a:lnTo>
                    <a:pt x="12796752" y="2492161"/>
                  </a:lnTo>
                  <a:lnTo>
                    <a:pt x="12796752" y="2439746"/>
                  </a:lnTo>
                  <a:lnTo>
                    <a:pt x="12801516" y="2411155"/>
                  </a:lnTo>
                  <a:lnTo>
                    <a:pt x="12811044" y="2401623"/>
                  </a:lnTo>
                  <a:lnTo>
                    <a:pt x="12830108" y="2392093"/>
                  </a:lnTo>
                  <a:lnTo>
                    <a:pt x="12839636" y="2392093"/>
                  </a:lnTo>
                  <a:lnTo>
                    <a:pt x="12853932" y="2444508"/>
                  </a:lnTo>
                  <a:lnTo>
                    <a:pt x="12868228" y="2482631"/>
                  </a:lnTo>
                  <a:lnTo>
                    <a:pt x="12887288" y="2492161"/>
                  </a:lnTo>
                  <a:lnTo>
                    <a:pt x="12906348" y="2487398"/>
                  </a:lnTo>
                  <a:lnTo>
                    <a:pt x="12892052" y="2439746"/>
                  </a:lnTo>
                  <a:lnTo>
                    <a:pt x="12892052" y="2392093"/>
                  </a:lnTo>
                  <a:lnTo>
                    <a:pt x="12901584" y="2353973"/>
                  </a:lnTo>
                  <a:lnTo>
                    <a:pt x="12911112" y="2344441"/>
                  </a:lnTo>
                  <a:close/>
                  <a:moveTo>
                    <a:pt x="8829780" y="2139541"/>
                  </a:moveTo>
                  <a:lnTo>
                    <a:pt x="8844076" y="2153838"/>
                  </a:lnTo>
                  <a:lnTo>
                    <a:pt x="8863136" y="2182428"/>
                  </a:lnTo>
                  <a:lnTo>
                    <a:pt x="8882196" y="2158603"/>
                  </a:lnTo>
                  <a:lnTo>
                    <a:pt x="9020384" y="2234845"/>
                  </a:lnTo>
                  <a:lnTo>
                    <a:pt x="9048976" y="2263436"/>
                  </a:lnTo>
                  <a:lnTo>
                    <a:pt x="9053740" y="2282496"/>
                  </a:lnTo>
                  <a:lnTo>
                    <a:pt x="8934612" y="2292026"/>
                  </a:lnTo>
                  <a:lnTo>
                    <a:pt x="8910788" y="2287262"/>
                  </a:lnTo>
                  <a:lnTo>
                    <a:pt x="8906024" y="2244377"/>
                  </a:lnTo>
                  <a:lnTo>
                    <a:pt x="8877432" y="2244377"/>
                  </a:lnTo>
                  <a:lnTo>
                    <a:pt x="8829780" y="2215784"/>
                  </a:lnTo>
                  <a:lnTo>
                    <a:pt x="8820252" y="2172898"/>
                  </a:lnTo>
                  <a:lnTo>
                    <a:pt x="8815484" y="2158603"/>
                  </a:lnTo>
                  <a:close/>
                  <a:moveTo>
                    <a:pt x="12563260" y="2106187"/>
                  </a:moveTo>
                  <a:lnTo>
                    <a:pt x="12572788" y="2125246"/>
                  </a:lnTo>
                  <a:lnTo>
                    <a:pt x="12601380" y="2134776"/>
                  </a:lnTo>
                  <a:lnTo>
                    <a:pt x="12572788" y="2182427"/>
                  </a:lnTo>
                  <a:lnTo>
                    <a:pt x="12539432" y="2196723"/>
                  </a:lnTo>
                  <a:lnTo>
                    <a:pt x="12544200" y="2134776"/>
                  </a:lnTo>
                  <a:lnTo>
                    <a:pt x="12544200" y="2115717"/>
                  </a:lnTo>
                  <a:close/>
                  <a:moveTo>
                    <a:pt x="11264760" y="1796456"/>
                  </a:moveTo>
                  <a:lnTo>
                    <a:pt x="11331472" y="1801217"/>
                  </a:lnTo>
                  <a:lnTo>
                    <a:pt x="11398184" y="1844102"/>
                  </a:lnTo>
                  <a:lnTo>
                    <a:pt x="11536372" y="1896517"/>
                  </a:lnTo>
                  <a:lnTo>
                    <a:pt x="11588788" y="1929873"/>
                  </a:lnTo>
                  <a:lnTo>
                    <a:pt x="11555432" y="2006118"/>
                  </a:lnTo>
                  <a:lnTo>
                    <a:pt x="11522076" y="2034709"/>
                  </a:lnTo>
                  <a:lnTo>
                    <a:pt x="11488720" y="2077595"/>
                  </a:lnTo>
                  <a:lnTo>
                    <a:pt x="11450600" y="2106187"/>
                  </a:lnTo>
                  <a:lnTo>
                    <a:pt x="11412480" y="2120482"/>
                  </a:lnTo>
                  <a:lnTo>
                    <a:pt x="11374360" y="2130011"/>
                  </a:lnTo>
                  <a:lnTo>
                    <a:pt x="11331472" y="2120482"/>
                  </a:lnTo>
                  <a:lnTo>
                    <a:pt x="11255232" y="2029942"/>
                  </a:lnTo>
                  <a:lnTo>
                    <a:pt x="11207580" y="1991822"/>
                  </a:lnTo>
                  <a:lnTo>
                    <a:pt x="11169460" y="1929873"/>
                  </a:lnTo>
                  <a:lnTo>
                    <a:pt x="11159928" y="1858400"/>
                  </a:lnTo>
                  <a:lnTo>
                    <a:pt x="11183752" y="1815515"/>
                  </a:lnTo>
                  <a:lnTo>
                    <a:pt x="11217108" y="1801217"/>
                  </a:lnTo>
                  <a:close/>
                  <a:moveTo>
                    <a:pt x="4893784" y="1758331"/>
                  </a:moveTo>
                  <a:lnTo>
                    <a:pt x="4941436" y="1801217"/>
                  </a:lnTo>
                  <a:lnTo>
                    <a:pt x="4941436" y="1834573"/>
                  </a:lnTo>
                  <a:lnTo>
                    <a:pt x="4941436" y="1853632"/>
                  </a:lnTo>
                  <a:lnTo>
                    <a:pt x="4950968" y="1867929"/>
                  </a:lnTo>
                  <a:lnTo>
                    <a:pt x="4965264" y="1891755"/>
                  </a:lnTo>
                  <a:lnTo>
                    <a:pt x="4970028" y="1906047"/>
                  </a:lnTo>
                  <a:lnTo>
                    <a:pt x="4970028" y="1915577"/>
                  </a:lnTo>
                  <a:lnTo>
                    <a:pt x="4912848" y="1906047"/>
                  </a:lnTo>
                  <a:lnTo>
                    <a:pt x="4817544" y="1910814"/>
                  </a:lnTo>
                  <a:lnTo>
                    <a:pt x="4760360" y="1858400"/>
                  </a:lnTo>
                  <a:lnTo>
                    <a:pt x="4817544" y="1810746"/>
                  </a:lnTo>
                  <a:lnTo>
                    <a:pt x="4850900" y="1801217"/>
                  </a:lnTo>
                  <a:close/>
                  <a:moveTo>
                    <a:pt x="6237552" y="1734510"/>
                  </a:moveTo>
                  <a:lnTo>
                    <a:pt x="6275672" y="1767866"/>
                  </a:lnTo>
                  <a:lnTo>
                    <a:pt x="6294732" y="1848870"/>
                  </a:lnTo>
                  <a:lnTo>
                    <a:pt x="6261376" y="1882226"/>
                  </a:lnTo>
                  <a:lnTo>
                    <a:pt x="6204196" y="1910814"/>
                  </a:lnTo>
                  <a:lnTo>
                    <a:pt x="6185136" y="1901284"/>
                  </a:lnTo>
                  <a:lnTo>
                    <a:pt x="6175604" y="1891755"/>
                  </a:lnTo>
                  <a:lnTo>
                    <a:pt x="6166076" y="1877458"/>
                  </a:lnTo>
                  <a:lnTo>
                    <a:pt x="6137484" y="1858400"/>
                  </a:lnTo>
                  <a:lnTo>
                    <a:pt x="6142248" y="1805985"/>
                  </a:lnTo>
                  <a:lnTo>
                    <a:pt x="6151780" y="1796456"/>
                  </a:lnTo>
                  <a:close/>
                  <a:moveTo>
                    <a:pt x="12179664" y="1691620"/>
                  </a:moveTo>
                  <a:lnTo>
                    <a:pt x="12193960" y="1701150"/>
                  </a:lnTo>
                  <a:lnTo>
                    <a:pt x="12227316" y="1758335"/>
                  </a:lnTo>
                  <a:lnTo>
                    <a:pt x="12246376" y="1820282"/>
                  </a:lnTo>
                  <a:lnTo>
                    <a:pt x="12227316" y="1839341"/>
                  </a:lnTo>
                  <a:lnTo>
                    <a:pt x="12213020" y="1882226"/>
                  </a:lnTo>
                  <a:lnTo>
                    <a:pt x="12208256" y="1934642"/>
                  </a:lnTo>
                  <a:lnTo>
                    <a:pt x="12184432" y="1977527"/>
                  </a:lnTo>
                  <a:lnTo>
                    <a:pt x="12179664" y="2044238"/>
                  </a:lnTo>
                  <a:lnTo>
                    <a:pt x="12189196" y="2053768"/>
                  </a:lnTo>
                  <a:lnTo>
                    <a:pt x="12198724" y="2039475"/>
                  </a:lnTo>
                  <a:lnTo>
                    <a:pt x="12222552" y="1972763"/>
                  </a:lnTo>
                  <a:lnTo>
                    <a:pt x="12251144" y="1929873"/>
                  </a:lnTo>
                  <a:lnTo>
                    <a:pt x="12282116" y="1953701"/>
                  </a:lnTo>
                  <a:lnTo>
                    <a:pt x="12296412" y="1948936"/>
                  </a:lnTo>
                  <a:lnTo>
                    <a:pt x="12320236" y="1886987"/>
                  </a:lnTo>
                  <a:lnTo>
                    <a:pt x="12315472" y="1834573"/>
                  </a:lnTo>
                  <a:lnTo>
                    <a:pt x="12325000" y="1805985"/>
                  </a:lnTo>
                  <a:lnTo>
                    <a:pt x="12334532" y="1796456"/>
                  </a:lnTo>
                  <a:lnTo>
                    <a:pt x="12377416" y="1801222"/>
                  </a:lnTo>
                  <a:lnTo>
                    <a:pt x="12444128" y="1829812"/>
                  </a:lnTo>
                  <a:lnTo>
                    <a:pt x="12453660" y="1853632"/>
                  </a:lnTo>
                  <a:lnTo>
                    <a:pt x="12472720" y="1867929"/>
                  </a:lnTo>
                  <a:lnTo>
                    <a:pt x="12482252" y="1896518"/>
                  </a:lnTo>
                  <a:lnTo>
                    <a:pt x="12510840" y="1915578"/>
                  </a:lnTo>
                  <a:lnTo>
                    <a:pt x="12525136" y="1934642"/>
                  </a:lnTo>
                  <a:lnTo>
                    <a:pt x="12544196" y="1977527"/>
                  </a:lnTo>
                  <a:lnTo>
                    <a:pt x="12563256" y="2039475"/>
                  </a:lnTo>
                  <a:lnTo>
                    <a:pt x="12539432" y="2077595"/>
                  </a:lnTo>
                  <a:lnTo>
                    <a:pt x="12529904" y="2134776"/>
                  </a:lnTo>
                  <a:lnTo>
                    <a:pt x="12525136" y="2149073"/>
                  </a:lnTo>
                  <a:lnTo>
                    <a:pt x="12520372" y="2172897"/>
                  </a:lnTo>
                  <a:lnTo>
                    <a:pt x="12515608" y="2225314"/>
                  </a:lnTo>
                  <a:lnTo>
                    <a:pt x="12515608" y="2268200"/>
                  </a:lnTo>
                  <a:lnTo>
                    <a:pt x="12510840" y="2287262"/>
                  </a:lnTo>
                  <a:lnTo>
                    <a:pt x="12506076" y="2311087"/>
                  </a:lnTo>
                  <a:lnTo>
                    <a:pt x="12510840" y="2382564"/>
                  </a:lnTo>
                  <a:lnTo>
                    <a:pt x="12501312" y="2430217"/>
                  </a:lnTo>
                  <a:lnTo>
                    <a:pt x="12482252" y="2473100"/>
                  </a:lnTo>
                  <a:lnTo>
                    <a:pt x="12458424" y="2473100"/>
                  </a:lnTo>
                  <a:lnTo>
                    <a:pt x="12425068" y="2444508"/>
                  </a:lnTo>
                  <a:lnTo>
                    <a:pt x="12415540" y="2449276"/>
                  </a:lnTo>
                  <a:lnTo>
                    <a:pt x="12406008" y="2458806"/>
                  </a:lnTo>
                  <a:lnTo>
                    <a:pt x="12448896" y="2511222"/>
                  </a:lnTo>
                  <a:lnTo>
                    <a:pt x="12477484" y="2592227"/>
                  </a:lnTo>
                  <a:lnTo>
                    <a:pt x="12515608" y="2611288"/>
                  </a:lnTo>
                  <a:lnTo>
                    <a:pt x="12525136" y="2620820"/>
                  </a:lnTo>
                  <a:lnTo>
                    <a:pt x="12539432" y="2697062"/>
                  </a:lnTo>
                  <a:lnTo>
                    <a:pt x="12544196" y="2730419"/>
                  </a:lnTo>
                  <a:lnTo>
                    <a:pt x="12482252" y="2820956"/>
                  </a:lnTo>
                  <a:lnTo>
                    <a:pt x="12467956" y="2835252"/>
                  </a:lnTo>
                  <a:lnTo>
                    <a:pt x="12367888" y="2849544"/>
                  </a:lnTo>
                  <a:lnTo>
                    <a:pt x="12305940" y="2873373"/>
                  </a:lnTo>
                  <a:lnTo>
                    <a:pt x="12286880" y="2868607"/>
                  </a:lnTo>
                  <a:lnTo>
                    <a:pt x="12251144" y="2844781"/>
                  </a:lnTo>
                  <a:lnTo>
                    <a:pt x="12227316" y="2854313"/>
                  </a:lnTo>
                  <a:lnTo>
                    <a:pt x="12193960" y="2840014"/>
                  </a:lnTo>
                  <a:lnTo>
                    <a:pt x="12174900" y="2840014"/>
                  </a:lnTo>
                  <a:lnTo>
                    <a:pt x="12127248" y="2806659"/>
                  </a:lnTo>
                  <a:lnTo>
                    <a:pt x="12074832" y="2754245"/>
                  </a:lnTo>
                  <a:lnTo>
                    <a:pt x="12065304" y="2730419"/>
                  </a:lnTo>
                  <a:lnTo>
                    <a:pt x="12055772" y="2711357"/>
                  </a:lnTo>
                  <a:lnTo>
                    <a:pt x="11998592" y="2697062"/>
                  </a:lnTo>
                  <a:lnTo>
                    <a:pt x="11984296" y="2687531"/>
                  </a:lnTo>
                  <a:lnTo>
                    <a:pt x="11898524" y="2701827"/>
                  </a:lnTo>
                  <a:lnTo>
                    <a:pt x="11884228" y="2692298"/>
                  </a:lnTo>
                  <a:lnTo>
                    <a:pt x="11855636" y="2620820"/>
                  </a:lnTo>
                  <a:lnTo>
                    <a:pt x="11841340" y="2620820"/>
                  </a:lnTo>
                  <a:lnTo>
                    <a:pt x="11793688" y="2658941"/>
                  </a:lnTo>
                  <a:lnTo>
                    <a:pt x="11779396" y="2658941"/>
                  </a:lnTo>
                  <a:lnTo>
                    <a:pt x="11741272" y="2630349"/>
                  </a:lnTo>
                  <a:lnTo>
                    <a:pt x="11722212" y="2596995"/>
                  </a:lnTo>
                  <a:lnTo>
                    <a:pt x="11717448" y="2582696"/>
                  </a:lnTo>
                  <a:lnTo>
                    <a:pt x="11712684" y="2539813"/>
                  </a:lnTo>
                  <a:lnTo>
                    <a:pt x="11693620" y="2520753"/>
                  </a:lnTo>
                  <a:lnTo>
                    <a:pt x="11669796" y="2444508"/>
                  </a:lnTo>
                  <a:lnTo>
                    <a:pt x="11650736" y="2363503"/>
                  </a:lnTo>
                  <a:lnTo>
                    <a:pt x="11579260" y="2325381"/>
                  </a:lnTo>
                  <a:lnTo>
                    <a:pt x="11536372" y="2315851"/>
                  </a:lnTo>
                  <a:lnTo>
                    <a:pt x="11503016" y="2315851"/>
                  </a:lnTo>
                  <a:lnTo>
                    <a:pt x="11474424" y="2287262"/>
                  </a:lnTo>
                  <a:lnTo>
                    <a:pt x="11526844" y="2168133"/>
                  </a:lnTo>
                  <a:lnTo>
                    <a:pt x="11593556" y="2106187"/>
                  </a:lnTo>
                  <a:lnTo>
                    <a:pt x="11626912" y="2058535"/>
                  </a:lnTo>
                  <a:lnTo>
                    <a:pt x="11660268" y="1996587"/>
                  </a:lnTo>
                  <a:lnTo>
                    <a:pt x="11674560" y="1896518"/>
                  </a:lnTo>
                  <a:lnTo>
                    <a:pt x="11731744" y="1834573"/>
                  </a:lnTo>
                  <a:lnTo>
                    <a:pt x="11746040" y="1810752"/>
                  </a:lnTo>
                  <a:lnTo>
                    <a:pt x="11765100" y="1763098"/>
                  </a:lnTo>
                  <a:lnTo>
                    <a:pt x="11774628" y="1753569"/>
                  </a:lnTo>
                  <a:lnTo>
                    <a:pt x="11817516" y="1815515"/>
                  </a:lnTo>
                  <a:lnTo>
                    <a:pt x="11827044" y="1805985"/>
                  </a:lnTo>
                  <a:lnTo>
                    <a:pt x="11836576" y="1777396"/>
                  </a:lnTo>
                  <a:lnTo>
                    <a:pt x="11850872" y="1748802"/>
                  </a:lnTo>
                  <a:lnTo>
                    <a:pt x="11908052" y="1744039"/>
                  </a:lnTo>
                  <a:lnTo>
                    <a:pt x="11955704" y="1753569"/>
                  </a:lnTo>
                  <a:lnTo>
                    <a:pt x="11974764" y="1744039"/>
                  </a:lnTo>
                  <a:lnTo>
                    <a:pt x="11993824" y="1748802"/>
                  </a:lnTo>
                  <a:lnTo>
                    <a:pt x="12103424" y="1705918"/>
                  </a:lnTo>
                  <a:close/>
                  <a:moveTo>
                    <a:pt x="4727008" y="1634439"/>
                  </a:moveTo>
                  <a:lnTo>
                    <a:pt x="4784188" y="1643968"/>
                  </a:lnTo>
                  <a:lnTo>
                    <a:pt x="4793720" y="1677324"/>
                  </a:lnTo>
                  <a:lnTo>
                    <a:pt x="4793720" y="1686855"/>
                  </a:lnTo>
                  <a:lnTo>
                    <a:pt x="4755596" y="1744039"/>
                  </a:lnTo>
                  <a:lnTo>
                    <a:pt x="4755596" y="1777396"/>
                  </a:lnTo>
                  <a:lnTo>
                    <a:pt x="4741300" y="1786926"/>
                  </a:lnTo>
                  <a:lnTo>
                    <a:pt x="4679356" y="1720211"/>
                  </a:lnTo>
                  <a:lnTo>
                    <a:pt x="4674592" y="1701150"/>
                  </a:lnTo>
                  <a:close/>
                  <a:moveTo>
                    <a:pt x="5565668" y="1543900"/>
                  </a:moveTo>
                  <a:lnTo>
                    <a:pt x="5579964" y="1553431"/>
                  </a:lnTo>
                  <a:lnTo>
                    <a:pt x="5594260" y="1567729"/>
                  </a:lnTo>
                  <a:lnTo>
                    <a:pt x="5603792" y="1591553"/>
                  </a:lnTo>
                  <a:lnTo>
                    <a:pt x="5556140" y="1639205"/>
                  </a:lnTo>
                  <a:lnTo>
                    <a:pt x="5532312" y="1634440"/>
                  </a:lnTo>
                  <a:lnTo>
                    <a:pt x="5522784" y="1610616"/>
                  </a:lnTo>
                  <a:lnTo>
                    <a:pt x="5541844" y="1572492"/>
                  </a:lnTo>
                  <a:close/>
                  <a:moveTo>
                    <a:pt x="5832516" y="1505780"/>
                  </a:moveTo>
                  <a:lnTo>
                    <a:pt x="5851576" y="1520078"/>
                  </a:lnTo>
                  <a:lnTo>
                    <a:pt x="5856344" y="1553431"/>
                  </a:lnTo>
                  <a:lnTo>
                    <a:pt x="5856344" y="1667794"/>
                  </a:lnTo>
                  <a:lnTo>
                    <a:pt x="5851576" y="1715449"/>
                  </a:lnTo>
                  <a:lnTo>
                    <a:pt x="5851576" y="1758332"/>
                  </a:lnTo>
                  <a:lnTo>
                    <a:pt x="5837280" y="1777396"/>
                  </a:lnTo>
                  <a:lnTo>
                    <a:pt x="5713388" y="1772628"/>
                  </a:lnTo>
                  <a:lnTo>
                    <a:pt x="5656208" y="1763098"/>
                  </a:lnTo>
                  <a:lnTo>
                    <a:pt x="5641912" y="1748802"/>
                  </a:lnTo>
                  <a:lnTo>
                    <a:pt x="5675268" y="1696388"/>
                  </a:lnTo>
                  <a:lnTo>
                    <a:pt x="5684796" y="1658264"/>
                  </a:lnTo>
                  <a:lnTo>
                    <a:pt x="5680032" y="1548668"/>
                  </a:lnTo>
                  <a:lnTo>
                    <a:pt x="5684796" y="1529608"/>
                  </a:lnTo>
                  <a:lnTo>
                    <a:pt x="5784864" y="1539138"/>
                  </a:lnTo>
                  <a:lnTo>
                    <a:pt x="5794396" y="1510546"/>
                  </a:lnTo>
                  <a:close/>
                  <a:moveTo>
                    <a:pt x="5241640" y="1462895"/>
                  </a:moveTo>
                  <a:lnTo>
                    <a:pt x="5265464" y="1472425"/>
                  </a:lnTo>
                  <a:lnTo>
                    <a:pt x="5270232" y="1505780"/>
                  </a:lnTo>
                  <a:lnTo>
                    <a:pt x="5289292" y="1548669"/>
                  </a:lnTo>
                  <a:lnTo>
                    <a:pt x="5346472" y="1601083"/>
                  </a:lnTo>
                  <a:lnTo>
                    <a:pt x="5336944" y="1634439"/>
                  </a:lnTo>
                  <a:lnTo>
                    <a:pt x="5317884" y="1639205"/>
                  </a:lnTo>
                  <a:lnTo>
                    <a:pt x="5294056" y="1677327"/>
                  </a:lnTo>
                  <a:lnTo>
                    <a:pt x="5193988" y="1686858"/>
                  </a:lnTo>
                  <a:lnTo>
                    <a:pt x="5155868" y="1682091"/>
                  </a:lnTo>
                  <a:lnTo>
                    <a:pt x="5151104" y="1667794"/>
                  </a:lnTo>
                  <a:lnTo>
                    <a:pt x="5141572" y="1658264"/>
                  </a:lnTo>
                  <a:lnTo>
                    <a:pt x="5112980" y="1648735"/>
                  </a:lnTo>
                  <a:lnTo>
                    <a:pt x="5093920" y="1601083"/>
                  </a:lnTo>
                  <a:lnTo>
                    <a:pt x="5098688" y="1591553"/>
                  </a:lnTo>
                  <a:lnTo>
                    <a:pt x="5146336" y="1572492"/>
                  </a:lnTo>
                  <a:lnTo>
                    <a:pt x="5165396" y="1553431"/>
                  </a:lnTo>
                  <a:lnTo>
                    <a:pt x="5170164" y="1524841"/>
                  </a:lnTo>
                  <a:lnTo>
                    <a:pt x="5193988" y="1472425"/>
                  </a:lnTo>
                  <a:close/>
                  <a:moveTo>
                    <a:pt x="5851576" y="1386651"/>
                  </a:moveTo>
                  <a:lnTo>
                    <a:pt x="5918288" y="1405714"/>
                  </a:lnTo>
                  <a:lnTo>
                    <a:pt x="6070772" y="1415245"/>
                  </a:lnTo>
                  <a:lnTo>
                    <a:pt x="6147012" y="1462895"/>
                  </a:lnTo>
                  <a:lnTo>
                    <a:pt x="6170840" y="1486720"/>
                  </a:lnTo>
                  <a:lnTo>
                    <a:pt x="6189900" y="1529608"/>
                  </a:lnTo>
                  <a:lnTo>
                    <a:pt x="6056476" y="1553431"/>
                  </a:lnTo>
                  <a:lnTo>
                    <a:pt x="6037416" y="1572492"/>
                  </a:lnTo>
                  <a:lnTo>
                    <a:pt x="6042180" y="1615379"/>
                  </a:lnTo>
                  <a:lnTo>
                    <a:pt x="6037416" y="1658264"/>
                  </a:lnTo>
                  <a:lnTo>
                    <a:pt x="6018356" y="1663032"/>
                  </a:lnTo>
                  <a:lnTo>
                    <a:pt x="5989764" y="1729742"/>
                  </a:lnTo>
                  <a:lnTo>
                    <a:pt x="5965940" y="1748802"/>
                  </a:lnTo>
                  <a:lnTo>
                    <a:pt x="5899228" y="1715449"/>
                  </a:lnTo>
                  <a:lnTo>
                    <a:pt x="5889696" y="1701152"/>
                  </a:lnTo>
                  <a:lnTo>
                    <a:pt x="5884932" y="1667796"/>
                  </a:lnTo>
                  <a:lnTo>
                    <a:pt x="5870636" y="1543901"/>
                  </a:lnTo>
                  <a:lnTo>
                    <a:pt x="5870636" y="1505780"/>
                  </a:lnTo>
                  <a:lnTo>
                    <a:pt x="5870636" y="1481955"/>
                  </a:lnTo>
                  <a:lnTo>
                    <a:pt x="5851576" y="1434304"/>
                  </a:lnTo>
                  <a:lnTo>
                    <a:pt x="5842048" y="1410478"/>
                  </a:lnTo>
                  <a:close/>
                  <a:moveTo>
                    <a:pt x="5351240" y="1281820"/>
                  </a:moveTo>
                  <a:lnTo>
                    <a:pt x="5398888" y="1310410"/>
                  </a:lnTo>
                  <a:lnTo>
                    <a:pt x="5403656" y="1324706"/>
                  </a:lnTo>
                  <a:lnTo>
                    <a:pt x="5437012" y="1343768"/>
                  </a:lnTo>
                  <a:lnTo>
                    <a:pt x="5437012" y="1381889"/>
                  </a:lnTo>
                  <a:lnTo>
                    <a:pt x="5437012" y="1405714"/>
                  </a:lnTo>
                  <a:lnTo>
                    <a:pt x="5413184" y="1458130"/>
                  </a:lnTo>
                  <a:lnTo>
                    <a:pt x="5341708" y="1405714"/>
                  </a:lnTo>
                  <a:lnTo>
                    <a:pt x="5346472" y="1377121"/>
                  </a:lnTo>
                  <a:lnTo>
                    <a:pt x="5356004" y="1367592"/>
                  </a:lnTo>
                  <a:lnTo>
                    <a:pt x="5356004" y="1343768"/>
                  </a:lnTo>
                  <a:lnTo>
                    <a:pt x="5346472" y="1324706"/>
                  </a:lnTo>
                  <a:close/>
                  <a:moveTo>
                    <a:pt x="4345796" y="1038799"/>
                  </a:moveTo>
                  <a:lnTo>
                    <a:pt x="4417272" y="1081683"/>
                  </a:lnTo>
                  <a:lnTo>
                    <a:pt x="4469692" y="1072153"/>
                  </a:lnTo>
                  <a:lnTo>
                    <a:pt x="4488752" y="1076919"/>
                  </a:lnTo>
                  <a:lnTo>
                    <a:pt x="4503044" y="1086448"/>
                  </a:lnTo>
                  <a:lnTo>
                    <a:pt x="4517340" y="1115041"/>
                  </a:lnTo>
                  <a:lnTo>
                    <a:pt x="4541168" y="1172222"/>
                  </a:lnTo>
                  <a:lnTo>
                    <a:pt x="4541168" y="1253229"/>
                  </a:lnTo>
                  <a:lnTo>
                    <a:pt x="4531636" y="1257993"/>
                  </a:lnTo>
                  <a:lnTo>
                    <a:pt x="4441100" y="1219872"/>
                  </a:lnTo>
                  <a:lnTo>
                    <a:pt x="4398212" y="1134100"/>
                  </a:lnTo>
                  <a:lnTo>
                    <a:pt x="4388684" y="1129334"/>
                  </a:lnTo>
                  <a:lnTo>
                    <a:pt x="4369624" y="1148396"/>
                  </a:lnTo>
                  <a:lnTo>
                    <a:pt x="4355328" y="1200812"/>
                  </a:lnTo>
                  <a:lnTo>
                    <a:pt x="4341032" y="1215108"/>
                  </a:lnTo>
                  <a:lnTo>
                    <a:pt x="4326736" y="1281820"/>
                  </a:lnTo>
                  <a:lnTo>
                    <a:pt x="4307676" y="1272289"/>
                  </a:lnTo>
                  <a:lnTo>
                    <a:pt x="4298144" y="1277054"/>
                  </a:lnTo>
                  <a:lnTo>
                    <a:pt x="4279084" y="1324706"/>
                  </a:lnTo>
                  <a:lnTo>
                    <a:pt x="4226668" y="1324706"/>
                  </a:lnTo>
                  <a:lnTo>
                    <a:pt x="4217140" y="1343768"/>
                  </a:lnTo>
                  <a:lnTo>
                    <a:pt x="4202844" y="1405710"/>
                  </a:lnTo>
                  <a:lnTo>
                    <a:pt x="4179016" y="1424774"/>
                  </a:lnTo>
                  <a:lnTo>
                    <a:pt x="4140896" y="1434304"/>
                  </a:lnTo>
                  <a:lnTo>
                    <a:pt x="4131364" y="1396181"/>
                  </a:lnTo>
                  <a:lnTo>
                    <a:pt x="4126600" y="1343768"/>
                  </a:lnTo>
                  <a:lnTo>
                    <a:pt x="4117072" y="1315175"/>
                  </a:lnTo>
                  <a:lnTo>
                    <a:pt x="4064656" y="1348531"/>
                  </a:lnTo>
                  <a:lnTo>
                    <a:pt x="4026532" y="1324706"/>
                  </a:lnTo>
                  <a:lnTo>
                    <a:pt x="3988412" y="1286584"/>
                  </a:lnTo>
                  <a:lnTo>
                    <a:pt x="3950292" y="1277054"/>
                  </a:lnTo>
                  <a:lnTo>
                    <a:pt x="3983648" y="1238932"/>
                  </a:lnTo>
                  <a:lnTo>
                    <a:pt x="4174252" y="1157926"/>
                  </a:lnTo>
                  <a:lnTo>
                    <a:pt x="4245728" y="1138866"/>
                  </a:lnTo>
                  <a:lnTo>
                    <a:pt x="4279084" y="1081683"/>
                  </a:lnTo>
                  <a:lnTo>
                    <a:pt x="4331500" y="1043563"/>
                  </a:lnTo>
                  <a:close/>
                  <a:moveTo>
                    <a:pt x="6556816" y="1000677"/>
                  </a:moveTo>
                  <a:lnTo>
                    <a:pt x="6594936" y="1010206"/>
                  </a:lnTo>
                  <a:lnTo>
                    <a:pt x="6637824" y="1029270"/>
                  </a:lnTo>
                  <a:lnTo>
                    <a:pt x="6647352" y="1057857"/>
                  </a:lnTo>
                  <a:lnTo>
                    <a:pt x="6656884" y="1100744"/>
                  </a:lnTo>
                  <a:lnTo>
                    <a:pt x="6652116" y="1162690"/>
                  </a:lnTo>
                  <a:lnTo>
                    <a:pt x="6637824" y="1205578"/>
                  </a:lnTo>
                  <a:lnTo>
                    <a:pt x="6633056" y="1272289"/>
                  </a:lnTo>
                  <a:lnTo>
                    <a:pt x="6585408" y="1286584"/>
                  </a:lnTo>
                  <a:lnTo>
                    <a:pt x="6571112" y="1300881"/>
                  </a:lnTo>
                  <a:lnTo>
                    <a:pt x="6556816" y="1348531"/>
                  </a:lnTo>
                  <a:lnTo>
                    <a:pt x="6509164" y="1377121"/>
                  </a:lnTo>
                  <a:lnTo>
                    <a:pt x="6471044" y="1458129"/>
                  </a:lnTo>
                  <a:lnTo>
                    <a:pt x="6418628" y="1443833"/>
                  </a:lnTo>
                  <a:lnTo>
                    <a:pt x="6351916" y="1386651"/>
                  </a:lnTo>
                  <a:lnTo>
                    <a:pt x="6289968" y="1434304"/>
                  </a:lnTo>
                  <a:lnTo>
                    <a:pt x="6251848" y="1448599"/>
                  </a:lnTo>
                  <a:lnTo>
                    <a:pt x="6204196" y="1377121"/>
                  </a:lnTo>
                  <a:lnTo>
                    <a:pt x="6199432" y="1362828"/>
                  </a:lnTo>
                  <a:lnTo>
                    <a:pt x="6194664" y="1315175"/>
                  </a:lnTo>
                  <a:lnTo>
                    <a:pt x="6199432" y="1267524"/>
                  </a:lnTo>
                  <a:lnTo>
                    <a:pt x="6213728" y="1176989"/>
                  </a:lnTo>
                  <a:lnTo>
                    <a:pt x="6228020" y="1124571"/>
                  </a:lnTo>
                  <a:lnTo>
                    <a:pt x="6237552" y="1110274"/>
                  </a:lnTo>
                  <a:lnTo>
                    <a:pt x="6242316" y="1076919"/>
                  </a:lnTo>
                  <a:lnTo>
                    <a:pt x="6261376" y="1057857"/>
                  </a:lnTo>
                  <a:lnTo>
                    <a:pt x="6323324" y="1043563"/>
                  </a:lnTo>
                  <a:lnTo>
                    <a:pt x="6342384" y="1057857"/>
                  </a:lnTo>
                  <a:lnTo>
                    <a:pt x="6351916" y="1091213"/>
                  </a:lnTo>
                  <a:lnTo>
                    <a:pt x="6385272" y="1091213"/>
                  </a:lnTo>
                  <a:lnTo>
                    <a:pt x="6437688" y="1067390"/>
                  </a:lnTo>
                  <a:lnTo>
                    <a:pt x="6513928" y="1034033"/>
                  </a:lnTo>
                  <a:close/>
                  <a:moveTo>
                    <a:pt x="4788952" y="967321"/>
                  </a:moveTo>
                  <a:lnTo>
                    <a:pt x="4812780" y="986381"/>
                  </a:lnTo>
                  <a:lnTo>
                    <a:pt x="4869960" y="981617"/>
                  </a:lnTo>
                  <a:lnTo>
                    <a:pt x="4889020" y="1005442"/>
                  </a:lnTo>
                  <a:lnTo>
                    <a:pt x="4974792" y="1148396"/>
                  </a:lnTo>
                  <a:lnTo>
                    <a:pt x="4993852" y="1153161"/>
                  </a:lnTo>
                  <a:lnTo>
                    <a:pt x="5012912" y="1200810"/>
                  </a:lnTo>
                  <a:lnTo>
                    <a:pt x="4922376" y="1281819"/>
                  </a:lnTo>
                  <a:lnTo>
                    <a:pt x="4893784" y="1343766"/>
                  </a:lnTo>
                  <a:lnTo>
                    <a:pt x="4788952" y="1358061"/>
                  </a:lnTo>
                  <a:lnTo>
                    <a:pt x="4722240" y="1386651"/>
                  </a:lnTo>
                  <a:lnTo>
                    <a:pt x="4707944" y="1410477"/>
                  </a:lnTo>
                  <a:lnTo>
                    <a:pt x="4712712" y="1453363"/>
                  </a:lnTo>
                  <a:lnTo>
                    <a:pt x="4679356" y="1496249"/>
                  </a:lnTo>
                  <a:lnTo>
                    <a:pt x="4574524" y="1505780"/>
                  </a:lnTo>
                  <a:lnTo>
                    <a:pt x="4560228" y="1520075"/>
                  </a:lnTo>
                  <a:lnTo>
                    <a:pt x="4541168" y="1567728"/>
                  </a:lnTo>
                  <a:lnTo>
                    <a:pt x="4541168" y="1577258"/>
                  </a:lnTo>
                  <a:lnTo>
                    <a:pt x="4579288" y="1591552"/>
                  </a:lnTo>
                  <a:lnTo>
                    <a:pt x="4584052" y="1601081"/>
                  </a:lnTo>
                  <a:lnTo>
                    <a:pt x="4588816" y="1624909"/>
                  </a:lnTo>
                  <a:lnTo>
                    <a:pt x="4593584" y="1653498"/>
                  </a:lnTo>
                  <a:lnTo>
                    <a:pt x="4584052" y="1696386"/>
                  </a:lnTo>
                  <a:lnTo>
                    <a:pt x="4574524" y="1701150"/>
                  </a:lnTo>
                  <a:lnTo>
                    <a:pt x="4560228" y="1696386"/>
                  </a:lnTo>
                  <a:lnTo>
                    <a:pt x="4526872" y="1667794"/>
                  </a:lnTo>
                  <a:lnTo>
                    <a:pt x="4522104" y="1677324"/>
                  </a:lnTo>
                  <a:lnTo>
                    <a:pt x="4517340" y="1701150"/>
                  </a:lnTo>
                  <a:lnTo>
                    <a:pt x="4507812" y="1744039"/>
                  </a:lnTo>
                  <a:lnTo>
                    <a:pt x="4493516" y="1758331"/>
                  </a:lnTo>
                  <a:lnTo>
                    <a:pt x="4460160" y="1724977"/>
                  </a:lnTo>
                  <a:lnTo>
                    <a:pt x="4450628" y="1734508"/>
                  </a:lnTo>
                  <a:lnTo>
                    <a:pt x="4436332" y="1753569"/>
                  </a:lnTo>
                  <a:lnTo>
                    <a:pt x="4422040" y="1763098"/>
                  </a:lnTo>
                  <a:lnTo>
                    <a:pt x="4393448" y="1767861"/>
                  </a:lnTo>
                  <a:lnTo>
                    <a:pt x="4374388" y="1744039"/>
                  </a:lnTo>
                  <a:lnTo>
                    <a:pt x="4388684" y="1705916"/>
                  </a:lnTo>
                  <a:lnTo>
                    <a:pt x="4431568" y="1648735"/>
                  </a:lnTo>
                  <a:lnTo>
                    <a:pt x="4417272" y="1624909"/>
                  </a:lnTo>
                  <a:lnTo>
                    <a:pt x="4379152" y="1620145"/>
                  </a:lnTo>
                  <a:lnTo>
                    <a:pt x="4345796" y="1634438"/>
                  </a:lnTo>
                  <a:lnTo>
                    <a:pt x="4331500" y="1672560"/>
                  </a:lnTo>
                  <a:lnTo>
                    <a:pt x="4317204" y="1682091"/>
                  </a:lnTo>
                  <a:lnTo>
                    <a:pt x="4274320" y="1677324"/>
                  </a:lnTo>
                  <a:lnTo>
                    <a:pt x="4255260" y="1624909"/>
                  </a:lnTo>
                  <a:lnTo>
                    <a:pt x="4236200" y="1610612"/>
                  </a:lnTo>
                  <a:lnTo>
                    <a:pt x="4221904" y="1567728"/>
                  </a:lnTo>
                  <a:lnTo>
                    <a:pt x="4341032" y="1434304"/>
                  </a:lnTo>
                  <a:lnTo>
                    <a:pt x="4379152" y="1381888"/>
                  </a:lnTo>
                  <a:lnTo>
                    <a:pt x="4417272" y="1353297"/>
                  </a:lnTo>
                  <a:lnTo>
                    <a:pt x="4464924" y="1338999"/>
                  </a:lnTo>
                  <a:lnTo>
                    <a:pt x="4479220" y="1324705"/>
                  </a:lnTo>
                  <a:lnTo>
                    <a:pt x="4498280" y="1315175"/>
                  </a:lnTo>
                  <a:lnTo>
                    <a:pt x="4507812" y="1324705"/>
                  </a:lnTo>
                  <a:lnTo>
                    <a:pt x="4531636" y="1372358"/>
                  </a:lnTo>
                  <a:lnTo>
                    <a:pt x="4603112" y="1367592"/>
                  </a:lnTo>
                  <a:lnTo>
                    <a:pt x="4617408" y="1324705"/>
                  </a:lnTo>
                  <a:lnTo>
                    <a:pt x="4622172" y="1234168"/>
                  </a:lnTo>
                  <a:lnTo>
                    <a:pt x="4612644" y="1176989"/>
                  </a:lnTo>
                  <a:lnTo>
                    <a:pt x="4626940" y="1072153"/>
                  </a:lnTo>
                  <a:lnTo>
                    <a:pt x="4669824" y="1029270"/>
                  </a:lnTo>
                  <a:lnTo>
                    <a:pt x="4765128" y="972085"/>
                  </a:lnTo>
                  <a:close/>
                  <a:moveTo>
                    <a:pt x="9401596" y="919670"/>
                  </a:moveTo>
                  <a:lnTo>
                    <a:pt x="9477840" y="943496"/>
                  </a:lnTo>
                  <a:lnTo>
                    <a:pt x="9496900" y="967321"/>
                  </a:lnTo>
                  <a:lnTo>
                    <a:pt x="9492132" y="1014974"/>
                  </a:lnTo>
                  <a:lnTo>
                    <a:pt x="9487368" y="1029270"/>
                  </a:lnTo>
                  <a:lnTo>
                    <a:pt x="9434952" y="1048328"/>
                  </a:lnTo>
                  <a:lnTo>
                    <a:pt x="9292000" y="1081683"/>
                  </a:lnTo>
                  <a:lnTo>
                    <a:pt x="9277704" y="1057857"/>
                  </a:lnTo>
                  <a:lnTo>
                    <a:pt x="9272936" y="1048328"/>
                  </a:lnTo>
                  <a:lnTo>
                    <a:pt x="9292000" y="972085"/>
                  </a:lnTo>
                  <a:lnTo>
                    <a:pt x="9311060" y="933966"/>
                  </a:lnTo>
                  <a:close/>
                  <a:moveTo>
                    <a:pt x="6537756" y="791013"/>
                  </a:moveTo>
                  <a:lnTo>
                    <a:pt x="6552048" y="843428"/>
                  </a:lnTo>
                  <a:lnTo>
                    <a:pt x="6537756" y="886314"/>
                  </a:lnTo>
                  <a:lnTo>
                    <a:pt x="6485340" y="943497"/>
                  </a:lnTo>
                  <a:lnTo>
                    <a:pt x="6437688" y="967321"/>
                  </a:lnTo>
                  <a:lnTo>
                    <a:pt x="6356680" y="938731"/>
                  </a:lnTo>
                  <a:lnTo>
                    <a:pt x="6318560" y="910140"/>
                  </a:lnTo>
                  <a:lnTo>
                    <a:pt x="6318560" y="895845"/>
                  </a:lnTo>
                  <a:lnTo>
                    <a:pt x="6332856" y="881549"/>
                  </a:lnTo>
                  <a:lnTo>
                    <a:pt x="6399568" y="810072"/>
                  </a:lnTo>
                  <a:close/>
                  <a:moveTo>
                    <a:pt x="5470368" y="781482"/>
                  </a:moveTo>
                  <a:lnTo>
                    <a:pt x="5484660" y="781482"/>
                  </a:lnTo>
                  <a:lnTo>
                    <a:pt x="5599024" y="876782"/>
                  </a:lnTo>
                  <a:lnTo>
                    <a:pt x="5708624" y="867253"/>
                  </a:lnTo>
                  <a:lnTo>
                    <a:pt x="5756272" y="895845"/>
                  </a:lnTo>
                  <a:lnTo>
                    <a:pt x="5822984" y="981617"/>
                  </a:lnTo>
                  <a:lnTo>
                    <a:pt x="5927820" y="1072153"/>
                  </a:lnTo>
                  <a:lnTo>
                    <a:pt x="5946880" y="1100744"/>
                  </a:lnTo>
                  <a:lnTo>
                    <a:pt x="5927820" y="1138866"/>
                  </a:lnTo>
                  <a:lnTo>
                    <a:pt x="5808692" y="1224638"/>
                  </a:lnTo>
                  <a:lnTo>
                    <a:pt x="5732448" y="1253229"/>
                  </a:lnTo>
                  <a:lnTo>
                    <a:pt x="5665736" y="1257993"/>
                  </a:lnTo>
                  <a:lnTo>
                    <a:pt x="5637144" y="1253229"/>
                  </a:lnTo>
                  <a:lnTo>
                    <a:pt x="5613320" y="1186517"/>
                  </a:lnTo>
                  <a:lnTo>
                    <a:pt x="5546608" y="1138866"/>
                  </a:lnTo>
                  <a:lnTo>
                    <a:pt x="5475132" y="1153161"/>
                  </a:lnTo>
                  <a:lnTo>
                    <a:pt x="5470368" y="1129334"/>
                  </a:lnTo>
                  <a:lnTo>
                    <a:pt x="5451304" y="1110274"/>
                  </a:lnTo>
                  <a:lnTo>
                    <a:pt x="5427480" y="1105510"/>
                  </a:lnTo>
                  <a:lnTo>
                    <a:pt x="5379828" y="1081683"/>
                  </a:lnTo>
                  <a:lnTo>
                    <a:pt x="5379828" y="1024504"/>
                  </a:lnTo>
                  <a:lnTo>
                    <a:pt x="5408420" y="995910"/>
                  </a:lnTo>
                  <a:lnTo>
                    <a:pt x="5427480" y="991147"/>
                  </a:lnTo>
                  <a:lnTo>
                    <a:pt x="5437012" y="910139"/>
                  </a:lnTo>
                  <a:close/>
                  <a:moveTo>
                    <a:pt x="6004060" y="776717"/>
                  </a:moveTo>
                  <a:lnTo>
                    <a:pt x="6013592" y="781482"/>
                  </a:lnTo>
                  <a:lnTo>
                    <a:pt x="6023120" y="800541"/>
                  </a:lnTo>
                  <a:lnTo>
                    <a:pt x="6075536" y="833897"/>
                  </a:lnTo>
                  <a:lnTo>
                    <a:pt x="6094596" y="852958"/>
                  </a:lnTo>
                  <a:lnTo>
                    <a:pt x="6113660" y="905375"/>
                  </a:lnTo>
                  <a:lnTo>
                    <a:pt x="6123188" y="962556"/>
                  </a:lnTo>
                  <a:lnTo>
                    <a:pt x="6137484" y="995910"/>
                  </a:lnTo>
                  <a:lnTo>
                    <a:pt x="6142248" y="1062624"/>
                  </a:lnTo>
                  <a:lnTo>
                    <a:pt x="6127952" y="1115040"/>
                  </a:lnTo>
                  <a:lnTo>
                    <a:pt x="6094596" y="1124571"/>
                  </a:lnTo>
                  <a:lnTo>
                    <a:pt x="6042180" y="1129334"/>
                  </a:lnTo>
                  <a:lnTo>
                    <a:pt x="5985000" y="1100744"/>
                  </a:lnTo>
                  <a:lnTo>
                    <a:pt x="5956408" y="1005442"/>
                  </a:lnTo>
                  <a:lnTo>
                    <a:pt x="5903992" y="981616"/>
                  </a:lnTo>
                  <a:lnTo>
                    <a:pt x="5870636" y="876782"/>
                  </a:lnTo>
                  <a:lnTo>
                    <a:pt x="5903992" y="848191"/>
                  </a:lnTo>
                  <a:lnTo>
                    <a:pt x="5942112" y="862488"/>
                  </a:lnTo>
                  <a:close/>
                  <a:moveTo>
                    <a:pt x="4836604" y="724301"/>
                  </a:moveTo>
                  <a:lnTo>
                    <a:pt x="4855664" y="724301"/>
                  </a:lnTo>
                  <a:lnTo>
                    <a:pt x="4884256" y="743360"/>
                  </a:lnTo>
                  <a:lnTo>
                    <a:pt x="4893784" y="786247"/>
                  </a:lnTo>
                  <a:lnTo>
                    <a:pt x="4869960" y="824368"/>
                  </a:lnTo>
                  <a:lnTo>
                    <a:pt x="4865196" y="848191"/>
                  </a:lnTo>
                  <a:lnTo>
                    <a:pt x="4841368" y="852958"/>
                  </a:lnTo>
                  <a:lnTo>
                    <a:pt x="4827072" y="848191"/>
                  </a:lnTo>
                  <a:lnTo>
                    <a:pt x="4812780" y="810071"/>
                  </a:lnTo>
                  <a:lnTo>
                    <a:pt x="4803248" y="791012"/>
                  </a:lnTo>
                  <a:lnTo>
                    <a:pt x="4803248" y="771952"/>
                  </a:lnTo>
                  <a:lnTo>
                    <a:pt x="4817544" y="767187"/>
                  </a:lnTo>
                  <a:lnTo>
                    <a:pt x="4827072" y="752892"/>
                  </a:lnTo>
                  <a:lnTo>
                    <a:pt x="4827072" y="738596"/>
                  </a:lnTo>
                  <a:close/>
                  <a:moveTo>
                    <a:pt x="7023796" y="695710"/>
                  </a:moveTo>
                  <a:lnTo>
                    <a:pt x="7057152" y="695710"/>
                  </a:lnTo>
                  <a:lnTo>
                    <a:pt x="7095276" y="724301"/>
                  </a:lnTo>
                  <a:lnTo>
                    <a:pt x="7114336" y="752891"/>
                  </a:lnTo>
                  <a:lnTo>
                    <a:pt x="7138160" y="800541"/>
                  </a:lnTo>
                  <a:lnTo>
                    <a:pt x="7147692" y="838662"/>
                  </a:lnTo>
                  <a:lnTo>
                    <a:pt x="7142924" y="886314"/>
                  </a:lnTo>
                  <a:lnTo>
                    <a:pt x="7147692" y="929200"/>
                  </a:lnTo>
                  <a:lnTo>
                    <a:pt x="7157220" y="962556"/>
                  </a:lnTo>
                  <a:lnTo>
                    <a:pt x="7090508" y="1076919"/>
                  </a:lnTo>
                  <a:lnTo>
                    <a:pt x="7019032" y="1138864"/>
                  </a:lnTo>
                  <a:lnTo>
                    <a:pt x="6833192" y="1191281"/>
                  </a:lnTo>
                  <a:lnTo>
                    <a:pt x="6804600" y="1191281"/>
                  </a:lnTo>
                  <a:lnTo>
                    <a:pt x="6776012" y="1176989"/>
                  </a:lnTo>
                  <a:lnTo>
                    <a:pt x="6737888" y="1129334"/>
                  </a:lnTo>
                  <a:lnTo>
                    <a:pt x="6699768" y="1072153"/>
                  </a:lnTo>
                  <a:lnTo>
                    <a:pt x="6714064" y="1043563"/>
                  </a:lnTo>
                  <a:lnTo>
                    <a:pt x="6747420" y="1000677"/>
                  </a:lnTo>
                  <a:lnTo>
                    <a:pt x="6795072" y="929200"/>
                  </a:lnTo>
                  <a:lnTo>
                    <a:pt x="6871312" y="914906"/>
                  </a:lnTo>
                  <a:lnTo>
                    <a:pt x="6909436" y="914906"/>
                  </a:lnTo>
                  <a:lnTo>
                    <a:pt x="6947556" y="895845"/>
                  </a:lnTo>
                  <a:lnTo>
                    <a:pt x="6957084" y="862488"/>
                  </a:lnTo>
                  <a:lnTo>
                    <a:pt x="6966616" y="791012"/>
                  </a:lnTo>
                  <a:lnTo>
                    <a:pt x="6971380" y="748126"/>
                  </a:lnTo>
                  <a:lnTo>
                    <a:pt x="6980912" y="719536"/>
                  </a:lnTo>
                  <a:close/>
                  <a:moveTo>
                    <a:pt x="11002680" y="681415"/>
                  </a:moveTo>
                  <a:lnTo>
                    <a:pt x="11169460" y="695710"/>
                  </a:lnTo>
                  <a:lnTo>
                    <a:pt x="11226640" y="710005"/>
                  </a:lnTo>
                  <a:lnTo>
                    <a:pt x="11236168" y="752892"/>
                  </a:lnTo>
                  <a:lnTo>
                    <a:pt x="11183752" y="833897"/>
                  </a:lnTo>
                  <a:lnTo>
                    <a:pt x="10988384" y="781482"/>
                  </a:lnTo>
                  <a:lnTo>
                    <a:pt x="10978852" y="748127"/>
                  </a:lnTo>
                  <a:lnTo>
                    <a:pt x="10978852" y="724301"/>
                  </a:lnTo>
                  <a:close/>
                  <a:moveTo>
                    <a:pt x="11898524" y="609937"/>
                  </a:moveTo>
                  <a:lnTo>
                    <a:pt x="11917584" y="633763"/>
                  </a:lnTo>
                  <a:lnTo>
                    <a:pt x="11927112" y="681415"/>
                  </a:lnTo>
                  <a:lnTo>
                    <a:pt x="11941408" y="700474"/>
                  </a:lnTo>
                  <a:lnTo>
                    <a:pt x="11960468" y="710005"/>
                  </a:lnTo>
                  <a:lnTo>
                    <a:pt x="12003356" y="795777"/>
                  </a:lnTo>
                  <a:lnTo>
                    <a:pt x="12012884" y="819602"/>
                  </a:lnTo>
                  <a:lnTo>
                    <a:pt x="12017652" y="867253"/>
                  </a:lnTo>
                  <a:lnTo>
                    <a:pt x="12041476" y="900610"/>
                  </a:lnTo>
                  <a:lnTo>
                    <a:pt x="12046240" y="938731"/>
                  </a:lnTo>
                  <a:lnTo>
                    <a:pt x="12151076" y="1053095"/>
                  </a:lnTo>
                  <a:lnTo>
                    <a:pt x="12198724" y="1067390"/>
                  </a:lnTo>
                  <a:lnTo>
                    <a:pt x="12217784" y="1095981"/>
                  </a:lnTo>
                  <a:lnTo>
                    <a:pt x="12222552" y="1129335"/>
                  </a:lnTo>
                  <a:lnTo>
                    <a:pt x="12222552" y="1191281"/>
                  </a:lnTo>
                  <a:lnTo>
                    <a:pt x="12203492" y="1191281"/>
                  </a:lnTo>
                  <a:lnTo>
                    <a:pt x="12189196" y="1210342"/>
                  </a:lnTo>
                  <a:lnTo>
                    <a:pt x="12122484" y="1234170"/>
                  </a:lnTo>
                  <a:lnTo>
                    <a:pt x="12103424" y="1272290"/>
                  </a:lnTo>
                  <a:lnTo>
                    <a:pt x="12089128" y="1348531"/>
                  </a:lnTo>
                  <a:lnTo>
                    <a:pt x="12098656" y="1362828"/>
                  </a:lnTo>
                  <a:lnTo>
                    <a:pt x="12103424" y="1386651"/>
                  </a:lnTo>
                  <a:lnTo>
                    <a:pt x="12127248" y="1510546"/>
                  </a:lnTo>
                  <a:lnTo>
                    <a:pt x="12132012" y="1529608"/>
                  </a:lnTo>
                  <a:lnTo>
                    <a:pt x="12151076" y="1548669"/>
                  </a:lnTo>
                  <a:lnTo>
                    <a:pt x="12132012" y="1596319"/>
                  </a:lnTo>
                  <a:lnTo>
                    <a:pt x="12112952" y="1624909"/>
                  </a:lnTo>
                  <a:lnTo>
                    <a:pt x="11908052" y="1682091"/>
                  </a:lnTo>
                  <a:lnTo>
                    <a:pt x="11769864" y="1705918"/>
                  </a:lnTo>
                  <a:lnTo>
                    <a:pt x="11722212" y="1734510"/>
                  </a:lnTo>
                  <a:lnTo>
                    <a:pt x="11707916" y="1729742"/>
                  </a:lnTo>
                  <a:lnTo>
                    <a:pt x="11669796" y="1772628"/>
                  </a:lnTo>
                  <a:lnTo>
                    <a:pt x="11598320" y="1834573"/>
                  </a:lnTo>
                  <a:lnTo>
                    <a:pt x="11564964" y="1834573"/>
                  </a:lnTo>
                  <a:lnTo>
                    <a:pt x="11460132" y="1753569"/>
                  </a:lnTo>
                  <a:lnTo>
                    <a:pt x="11336236" y="1682091"/>
                  </a:lnTo>
                  <a:lnTo>
                    <a:pt x="11321944" y="1639205"/>
                  </a:lnTo>
                  <a:lnTo>
                    <a:pt x="11288588" y="1615379"/>
                  </a:lnTo>
                  <a:lnTo>
                    <a:pt x="11250464" y="1596319"/>
                  </a:lnTo>
                  <a:lnTo>
                    <a:pt x="11231404" y="1515310"/>
                  </a:lnTo>
                  <a:lnTo>
                    <a:pt x="11255232" y="1458130"/>
                  </a:lnTo>
                  <a:lnTo>
                    <a:pt x="11288588" y="1405714"/>
                  </a:lnTo>
                  <a:lnTo>
                    <a:pt x="11345768" y="1381889"/>
                  </a:lnTo>
                  <a:lnTo>
                    <a:pt x="11398184" y="1348531"/>
                  </a:lnTo>
                  <a:lnTo>
                    <a:pt x="11436304" y="1267525"/>
                  </a:lnTo>
                  <a:lnTo>
                    <a:pt x="11460132" y="1186517"/>
                  </a:lnTo>
                  <a:lnTo>
                    <a:pt x="11503016" y="1100744"/>
                  </a:lnTo>
                  <a:lnTo>
                    <a:pt x="11426776" y="1124571"/>
                  </a:lnTo>
                  <a:lnTo>
                    <a:pt x="11398184" y="1110274"/>
                  </a:lnTo>
                  <a:lnTo>
                    <a:pt x="11402948" y="1081683"/>
                  </a:lnTo>
                  <a:lnTo>
                    <a:pt x="11417244" y="1024504"/>
                  </a:lnTo>
                  <a:lnTo>
                    <a:pt x="11426776" y="1000679"/>
                  </a:lnTo>
                  <a:lnTo>
                    <a:pt x="11450600" y="967321"/>
                  </a:lnTo>
                  <a:lnTo>
                    <a:pt x="11474428" y="905375"/>
                  </a:lnTo>
                  <a:lnTo>
                    <a:pt x="11517312" y="862488"/>
                  </a:lnTo>
                  <a:lnTo>
                    <a:pt x="11541140" y="857722"/>
                  </a:lnTo>
                  <a:lnTo>
                    <a:pt x="11560200" y="857722"/>
                  </a:lnTo>
                  <a:lnTo>
                    <a:pt x="11603084" y="838662"/>
                  </a:lnTo>
                  <a:lnTo>
                    <a:pt x="11641204" y="805308"/>
                  </a:lnTo>
                  <a:lnTo>
                    <a:pt x="11679328" y="786247"/>
                  </a:lnTo>
                  <a:lnTo>
                    <a:pt x="11712684" y="781482"/>
                  </a:lnTo>
                  <a:lnTo>
                    <a:pt x="11750804" y="757656"/>
                  </a:lnTo>
                  <a:lnTo>
                    <a:pt x="11784160" y="705240"/>
                  </a:lnTo>
                  <a:lnTo>
                    <a:pt x="11798456" y="619468"/>
                  </a:lnTo>
                  <a:close/>
                  <a:moveTo>
                    <a:pt x="6161308" y="490809"/>
                  </a:moveTo>
                  <a:lnTo>
                    <a:pt x="6194664" y="524165"/>
                  </a:lnTo>
                  <a:lnTo>
                    <a:pt x="6208960" y="567051"/>
                  </a:lnTo>
                  <a:lnTo>
                    <a:pt x="6199432" y="586112"/>
                  </a:lnTo>
                  <a:lnTo>
                    <a:pt x="6166076" y="600407"/>
                  </a:lnTo>
                  <a:lnTo>
                    <a:pt x="6108892" y="576582"/>
                  </a:lnTo>
                  <a:lnTo>
                    <a:pt x="6089832" y="552757"/>
                  </a:lnTo>
                  <a:lnTo>
                    <a:pt x="6094600" y="528930"/>
                  </a:lnTo>
                  <a:lnTo>
                    <a:pt x="6132720" y="495575"/>
                  </a:lnTo>
                  <a:close/>
                  <a:moveTo>
                    <a:pt x="5951644" y="314499"/>
                  </a:moveTo>
                  <a:lnTo>
                    <a:pt x="5965940" y="333559"/>
                  </a:lnTo>
                  <a:lnTo>
                    <a:pt x="5975472" y="376446"/>
                  </a:lnTo>
                  <a:lnTo>
                    <a:pt x="5999296" y="400271"/>
                  </a:lnTo>
                  <a:lnTo>
                    <a:pt x="6066008" y="419332"/>
                  </a:lnTo>
                  <a:lnTo>
                    <a:pt x="6085068" y="466983"/>
                  </a:lnTo>
                  <a:lnTo>
                    <a:pt x="6051712" y="500339"/>
                  </a:lnTo>
                  <a:lnTo>
                    <a:pt x="5975472" y="519400"/>
                  </a:lnTo>
                  <a:lnTo>
                    <a:pt x="5980236" y="586112"/>
                  </a:lnTo>
                  <a:lnTo>
                    <a:pt x="5999296" y="638528"/>
                  </a:lnTo>
                  <a:lnTo>
                    <a:pt x="5980236" y="695710"/>
                  </a:lnTo>
                  <a:lnTo>
                    <a:pt x="5961176" y="724300"/>
                  </a:lnTo>
                  <a:lnTo>
                    <a:pt x="5908760" y="757656"/>
                  </a:lnTo>
                  <a:lnTo>
                    <a:pt x="5865872" y="714770"/>
                  </a:lnTo>
                  <a:lnTo>
                    <a:pt x="5813456" y="652823"/>
                  </a:lnTo>
                  <a:lnTo>
                    <a:pt x="5789632" y="695710"/>
                  </a:lnTo>
                  <a:lnTo>
                    <a:pt x="5761040" y="719536"/>
                  </a:lnTo>
                  <a:lnTo>
                    <a:pt x="5741980" y="714770"/>
                  </a:lnTo>
                  <a:lnTo>
                    <a:pt x="5713388" y="667118"/>
                  </a:lnTo>
                  <a:lnTo>
                    <a:pt x="5637148" y="705240"/>
                  </a:lnTo>
                  <a:lnTo>
                    <a:pt x="5618084" y="667118"/>
                  </a:lnTo>
                  <a:lnTo>
                    <a:pt x="5599024" y="581347"/>
                  </a:lnTo>
                  <a:lnTo>
                    <a:pt x="5646676" y="562286"/>
                  </a:lnTo>
                  <a:lnTo>
                    <a:pt x="5708624" y="586112"/>
                  </a:lnTo>
                  <a:lnTo>
                    <a:pt x="5746744" y="500339"/>
                  </a:lnTo>
                  <a:lnTo>
                    <a:pt x="5794396" y="462219"/>
                  </a:lnTo>
                  <a:lnTo>
                    <a:pt x="5837280" y="371681"/>
                  </a:lnTo>
                  <a:lnTo>
                    <a:pt x="5851576" y="338325"/>
                  </a:lnTo>
                  <a:lnTo>
                    <a:pt x="5894464" y="343089"/>
                  </a:lnTo>
                  <a:lnTo>
                    <a:pt x="5908760" y="338325"/>
                  </a:lnTo>
                  <a:close/>
                  <a:moveTo>
                    <a:pt x="6742656" y="147719"/>
                  </a:moveTo>
                  <a:lnTo>
                    <a:pt x="6885608" y="181076"/>
                  </a:lnTo>
                  <a:lnTo>
                    <a:pt x="6895140" y="209667"/>
                  </a:lnTo>
                  <a:lnTo>
                    <a:pt x="6899904" y="223962"/>
                  </a:lnTo>
                  <a:lnTo>
                    <a:pt x="6876080" y="266848"/>
                  </a:lnTo>
                  <a:lnTo>
                    <a:pt x="6857016" y="281144"/>
                  </a:lnTo>
                  <a:lnTo>
                    <a:pt x="6756952" y="266848"/>
                  </a:lnTo>
                  <a:lnTo>
                    <a:pt x="6709300" y="238258"/>
                  </a:lnTo>
                  <a:lnTo>
                    <a:pt x="6704532" y="223962"/>
                  </a:lnTo>
                  <a:lnTo>
                    <a:pt x="6699768" y="214432"/>
                  </a:lnTo>
                  <a:lnTo>
                    <a:pt x="6637824" y="190606"/>
                  </a:lnTo>
                  <a:lnTo>
                    <a:pt x="6666412" y="162016"/>
                  </a:lnTo>
                  <a:close/>
                  <a:moveTo>
                    <a:pt x="6194664" y="0"/>
                  </a:moveTo>
                  <a:lnTo>
                    <a:pt x="6213728" y="33356"/>
                  </a:lnTo>
                  <a:lnTo>
                    <a:pt x="6208960" y="81008"/>
                  </a:lnTo>
                  <a:lnTo>
                    <a:pt x="6208960" y="104834"/>
                  </a:lnTo>
                  <a:lnTo>
                    <a:pt x="6042180" y="152486"/>
                  </a:lnTo>
                  <a:lnTo>
                    <a:pt x="5989764" y="171546"/>
                  </a:lnTo>
                  <a:lnTo>
                    <a:pt x="5985000" y="157250"/>
                  </a:lnTo>
                  <a:lnTo>
                    <a:pt x="5980236" y="142955"/>
                  </a:lnTo>
                  <a:lnTo>
                    <a:pt x="5985000" y="114364"/>
                  </a:lnTo>
                  <a:lnTo>
                    <a:pt x="5994532" y="61948"/>
                  </a:lnTo>
                  <a:lnTo>
                    <a:pt x="6018356" y="2859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19" name="Google Shape;4986;p64">
              <a:extLst>
                <a:ext uri="{FF2B5EF4-FFF2-40B4-BE49-F238E27FC236}">
                  <a16:creationId xmlns:a16="http://schemas.microsoft.com/office/drawing/2014/main" id="{5DF5282A-504F-3630-CA11-70AB992033CD}"/>
                </a:ext>
              </a:extLst>
            </p:cNvPr>
            <p:cNvSpPr/>
            <p:nvPr/>
          </p:nvSpPr>
          <p:spPr>
            <a:xfrm>
              <a:off x="4555158" y="3973474"/>
              <a:ext cx="7220" cy="5907"/>
            </a:xfrm>
            <a:custGeom>
              <a:avLst/>
              <a:gdLst/>
              <a:ahLst/>
              <a:cxnLst/>
              <a:rect l="l" t="t" r="r" b="b"/>
              <a:pathLst>
                <a:path w="22" h="18" extrusionOk="0">
                  <a:moveTo>
                    <a:pt x="20" y="12"/>
                  </a:moveTo>
                  <a:lnTo>
                    <a:pt x="20" y="10"/>
                  </a:lnTo>
                  <a:lnTo>
                    <a:pt x="22" y="8"/>
                  </a:lnTo>
                  <a:lnTo>
                    <a:pt x="22" y="6"/>
                  </a:lnTo>
                  <a:lnTo>
                    <a:pt x="20" y="4"/>
                  </a:lnTo>
                  <a:lnTo>
                    <a:pt x="12" y="0"/>
                  </a:lnTo>
                  <a:lnTo>
                    <a:pt x="6" y="0"/>
                  </a:lnTo>
                  <a:lnTo>
                    <a:pt x="4" y="2"/>
                  </a:lnTo>
                  <a:lnTo>
                    <a:pt x="2" y="4"/>
                  </a:lnTo>
                  <a:lnTo>
                    <a:pt x="0" y="8"/>
                  </a:lnTo>
                  <a:lnTo>
                    <a:pt x="2" y="10"/>
                  </a:lnTo>
                  <a:lnTo>
                    <a:pt x="2" y="14"/>
                  </a:lnTo>
                  <a:lnTo>
                    <a:pt x="2" y="16"/>
                  </a:lnTo>
                  <a:lnTo>
                    <a:pt x="4" y="18"/>
                  </a:lnTo>
                  <a:lnTo>
                    <a:pt x="6" y="18"/>
                  </a:lnTo>
                  <a:lnTo>
                    <a:pt x="8" y="18"/>
                  </a:lnTo>
                  <a:lnTo>
                    <a:pt x="12" y="16"/>
                  </a:lnTo>
                  <a:lnTo>
                    <a:pt x="18" y="14"/>
                  </a:lnTo>
                  <a:lnTo>
                    <a:pt x="20" y="1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0" name="Google Shape;4987;p64">
              <a:extLst>
                <a:ext uri="{FF2B5EF4-FFF2-40B4-BE49-F238E27FC236}">
                  <a16:creationId xmlns:a16="http://schemas.microsoft.com/office/drawing/2014/main" id="{5848AE74-82ED-BD95-960E-5A025CB95123}"/>
                </a:ext>
              </a:extLst>
            </p:cNvPr>
            <p:cNvSpPr/>
            <p:nvPr/>
          </p:nvSpPr>
          <p:spPr>
            <a:xfrm>
              <a:off x="5107118" y="5631653"/>
              <a:ext cx="49879" cy="50537"/>
            </a:xfrm>
            <a:custGeom>
              <a:avLst/>
              <a:gdLst/>
              <a:ahLst/>
              <a:cxnLst/>
              <a:rect l="l" t="t" r="r" b="b"/>
              <a:pathLst>
                <a:path w="362148" h="366918" extrusionOk="0">
                  <a:moveTo>
                    <a:pt x="238256" y="0"/>
                  </a:moveTo>
                  <a:lnTo>
                    <a:pt x="243020" y="0"/>
                  </a:lnTo>
                  <a:lnTo>
                    <a:pt x="247786" y="0"/>
                  </a:lnTo>
                  <a:lnTo>
                    <a:pt x="252550" y="9532"/>
                  </a:lnTo>
                  <a:lnTo>
                    <a:pt x="257316" y="19062"/>
                  </a:lnTo>
                  <a:lnTo>
                    <a:pt x="276376" y="28592"/>
                  </a:lnTo>
                  <a:lnTo>
                    <a:pt x="281142" y="33356"/>
                  </a:lnTo>
                  <a:lnTo>
                    <a:pt x="295438" y="52418"/>
                  </a:lnTo>
                  <a:lnTo>
                    <a:pt x="314498" y="61948"/>
                  </a:lnTo>
                  <a:lnTo>
                    <a:pt x="328794" y="81008"/>
                  </a:lnTo>
                  <a:lnTo>
                    <a:pt x="343088" y="85774"/>
                  </a:lnTo>
                  <a:lnTo>
                    <a:pt x="352618" y="90538"/>
                  </a:lnTo>
                  <a:lnTo>
                    <a:pt x="357384" y="100068"/>
                  </a:lnTo>
                  <a:lnTo>
                    <a:pt x="362148" y="109598"/>
                  </a:lnTo>
                  <a:lnTo>
                    <a:pt x="362148" y="109600"/>
                  </a:lnTo>
                  <a:lnTo>
                    <a:pt x="362148" y="119130"/>
                  </a:lnTo>
                  <a:lnTo>
                    <a:pt x="362148" y="119132"/>
                  </a:lnTo>
                  <a:lnTo>
                    <a:pt x="362148" y="128660"/>
                  </a:lnTo>
                  <a:lnTo>
                    <a:pt x="362148" y="128662"/>
                  </a:lnTo>
                  <a:lnTo>
                    <a:pt x="357384" y="152488"/>
                  </a:lnTo>
                  <a:lnTo>
                    <a:pt x="347854" y="176312"/>
                  </a:lnTo>
                  <a:lnTo>
                    <a:pt x="343088" y="181078"/>
                  </a:lnTo>
                  <a:lnTo>
                    <a:pt x="333558" y="190608"/>
                  </a:lnTo>
                  <a:lnTo>
                    <a:pt x="324028" y="200138"/>
                  </a:lnTo>
                  <a:lnTo>
                    <a:pt x="324028" y="214432"/>
                  </a:lnTo>
                  <a:lnTo>
                    <a:pt x="324028" y="214434"/>
                  </a:lnTo>
                  <a:lnTo>
                    <a:pt x="319262" y="238260"/>
                  </a:lnTo>
                  <a:lnTo>
                    <a:pt x="309732" y="247790"/>
                  </a:lnTo>
                  <a:lnTo>
                    <a:pt x="300202" y="252554"/>
                  </a:lnTo>
                  <a:lnTo>
                    <a:pt x="285906" y="257320"/>
                  </a:lnTo>
                  <a:lnTo>
                    <a:pt x="262082" y="271616"/>
                  </a:lnTo>
                  <a:lnTo>
                    <a:pt x="247786" y="276380"/>
                  </a:lnTo>
                  <a:lnTo>
                    <a:pt x="238256" y="276380"/>
                  </a:lnTo>
                  <a:lnTo>
                    <a:pt x="223960" y="276380"/>
                  </a:lnTo>
                  <a:lnTo>
                    <a:pt x="214430" y="276380"/>
                  </a:lnTo>
                  <a:lnTo>
                    <a:pt x="209664" y="276380"/>
                  </a:lnTo>
                  <a:lnTo>
                    <a:pt x="195370" y="290676"/>
                  </a:lnTo>
                  <a:lnTo>
                    <a:pt x="176308" y="324032"/>
                  </a:lnTo>
                  <a:lnTo>
                    <a:pt x="166778" y="333562"/>
                  </a:lnTo>
                  <a:lnTo>
                    <a:pt x="166778" y="347856"/>
                  </a:lnTo>
                  <a:lnTo>
                    <a:pt x="166778" y="347858"/>
                  </a:lnTo>
                  <a:lnTo>
                    <a:pt x="162014" y="357388"/>
                  </a:lnTo>
                  <a:lnTo>
                    <a:pt x="157248" y="366918"/>
                  </a:lnTo>
                  <a:lnTo>
                    <a:pt x="147718" y="366918"/>
                  </a:lnTo>
                  <a:lnTo>
                    <a:pt x="133422" y="366918"/>
                  </a:lnTo>
                  <a:lnTo>
                    <a:pt x="109598" y="362152"/>
                  </a:lnTo>
                  <a:lnTo>
                    <a:pt x="95302" y="347858"/>
                  </a:lnTo>
                  <a:lnTo>
                    <a:pt x="81006" y="338328"/>
                  </a:lnTo>
                  <a:lnTo>
                    <a:pt x="76242" y="328796"/>
                  </a:lnTo>
                  <a:lnTo>
                    <a:pt x="71476" y="319266"/>
                  </a:lnTo>
                  <a:lnTo>
                    <a:pt x="66710" y="319266"/>
                  </a:lnTo>
                  <a:lnTo>
                    <a:pt x="57180" y="314502"/>
                  </a:lnTo>
                  <a:lnTo>
                    <a:pt x="52416" y="309736"/>
                  </a:lnTo>
                  <a:lnTo>
                    <a:pt x="47650" y="300206"/>
                  </a:lnTo>
                  <a:lnTo>
                    <a:pt x="42886" y="295442"/>
                  </a:lnTo>
                  <a:lnTo>
                    <a:pt x="42886" y="295440"/>
                  </a:lnTo>
                  <a:lnTo>
                    <a:pt x="47650" y="281146"/>
                  </a:lnTo>
                  <a:lnTo>
                    <a:pt x="38120" y="271616"/>
                  </a:lnTo>
                  <a:lnTo>
                    <a:pt x="28590" y="252554"/>
                  </a:lnTo>
                  <a:lnTo>
                    <a:pt x="19060" y="243024"/>
                  </a:lnTo>
                  <a:lnTo>
                    <a:pt x="9530" y="223964"/>
                  </a:lnTo>
                  <a:lnTo>
                    <a:pt x="4764" y="209668"/>
                  </a:lnTo>
                  <a:lnTo>
                    <a:pt x="0" y="190608"/>
                  </a:lnTo>
                  <a:lnTo>
                    <a:pt x="0" y="190606"/>
                  </a:lnTo>
                  <a:lnTo>
                    <a:pt x="0" y="185844"/>
                  </a:lnTo>
                  <a:lnTo>
                    <a:pt x="0" y="185842"/>
                  </a:lnTo>
                  <a:lnTo>
                    <a:pt x="4764" y="181076"/>
                  </a:lnTo>
                  <a:lnTo>
                    <a:pt x="23824" y="171546"/>
                  </a:lnTo>
                  <a:lnTo>
                    <a:pt x="38120" y="166780"/>
                  </a:lnTo>
                  <a:lnTo>
                    <a:pt x="47650" y="152486"/>
                  </a:lnTo>
                  <a:lnTo>
                    <a:pt x="57180" y="138190"/>
                  </a:lnTo>
                  <a:lnTo>
                    <a:pt x="61946" y="128660"/>
                  </a:lnTo>
                  <a:lnTo>
                    <a:pt x="66710" y="123894"/>
                  </a:lnTo>
                  <a:lnTo>
                    <a:pt x="71476" y="114364"/>
                  </a:lnTo>
                  <a:lnTo>
                    <a:pt x="81006" y="100068"/>
                  </a:lnTo>
                  <a:lnTo>
                    <a:pt x="95302" y="81008"/>
                  </a:lnTo>
                  <a:lnTo>
                    <a:pt x="104832" y="61948"/>
                  </a:lnTo>
                  <a:lnTo>
                    <a:pt x="119128" y="57182"/>
                  </a:lnTo>
                  <a:lnTo>
                    <a:pt x="138188" y="52418"/>
                  </a:lnTo>
                  <a:lnTo>
                    <a:pt x="162014" y="33356"/>
                  </a:lnTo>
                  <a:lnTo>
                    <a:pt x="181074" y="19062"/>
                  </a:lnTo>
                  <a:lnTo>
                    <a:pt x="219196"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1" name="Google Shape;4988;p64">
              <a:extLst>
                <a:ext uri="{FF2B5EF4-FFF2-40B4-BE49-F238E27FC236}">
                  <a16:creationId xmlns:a16="http://schemas.microsoft.com/office/drawing/2014/main" id="{DABD6075-EB8F-D462-7194-1F46C640EA1E}"/>
                </a:ext>
              </a:extLst>
            </p:cNvPr>
            <p:cNvSpPr/>
            <p:nvPr/>
          </p:nvSpPr>
          <p:spPr>
            <a:xfrm>
              <a:off x="5097930" y="3794301"/>
              <a:ext cx="75477" cy="95165"/>
            </a:xfrm>
            <a:custGeom>
              <a:avLst/>
              <a:gdLst/>
              <a:ahLst/>
              <a:cxnLst/>
              <a:rect l="l" t="t" r="r" b="b"/>
              <a:pathLst>
                <a:path w="230" h="290" extrusionOk="0">
                  <a:moveTo>
                    <a:pt x="104" y="290"/>
                  </a:moveTo>
                  <a:lnTo>
                    <a:pt x="108" y="286"/>
                  </a:lnTo>
                  <a:lnTo>
                    <a:pt x="110" y="286"/>
                  </a:lnTo>
                  <a:lnTo>
                    <a:pt x="120" y="284"/>
                  </a:lnTo>
                  <a:lnTo>
                    <a:pt x="122" y="284"/>
                  </a:lnTo>
                  <a:lnTo>
                    <a:pt x="122" y="282"/>
                  </a:lnTo>
                  <a:lnTo>
                    <a:pt x="124" y="278"/>
                  </a:lnTo>
                  <a:lnTo>
                    <a:pt x="124" y="274"/>
                  </a:lnTo>
                  <a:lnTo>
                    <a:pt x="122" y="270"/>
                  </a:lnTo>
                  <a:lnTo>
                    <a:pt x="126" y="264"/>
                  </a:lnTo>
                  <a:lnTo>
                    <a:pt x="134" y="258"/>
                  </a:lnTo>
                  <a:lnTo>
                    <a:pt x="138" y="252"/>
                  </a:lnTo>
                  <a:lnTo>
                    <a:pt x="138" y="244"/>
                  </a:lnTo>
                  <a:lnTo>
                    <a:pt x="146" y="240"/>
                  </a:lnTo>
                  <a:lnTo>
                    <a:pt x="152" y="234"/>
                  </a:lnTo>
                  <a:lnTo>
                    <a:pt x="154" y="226"/>
                  </a:lnTo>
                  <a:lnTo>
                    <a:pt x="156" y="222"/>
                  </a:lnTo>
                  <a:lnTo>
                    <a:pt x="152" y="212"/>
                  </a:lnTo>
                  <a:lnTo>
                    <a:pt x="150" y="204"/>
                  </a:lnTo>
                  <a:lnTo>
                    <a:pt x="150" y="198"/>
                  </a:lnTo>
                  <a:lnTo>
                    <a:pt x="152" y="196"/>
                  </a:lnTo>
                  <a:lnTo>
                    <a:pt x="158" y="192"/>
                  </a:lnTo>
                  <a:lnTo>
                    <a:pt x="164" y="188"/>
                  </a:lnTo>
                  <a:lnTo>
                    <a:pt x="168" y="188"/>
                  </a:lnTo>
                  <a:lnTo>
                    <a:pt x="168" y="190"/>
                  </a:lnTo>
                  <a:lnTo>
                    <a:pt x="168" y="202"/>
                  </a:lnTo>
                  <a:lnTo>
                    <a:pt x="170" y="202"/>
                  </a:lnTo>
                  <a:lnTo>
                    <a:pt x="172" y="202"/>
                  </a:lnTo>
                  <a:lnTo>
                    <a:pt x="176" y="194"/>
                  </a:lnTo>
                  <a:lnTo>
                    <a:pt x="178" y="196"/>
                  </a:lnTo>
                  <a:lnTo>
                    <a:pt x="182" y="198"/>
                  </a:lnTo>
                  <a:lnTo>
                    <a:pt x="184" y="196"/>
                  </a:lnTo>
                  <a:lnTo>
                    <a:pt x="186" y="196"/>
                  </a:lnTo>
                  <a:lnTo>
                    <a:pt x="188" y="198"/>
                  </a:lnTo>
                  <a:lnTo>
                    <a:pt x="192" y="200"/>
                  </a:lnTo>
                  <a:lnTo>
                    <a:pt x="196" y="200"/>
                  </a:lnTo>
                  <a:lnTo>
                    <a:pt x="198" y="198"/>
                  </a:lnTo>
                  <a:lnTo>
                    <a:pt x="202" y="196"/>
                  </a:lnTo>
                  <a:lnTo>
                    <a:pt x="204" y="196"/>
                  </a:lnTo>
                  <a:lnTo>
                    <a:pt x="210" y="206"/>
                  </a:lnTo>
                  <a:lnTo>
                    <a:pt x="212" y="204"/>
                  </a:lnTo>
                  <a:lnTo>
                    <a:pt x="226" y="202"/>
                  </a:lnTo>
                  <a:lnTo>
                    <a:pt x="228" y="200"/>
                  </a:lnTo>
                  <a:lnTo>
                    <a:pt x="230" y="198"/>
                  </a:lnTo>
                  <a:lnTo>
                    <a:pt x="216" y="188"/>
                  </a:lnTo>
                  <a:lnTo>
                    <a:pt x="216" y="180"/>
                  </a:lnTo>
                  <a:lnTo>
                    <a:pt x="218" y="170"/>
                  </a:lnTo>
                  <a:lnTo>
                    <a:pt x="216" y="164"/>
                  </a:lnTo>
                  <a:lnTo>
                    <a:pt x="212" y="160"/>
                  </a:lnTo>
                  <a:lnTo>
                    <a:pt x="202" y="154"/>
                  </a:lnTo>
                  <a:lnTo>
                    <a:pt x="194" y="150"/>
                  </a:lnTo>
                  <a:lnTo>
                    <a:pt x="192" y="146"/>
                  </a:lnTo>
                  <a:lnTo>
                    <a:pt x="192" y="144"/>
                  </a:lnTo>
                  <a:lnTo>
                    <a:pt x="192" y="138"/>
                  </a:lnTo>
                  <a:lnTo>
                    <a:pt x="190" y="134"/>
                  </a:lnTo>
                  <a:lnTo>
                    <a:pt x="188" y="130"/>
                  </a:lnTo>
                  <a:lnTo>
                    <a:pt x="190" y="126"/>
                  </a:lnTo>
                  <a:lnTo>
                    <a:pt x="192" y="120"/>
                  </a:lnTo>
                  <a:lnTo>
                    <a:pt x="190" y="116"/>
                  </a:lnTo>
                  <a:lnTo>
                    <a:pt x="188" y="116"/>
                  </a:lnTo>
                  <a:lnTo>
                    <a:pt x="186" y="114"/>
                  </a:lnTo>
                  <a:lnTo>
                    <a:pt x="180" y="112"/>
                  </a:lnTo>
                  <a:lnTo>
                    <a:pt x="178" y="106"/>
                  </a:lnTo>
                  <a:lnTo>
                    <a:pt x="168" y="100"/>
                  </a:lnTo>
                  <a:lnTo>
                    <a:pt x="166" y="100"/>
                  </a:lnTo>
                  <a:lnTo>
                    <a:pt x="164" y="96"/>
                  </a:lnTo>
                  <a:lnTo>
                    <a:pt x="164" y="92"/>
                  </a:lnTo>
                  <a:lnTo>
                    <a:pt x="166" y="88"/>
                  </a:lnTo>
                  <a:lnTo>
                    <a:pt x="168" y="80"/>
                  </a:lnTo>
                  <a:lnTo>
                    <a:pt x="168" y="72"/>
                  </a:lnTo>
                  <a:lnTo>
                    <a:pt x="170" y="68"/>
                  </a:lnTo>
                  <a:lnTo>
                    <a:pt x="168" y="58"/>
                  </a:lnTo>
                  <a:lnTo>
                    <a:pt x="164" y="50"/>
                  </a:lnTo>
                  <a:lnTo>
                    <a:pt x="162" y="48"/>
                  </a:lnTo>
                  <a:lnTo>
                    <a:pt x="158" y="50"/>
                  </a:lnTo>
                  <a:lnTo>
                    <a:pt x="154" y="52"/>
                  </a:lnTo>
                  <a:lnTo>
                    <a:pt x="150" y="50"/>
                  </a:lnTo>
                  <a:lnTo>
                    <a:pt x="146" y="46"/>
                  </a:lnTo>
                  <a:lnTo>
                    <a:pt x="140" y="34"/>
                  </a:lnTo>
                  <a:lnTo>
                    <a:pt x="130" y="32"/>
                  </a:lnTo>
                  <a:lnTo>
                    <a:pt x="124" y="32"/>
                  </a:lnTo>
                  <a:lnTo>
                    <a:pt x="120" y="38"/>
                  </a:lnTo>
                  <a:lnTo>
                    <a:pt x="118" y="36"/>
                  </a:lnTo>
                  <a:lnTo>
                    <a:pt x="118" y="32"/>
                  </a:lnTo>
                  <a:lnTo>
                    <a:pt x="116" y="30"/>
                  </a:lnTo>
                  <a:lnTo>
                    <a:pt x="112" y="32"/>
                  </a:lnTo>
                  <a:lnTo>
                    <a:pt x="112" y="30"/>
                  </a:lnTo>
                  <a:lnTo>
                    <a:pt x="112" y="26"/>
                  </a:lnTo>
                  <a:lnTo>
                    <a:pt x="108" y="22"/>
                  </a:lnTo>
                  <a:lnTo>
                    <a:pt x="100" y="22"/>
                  </a:lnTo>
                  <a:lnTo>
                    <a:pt x="96" y="22"/>
                  </a:lnTo>
                  <a:lnTo>
                    <a:pt x="94" y="18"/>
                  </a:lnTo>
                  <a:lnTo>
                    <a:pt x="92" y="14"/>
                  </a:lnTo>
                  <a:lnTo>
                    <a:pt x="88" y="14"/>
                  </a:lnTo>
                  <a:lnTo>
                    <a:pt x="82" y="10"/>
                  </a:lnTo>
                  <a:lnTo>
                    <a:pt x="78" y="6"/>
                  </a:lnTo>
                  <a:lnTo>
                    <a:pt x="70" y="2"/>
                  </a:lnTo>
                  <a:lnTo>
                    <a:pt x="62" y="0"/>
                  </a:lnTo>
                  <a:lnTo>
                    <a:pt x="60" y="0"/>
                  </a:lnTo>
                  <a:lnTo>
                    <a:pt x="60" y="0"/>
                  </a:lnTo>
                  <a:lnTo>
                    <a:pt x="54" y="2"/>
                  </a:lnTo>
                  <a:lnTo>
                    <a:pt x="50" y="6"/>
                  </a:lnTo>
                  <a:lnTo>
                    <a:pt x="46" y="4"/>
                  </a:lnTo>
                  <a:lnTo>
                    <a:pt x="38" y="10"/>
                  </a:lnTo>
                  <a:lnTo>
                    <a:pt x="24" y="10"/>
                  </a:lnTo>
                  <a:lnTo>
                    <a:pt x="18" y="10"/>
                  </a:lnTo>
                  <a:lnTo>
                    <a:pt x="14" y="8"/>
                  </a:lnTo>
                  <a:lnTo>
                    <a:pt x="0" y="18"/>
                  </a:lnTo>
                  <a:lnTo>
                    <a:pt x="0" y="20"/>
                  </a:lnTo>
                  <a:lnTo>
                    <a:pt x="6" y="20"/>
                  </a:lnTo>
                  <a:lnTo>
                    <a:pt x="10" y="22"/>
                  </a:lnTo>
                  <a:lnTo>
                    <a:pt x="18" y="26"/>
                  </a:lnTo>
                  <a:lnTo>
                    <a:pt x="22" y="30"/>
                  </a:lnTo>
                  <a:lnTo>
                    <a:pt x="26" y="36"/>
                  </a:lnTo>
                  <a:lnTo>
                    <a:pt x="30" y="42"/>
                  </a:lnTo>
                  <a:lnTo>
                    <a:pt x="34" y="50"/>
                  </a:lnTo>
                  <a:lnTo>
                    <a:pt x="40" y="62"/>
                  </a:lnTo>
                  <a:lnTo>
                    <a:pt x="40" y="68"/>
                  </a:lnTo>
                  <a:lnTo>
                    <a:pt x="42" y="74"/>
                  </a:lnTo>
                  <a:lnTo>
                    <a:pt x="46" y="82"/>
                  </a:lnTo>
                  <a:lnTo>
                    <a:pt x="54" y="90"/>
                  </a:lnTo>
                  <a:lnTo>
                    <a:pt x="54" y="92"/>
                  </a:lnTo>
                  <a:lnTo>
                    <a:pt x="58" y="98"/>
                  </a:lnTo>
                  <a:lnTo>
                    <a:pt x="64" y="110"/>
                  </a:lnTo>
                  <a:lnTo>
                    <a:pt x="70" y="116"/>
                  </a:lnTo>
                  <a:lnTo>
                    <a:pt x="74" y="122"/>
                  </a:lnTo>
                  <a:lnTo>
                    <a:pt x="76" y="128"/>
                  </a:lnTo>
                  <a:lnTo>
                    <a:pt x="80" y="132"/>
                  </a:lnTo>
                  <a:lnTo>
                    <a:pt x="88" y="140"/>
                  </a:lnTo>
                  <a:lnTo>
                    <a:pt x="94" y="146"/>
                  </a:lnTo>
                  <a:lnTo>
                    <a:pt x="100" y="164"/>
                  </a:lnTo>
                  <a:lnTo>
                    <a:pt x="104" y="172"/>
                  </a:lnTo>
                  <a:lnTo>
                    <a:pt x="106" y="178"/>
                  </a:lnTo>
                  <a:lnTo>
                    <a:pt x="104" y="190"/>
                  </a:lnTo>
                  <a:lnTo>
                    <a:pt x="106" y="196"/>
                  </a:lnTo>
                  <a:lnTo>
                    <a:pt x="102" y="206"/>
                  </a:lnTo>
                  <a:lnTo>
                    <a:pt x="98" y="226"/>
                  </a:lnTo>
                  <a:lnTo>
                    <a:pt x="96" y="240"/>
                  </a:lnTo>
                  <a:lnTo>
                    <a:pt x="98" y="250"/>
                  </a:lnTo>
                  <a:lnTo>
                    <a:pt x="98" y="254"/>
                  </a:lnTo>
                  <a:lnTo>
                    <a:pt x="98" y="258"/>
                  </a:lnTo>
                  <a:lnTo>
                    <a:pt x="100" y="266"/>
                  </a:lnTo>
                  <a:lnTo>
                    <a:pt x="100" y="272"/>
                  </a:lnTo>
                  <a:lnTo>
                    <a:pt x="98" y="274"/>
                  </a:lnTo>
                  <a:lnTo>
                    <a:pt x="96" y="274"/>
                  </a:lnTo>
                  <a:lnTo>
                    <a:pt x="94" y="276"/>
                  </a:lnTo>
                  <a:lnTo>
                    <a:pt x="98" y="278"/>
                  </a:lnTo>
                  <a:lnTo>
                    <a:pt x="100" y="284"/>
                  </a:lnTo>
                  <a:lnTo>
                    <a:pt x="104" y="290"/>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2" name="Google Shape;4989;p64">
              <a:extLst>
                <a:ext uri="{FF2B5EF4-FFF2-40B4-BE49-F238E27FC236}">
                  <a16:creationId xmlns:a16="http://schemas.microsoft.com/office/drawing/2014/main" id="{23C5980C-6BC3-A5B8-F8D1-C6131145B942}"/>
                </a:ext>
              </a:extLst>
            </p:cNvPr>
            <p:cNvSpPr/>
            <p:nvPr/>
          </p:nvSpPr>
          <p:spPr>
            <a:xfrm>
              <a:off x="6472908" y="4480150"/>
              <a:ext cx="2625" cy="2625"/>
            </a:xfrm>
            <a:custGeom>
              <a:avLst/>
              <a:gdLst/>
              <a:ahLst/>
              <a:cxnLst/>
              <a:rect l="l" t="t" r="r" b="b"/>
              <a:pathLst>
                <a:path w="8" h="8" extrusionOk="0">
                  <a:moveTo>
                    <a:pt x="6" y="6"/>
                  </a:moveTo>
                  <a:lnTo>
                    <a:pt x="2" y="0"/>
                  </a:lnTo>
                  <a:lnTo>
                    <a:pt x="0" y="2"/>
                  </a:lnTo>
                  <a:lnTo>
                    <a:pt x="2" y="4"/>
                  </a:lnTo>
                  <a:lnTo>
                    <a:pt x="4" y="6"/>
                  </a:lnTo>
                  <a:lnTo>
                    <a:pt x="8" y="8"/>
                  </a:lnTo>
                  <a:lnTo>
                    <a:pt x="6" y="6"/>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3" name="Google Shape;4990;p64">
              <a:extLst>
                <a:ext uri="{FF2B5EF4-FFF2-40B4-BE49-F238E27FC236}">
                  <a16:creationId xmlns:a16="http://schemas.microsoft.com/office/drawing/2014/main" id="{49EFF614-FE3F-7104-84DA-647E5FDB2651}"/>
                </a:ext>
              </a:extLst>
            </p:cNvPr>
            <p:cNvSpPr/>
            <p:nvPr/>
          </p:nvSpPr>
          <p:spPr>
            <a:xfrm>
              <a:off x="6418435" y="4396141"/>
              <a:ext cx="99103" cy="135857"/>
            </a:xfrm>
            <a:custGeom>
              <a:avLst/>
              <a:gdLst/>
              <a:ahLst/>
              <a:cxnLst/>
              <a:rect l="l" t="t" r="r" b="b"/>
              <a:pathLst>
                <a:path w="719532" h="986380" extrusionOk="0">
                  <a:moveTo>
                    <a:pt x="600404" y="833896"/>
                  </a:moveTo>
                  <a:lnTo>
                    <a:pt x="609936" y="833896"/>
                  </a:lnTo>
                  <a:lnTo>
                    <a:pt x="614700" y="833896"/>
                  </a:lnTo>
                  <a:lnTo>
                    <a:pt x="614700" y="838662"/>
                  </a:lnTo>
                  <a:lnTo>
                    <a:pt x="614700" y="852956"/>
                  </a:lnTo>
                  <a:lnTo>
                    <a:pt x="614700" y="867252"/>
                  </a:lnTo>
                  <a:lnTo>
                    <a:pt x="605168" y="867252"/>
                  </a:lnTo>
                  <a:lnTo>
                    <a:pt x="600404" y="862486"/>
                  </a:lnTo>
                  <a:lnTo>
                    <a:pt x="605168" y="857722"/>
                  </a:lnTo>
                  <a:close/>
                  <a:moveTo>
                    <a:pt x="600404" y="795776"/>
                  </a:moveTo>
                  <a:lnTo>
                    <a:pt x="605168" y="805306"/>
                  </a:lnTo>
                  <a:lnTo>
                    <a:pt x="605168" y="814836"/>
                  </a:lnTo>
                  <a:lnTo>
                    <a:pt x="595640" y="829132"/>
                  </a:lnTo>
                  <a:lnTo>
                    <a:pt x="595640" y="814836"/>
                  </a:lnTo>
                  <a:lnTo>
                    <a:pt x="595640" y="805306"/>
                  </a:lnTo>
                  <a:close/>
                  <a:moveTo>
                    <a:pt x="476512" y="695708"/>
                  </a:moveTo>
                  <a:lnTo>
                    <a:pt x="490808" y="724298"/>
                  </a:lnTo>
                  <a:lnTo>
                    <a:pt x="495572" y="738594"/>
                  </a:lnTo>
                  <a:lnTo>
                    <a:pt x="490808" y="757654"/>
                  </a:lnTo>
                  <a:lnTo>
                    <a:pt x="471748" y="767184"/>
                  </a:lnTo>
                  <a:close/>
                  <a:moveTo>
                    <a:pt x="533692" y="681412"/>
                  </a:moveTo>
                  <a:lnTo>
                    <a:pt x="538460" y="681412"/>
                  </a:lnTo>
                  <a:lnTo>
                    <a:pt x="543224" y="686178"/>
                  </a:lnTo>
                  <a:lnTo>
                    <a:pt x="547988" y="700472"/>
                  </a:lnTo>
                  <a:lnTo>
                    <a:pt x="552752" y="714768"/>
                  </a:lnTo>
                  <a:lnTo>
                    <a:pt x="552752" y="719532"/>
                  </a:lnTo>
                  <a:lnTo>
                    <a:pt x="547988" y="724298"/>
                  </a:lnTo>
                  <a:lnTo>
                    <a:pt x="538460" y="719532"/>
                  </a:lnTo>
                  <a:lnTo>
                    <a:pt x="528928" y="705238"/>
                  </a:lnTo>
                  <a:close/>
                  <a:moveTo>
                    <a:pt x="405036" y="638526"/>
                  </a:moveTo>
                  <a:lnTo>
                    <a:pt x="414564" y="648056"/>
                  </a:lnTo>
                  <a:lnTo>
                    <a:pt x="419332" y="652822"/>
                  </a:lnTo>
                  <a:lnTo>
                    <a:pt x="419332" y="662352"/>
                  </a:lnTo>
                  <a:lnTo>
                    <a:pt x="424096" y="676648"/>
                  </a:lnTo>
                  <a:lnTo>
                    <a:pt x="447920" y="705238"/>
                  </a:lnTo>
                  <a:lnTo>
                    <a:pt x="447920" y="719534"/>
                  </a:lnTo>
                  <a:lnTo>
                    <a:pt x="438392" y="757654"/>
                  </a:lnTo>
                  <a:lnTo>
                    <a:pt x="433628" y="771950"/>
                  </a:lnTo>
                  <a:lnTo>
                    <a:pt x="405036" y="776716"/>
                  </a:lnTo>
                  <a:lnTo>
                    <a:pt x="390740" y="771950"/>
                  </a:lnTo>
                  <a:lnTo>
                    <a:pt x="414564" y="729064"/>
                  </a:lnTo>
                  <a:lnTo>
                    <a:pt x="414564" y="710004"/>
                  </a:lnTo>
                  <a:lnTo>
                    <a:pt x="409800" y="695708"/>
                  </a:lnTo>
                  <a:lnTo>
                    <a:pt x="400272" y="681412"/>
                  </a:lnTo>
                  <a:lnTo>
                    <a:pt x="395504" y="671882"/>
                  </a:lnTo>
                  <a:lnTo>
                    <a:pt x="390740" y="657586"/>
                  </a:lnTo>
                  <a:lnTo>
                    <a:pt x="390740" y="643292"/>
                  </a:lnTo>
                  <a:close/>
                  <a:moveTo>
                    <a:pt x="400272" y="609936"/>
                  </a:moveTo>
                  <a:lnTo>
                    <a:pt x="409800" y="624230"/>
                  </a:lnTo>
                  <a:lnTo>
                    <a:pt x="414568" y="628996"/>
                  </a:lnTo>
                  <a:lnTo>
                    <a:pt x="405036" y="624230"/>
                  </a:lnTo>
                  <a:lnTo>
                    <a:pt x="400272" y="619466"/>
                  </a:lnTo>
                  <a:lnTo>
                    <a:pt x="395504" y="614700"/>
                  </a:lnTo>
                  <a:close/>
                  <a:moveTo>
                    <a:pt x="61944" y="0"/>
                  </a:moveTo>
                  <a:lnTo>
                    <a:pt x="81008" y="9530"/>
                  </a:lnTo>
                  <a:lnTo>
                    <a:pt x="95300" y="23824"/>
                  </a:lnTo>
                  <a:lnTo>
                    <a:pt x="104832" y="38120"/>
                  </a:lnTo>
                  <a:lnTo>
                    <a:pt x="104832" y="52416"/>
                  </a:lnTo>
                  <a:lnTo>
                    <a:pt x="109596" y="52416"/>
                  </a:lnTo>
                  <a:lnTo>
                    <a:pt x="119128" y="52416"/>
                  </a:lnTo>
                  <a:lnTo>
                    <a:pt x="128656" y="57180"/>
                  </a:lnTo>
                  <a:lnTo>
                    <a:pt x="138188" y="57180"/>
                  </a:lnTo>
                  <a:lnTo>
                    <a:pt x="142952" y="57180"/>
                  </a:lnTo>
                  <a:lnTo>
                    <a:pt x="147716" y="57180"/>
                  </a:lnTo>
                  <a:lnTo>
                    <a:pt x="152484" y="52416"/>
                  </a:lnTo>
                  <a:lnTo>
                    <a:pt x="147716" y="42886"/>
                  </a:lnTo>
                  <a:lnTo>
                    <a:pt x="142952" y="33354"/>
                  </a:lnTo>
                  <a:lnTo>
                    <a:pt x="147716" y="28590"/>
                  </a:lnTo>
                  <a:lnTo>
                    <a:pt x="152484" y="28590"/>
                  </a:lnTo>
                  <a:lnTo>
                    <a:pt x="157248" y="28590"/>
                  </a:lnTo>
                  <a:lnTo>
                    <a:pt x="166780" y="33354"/>
                  </a:lnTo>
                  <a:lnTo>
                    <a:pt x="171544" y="47650"/>
                  </a:lnTo>
                  <a:lnTo>
                    <a:pt x="171544" y="66710"/>
                  </a:lnTo>
                  <a:lnTo>
                    <a:pt x="181072" y="81006"/>
                  </a:lnTo>
                  <a:lnTo>
                    <a:pt x="200136" y="95302"/>
                  </a:lnTo>
                  <a:lnTo>
                    <a:pt x="214428" y="100066"/>
                  </a:lnTo>
                  <a:lnTo>
                    <a:pt x="228724" y="104832"/>
                  </a:lnTo>
                  <a:lnTo>
                    <a:pt x="238256" y="100066"/>
                  </a:lnTo>
                  <a:lnTo>
                    <a:pt x="247784" y="90536"/>
                  </a:lnTo>
                  <a:lnTo>
                    <a:pt x="243020" y="76242"/>
                  </a:lnTo>
                  <a:lnTo>
                    <a:pt x="247784" y="66710"/>
                  </a:lnTo>
                  <a:lnTo>
                    <a:pt x="252552" y="61946"/>
                  </a:lnTo>
                  <a:lnTo>
                    <a:pt x="257316" y="61946"/>
                  </a:lnTo>
                  <a:lnTo>
                    <a:pt x="266848" y="71476"/>
                  </a:lnTo>
                  <a:lnTo>
                    <a:pt x="281140" y="109596"/>
                  </a:lnTo>
                  <a:lnTo>
                    <a:pt x="281140" y="128658"/>
                  </a:lnTo>
                  <a:lnTo>
                    <a:pt x="281140" y="176308"/>
                  </a:lnTo>
                  <a:lnTo>
                    <a:pt x="276376" y="209664"/>
                  </a:lnTo>
                  <a:lnTo>
                    <a:pt x="281140" y="214430"/>
                  </a:lnTo>
                  <a:lnTo>
                    <a:pt x="281140" y="219194"/>
                  </a:lnTo>
                  <a:lnTo>
                    <a:pt x="285908" y="223960"/>
                  </a:lnTo>
                  <a:lnTo>
                    <a:pt x="290672" y="223960"/>
                  </a:lnTo>
                  <a:lnTo>
                    <a:pt x="309732" y="228726"/>
                  </a:lnTo>
                  <a:lnTo>
                    <a:pt x="328792" y="238256"/>
                  </a:lnTo>
                  <a:lnTo>
                    <a:pt x="347852" y="243020"/>
                  </a:lnTo>
                  <a:lnTo>
                    <a:pt x="381208" y="247786"/>
                  </a:lnTo>
                  <a:lnTo>
                    <a:pt x="395504" y="243020"/>
                  </a:lnTo>
                  <a:lnTo>
                    <a:pt x="405036" y="243020"/>
                  </a:lnTo>
                  <a:lnTo>
                    <a:pt x="424096" y="247786"/>
                  </a:lnTo>
                  <a:lnTo>
                    <a:pt x="471748" y="243020"/>
                  </a:lnTo>
                  <a:lnTo>
                    <a:pt x="514632" y="243020"/>
                  </a:lnTo>
                  <a:lnTo>
                    <a:pt x="528928" y="247786"/>
                  </a:lnTo>
                  <a:lnTo>
                    <a:pt x="543224" y="247786"/>
                  </a:lnTo>
                  <a:lnTo>
                    <a:pt x="586108" y="247786"/>
                  </a:lnTo>
                  <a:lnTo>
                    <a:pt x="628996" y="243020"/>
                  </a:lnTo>
                  <a:lnTo>
                    <a:pt x="652820" y="252550"/>
                  </a:lnTo>
                  <a:lnTo>
                    <a:pt x="681412" y="271612"/>
                  </a:lnTo>
                  <a:lnTo>
                    <a:pt x="695708" y="285906"/>
                  </a:lnTo>
                  <a:lnTo>
                    <a:pt x="700472" y="290672"/>
                  </a:lnTo>
                  <a:lnTo>
                    <a:pt x="695708" y="295436"/>
                  </a:lnTo>
                  <a:lnTo>
                    <a:pt x="690944" y="300202"/>
                  </a:lnTo>
                  <a:lnTo>
                    <a:pt x="681412" y="300202"/>
                  </a:lnTo>
                  <a:lnTo>
                    <a:pt x="662352" y="290672"/>
                  </a:lnTo>
                  <a:lnTo>
                    <a:pt x="657588" y="295436"/>
                  </a:lnTo>
                  <a:lnTo>
                    <a:pt x="657588" y="309732"/>
                  </a:lnTo>
                  <a:lnTo>
                    <a:pt x="657588" y="314498"/>
                  </a:lnTo>
                  <a:lnTo>
                    <a:pt x="652820" y="328792"/>
                  </a:lnTo>
                  <a:lnTo>
                    <a:pt x="643292" y="362148"/>
                  </a:lnTo>
                  <a:lnTo>
                    <a:pt x="638524" y="376444"/>
                  </a:lnTo>
                  <a:lnTo>
                    <a:pt x="633760" y="381210"/>
                  </a:lnTo>
                  <a:lnTo>
                    <a:pt x="624232" y="381210"/>
                  </a:lnTo>
                  <a:lnTo>
                    <a:pt x="614700" y="385974"/>
                  </a:lnTo>
                  <a:lnTo>
                    <a:pt x="609936" y="390740"/>
                  </a:lnTo>
                  <a:lnTo>
                    <a:pt x="605168" y="400270"/>
                  </a:lnTo>
                  <a:lnTo>
                    <a:pt x="605168" y="409800"/>
                  </a:lnTo>
                  <a:lnTo>
                    <a:pt x="600404" y="414564"/>
                  </a:lnTo>
                  <a:lnTo>
                    <a:pt x="586108" y="409800"/>
                  </a:lnTo>
                  <a:lnTo>
                    <a:pt x="581344" y="409800"/>
                  </a:lnTo>
                  <a:lnTo>
                    <a:pt x="571816" y="414564"/>
                  </a:lnTo>
                  <a:lnTo>
                    <a:pt x="562284" y="419330"/>
                  </a:lnTo>
                  <a:lnTo>
                    <a:pt x="557520" y="428860"/>
                  </a:lnTo>
                  <a:lnTo>
                    <a:pt x="547988" y="428860"/>
                  </a:lnTo>
                  <a:lnTo>
                    <a:pt x="528928" y="428860"/>
                  </a:lnTo>
                  <a:lnTo>
                    <a:pt x="524164" y="428860"/>
                  </a:lnTo>
                  <a:lnTo>
                    <a:pt x="519396" y="433626"/>
                  </a:lnTo>
                  <a:lnTo>
                    <a:pt x="519396" y="443156"/>
                  </a:lnTo>
                  <a:lnTo>
                    <a:pt x="500336" y="457452"/>
                  </a:lnTo>
                  <a:lnTo>
                    <a:pt x="495572" y="486042"/>
                  </a:lnTo>
                  <a:lnTo>
                    <a:pt x="490808" y="505102"/>
                  </a:lnTo>
                  <a:lnTo>
                    <a:pt x="490808" y="519398"/>
                  </a:lnTo>
                  <a:lnTo>
                    <a:pt x="505104" y="552754"/>
                  </a:lnTo>
                  <a:lnTo>
                    <a:pt x="514632" y="600404"/>
                  </a:lnTo>
                  <a:lnTo>
                    <a:pt x="519396" y="600404"/>
                  </a:lnTo>
                  <a:lnTo>
                    <a:pt x="524164" y="605170"/>
                  </a:lnTo>
                  <a:lnTo>
                    <a:pt x="524164" y="595640"/>
                  </a:lnTo>
                  <a:lnTo>
                    <a:pt x="524164" y="581344"/>
                  </a:lnTo>
                  <a:lnTo>
                    <a:pt x="528928" y="581344"/>
                  </a:lnTo>
                  <a:lnTo>
                    <a:pt x="533692" y="581344"/>
                  </a:lnTo>
                  <a:lnTo>
                    <a:pt x="538460" y="590874"/>
                  </a:lnTo>
                  <a:lnTo>
                    <a:pt x="547988" y="609936"/>
                  </a:lnTo>
                  <a:lnTo>
                    <a:pt x="552752" y="619466"/>
                  </a:lnTo>
                  <a:lnTo>
                    <a:pt x="562284" y="619466"/>
                  </a:lnTo>
                  <a:lnTo>
                    <a:pt x="576580" y="614700"/>
                  </a:lnTo>
                  <a:lnTo>
                    <a:pt x="581344" y="605170"/>
                  </a:lnTo>
                  <a:lnTo>
                    <a:pt x="586108" y="595640"/>
                  </a:lnTo>
                  <a:lnTo>
                    <a:pt x="586108" y="581344"/>
                  </a:lnTo>
                  <a:lnTo>
                    <a:pt x="586108" y="567048"/>
                  </a:lnTo>
                  <a:lnTo>
                    <a:pt x="590876" y="552754"/>
                  </a:lnTo>
                  <a:lnTo>
                    <a:pt x="609936" y="533694"/>
                  </a:lnTo>
                  <a:lnTo>
                    <a:pt x="614700" y="528928"/>
                  </a:lnTo>
                  <a:lnTo>
                    <a:pt x="609936" y="514632"/>
                  </a:lnTo>
                  <a:lnTo>
                    <a:pt x="609936" y="500338"/>
                  </a:lnTo>
                  <a:lnTo>
                    <a:pt x="619464" y="500338"/>
                  </a:lnTo>
                  <a:lnTo>
                    <a:pt x="628996" y="500338"/>
                  </a:lnTo>
                  <a:lnTo>
                    <a:pt x="643292" y="495572"/>
                  </a:lnTo>
                  <a:lnTo>
                    <a:pt x="648056" y="495572"/>
                  </a:lnTo>
                  <a:lnTo>
                    <a:pt x="652820" y="500338"/>
                  </a:lnTo>
                  <a:lnTo>
                    <a:pt x="662352" y="500338"/>
                  </a:lnTo>
                  <a:lnTo>
                    <a:pt x="667116" y="533694"/>
                  </a:lnTo>
                  <a:lnTo>
                    <a:pt x="676648" y="562284"/>
                  </a:lnTo>
                  <a:lnTo>
                    <a:pt x="676648" y="576580"/>
                  </a:lnTo>
                  <a:lnTo>
                    <a:pt x="676648" y="605170"/>
                  </a:lnTo>
                  <a:lnTo>
                    <a:pt x="681412" y="628996"/>
                  </a:lnTo>
                  <a:lnTo>
                    <a:pt x="686176" y="633760"/>
                  </a:lnTo>
                  <a:lnTo>
                    <a:pt x="690944" y="648056"/>
                  </a:lnTo>
                  <a:lnTo>
                    <a:pt x="695708" y="662352"/>
                  </a:lnTo>
                  <a:lnTo>
                    <a:pt x="700472" y="671882"/>
                  </a:lnTo>
                  <a:lnTo>
                    <a:pt x="700472" y="695708"/>
                  </a:lnTo>
                  <a:lnTo>
                    <a:pt x="705236" y="714768"/>
                  </a:lnTo>
                  <a:lnTo>
                    <a:pt x="710004" y="776714"/>
                  </a:lnTo>
                  <a:lnTo>
                    <a:pt x="714768" y="791010"/>
                  </a:lnTo>
                  <a:lnTo>
                    <a:pt x="714768" y="795776"/>
                  </a:lnTo>
                  <a:lnTo>
                    <a:pt x="714768" y="852956"/>
                  </a:lnTo>
                  <a:lnTo>
                    <a:pt x="714768" y="876782"/>
                  </a:lnTo>
                  <a:lnTo>
                    <a:pt x="719532" y="895842"/>
                  </a:lnTo>
                  <a:lnTo>
                    <a:pt x="719532" y="900608"/>
                  </a:lnTo>
                  <a:lnTo>
                    <a:pt x="714768" y="910138"/>
                  </a:lnTo>
                  <a:lnTo>
                    <a:pt x="710004" y="910138"/>
                  </a:lnTo>
                  <a:lnTo>
                    <a:pt x="705236" y="900608"/>
                  </a:lnTo>
                  <a:lnTo>
                    <a:pt x="695708" y="891078"/>
                  </a:lnTo>
                  <a:lnTo>
                    <a:pt x="681412" y="881548"/>
                  </a:lnTo>
                  <a:lnTo>
                    <a:pt x="671880" y="876782"/>
                  </a:lnTo>
                  <a:lnTo>
                    <a:pt x="667116" y="881548"/>
                  </a:lnTo>
                  <a:lnTo>
                    <a:pt x="652820" y="891078"/>
                  </a:lnTo>
                  <a:lnTo>
                    <a:pt x="652820" y="905372"/>
                  </a:lnTo>
                  <a:lnTo>
                    <a:pt x="652820" y="919668"/>
                  </a:lnTo>
                  <a:lnTo>
                    <a:pt x="657588" y="933964"/>
                  </a:lnTo>
                  <a:lnTo>
                    <a:pt x="662352" y="943494"/>
                  </a:lnTo>
                  <a:lnTo>
                    <a:pt x="667116" y="953024"/>
                  </a:lnTo>
                  <a:lnTo>
                    <a:pt x="667116" y="962554"/>
                  </a:lnTo>
                  <a:lnTo>
                    <a:pt x="671880" y="976850"/>
                  </a:lnTo>
                  <a:lnTo>
                    <a:pt x="671880" y="986380"/>
                  </a:lnTo>
                  <a:lnTo>
                    <a:pt x="662352" y="972084"/>
                  </a:lnTo>
                  <a:lnTo>
                    <a:pt x="652820" y="953024"/>
                  </a:lnTo>
                  <a:lnTo>
                    <a:pt x="633760" y="924434"/>
                  </a:lnTo>
                  <a:lnTo>
                    <a:pt x="624232" y="867252"/>
                  </a:lnTo>
                  <a:lnTo>
                    <a:pt x="624232" y="838662"/>
                  </a:lnTo>
                  <a:lnTo>
                    <a:pt x="609936" y="805306"/>
                  </a:lnTo>
                  <a:lnTo>
                    <a:pt x="600404" y="757654"/>
                  </a:lnTo>
                  <a:lnTo>
                    <a:pt x="595640" y="748124"/>
                  </a:lnTo>
                  <a:lnTo>
                    <a:pt x="600404" y="733828"/>
                  </a:lnTo>
                  <a:lnTo>
                    <a:pt x="600404" y="729064"/>
                  </a:lnTo>
                  <a:lnTo>
                    <a:pt x="590876" y="733828"/>
                  </a:lnTo>
                  <a:lnTo>
                    <a:pt x="581344" y="714768"/>
                  </a:lnTo>
                  <a:lnTo>
                    <a:pt x="576580" y="700472"/>
                  </a:lnTo>
                  <a:lnTo>
                    <a:pt x="547988" y="667116"/>
                  </a:lnTo>
                  <a:lnTo>
                    <a:pt x="543224" y="652822"/>
                  </a:lnTo>
                  <a:lnTo>
                    <a:pt x="543224" y="633760"/>
                  </a:lnTo>
                  <a:lnTo>
                    <a:pt x="528928" y="652822"/>
                  </a:lnTo>
                  <a:lnTo>
                    <a:pt x="514632" y="662352"/>
                  </a:lnTo>
                  <a:lnTo>
                    <a:pt x="500336" y="676646"/>
                  </a:lnTo>
                  <a:lnTo>
                    <a:pt x="490808" y="681412"/>
                  </a:lnTo>
                  <a:lnTo>
                    <a:pt x="457452" y="686178"/>
                  </a:lnTo>
                  <a:lnTo>
                    <a:pt x="438392" y="662352"/>
                  </a:lnTo>
                  <a:lnTo>
                    <a:pt x="414564" y="609936"/>
                  </a:lnTo>
                  <a:lnTo>
                    <a:pt x="409800" y="600404"/>
                  </a:lnTo>
                  <a:lnTo>
                    <a:pt x="414564" y="567048"/>
                  </a:lnTo>
                  <a:lnTo>
                    <a:pt x="405036" y="538458"/>
                  </a:lnTo>
                  <a:lnTo>
                    <a:pt x="405036" y="524162"/>
                  </a:lnTo>
                  <a:lnTo>
                    <a:pt x="405036" y="514632"/>
                  </a:lnTo>
                  <a:lnTo>
                    <a:pt x="400268" y="519398"/>
                  </a:lnTo>
                  <a:lnTo>
                    <a:pt x="400268" y="524162"/>
                  </a:lnTo>
                  <a:lnTo>
                    <a:pt x="400268" y="533694"/>
                  </a:lnTo>
                  <a:lnTo>
                    <a:pt x="395504" y="543224"/>
                  </a:lnTo>
                  <a:lnTo>
                    <a:pt x="376444" y="543224"/>
                  </a:lnTo>
                  <a:lnTo>
                    <a:pt x="352620" y="538458"/>
                  </a:lnTo>
                  <a:lnTo>
                    <a:pt x="371680" y="552754"/>
                  </a:lnTo>
                  <a:lnTo>
                    <a:pt x="390740" y="557518"/>
                  </a:lnTo>
                  <a:lnTo>
                    <a:pt x="400268" y="571814"/>
                  </a:lnTo>
                  <a:lnTo>
                    <a:pt x="405036" y="581344"/>
                  </a:lnTo>
                  <a:lnTo>
                    <a:pt x="405036" y="595640"/>
                  </a:lnTo>
                  <a:lnTo>
                    <a:pt x="390740" y="600404"/>
                  </a:lnTo>
                  <a:lnTo>
                    <a:pt x="381208" y="605170"/>
                  </a:lnTo>
                  <a:lnTo>
                    <a:pt x="385976" y="619466"/>
                  </a:lnTo>
                  <a:lnTo>
                    <a:pt x="395504" y="633760"/>
                  </a:lnTo>
                  <a:lnTo>
                    <a:pt x="381208" y="633760"/>
                  </a:lnTo>
                  <a:lnTo>
                    <a:pt x="376444" y="643290"/>
                  </a:lnTo>
                  <a:lnTo>
                    <a:pt x="376444" y="657586"/>
                  </a:lnTo>
                  <a:lnTo>
                    <a:pt x="385976" y="671882"/>
                  </a:lnTo>
                  <a:lnTo>
                    <a:pt x="385976" y="676646"/>
                  </a:lnTo>
                  <a:lnTo>
                    <a:pt x="385976" y="686178"/>
                  </a:lnTo>
                  <a:lnTo>
                    <a:pt x="395504" y="695708"/>
                  </a:lnTo>
                  <a:lnTo>
                    <a:pt x="405036" y="710002"/>
                  </a:lnTo>
                  <a:lnTo>
                    <a:pt x="405036" y="724298"/>
                  </a:lnTo>
                  <a:lnTo>
                    <a:pt x="400268" y="743358"/>
                  </a:lnTo>
                  <a:lnTo>
                    <a:pt x="395504" y="748124"/>
                  </a:lnTo>
                  <a:lnTo>
                    <a:pt x="385976" y="752888"/>
                  </a:lnTo>
                  <a:lnTo>
                    <a:pt x="366912" y="776714"/>
                  </a:lnTo>
                  <a:lnTo>
                    <a:pt x="357384" y="800540"/>
                  </a:lnTo>
                  <a:lnTo>
                    <a:pt x="347852" y="814836"/>
                  </a:lnTo>
                  <a:lnTo>
                    <a:pt x="333556" y="814836"/>
                  </a:lnTo>
                  <a:lnTo>
                    <a:pt x="328792" y="810070"/>
                  </a:lnTo>
                  <a:lnTo>
                    <a:pt x="319264" y="805306"/>
                  </a:lnTo>
                  <a:lnTo>
                    <a:pt x="319264" y="791010"/>
                  </a:lnTo>
                  <a:lnTo>
                    <a:pt x="324028" y="781480"/>
                  </a:lnTo>
                  <a:lnTo>
                    <a:pt x="343088" y="757654"/>
                  </a:lnTo>
                  <a:lnTo>
                    <a:pt x="333556" y="762420"/>
                  </a:lnTo>
                  <a:lnTo>
                    <a:pt x="319264" y="767184"/>
                  </a:lnTo>
                  <a:lnTo>
                    <a:pt x="304968" y="781480"/>
                  </a:lnTo>
                  <a:lnTo>
                    <a:pt x="295436" y="767184"/>
                  </a:lnTo>
                  <a:lnTo>
                    <a:pt x="295436" y="752888"/>
                  </a:lnTo>
                  <a:lnTo>
                    <a:pt x="295436" y="733828"/>
                  </a:lnTo>
                  <a:lnTo>
                    <a:pt x="309732" y="705238"/>
                  </a:lnTo>
                  <a:lnTo>
                    <a:pt x="290672" y="719532"/>
                  </a:lnTo>
                  <a:lnTo>
                    <a:pt x="285908" y="738594"/>
                  </a:lnTo>
                  <a:lnTo>
                    <a:pt x="290672" y="757654"/>
                  </a:lnTo>
                  <a:lnTo>
                    <a:pt x="285908" y="771950"/>
                  </a:lnTo>
                  <a:lnTo>
                    <a:pt x="281140" y="786244"/>
                  </a:lnTo>
                  <a:lnTo>
                    <a:pt x="271612" y="800540"/>
                  </a:lnTo>
                  <a:lnTo>
                    <a:pt x="257316" y="805306"/>
                  </a:lnTo>
                  <a:lnTo>
                    <a:pt x="252552" y="814836"/>
                  </a:lnTo>
                  <a:lnTo>
                    <a:pt x="243020" y="824366"/>
                  </a:lnTo>
                  <a:lnTo>
                    <a:pt x="243020" y="810070"/>
                  </a:lnTo>
                  <a:lnTo>
                    <a:pt x="238256" y="786244"/>
                  </a:lnTo>
                  <a:lnTo>
                    <a:pt x="228724" y="738594"/>
                  </a:lnTo>
                  <a:lnTo>
                    <a:pt x="228724" y="748124"/>
                  </a:lnTo>
                  <a:lnTo>
                    <a:pt x="233492" y="781480"/>
                  </a:lnTo>
                  <a:lnTo>
                    <a:pt x="233492" y="800540"/>
                  </a:lnTo>
                  <a:lnTo>
                    <a:pt x="223960" y="814836"/>
                  </a:lnTo>
                  <a:lnTo>
                    <a:pt x="209664" y="833896"/>
                  </a:lnTo>
                  <a:lnTo>
                    <a:pt x="195368" y="833896"/>
                  </a:lnTo>
                  <a:lnTo>
                    <a:pt x="190604" y="833896"/>
                  </a:lnTo>
                  <a:lnTo>
                    <a:pt x="181072" y="819600"/>
                  </a:lnTo>
                  <a:lnTo>
                    <a:pt x="166780" y="805306"/>
                  </a:lnTo>
                  <a:lnTo>
                    <a:pt x="166780" y="781480"/>
                  </a:lnTo>
                  <a:lnTo>
                    <a:pt x="162012" y="767184"/>
                  </a:lnTo>
                  <a:lnTo>
                    <a:pt x="162012" y="752888"/>
                  </a:lnTo>
                  <a:lnTo>
                    <a:pt x="162012" y="738594"/>
                  </a:lnTo>
                  <a:lnTo>
                    <a:pt x="147716" y="700472"/>
                  </a:lnTo>
                  <a:lnTo>
                    <a:pt x="142952" y="676646"/>
                  </a:lnTo>
                  <a:lnTo>
                    <a:pt x="142952" y="671882"/>
                  </a:lnTo>
                  <a:lnTo>
                    <a:pt x="142952" y="667116"/>
                  </a:lnTo>
                  <a:lnTo>
                    <a:pt x="138188" y="643290"/>
                  </a:lnTo>
                  <a:lnTo>
                    <a:pt x="133424" y="628996"/>
                  </a:lnTo>
                  <a:lnTo>
                    <a:pt x="128656" y="609936"/>
                  </a:lnTo>
                  <a:lnTo>
                    <a:pt x="142952" y="586110"/>
                  </a:lnTo>
                  <a:lnTo>
                    <a:pt x="138188" y="581344"/>
                  </a:lnTo>
                  <a:lnTo>
                    <a:pt x="123892" y="576580"/>
                  </a:lnTo>
                  <a:lnTo>
                    <a:pt x="109596" y="571814"/>
                  </a:lnTo>
                  <a:lnTo>
                    <a:pt x="109596" y="567048"/>
                  </a:lnTo>
                  <a:lnTo>
                    <a:pt x="114364" y="543224"/>
                  </a:lnTo>
                  <a:lnTo>
                    <a:pt x="104832" y="533694"/>
                  </a:lnTo>
                  <a:lnTo>
                    <a:pt x="95300" y="524162"/>
                  </a:lnTo>
                  <a:lnTo>
                    <a:pt x="95300" y="519398"/>
                  </a:lnTo>
                  <a:lnTo>
                    <a:pt x="90536" y="514632"/>
                  </a:lnTo>
                  <a:lnTo>
                    <a:pt x="85772" y="500338"/>
                  </a:lnTo>
                  <a:lnTo>
                    <a:pt x="95300" y="476512"/>
                  </a:lnTo>
                  <a:lnTo>
                    <a:pt x="104832" y="443156"/>
                  </a:lnTo>
                  <a:lnTo>
                    <a:pt x="109596" y="433626"/>
                  </a:lnTo>
                  <a:lnTo>
                    <a:pt x="109596" y="414564"/>
                  </a:lnTo>
                  <a:lnTo>
                    <a:pt x="114364" y="405034"/>
                  </a:lnTo>
                  <a:lnTo>
                    <a:pt x="109596" y="400270"/>
                  </a:lnTo>
                  <a:lnTo>
                    <a:pt x="100068" y="390740"/>
                  </a:lnTo>
                  <a:lnTo>
                    <a:pt x="76240" y="385974"/>
                  </a:lnTo>
                  <a:lnTo>
                    <a:pt x="61944" y="381210"/>
                  </a:lnTo>
                  <a:lnTo>
                    <a:pt x="52416" y="366914"/>
                  </a:lnTo>
                  <a:lnTo>
                    <a:pt x="42884" y="362148"/>
                  </a:lnTo>
                  <a:lnTo>
                    <a:pt x="33356" y="366914"/>
                  </a:lnTo>
                  <a:lnTo>
                    <a:pt x="19060" y="362148"/>
                  </a:lnTo>
                  <a:lnTo>
                    <a:pt x="9528" y="352618"/>
                  </a:lnTo>
                  <a:lnTo>
                    <a:pt x="0" y="338322"/>
                  </a:lnTo>
                  <a:lnTo>
                    <a:pt x="4764" y="333558"/>
                  </a:lnTo>
                  <a:lnTo>
                    <a:pt x="4764" y="324028"/>
                  </a:lnTo>
                  <a:lnTo>
                    <a:pt x="19060" y="290672"/>
                  </a:lnTo>
                  <a:lnTo>
                    <a:pt x="28588" y="285906"/>
                  </a:lnTo>
                  <a:lnTo>
                    <a:pt x="42884" y="295436"/>
                  </a:lnTo>
                  <a:lnTo>
                    <a:pt x="47652" y="295436"/>
                  </a:lnTo>
                  <a:lnTo>
                    <a:pt x="57180" y="281142"/>
                  </a:lnTo>
                  <a:lnTo>
                    <a:pt x="66712" y="243020"/>
                  </a:lnTo>
                  <a:lnTo>
                    <a:pt x="85772" y="243020"/>
                  </a:lnTo>
                  <a:lnTo>
                    <a:pt x="104832" y="243020"/>
                  </a:lnTo>
                  <a:lnTo>
                    <a:pt x="114364" y="243020"/>
                  </a:lnTo>
                  <a:lnTo>
                    <a:pt x="123892" y="243020"/>
                  </a:lnTo>
                  <a:lnTo>
                    <a:pt x="138188" y="238256"/>
                  </a:lnTo>
                  <a:lnTo>
                    <a:pt x="142952" y="233490"/>
                  </a:lnTo>
                  <a:lnTo>
                    <a:pt x="147716" y="228726"/>
                  </a:lnTo>
                  <a:lnTo>
                    <a:pt x="142952" y="223960"/>
                  </a:lnTo>
                  <a:lnTo>
                    <a:pt x="133424" y="214430"/>
                  </a:lnTo>
                  <a:lnTo>
                    <a:pt x="123892" y="209664"/>
                  </a:lnTo>
                  <a:lnTo>
                    <a:pt x="123892" y="195370"/>
                  </a:lnTo>
                  <a:lnTo>
                    <a:pt x="119128" y="190604"/>
                  </a:lnTo>
                  <a:lnTo>
                    <a:pt x="90536" y="190604"/>
                  </a:lnTo>
                  <a:lnTo>
                    <a:pt x="76240" y="181074"/>
                  </a:lnTo>
                  <a:lnTo>
                    <a:pt x="66712" y="176308"/>
                  </a:lnTo>
                  <a:lnTo>
                    <a:pt x="57180" y="152484"/>
                  </a:lnTo>
                  <a:lnTo>
                    <a:pt x="38120" y="138188"/>
                  </a:lnTo>
                  <a:lnTo>
                    <a:pt x="19060" y="133422"/>
                  </a:lnTo>
                  <a:lnTo>
                    <a:pt x="14296" y="128658"/>
                  </a:lnTo>
                  <a:lnTo>
                    <a:pt x="9528" y="119128"/>
                  </a:lnTo>
                  <a:lnTo>
                    <a:pt x="14296" y="109596"/>
                  </a:lnTo>
                  <a:lnTo>
                    <a:pt x="19060" y="95302"/>
                  </a:lnTo>
                  <a:lnTo>
                    <a:pt x="23824" y="85772"/>
                  </a:lnTo>
                  <a:lnTo>
                    <a:pt x="33356" y="71476"/>
                  </a:lnTo>
                  <a:lnTo>
                    <a:pt x="47652" y="57180"/>
                  </a:lnTo>
                  <a:lnTo>
                    <a:pt x="57180" y="47650"/>
                  </a:lnTo>
                  <a:lnTo>
                    <a:pt x="66712" y="38120"/>
                  </a:lnTo>
                  <a:lnTo>
                    <a:pt x="66712" y="33354"/>
                  </a:lnTo>
                  <a:lnTo>
                    <a:pt x="66712" y="23824"/>
                  </a:lnTo>
                  <a:lnTo>
                    <a:pt x="57180" y="19060"/>
                  </a:lnTo>
                  <a:lnTo>
                    <a:pt x="52416" y="14294"/>
                  </a:lnTo>
                  <a:lnTo>
                    <a:pt x="57180" y="476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4" name="Google Shape;4991;p64">
              <a:extLst>
                <a:ext uri="{FF2B5EF4-FFF2-40B4-BE49-F238E27FC236}">
                  <a16:creationId xmlns:a16="http://schemas.microsoft.com/office/drawing/2014/main" id="{8C1F51FD-AE4F-CB91-60BC-F94EE55B1F17}"/>
                </a:ext>
              </a:extLst>
            </p:cNvPr>
            <p:cNvSpPr/>
            <p:nvPr/>
          </p:nvSpPr>
          <p:spPr>
            <a:xfrm>
              <a:off x="6434187" y="4354137"/>
              <a:ext cx="71539" cy="38723"/>
            </a:xfrm>
            <a:custGeom>
              <a:avLst/>
              <a:gdLst/>
              <a:ahLst/>
              <a:cxnLst/>
              <a:rect l="l" t="t" r="r" b="b"/>
              <a:pathLst>
                <a:path w="218" h="118" extrusionOk="0">
                  <a:moveTo>
                    <a:pt x="190" y="42"/>
                  </a:moveTo>
                  <a:lnTo>
                    <a:pt x="190" y="38"/>
                  </a:lnTo>
                  <a:lnTo>
                    <a:pt x="190" y="28"/>
                  </a:lnTo>
                  <a:lnTo>
                    <a:pt x="188" y="26"/>
                  </a:lnTo>
                  <a:lnTo>
                    <a:pt x="180" y="24"/>
                  </a:lnTo>
                  <a:lnTo>
                    <a:pt x="172" y="22"/>
                  </a:lnTo>
                  <a:lnTo>
                    <a:pt x="168" y="18"/>
                  </a:lnTo>
                  <a:lnTo>
                    <a:pt x="166" y="18"/>
                  </a:lnTo>
                  <a:lnTo>
                    <a:pt x="162" y="18"/>
                  </a:lnTo>
                  <a:lnTo>
                    <a:pt x="158" y="22"/>
                  </a:lnTo>
                  <a:lnTo>
                    <a:pt x="152" y="26"/>
                  </a:lnTo>
                  <a:lnTo>
                    <a:pt x="150" y="26"/>
                  </a:lnTo>
                  <a:lnTo>
                    <a:pt x="146" y="24"/>
                  </a:lnTo>
                  <a:lnTo>
                    <a:pt x="142" y="22"/>
                  </a:lnTo>
                  <a:lnTo>
                    <a:pt x="130" y="18"/>
                  </a:lnTo>
                  <a:lnTo>
                    <a:pt x="124" y="18"/>
                  </a:lnTo>
                  <a:lnTo>
                    <a:pt x="114" y="18"/>
                  </a:lnTo>
                  <a:lnTo>
                    <a:pt x="106" y="18"/>
                  </a:lnTo>
                  <a:lnTo>
                    <a:pt x="104" y="16"/>
                  </a:lnTo>
                  <a:lnTo>
                    <a:pt x="104" y="14"/>
                  </a:lnTo>
                  <a:lnTo>
                    <a:pt x="106" y="10"/>
                  </a:lnTo>
                  <a:lnTo>
                    <a:pt x="106" y="8"/>
                  </a:lnTo>
                  <a:lnTo>
                    <a:pt x="104" y="4"/>
                  </a:lnTo>
                  <a:lnTo>
                    <a:pt x="96" y="2"/>
                  </a:lnTo>
                  <a:lnTo>
                    <a:pt x="90" y="0"/>
                  </a:lnTo>
                  <a:lnTo>
                    <a:pt x="80" y="0"/>
                  </a:lnTo>
                  <a:lnTo>
                    <a:pt x="76" y="2"/>
                  </a:lnTo>
                  <a:lnTo>
                    <a:pt x="70" y="4"/>
                  </a:lnTo>
                  <a:lnTo>
                    <a:pt x="66" y="10"/>
                  </a:lnTo>
                  <a:lnTo>
                    <a:pt x="60" y="12"/>
                  </a:lnTo>
                  <a:lnTo>
                    <a:pt x="52" y="16"/>
                  </a:lnTo>
                  <a:lnTo>
                    <a:pt x="48" y="18"/>
                  </a:lnTo>
                  <a:lnTo>
                    <a:pt x="42" y="26"/>
                  </a:lnTo>
                  <a:lnTo>
                    <a:pt x="34" y="36"/>
                  </a:lnTo>
                  <a:lnTo>
                    <a:pt x="28" y="44"/>
                  </a:lnTo>
                  <a:lnTo>
                    <a:pt x="24" y="54"/>
                  </a:lnTo>
                  <a:lnTo>
                    <a:pt x="18" y="58"/>
                  </a:lnTo>
                  <a:lnTo>
                    <a:pt x="14" y="64"/>
                  </a:lnTo>
                  <a:lnTo>
                    <a:pt x="10" y="74"/>
                  </a:lnTo>
                  <a:lnTo>
                    <a:pt x="10" y="76"/>
                  </a:lnTo>
                  <a:lnTo>
                    <a:pt x="2" y="82"/>
                  </a:lnTo>
                  <a:lnTo>
                    <a:pt x="0" y="84"/>
                  </a:lnTo>
                  <a:lnTo>
                    <a:pt x="2" y="88"/>
                  </a:lnTo>
                  <a:lnTo>
                    <a:pt x="4" y="90"/>
                  </a:lnTo>
                  <a:lnTo>
                    <a:pt x="6" y="92"/>
                  </a:lnTo>
                  <a:lnTo>
                    <a:pt x="8" y="100"/>
                  </a:lnTo>
                  <a:lnTo>
                    <a:pt x="12" y="102"/>
                  </a:lnTo>
                  <a:lnTo>
                    <a:pt x="20" y="108"/>
                  </a:lnTo>
                  <a:lnTo>
                    <a:pt x="26" y="110"/>
                  </a:lnTo>
                  <a:lnTo>
                    <a:pt x="38" y="108"/>
                  </a:lnTo>
                  <a:lnTo>
                    <a:pt x="42" y="110"/>
                  </a:lnTo>
                  <a:lnTo>
                    <a:pt x="48" y="112"/>
                  </a:lnTo>
                  <a:lnTo>
                    <a:pt x="52" y="112"/>
                  </a:lnTo>
                  <a:lnTo>
                    <a:pt x="56" y="114"/>
                  </a:lnTo>
                  <a:lnTo>
                    <a:pt x="56" y="114"/>
                  </a:lnTo>
                  <a:lnTo>
                    <a:pt x="56" y="116"/>
                  </a:lnTo>
                  <a:lnTo>
                    <a:pt x="56" y="118"/>
                  </a:lnTo>
                  <a:lnTo>
                    <a:pt x="64" y="118"/>
                  </a:lnTo>
                  <a:lnTo>
                    <a:pt x="66" y="118"/>
                  </a:lnTo>
                  <a:lnTo>
                    <a:pt x="78" y="118"/>
                  </a:lnTo>
                  <a:lnTo>
                    <a:pt x="90" y="116"/>
                  </a:lnTo>
                  <a:lnTo>
                    <a:pt x="96" y="108"/>
                  </a:lnTo>
                  <a:lnTo>
                    <a:pt x="98" y="108"/>
                  </a:lnTo>
                  <a:lnTo>
                    <a:pt x="104" y="106"/>
                  </a:lnTo>
                  <a:lnTo>
                    <a:pt x="112" y="108"/>
                  </a:lnTo>
                  <a:lnTo>
                    <a:pt x="118" y="112"/>
                  </a:lnTo>
                  <a:lnTo>
                    <a:pt x="124" y="114"/>
                  </a:lnTo>
                  <a:lnTo>
                    <a:pt x="130" y="114"/>
                  </a:lnTo>
                  <a:lnTo>
                    <a:pt x="138" y="114"/>
                  </a:lnTo>
                  <a:lnTo>
                    <a:pt x="156" y="112"/>
                  </a:lnTo>
                  <a:lnTo>
                    <a:pt x="166" y="112"/>
                  </a:lnTo>
                  <a:lnTo>
                    <a:pt x="176" y="106"/>
                  </a:lnTo>
                  <a:lnTo>
                    <a:pt x="178" y="106"/>
                  </a:lnTo>
                  <a:lnTo>
                    <a:pt x="182" y="112"/>
                  </a:lnTo>
                  <a:lnTo>
                    <a:pt x="192" y="112"/>
                  </a:lnTo>
                  <a:lnTo>
                    <a:pt x="198" y="110"/>
                  </a:lnTo>
                  <a:lnTo>
                    <a:pt x="202" y="108"/>
                  </a:lnTo>
                  <a:lnTo>
                    <a:pt x="206" y="108"/>
                  </a:lnTo>
                  <a:lnTo>
                    <a:pt x="210" y="108"/>
                  </a:lnTo>
                  <a:lnTo>
                    <a:pt x="214" y="108"/>
                  </a:lnTo>
                  <a:lnTo>
                    <a:pt x="216" y="106"/>
                  </a:lnTo>
                  <a:lnTo>
                    <a:pt x="218" y="104"/>
                  </a:lnTo>
                  <a:lnTo>
                    <a:pt x="218" y="98"/>
                  </a:lnTo>
                  <a:lnTo>
                    <a:pt x="216" y="94"/>
                  </a:lnTo>
                  <a:lnTo>
                    <a:pt x="214" y="92"/>
                  </a:lnTo>
                  <a:lnTo>
                    <a:pt x="212" y="90"/>
                  </a:lnTo>
                  <a:lnTo>
                    <a:pt x="214" y="86"/>
                  </a:lnTo>
                  <a:lnTo>
                    <a:pt x="216" y="82"/>
                  </a:lnTo>
                  <a:lnTo>
                    <a:pt x="218" y="76"/>
                  </a:lnTo>
                  <a:lnTo>
                    <a:pt x="216" y="70"/>
                  </a:lnTo>
                  <a:lnTo>
                    <a:pt x="212" y="64"/>
                  </a:lnTo>
                  <a:lnTo>
                    <a:pt x="210" y="64"/>
                  </a:lnTo>
                  <a:lnTo>
                    <a:pt x="204" y="64"/>
                  </a:lnTo>
                  <a:lnTo>
                    <a:pt x="196" y="64"/>
                  </a:lnTo>
                  <a:lnTo>
                    <a:pt x="190" y="60"/>
                  </a:lnTo>
                  <a:lnTo>
                    <a:pt x="186" y="56"/>
                  </a:lnTo>
                  <a:lnTo>
                    <a:pt x="186" y="52"/>
                  </a:lnTo>
                  <a:lnTo>
                    <a:pt x="186" y="48"/>
                  </a:lnTo>
                  <a:lnTo>
                    <a:pt x="190" y="4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5" name="Google Shape;4992;p64">
              <a:extLst>
                <a:ext uri="{FF2B5EF4-FFF2-40B4-BE49-F238E27FC236}">
                  <a16:creationId xmlns:a16="http://schemas.microsoft.com/office/drawing/2014/main" id="{C44424C0-79CF-7E5B-14D2-5747C67B4A46}"/>
                </a:ext>
              </a:extLst>
            </p:cNvPr>
            <p:cNvSpPr/>
            <p:nvPr/>
          </p:nvSpPr>
          <p:spPr>
            <a:xfrm>
              <a:off x="6508350" y="4348887"/>
              <a:ext cx="192628" cy="427261"/>
            </a:xfrm>
            <a:custGeom>
              <a:avLst/>
              <a:gdLst/>
              <a:ahLst/>
              <a:cxnLst/>
              <a:rect l="l" t="t" r="r" b="b"/>
              <a:pathLst>
                <a:path w="1398564" h="3102100" extrusionOk="0">
                  <a:moveTo>
                    <a:pt x="941112" y="3073508"/>
                  </a:moveTo>
                  <a:lnTo>
                    <a:pt x="950640" y="3073508"/>
                  </a:lnTo>
                  <a:lnTo>
                    <a:pt x="950640" y="3083038"/>
                  </a:lnTo>
                  <a:lnTo>
                    <a:pt x="941112" y="3087804"/>
                  </a:lnTo>
                  <a:lnTo>
                    <a:pt x="931580" y="3092568"/>
                  </a:lnTo>
                  <a:lnTo>
                    <a:pt x="929196" y="3102100"/>
                  </a:lnTo>
                  <a:lnTo>
                    <a:pt x="924432" y="3102100"/>
                  </a:lnTo>
                  <a:lnTo>
                    <a:pt x="929196" y="3087804"/>
                  </a:lnTo>
                  <a:close/>
                  <a:moveTo>
                    <a:pt x="931580" y="2925788"/>
                  </a:moveTo>
                  <a:lnTo>
                    <a:pt x="936344" y="2930554"/>
                  </a:lnTo>
                  <a:lnTo>
                    <a:pt x="950640" y="2959144"/>
                  </a:lnTo>
                  <a:lnTo>
                    <a:pt x="950640" y="2963910"/>
                  </a:lnTo>
                  <a:lnTo>
                    <a:pt x="945876" y="2963910"/>
                  </a:lnTo>
                  <a:lnTo>
                    <a:pt x="936344" y="2949614"/>
                  </a:lnTo>
                  <a:lnTo>
                    <a:pt x="929196" y="2940084"/>
                  </a:lnTo>
                  <a:lnTo>
                    <a:pt x="919668" y="2940084"/>
                  </a:lnTo>
                  <a:lnTo>
                    <a:pt x="929196" y="2930554"/>
                  </a:lnTo>
                  <a:close/>
                  <a:moveTo>
                    <a:pt x="988760" y="2911494"/>
                  </a:moveTo>
                  <a:lnTo>
                    <a:pt x="988760" y="2930556"/>
                  </a:lnTo>
                  <a:lnTo>
                    <a:pt x="983996" y="2930556"/>
                  </a:lnTo>
                  <a:lnTo>
                    <a:pt x="979232" y="2925790"/>
                  </a:lnTo>
                  <a:close/>
                  <a:moveTo>
                    <a:pt x="950640" y="2801896"/>
                  </a:moveTo>
                  <a:lnTo>
                    <a:pt x="950640" y="2806662"/>
                  </a:lnTo>
                  <a:lnTo>
                    <a:pt x="950640" y="2830486"/>
                  </a:lnTo>
                  <a:lnTo>
                    <a:pt x="945876" y="2840016"/>
                  </a:lnTo>
                  <a:lnTo>
                    <a:pt x="941108" y="2844782"/>
                  </a:lnTo>
                  <a:lnTo>
                    <a:pt x="936344" y="2849548"/>
                  </a:lnTo>
                  <a:lnTo>
                    <a:pt x="931580" y="2849548"/>
                  </a:lnTo>
                  <a:lnTo>
                    <a:pt x="936344" y="2835252"/>
                  </a:lnTo>
                  <a:lnTo>
                    <a:pt x="941108" y="2820956"/>
                  </a:lnTo>
                  <a:close/>
                  <a:moveTo>
                    <a:pt x="964936" y="2797132"/>
                  </a:moveTo>
                  <a:lnTo>
                    <a:pt x="988760" y="2797132"/>
                  </a:lnTo>
                  <a:lnTo>
                    <a:pt x="993528" y="2806662"/>
                  </a:lnTo>
                  <a:lnTo>
                    <a:pt x="988760" y="2835252"/>
                  </a:lnTo>
                  <a:lnTo>
                    <a:pt x="979232" y="2835252"/>
                  </a:lnTo>
                  <a:lnTo>
                    <a:pt x="974464" y="2835252"/>
                  </a:lnTo>
                  <a:lnTo>
                    <a:pt x="964936" y="2816192"/>
                  </a:lnTo>
                  <a:lnTo>
                    <a:pt x="964936" y="2811426"/>
                  </a:lnTo>
                  <a:close/>
                  <a:moveTo>
                    <a:pt x="910136" y="2787600"/>
                  </a:moveTo>
                  <a:lnTo>
                    <a:pt x="914904" y="2801896"/>
                  </a:lnTo>
                  <a:lnTo>
                    <a:pt x="919668" y="2806662"/>
                  </a:lnTo>
                  <a:lnTo>
                    <a:pt x="919668" y="2811426"/>
                  </a:lnTo>
                  <a:lnTo>
                    <a:pt x="919668" y="2820956"/>
                  </a:lnTo>
                  <a:lnTo>
                    <a:pt x="910136" y="2811426"/>
                  </a:lnTo>
                  <a:close/>
                  <a:moveTo>
                    <a:pt x="979232" y="2749480"/>
                  </a:moveTo>
                  <a:lnTo>
                    <a:pt x="988760" y="2763776"/>
                  </a:lnTo>
                  <a:lnTo>
                    <a:pt x="998292" y="2768540"/>
                  </a:lnTo>
                  <a:lnTo>
                    <a:pt x="993528" y="2778072"/>
                  </a:lnTo>
                  <a:lnTo>
                    <a:pt x="983996" y="2778072"/>
                  </a:lnTo>
                  <a:lnTo>
                    <a:pt x="979232" y="2778072"/>
                  </a:lnTo>
                  <a:lnTo>
                    <a:pt x="974464" y="2754246"/>
                  </a:lnTo>
                  <a:close/>
                  <a:moveTo>
                    <a:pt x="919668" y="2716124"/>
                  </a:moveTo>
                  <a:lnTo>
                    <a:pt x="924432" y="2716124"/>
                  </a:lnTo>
                  <a:lnTo>
                    <a:pt x="924432" y="2720890"/>
                  </a:lnTo>
                  <a:lnTo>
                    <a:pt x="924432" y="2725654"/>
                  </a:lnTo>
                  <a:lnTo>
                    <a:pt x="924432" y="2735184"/>
                  </a:lnTo>
                  <a:lnTo>
                    <a:pt x="929196" y="2739950"/>
                  </a:lnTo>
                  <a:lnTo>
                    <a:pt x="924432" y="2739950"/>
                  </a:lnTo>
                  <a:lnTo>
                    <a:pt x="919668" y="2739950"/>
                  </a:lnTo>
                  <a:lnTo>
                    <a:pt x="914904" y="2725654"/>
                  </a:lnTo>
                  <a:lnTo>
                    <a:pt x="914904" y="2720890"/>
                  </a:lnTo>
                  <a:close/>
                  <a:moveTo>
                    <a:pt x="905372" y="2701828"/>
                  </a:moveTo>
                  <a:lnTo>
                    <a:pt x="914904" y="2701828"/>
                  </a:lnTo>
                  <a:lnTo>
                    <a:pt x="919668" y="2701828"/>
                  </a:lnTo>
                  <a:lnTo>
                    <a:pt x="914904" y="2706594"/>
                  </a:lnTo>
                  <a:lnTo>
                    <a:pt x="905372" y="2720888"/>
                  </a:lnTo>
                  <a:lnTo>
                    <a:pt x="900608" y="2711358"/>
                  </a:lnTo>
                  <a:lnTo>
                    <a:pt x="895840" y="2706594"/>
                  </a:lnTo>
                  <a:close/>
                  <a:moveTo>
                    <a:pt x="955404" y="2654176"/>
                  </a:moveTo>
                  <a:lnTo>
                    <a:pt x="964936" y="2658942"/>
                  </a:lnTo>
                  <a:lnTo>
                    <a:pt x="969700" y="2668472"/>
                  </a:lnTo>
                  <a:lnTo>
                    <a:pt x="974464" y="2673238"/>
                  </a:lnTo>
                  <a:lnTo>
                    <a:pt x="979232" y="2673238"/>
                  </a:lnTo>
                  <a:lnTo>
                    <a:pt x="974464" y="2687534"/>
                  </a:lnTo>
                  <a:lnTo>
                    <a:pt x="964936" y="2706594"/>
                  </a:lnTo>
                  <a:lnTo>
                    <a:pt x="955404" y="2711360"/>
                  </a:lnTo>
                  <a:lnTo>
                    <a:pt x="955404" y="2682768"/>
                  </a:lnTo>
                  <a:lnTo>
                    <a:pt x="950640" y="2663708"/>
                  </a:lnTo>
                  <a:close/>
                  <a:moveTo>
                    <a:pt x="945876" y="2573170"/>
                  </a:moveTo>
                  <a:lnTo>
                    <a:pt x="950640" y="2577936"/>
                  </a:lnTo>
                  <a:lnTo>
                    <a:pt x="955404" y="2587466"/>
                  </a:lnTo>
                  <a:lnTo>
                    <a:pt x="950640" y="2616056"/>
                  </a:lnTo>
                  <a:lnTo>
                    <a:pt x="945876" y="2601760"/>
                  </a:lnTo>
                  <a:lnTo>
                    <a:pt x="945876" y="2587466"/>
                  </a:lnTo>
                  <a:close/>
                  <a:moveTo>
                    <a:pt x="409800" y="2130012"/>
                  </a:moveTo>
                  <a:lnTo>
                    <a:pt x="414564" y="2139544"/>
                  </a:lnTo>
                  <a:lnTo>
                    <a:pt x="409800" y="2149074"/>
                  </a:lnTo>
                  <a:lnTo>
                    <a:pt x="405032" y="2153840"/>
                  </a:lnTo>
                  <a:lnTo>
                    <a:pt x="400268" y="2149074"/>
                  </a:lnTo>
                  <a:lnTo>
                    <a:pt x="395504" y="2149074"/>
                  </a:lnTo>
                  <a:close/>
                  <a:moveTo>
                    <a:pt x="376444" y="2087128"/>
                  </a:moveTo>
                  <a:lnTo>
                    <a:pt x="376444" y="2096658"/>
                  </a:lnTo>
                  <a:lnTo>
                    <a:pt x="371676" y="2115718"/>
                  </a:lnTo>
                  <a:lnTo>
                    <a:pt x="357384" y="2130014"/>
                  </a:lnTo>
                  <a:lnTo>
                    <a:pt x="347852" y="2144308"/>
                  </a:lnTo>
                  <a:lnTo>
                    <a:pt x="343088" y="2120484"/>
                  </a:lnTo>
                  <a:lnTo>
                    <a:pt x="357384" y="2106188"/>
                  </a:lnTo>
                  <a:lnTo>
                    <a:pt x="366912" y="2096658"/>
                  </a:lnTo>
                  <a:close/>
                  <a:moveTo>
                    <a:pt x="833896" y="2039476"/>
                  </a:moveTo>
                  <a:lnTo>
                    <a:pt x="843424" y="2039476"/>
                  </a:lnTo>
                  <a:lnTo>
                    <a:pt x="843424" y="2044242"/>
                  </a:lnTo>
                  <a:lnTo>
                    <a:pt x="843424" y="2049006"/>
                  </a:lnTo>
                  <a:lnTo>
                    <a:pt x="843424" y="2053772"/>
                  </a:lnTo>
                  <a:lnTo>
                    <a:pt x="838660" y="2077596"/>
                  </a:lnTo>
                  <a:lnTo>
                    <a:pt x="833896" y="2082362"/>
                  </a:lnTo>
                  <a:lnTo>
                    <a:pt x="824364" y="2068066"/>
                  </a:lnTo>
                  <a:lnTo>
                    <a:pt x="824364" y="2044242"/>
                  </a:lnTo>
                  <a:close/>
                  <a:moveTo>
                    <a:pt x="200132" y="1648736"/>
                  </a:moveTo>
                  <a:lnTo>
                    <a:pt x="223960" y="1648736"/>
                  </a:lnTo>
                  <a:lnTo>
                    <a:pt x="243020" y="1648736"/>
                  </a:lnTo>
                  <a:lnTo>
                    <a:pt x="243020" y="1658266"/>
                  </a:lnTo>
                  <a:lnTo>
                    <a:pt x="238252" y="1677326"/>
                  </a:lnTo>
                  <a:lnTo>
                    <a:pt x="233488" y="1682092"/>
                  </a:lnTo>
                  <a:lnTo>
                    <a:pt x="214428" y="1667796"/>
                  </a:lnTo>
                  <a:close/>
                  <a:moveTo>
                    <a:pt x="238256" y="1534372"/>
                  </a:moveTo>
                  <a:lnTo>
                    <a:pt x="257316" y="1548668"/>
                  </a:lnTo>
                  <a:lnTo>
                    <a:pt x="262080" y="1548668"/>
                  </a:lnTo>
                  <a:lnTo>
                    <a:pt x="271608" y="1558198"/>
                  </a:lnTo>
                  <a:lnTo>
                    <a:pt x="271608" y="1562962"/>
                  </a:lnTo>
                  <a:lnTo>
                    <a:pt x="271608" y="1567728"/>
                  </a:lnTo>
                  <a:lnTo>
                    <a:pt x="266844" y="1572492"/>
                  </a:lnTo>
                  <a:lnTo>
                    <a:pt x="252548" y="1577258"/>
                  </a:lnTo>
                  <a:lnTo>
                    <a:pt x="243020" y="1572492"/>
                  </a:lnTo>
                  <a:lnTo>
                    <a:pt x="238256" y="1558198"/>
                  </a:lnTo>
                  <a:lnTo>
                    <a:pt x="228724" y="1553432"/>
                  </a:lnTo>
                  <a:lnTo>
                    <a:pt x="228724" y="1548668"/>
                  </a:lnTo>
                  <a:lnTo>
                    <a:pt x="233488" y="1539138"/>
                  </a:lnTo>
                  <a:close/>
                  <a:moveTo>
                    <a:pt x="190604" y="1472426"/>
                  </a:moveTo>
                  <a:lnTo>
                    <a:pt x="204896" y="1481956"/>
                  </a:lnTo>
                  <a:lnTo>
                    <a:pt x="204896" y="1505782"/>
                  </a:lnTo>
                  <a:lnTo>
                    <a:pt x="195368" y="1496252"/>
                  </a:lnTo>
                  <a:lnTo>
                    <a:pt x="190604" y="1481956"/>
                  </a:lnTo>
                  <a:close/>
                  <a:moveTo>
                    <a:pt x="114360" y="1448600"/>
                  </a:moveTo>
                  <a:lnTo>
                    <a:pt x="119128" y="1453366"/>
                  </a:lnTo>
                  <a:lnTo>
                    <a:pt x="128656" y="1477190"/>
                  </a:lnTo>
                  <a:lnTo>
                    <a:pt x="128656" y="1491486"/>
                  </a:lnTo>
                  <a:lnTo>
                    <a:pt x="123892" y="1486720"/>
                  </a:lnTo>
                  <a:lnTo>
                    <a:pt x="114360" y="1462896"/>
                  </a:lnTo>
                  <a:close/>
                  <a:moveTo>
                    <a:pt x="843428" y="0"/>
                  </a:moveTo>
                  <a:lnTo>
                    <a:pt x="852956" y="4766"/>
                  </a:lnTo>
                  <a:lnTo>
                    <a:pt x="857720" y="9532"/>
                  </a:lnTo>
                  <a:lnTo>
                    <a:pt x="862488" y="19062"/>
                  </a:lnTo>
                  <a:lnTo>
                    <a:pt x="872016" y="28592"/>
                  </a:lnTo>
                  <a:lnTo>
                    <a:pt x="876784" y="28592"/>
                  </a:lnTo>
                  <a:lnTo>
                    <a:pt x="886312" y="28592"/>
                  </a:lnTo>
                  <a:lnTo>
                    <a:pt x="891076" y="28592"/>
                  </a:lnTo>
                  <a:lnTo>
                    <a:pt x="895844" y="38122"/>
                  </a:lnTo>
                  <a:lnTo>
                    <a:pt x="910140" y="57182"/>
                  </a:lnTo>
                  <a:lnTo>
                    <a:pt x="914904" y="61948"/>
                  </a:lnTo>
                  <a:lnTo>
                    <a:pt x="924432" y="66712"/>
                  </a:lnTo>
                  <a:lnTo>
                    <a:pt x="924432" y="85774"/>
                  </a:lnTo>
                  <a:lnTo>
                    <a:pt x="929200" y="100068"/>
                  </a:lnTo>
                  <a:lnTo>
                    <a:pt x="941112" y="152486"/>
                  </a:lnTo>
                  <a:lnTo>
                    <a:pt x="945876" y="162016"/>
                  </a:lnTo>
                  <a:lnTo>
                    <a:pt x="950640" y="171546"/>
                  </a:lnTo>
                  <a:lnTo>
                    <a:pt x="960172" y="176310"/>
                  </a:lnTo>
                  <a:lnTo>
                    <a:pt x="964936" y="166780"/>
                  </a:lnTo>
                  <a:lnTo>
                    <a:pt x="969704" y="157250"/>
                  </a:lnTo>
                  <a:lnTo>
                    <a:pt x="974468" y="152486"/>
                  </a:lnTo>
                  <a:lnTo>
                    <a:pt x="983996" y="157250"/>
                  </a:lnTo>
                  <a:lnTo>
                    <a:pt x="998292" y="162016"/>
                  </a:lnTo>
                  <a:lnTo>
                    <a:pt x="1007824" y="166780"/>
                  </a:lnTo>
                  <a:lnTo>
                    <a:pt x="1012588" y="195372"/>
                  </a:lnTo>
                  <a:lnTo>
                    <a:pt x="1012588" y="223962"/>
                  </a:lnTo>
                  <a:lnTo>
                    <a:pt x="1007824" y="238258"/>
                  </a:lnTo>
                  <a:lnTo>
                    <a:pt x="1017352" y="262082"/>
                  </a:lnTo>
                  <a:lnTo>
                    <a:pt x="1017352" y="290674"/>
                  </a:lnTo>
                  <a:lnTo>
                    <a:pt x="1022120" y="304970"/>
                  </a:lnTo>
                  <a:lnTo>
                    <a:pt x="1022120" y="324030"/>
                  </a:lnTo>
                  <a:lnTo>
                    <a:pt x="1017352" y="343090"/>
                  </a:lnTo>
                  <a:lnTo>
                    <a:pt x="1017352" y="371680"/>
                  </a:lnTo>
                  <a:lnTo>
                    <a:pt x="1007824" y="390742"/>
                  </a:lnTo>
                  <a:lnTo>
                    <a:pt x="1012588" y="409802"/>
                  </a:lnTo>
                  <a:lnTo>
                    <a:pt x="1007824" y="419332"/>
                  </a:lnTo>
                  <a:lnTo>
                    <a:pt x="993528" y="424098"/>
                  </a:lnTo>
                  <a:lnTo>
                    <a:pt x="993528" y="433628"/>
                  </a:lnTo>
                  <a:lnTo>
                    <a:pt x="998292" y="443158"/>
                  </a:lnTo>
                  <a:lnTo>
                    <a:pt x="1007824" y="457454"/>
                  </a:lnTo>
                  <a:lnTo>
                    <a:pt x="1007824" y="466984"/>
                  </a:lnTo>
                  <a:lnTo>
                    <a:pt x="1003060" y="471748"/>
                  </a:lnTo>
                  <a:lnTo>
                    <a:pt x="993528" y="476514"/>
                  </a:lnTo>
                  <a:lnTo>
                    <a:pt x="979232" y="481278"/>
                  </a:lnTo>
                  <a:lnTo>
                    <a:pt x="969704" y="500340"/>
                  </a:lnTo>
                  <a:lnTo>
                    <a:pt x="955408" y="514634"/>
                  </a:lnTo>
                  <a:lnTo>
                    <a:pt x="950640" y="519400"/>
                  </a:lnTo>
                  <a:lnTo>
                    <a:pt x="931580" y="514634"/>
                  </a:lnTo>
                  <a:lnTo>
                    <a:pt x="929200" y="519400"/>
                  </a:lnTo>
                  <a:lnTo>
                    <a:pt x="924432" y="543226"/>
                  </a:lnTo>
                  <a:lnTo>
                    <a:pt x="914904" y="557520"/>
                  </a:lnTo>
                  <a:lnTo>
                    <a:pt x="910140" y="567052"/>
                  </a:lnTo>
                  <a:lnTo>
                    <a:pt x="900608" y="571816"/>
                  </a:lnTo>
                  <a:lnTo>
                    <a:pt x="895844" y="576582"/>
                  </a:lnTo>
                  <a:lnTo>
                    <a:pt x="876784" y="571816"/>
                  </a:lnTo>
                  <a:lnTo>
                    <a:pt x="872016" y="590876"/>
                  </a:lnTo>
                  <a:lnTo>
                    <a:pt x="862488" y="609938"/>
                  </a:lnTo>
                  <a:lnTo>
                    <a:pt x="862488" y="624232"/>
                  </a:lnTo>
                  <a:lnTo>
                    <a:pt x="867252" y="638528"/>
                  </a:lnTo>
                  <a:lnTo>
                    <a:pt x="862488" y="643294"/>
                  </a:lnTo>
                  <a:lnTo>
                    <a:pt x="857720" y="648058"/>
                  </a:lnTo>
                  <a:lnTo>
                    <a:pt x="843428" y="657588"/>
                  </a:lnTo>
                  <a:lnTo>
                    <a:pt x="833896" y="681414"/>
                  </a:lnTo>
                  <a:lnTo>
                    <a:pt x="833896" y="705240"/>
                  </a:lnTo>
                  <a:lnTo>
                    <a:pt x="838660" y="714770"/>
                  </a:lnTo>
                  <a:lnTo>
                    <a:pt x="848192" y="714770"/>
                  </a:lnTo>
                  <a:lnTo>
                    <a:pt x="852956" y="724300"/>
                  </a:lnTo>
                  <a:lnTo>
                    <a:pt x="857720" y="733830"/>
                  </a:lnTo>
                  <a:lnTo>
                    <a:pt x="862488" y="748126"/>
                  </a:lnTo>
                  <a:lnTo>
                    <a:pt x="857720" y="767186"/>
                  </a:lnTo>
                  <a:lnTo>
                    <a:pt x="838660" y="791012"/>
                  </a:lnTo>
                  <a:lnTo>
                    <a:pt x="838660" y="805308"/>
                  </a:lnTo>
                  <a:lnTo>
                    <a:pt x="848192" y="810072"/>
                  </a:lnTo>
                  <a:lnTo>
                    <a:pt x="857720" y="805308"/>
                  </a:lnTo>
                  <a:lnTo>
                    <a:pt x="867252" y="800542"/>
                  </a:lnTo>
                  <a:lnTo>
                    <a:pt x="881548" y="791012"/>
                  </a:lnTo>
                  <a:lnTo>
                    <a:pt x="910140" y="776716"/>
                  </a:lnTo>
                  <a:lnTo>
                    <a:pt x="936348" y="771952"/>
                  </a:lnTo>
                  <a:lnTo>
                    <a:pt x="960172" y="767186"/>
                  </a:lnTo>
                  <a:lnTo>
                    <a:pt x="983996" y="767186"/>
                  </a:lnTo>
                  <a:lnTo>
                    <a:pt x="993528" y="771952"/>
                  </a:lnTo>
                  <a:lnTo>
                    <a:pt x="993528" y="776716"/>
                  </a:lnTo>
                  <a:lnTo>
                    <a:pt x="1022120" y="767186"/>
                  </a:lnTo>
                  <a:lnTo>
                    <a:pt x="1031648" y="767186"/>
                  </a:lnTo>
                  <a:lnTo>
                    <a:pt x="1036416" y="767186"/>
                  </a:lnTo>
                  <a:lnTo>
                    <a:pt x="1036416" y="771952"/>
                  </a:lnTo>
                  <a:lnTo>
                    <a:pt x="1012588" y="795778"/>
                  </a:lnTo>
                  <a:lnTo>
                    <a:pt x="1012588" y="805308"/>
                  </a:lnTo>
                  <a:lnTo>
                    <a:pt x="1012588" y="814838"/>
                  </a:lnTo>
                  <a:lnTo>
                    <a:pt x="1017352" y="824368"/>
                  </a:lnTo>
                  <a:lnTo>
                    <a:pt x="1026884" y="833898"/>
                  </a:lnTo>
                  <a:lnTo>
                    <a:pt x="1036416" y="852958"/>
                  </a:lnTo>
                  <a:lnTo>
                    <a:pt x="1031648" y="872020"/>
                  </a:lnTo>
                  <a:lnTo>
                    <a:pt x="1031648" y="876784"/>
                  </a:lnTo>
                  <a:lnTo>
                    <a:pt x="1036416" y="886314"/>
                  </a:lnTo>
                  <a:lnTo>
                    <a:pt x="1041180" y="895844"/>
                  </a:lnTo>
                  <a:lnTo>
                    <a:pt x="1041180" y="905376"/>
                  </a:lnTo>
                  <a:lnTo>
                    <a:pt x="1041180" y="924436"/>
                  </a:lnTo>
                  <a:lnTo>
                    <a:pt x="1069768" y="938732"/>
                  </a:lnTo>
                  <a:lnTo>
                    <a:pt x="1093596" y="943496"/>
                  </a:lnTo>
                  <a:lnTo>
                    <a:pt x="1112656" y="943496"/>
                  </a:lnTo>
                  <a:lnTo>
                    <a:pt x="1126952" y="948262"/>
                  </a:lnTo>
                  <a:lnTo>
                    <a:pt x="1131716" y="953026"/>
                  </a:lnTo>
                  <a:lnTo>
                    <a:pt x="1136480" y="957792"/>
                  </a:lnTo>
                  <a:lnTo>
                    <a:pt x="1141248" y="967322"/>
                  </a:lnTo>
                  <a:lnTo>
                    <a:pt x="1131716" y="972086"/>
                  </a:lnTo>
                  <a:lnTo>
                    <a:pt x="1122188" y="986382"/>
                  </a:lnTo>
                  <a:lnTo>
                    <a:pt x="1112656" y="1010208"/>
                  </a:lnTo>
                  <a:lnTo>
                    <a:pt x="1112656" y="1029268"/>
                  </a:lnTo>
                  <a:lnTo>
                    <a:pt x="1112656" y="1043564"/>
                  </a:lnTo>
                  <a:lnTo>
                    <a:pt x="1098360" y="1067390"/>
                  </a:lnTo>
                  <a:lnTo>
                    <a:pt x="1093596" y="1081684"/>
                  </a:lnTo>
                  <a:lnTo>
                    <a:pt x="1088832" y="1095980"/>
                  </a:lnTo>
                  <a:lnTo>
                    <a:pt x="1088832" y="1100746"/>
                  </a:lnTo>
                  <a:lnTo>
                    <a:pt x="1088832" y="1105510"/>
                  </a:lnTo>
                  <a:lnTo>
                    <a:pt x="1098360" y="1110276"/>
                  </a:lnTo>
                  <a:lnTo>
                    <a:pt x="1107892" y="1110276"/>
                  </a:lnTo>
                  <a:lnTo>
                    <a:pt x="1122188" y="1110276"/>
                  </a:lnTo>
                  <a:lnTo>
                    <a:pt x="1155544" y="1115040"/>
                  </a:lnTo>
                  <a:lnTo>
                    <a:pt x="1188900" y="1119806"/>
                  </a:lnTo>
                  <a:lnTo>
                    <a:pt x="1203192" y="1124572"/>
                  </a:lnTo>
                  <a:lnTo>
                    <a:pt x="1207960" y="1129336"/>
                  </a:lnTo>
                  <a:lnTo>
                    <a:pt x="1207960" y="1143632"/>
                  </a:lnTo>
                  <a:lnTo>
                    <a:pt x="1203192" y="1157926"/>
                  </a:lnTo>
                  <a:lnTo>
                    <a:pt x="1207960" y="1167458"/>
                  </a:lnTo>
                  <a:lnTo>
                    <a:pt x="1212724" y="1176988"/>
                  </a:lnTo>
                  <a:lnTo>
                    <a:pt x="1222256" y="1181752"/>
                  </a:lnTo>
                  <a:lnTo>
                    <a:pt x="1231784" y="1186518"/>
                  </a:lnTo>
                  <a:lnTo>
                    <a:pt x="1231784" y="1191282"/>
                  </a:lnTo>
                  <a:lnTo>
                    <a:pt x="1231784" y="1200812"/>
                  </a:lnTo>
                  <a:lnTo>
                    <a:pt x="1236548" y="1210344"/>
                  </a:lnTo>
                  <a:lnTo>
                    <a:pt x="1241316" y="1215108"/>
                  </a:lnTo>
                  <a:lnTo>
                    <a:pt x="1250844" y="1219874"/>
                  </a:lnTo>
                  <a:lnTo>
                    <a:pt x="1269904" y="1210344"/>
                  </a:lnTo>
                  <a:lnTo>
                    <a:pt x="1288968" y="1215108"/>
                  </a:lnTo>
                  <a:lnTo>
                    <a:pt x="1298496" y="1219874"/>
                  </a:lnTo>
                  <a:lnTo>
                    <a:pt x="1312792" y="1215108"/>
                  </a:lnTo>
                  <a:lnTo>
                    <a:pt x="1322320" y="1210344"/>
                  </a:lnTo>
                  <a:lnTo>
                    <a:pt x="1346148" y="1186518"/>
                  </a:lnTo>
                  <a:lnTo>
                    <a:pt x="1374740" y="1172222"/>
                  </a:lnTo>
                  <a:lnTo>
                    <a:pt x="1384268" y="1167458"/>
                  </a:lnTo>
                  <a:lnTo>
                    <a:pt x="1393800" y="1172222"/>
                  </a:lnTo>
                  <a:lnTo>
                    <a:pt x="1393800" y="1176988"/>
                  </a:lnTo>
                  <a:lnTo>
                    <a:pt x="1398564" y="1196048"/>
                  </a:lnTo>
                  <a:lnTo>
                    <a:pt x="1393800" y="1200812"/>
                  </a:lnTo>
                  <a:lnTo>
                    <a:pt x="1384268" y="1215108"/>
                  </a:lnTo>
                  <a:lnTo>
                    <a:pt x="1360444" y="1234168"/>
                  </a:lnTo>
                  <a:lnTo>
                    <a:pt x="1346148" y="1243700"/>
                  </a:lnTo>
                  <a:lnTo>
                    <a:pt x="1336616" y="1243700"/>
                  </a:lnTo>
                  <a:lnTo>
                    <a:pt x="1327088" y="1253230"/>
                  </a:lnTo>
                  <a:lnTo>
                    <a:pt x="1322320" y="1272290"/>
                  </a:lnTo>
                  <a:lnTo>
                    <a:pt x="1312792" y="1286586"/>
                  </a:lnTo>
                  <a:lnTo>
                    <a:pt x="1303260" y="1291350"/>
                  </a:lnTo>
                  <a:lnTo>
                    <a:pt x="1303260" y="1296116"/>
                  </a:lnTo>
                  <a:lnTo>
                    <a:pt x="1298496" y="1310410"/>
                  </a:lnTo>
                  <a:lnTo>
                    <a:pt x="1303260" y="1315176"/>
                  </a:lnTo>
                  <a:lnTo>
                    <a:pt x="1312792" y="1315176"/>
                  </a:lnTo>
                  <a:lnTo>
                    <a:pt x="1312792" y="1319942"/>
                  </a:lnTo>
                  <a:lnTo>
                    <a:pt x="1303260" y="1324706"/>
                  </a:lnTo>
                  <a:lnTo>
                    <a:pt x="1293732" y="1329472"/>
                  </a:lnTo>
                  <a:lnTo>
                    <a:pt x="1279436" y="1324706"/>
                  </a:lnTo>
                  <a:lnTo>
                    <a:pt x="1269904" y="1329472"/>
                  </a:lnTo>
                  <a:lnTo>
                    <a:pt x="1255612" y="1339002"/>
                  </a:lnTo>
                  <a:lnTo>
                    <a:pt x="1246080" y="1362828"/>
                  </a:lnTo>
                  <a:lnTo>
                    <a:pt x="1236548" y="1400948"/>
                  </a:lnTo>
                  <a:lnTo>
                    <a:pt x="1236548" y="1410478"/>
                  </a:lnTo>
                  <a:lnTo>
                    <a:pt x="1217488" y="1400948"/>
                  </a:lnTo>
                  <a:lnTo>
                    <a:pt x="1207960" y="1391418"/>
                  </a:lnTo>
                  <a:lnTo>
                    <a:pt x="1198428" y="1391418"/>
                  </a:lnTo>
                  <a:lnTo>
                    <a:pt x="1188900" y="1396184"/>
                  </a:lnTo>
                  <a:lnTo>
                    <a:pt x="1184132" y="1405714"/>
                  </a:lnTo>
                  <a:lnTo>
                    <a:pt x="1174604" y="1410478"/>
                  </a:lnTo>
                  <a:lnTo>
                    <a:pt x="1160308" y="1410478"/>
                  </a:lnTo>
                  <a:lnTo>
                    <a:pt x="1146012" y="1405714"/>
                  </a:lnTo>
                  <a:lnTo>
                    <a:pt x="1131716" y="1400948"/>
                  </a:lnTo>
                  <a:lnTo>
                    <a:pt x="1131716" y="1405714"/>
                  </a:lnTo>
                  <a:lnTo>
                    <a:pt x="1136480" y="1420008"/>
                  </a:lnTo>
                  <a:lnTo>
                    <a:pt x="1141248" y="1429540"/>
                  </a:lnTo>
                  <a:lnTo>
                    <a:pt x="1136480" y="1439070"/>
                  </a:lnTo>
                  <a:lnTo>
                    <a:pt x="1131716" y="1443834"/>
                  </a:lnTo>
                  <a:lnTo>
                    <a:pt x="1122188" y="1448600"/>
                  </a:lnTo>
                  <a:lnTo>
                    <a:pt x="1112656" y="1448600"/>
                  </a:lnTo>
                  <a:lnTo>
                    <a:pt x="1103124" y="1448600"/>
                  </a:lnTo>
                  <a:lnTo>
                    <a:pt x="1093596" y="1443834"/>
                  </a:lnTo>
                  <a:lnTo>
                    <a:pt x="1079300" y="1443834"/>
                  </a:lnTo>
                  <a:lnTo>
                    <a:pt x="1074536" y="1448600"/>
                  </a:lnTo>
                  <a:lnTo>
                    <a:pt x="1065004" y="1448600"/>
                  </a:lnTo>
                  <a:lnTo>
                    <a:pt x="1065004" y="1453364"/>
                  </a:lnTo>
                  <a:lnTo>
                    <a:pt x="1060240" y="1486720"/>
                  </a:lnTo>
                  <a:lnTo>
                    <a:pt x="1055476" y="1496250"/>
                  </a:lnTo>
                  <a:lnTo>
                    <a:pt x="1045944" y="1501016"/>
                  </a:lnTo>
                  <a:lnTo>
                    <a:pt x="1041180" y="1501016"/>
                  </a:lnTo>
                  <a:lnTo>
                    <a:pt x="1031648" y="1501016"/>
                  </a:lnTo>
                  <a:lnTo>
                    <a:pt x="1022120" y="1501016"/>
                  </a:lnTo>
                  <a:lnTo>
                    <a:pt x="979232" y="1510546"/>
                  </a:lnTo>
                  <a:lnTo>
                    <a:pt x="974468" y="1515312"/>
                  </a:lnTo>
                  <a:lnTo>
                    <a:pt x="960172" y="1515312"/>
                  </a:lnTo>
                  <a:lnTo>
                    <a:pt x="950640" y="1515312"/>
                  </a:lnTo>
                  <a:lnTo>
                    <a:pt x="941112" y="1515312"/>
                  </a:lnTo>
                  <a:lnTo>
                    <a:pt x="924432" y="1501016"/>
                  </a:lnTo>
                  <a:lnTo>
                    <a:pt x="914904" y="1501016"/>
                  </a:lnTo>
                  <a:lnTo>
                    <a:pt x="910140" y="1505782"/>
                  </a:lnTo>
                  <a:lnTo>
                    <a:pt x="905372" y="1520076"/>
                  </a:lnTo>
                  <a:lnTo>
                    <a:pt x="895844" y="1529606"/>
                  </a:lnTo>
                  <a:lnTo>
                    <a:pt x="876784" y="1553432"/>
                  </a:lnTo>
                  <a:lnTo>
                    <a:pt x="876784" y="1586788"/>
                  </a:lnTo>
                  <a:lnTo>
                    <a:pt x="876784" y="1605848"/>
                  </a:lnTo>
                  <a:lnTo>
                    <a:pt x="862488" y="1629674"/>
                  </a:lnTo>
                  <a:lnTo>
                    <a:pt x="862488" y="1639204"/>
                  </a:lnTo>
                  <a:lnTo>
                    <a:pt x="867252" y="1691620"/>
                  </a:lnTo>
                  <a:lnTo>
                    <a:pt x="867252" y="1696386"/>
                  </a:lnTo>
                  <a:lnTo>
                    <a:pt x="862488" y="1701152"/>
                  </a:lnTo>
                  <a:lnTo>
                    <a:pt x="857720" y="1701152"/>
                  </a:lnTo>
                  <a:lnTo>
                    <a:pt x="838660" y="1705916"/>
                  </a:lnTo>
                  <a:lnTo>
                    <a:pt x="833896" y="1710682"/>
                  </a:lnTo>
                  <a:lnTo>
                    <a:pt x="824364" y="1710682"/>
                  </a:lnTo>
                  <a:lnTo>
                    <a:pt x="814836" y="1705916"/>
                  </a:lnTo>
                  <a:lnTo>
                    <a:pt x="810072" y="1705916"/>
                  </a:lnTo>
                  <a:lnTo>
                    <a:pt x="810072" y="1710682"/>
                  </a:lnTo>
                  <a:lnTo>
                    <a:pt x="819600" y="1734508"/>
                  </a:lnTo>
                  <a:lnTo>
                    <a:pt x="833896" y="1744038"/>
                  </a:lnTo>
                  <a:lnTo>
                    <a:pt x="843428" y="1744038"/>
                  </a:lnTo>
                  <a:lnTo>
                    <a:pt x="848192" y="1744038"/>
                  </a:lnTo>
                  <a:lnTo>
                    <a:pt x="848192" y="1748802"/>
                  </a:lnTo>
                  <a:lnTo>
                    <a:pt x="852956" y="1763098"/>
                  </a:lnTo>
                  <a:lnTo>
                    <a:pt x="862488" y="1786924"/>
                  </a:lnTo>
                  <a:lnTo>
                    <a:pt x="867252" y="1805984"/>
                  </a:lnTo>
                  <a:lnTo>
                    <a:pt x="857720" y="1820280"/>
                  </a:lnTo>
                  <a:lnTo>
                    <a:pt x="862488" y="1825044"/>
                  </a:lnTo>
                  <a:lnTo>
                    <a:pt x="862488" y="1829810"/>
                  </a:lnTo>
                  <a:lnTo>
                    <a:pt x="876784" y="1844106"/>
                  </a:lnTo>
                  <a:lnTo>
                    <a:pt x="895844" y="1867930"/>
                  </a:lnTo>
                  <a:lnTo>
                    <a:pt x="914904" y="1896522"/>
                  </a:lnTo>
                  <a:lnTo>
                    <a:pt x="931580" y="1915582"/>
                  </a:lnTo>
                  <a:lnTo>
                    <a:pt x="945876" y="1934642"/>
                  </a:lnTo>
                  <a:lnTo>
                    <a:pt x="974468" y="1958468"/>
                  </a:lnTo>
                  <a:lnTo>
                    <a:pt x="979232" y="1972764"/>
                  </a:lnTo>
                  <a:lnTo>
                    <a:pt x="979232" y="2001354"/>
                  </a:lnTo>
                  <a:lnTo>
                    <a:pt x="988764" y="2015650"/>
                  </a:lnTo>
                  <a:lnTo>
                    <a:pt x="993528" y="2025180"/>
                  </a:lnTo>
                  <a:lnTo>
                    <a:pt x="998292" y="2034710"/>
                  </a:lnTo>
                  <a:lnTo>
                    <a:pt x="1007824" y="2068066"/>
                  </a:lnTo>
                  <a:lnTo>
                    <a:pt x="1012588" y="2068066"/>
                  </a:lnTo>
                  <a:lnTo>
                    <a:pt x="1036416" y="2053770"/>
                  </a:lnTo>
                  <a:lnTo>
                    <a:pt x="1041180" y="2053770"/>
                  </a:lnTo>
                  <a:lnTo>
                    <a:pt x="1045944" y="2063300"/>
                  </a:lnTo>
                  <a:lnTo>
                    <a:pt x="1045944" y="2072832"/>
                  </a:lnTo>
                  <a:lnTo>
                    <a:pt x="1041180" y="2082362"/>
                  </a:lnTo>
                  <a:lnTo>
                    <a:pt x="1031648" y="2091892"/>
                  </a:lnTo>
                  <a:lnTo>
                    <a:pt x="998292" y="2110952"/>
                  </a:lnTo>
                  <a:lnTo>
                    <a:pt x="993528" y="2130012"/>
                  </a:lnTo>
                  <a:lnTo>
                    <a:pt x="993528" y="2158604"/>
                  </a:lnTo>
                  <a:lnTo>
                    <a:pt x="993528" y="2191960"/>
                  </a:lnTo>
                  <a:lnTo>
                    <a:pt x="993528" y="2215784"/>
                  </a:lnTo>
                  <a:lnTo>
                    <a:pt x="993528" y="2220550"/>
                  </a:lnTo>
                  <a:lnTo>
                    <a:pt x="988764" y="2225316"/>
                  </a:lnTo>
                  <a:lnTo>
                    <a:pt x="974468" y="2225316"/>
                  </a:lnTo>
                  <a:lnTo>
                    <a:pt x="955408" y="2234846"/>
                  </a:lnTo>
                  <a:lnTo>
                    <a:pt x="950640" y="2239610"/>
                  </a:lnTo>
                  <a:lnTo>
                    <a:pt x="941112" y="2244376"/>
                  </a:lnTo>
                  <a:lnTo>
                    <a:pt x="936348" y="2249140"/>
                  </a:lnTo>
                  <a:lnTo>
                    <a:pt x="931580" y="2258672"/>
                  </a:lnTo>
                  <a:lnTo>
                    <a:pt x="936348" y="2287262"/>
                  </a:lnTo>
                  <a:lnTo>
                    <a:pt x="941112" y="2311088"/>
                  </a:lnTo>
                  <a:lnTo>
                    <a:pt x="955408" y="2330148"/>
                  </a:lnTo>
                  <a:lnTo>
                    <a:pt x="969704" y="2344444"/>
                  </a:lnTo>
                  <a:lnTo>
                    <a:pt x="983996" y="2368268"/>
                  </a:lnTo>
                  <a:lnTo>
                    <a:pt x="993528" y="2387330"/>
                  </a:lnTo>
                  <a:lnTo>
                    <a:pt x="1017352" y="2406390"/>
                  </a:lnTo>
                  <a:lnTo>
                    <a:pt x="1050708" y="2434980"/>
                  </a:lnTo>
                  <a:lnTo>
                    <a:pt x="1065004" y="2449276"/>
                  </a:lnTo>
                  <a:lnTo>
                    <a:pt x="1074536" y="2473102"/>
                  </a:lnTo>
                  <a:lnTo>
                    <a:pt x="1084064" y="2487398"/>
                  </a:lnTo>
                  <a:lnTo>
                    <a:pt x="1084064" y="2511224"/>
                  </a:lnTo>
                  <a:lnTo>
                    <a:pt x="1088832" y="2525518"/>
                  </a:lnTo>
                  <a:lnTo>
                    <a:pt x="1088832" y="2568404"/>
                  </a:lnTo>
                  <a:lnTo>
                    <a:pt x="1084064" y="2577934"/>
                  </a:lnTo>
                  <a:lnTo>
                    <a:pt x="1079300" y="2587464"/>
                  </a:lnTo>
                  <a:lnTo>
                    <a:pt x="1079300" y="2596996"/>
                  </a:lnTo>
                  <a:lnTo>
                    <a:pt x="1088832" y="2611290"/>
                  </a:lnTo>
                  <a:lnTo>
                    <a:pt x="1088832" y="2620820"/>
                  </a:lnTo>
                  <a:lnTo>
                    <a:pt x="1093596" y="2644646"/>
                  </a:lnTo>
                  <a:lnTo>
                    <a:pt x="1107892" y="2658942"/>
                  </a:lnTo>
                  <a:lnTo>
                    <a:pt x="1117420" y="2668472"/>
                  </a:lnTo>
                  <a:lnTo>
                    <a:pt x="1122188" y="2678002"/>
                  </a:lnTo>
                  <a:lnTo>
                    <a:pt x="1122188" y="2687532"/>
                  </a:lnTo>
                  <a:lnTo>
                    <a:pt x="1126952" y="2701828"/>
                  </a:lnTo>
                  <a:lnTo>
                    <a:pt x="1126952" y="2716124"/>
                  </a:lnTo>
                  <a:lnTo>
                    <a:pt x="1131716" y="2735184"/>
                  </a:lnTo>
                  <a:lnTo>
                    <a:pt x="1141248" y="2749480"/>
                  </a:lnTo>
                  <a:lnTo>
                    <a:pt x="1155544" y="2797130"/>
                  </a:lnTo>
                  <a:lnTo>
                    <a:pt x="1155544" y="2801896"/>
                  </a:lnTo>
                  <a:lnTo>
                    <a:pt x="1150776" y="2816192"/>
                  </a:lnTo>
                  <a:lnTo>
                    <a:pt x="1141248" y="2820956"/>
                  </a:lnTo>
                  <a:lnTo>
                    <a:pt x="1136480" y="2825722"/>
                  </a:lnTo>
                  <a:lnTo>
                    <a:pt x="1131716" y="2835252"/>
                  </a:lnTo>
                  <a:lnTo>
                    <a:pt x="1117420" y="2859078"/>
                  </a:lnTo>
                  <a:lnTo>
                    <a:pt x="1088832" y="2906728"/>
                  </a:lnTo>
                  <a:lnTo>
                    <a:pt x="1065004" y="2935320"/>
                  </a:lnTo>
                  <a:lnTo>
                    <a:pt x="1041180" y="2959144"/>
                  </a:lnTo>
                  <a:lnTo>
                    <a:pt x="1026884" y="2968676"/>
                  </a:lnTo>
                  <a:lnTo>
                    <a:pt x="1022120" y="2978206"/>
                  </a:lnTo>
                  <a:lnTo>
                    <a:pt x="1022120" y="2982970"/>
                  </a:lnTo>
                  <a:lnTo>
                    <a:pt x="1026884" y="2992500"/>
                  </a:lnTo>
                  <a:lnTo>
                    <a:pt x="1026884" y="3011562"/>
                  </a:lnTo>
                  <a:lnTo>
                    <a:pt x="1022120" y="3025856"/>
                  </a:lnTo>
                  <a:lnTo>
                    <a:pt x="1017352" y="3040152"/>
                  </a:lnTo>
                  <a:lnTo>
                    <a:pt x="1012588" y="3049682"/>
                  </a:lnTo>
                  <a:lnTo>
                    <a:pt x="1007824" y="3054448"/>
                  </a:lnTo>
                  <a:lnTo>
                    <a:pt x="993528" y="3078272"/>
                  </a:lnTo>
                  <a:lnTo>
                    <a:pt x="983996" y="3063978"/>
                  </a:lnTo>
                  <a:lnTo>
                    <a:pt x="983996" y="3054448"/>
                  </a:lnTo>
                  <a:lnTo>
                    <a:pt x="988764" y="3025856"/>
                  </a:lnTo>
                  <a:lnTo>
                    <a:pt x="979232" y="2973440"/>
                  </a:lnTo>
                  <a:lnTo>
                    <a:pt x="983996" y="2968676"/>
                  </a:lnTo>
                  <a:lnTo>
                    <a:pt x="988764" y="2963910"/>
                  </a:lnTo>
                  <a:lnTo>
                    <a:pt x="998292" y="2944850"/>
                  </a:lnTo>
                  <a:lnTo>
                    <a:pt x="1012588" y="2925788"/>
                  </a:lnTo>
                  <a:lnTo>
                    <a:pt x="1012588" y="2901964"/>
                  </a:lnTo>
                  <a:lnTo>
                    <a:pt x="1022120" y="2882902"/>
                  </a:lnTo>
                  <a:lnTo>
                    <a:pt x="1017352" y="2868608"/>
                  </a:lnTo>
                  <a:lnTo>
                    <a:pt x="1017352" y="2854312"/>
                  </a:lnTo>
                  <a:lnTo>
                    <a:pt x="1022120" y="2840016"/>
                  </a:lnTo>
                  <a:lnTo>
                    <a:pt x="1022120" y="2830486"/>
                  </a:lnTo>
                  <a:lnTo>
                    <a:pt x="1026884" y="2816192"/>
                  </a:lnTo>
                  <a:lnTo>
                    <a:pt x="1041180" y="2806660"/>
                  </a:lnTo>
                  <a:lnTo>
                    <a:pt x="1036416" y="2806660"/>
                  </a:lnTo>
                  <a:lnTo>
                    <a:pt x="1031648" y="2797130"/>
                  </a:lnTo>
                  <a:lnTo>
                    <a:pt x="1012588" y="2806660"/>
                  </a:lnTo>
                  <a:lnTo>
                    <a:pt x="1003060" y="2806660"/>
                  </a:lnTo>
                  <a:lnTo>
                    <a:pt x="1003060" y="2797130"/>
                  </a:lnTo>
                  <a:lnTo>
                    <a:pt x="1003060" y="2782836"/>
                  </a:lnTo>
                  <a:lnTo>
                    <a:pt x="1007824" y="2778070"/>
                  </a:lnTo>
                  <a:lnTo>
                    <a:pt x="1012588" y="2768540"/>
                  </a:lnTo>
                  <a:lnTo>
                    <a:pt x="1012588" y="2754244"/>
                  </a:lnTo>
                  <a:lnTo>
                    <a:pt x="1007824" y="2744714"/>
                  </a:lnTo>
                  <a:lnTo>
                    <a:pt x="1012588" y="2725654"/>
                  </a:lnTo>
                  <a:lnTo>
                    <a:pt x="1003060" y="2725654"/>
                  </a:lnTo>
                  <a:lnTo>
                    <a:pt x="998292" y="2725654"/>
                  </a:lnTo>
                  <a:lnTo>
                    <a:pt x="1003060" y="2716124"/>
                  </a:lnTo>
                  <a:lnTo>
                    <a:pt x="1012588" y="2706592"/>
                  </a:lnTo>
                  <a:lnTo>
                    <a:pt x="1003060" y="2692298"/>
                  </a:lnTo>
                  <a:lnTo>
                    <a:pt x="1007824" y="2678002"/>
                  </a:lnTo>
                  <a:lnTo>
                    <a:pt x="1007824" y="2658942"/>
                  </a:lnTo>
                  <a:lnTo>
                    <a:pt x="1003060" y="2639882"/>
                  </a:lnTo>
                  <a:lnTo>
                    <a:pt x="1003060" y="2630352"/>
                  </a:lnTo>
                  <a:lnTo>
                    <a:pt x="998292" y="2606526"/>
                  </a:lnTo>
                  <a:lnTo>
                    <a:pt x="993528" y="2577934"/>
                  </a:lnTo>
                  <a:lnTo>
                    <a:pt x="979232" y="2558874"/>
                  </a:lnTo>
                  <a:lnTo>
                    <a:pt x="969704" y="2525518"/>
                  </a:lnTo>
                  <a:lnTo>
                    <a:pt x="941112" y="2487398"/>
                  </a:lnTo>
                  <a:lnTo>
                    <a:pt x="941112" y="2468336"/>
                  </a:lnTo>
                  <a:lnTo>
                    <a:pt x="941112" y="2454042"/>
                  </a:lnTo>
                  <a:lnTo>
                    <a:pt x="936348" y="2444512"/>
                  </a:lnTo>
                  <a:lnTo>
                    <a:pt x="929200" y="2501692"/>
                  </a:lnTo>
                  <a:lnTo>
                    <a:pt x="924432" y="2487398"/>
                  </a:lnTo>
                  <a:lnTo>
                    <a:pt x="924432" y="2458806"/>
                  </a:lnTo>
                  <a:lnTo>
                    <a:pt x="919668" y="2444512"/>
                  </a:lnTo>
                  <a:lnTo>
                    <a:pt x="924432" y="2415920"/>
                  </a:lnTo>
                  <a:lnTo>
                    <a:pt x="905372" y="2387330"/>
                  </a:lnTo>
                  <a:lnTo>
                    <a:pt x="905372" y="2368268"/>
                  </a:lnTo>
                  <a:lnTo>
                    <a:pt x="891076" y="2339678"/>
                  </a:lnTo>
                  <a:lnTo>
                    <a:pt x="895844" y="2330148"/>
                  </a:lnTo>
                  <a:lnTo>
                    <a:pt x="910140" y="2339678"/>
                  </a:lnTo>
                  <a:lnTo>
                    <a:pt x="895844" y="2320618"/>
                  </a:lnTo>
                  <a:lnTo>
                    <a:pt x="886312" y="2325384"/>
                  </a:lnTo>
                  <a:lnTo>
                    <a:pt x="876784" y="2306322"/>
                  </a:lnTo>
                  <a:lnTo>
                    <a:pt x="876784" y="2253906"/>
                  </a:lnTo>
                  <a:lnTo>
                    <a:pt x="867252" y="2230080"/>
                  </a:lnTo>
                  <a:lnTo>
                    <a:pt x="872016" y="2211020"/>
                  </a:lnTo>
                  <a:lnTo>
                    <a:pt x="862488" y="2139544"/>
                  </a:lnTo>
                  <a:lnTo>
                    <a:pt x="843428" y="2115718"/>
                  </a:lnTo>
                  <a:lnTo>
                    <a:pt x="843428" y="2096656"/>
                  </a:lnTo>
                  <a:lnTo>
                    <a:pt x="852956" y="2077596"/>
                  </a:lnTo>
                  <a:lnTo>
                    <a:pt x="848192" y="2044240"/>
                  </a:lnTo>
                  <a:lnTo>
                    <a:pt x="852956" y="2034710"/>
                  </a:lnTo>
                  <a:lnTo>
                    <a:pt x="862488" y="2025180"/>
                  </a:lnTo>
                  <a:lnTo>
                    <a:pt x="857720" y="2029946"/>
                  </a:lnTo>
                  <a:lnTo>
                    <a:pt x="848192" y="2034710"/>
                  </a:lnTo>
                  <a:lnTo>
                    <a:pt x="829132" y="2034710"/>
                  </a:lnTo>
                  <a:lnTo>
                    <a:pt x="810072" y="2034710"/>
                  </a:lnTo>
                  <a:lnTo>
                    <a:pt x="800540" y="2010884"/>
                  </a:lnTo>
                  <a:lnTo>
                    <a:pt x="791008" y="1996590"/>
                  </a:lnTo>
                  <a:lnTo>
                    <a:pt x="781480" y="1972764"/>
                  </a:lnTo>
                  <a:lnTo>
                    <a:pt x="776716" y="1944172"/>
                  </a:lnTo>
                  <a:lnTo>
                    <a:pt x="781480" y="1939408"/>
                  </a:lnTo>
                  <a:lnTo>
                    <a:pt x="767184" y="1929878"/>
                  </a:lnTo>
                  <a:lnTo>
                    <a:pt x="762420" y="1925112"/>
                  </a:lnTo>
                  <a:lnTo>
                    <a:pt x="748124" y="1906052"/>
                  </a:lnTo>
                  <a:lnTo>
                    <a:pt x="729064" y="1891756"/>
                  </a:lnTo>
                  <a:lnTo>
                    <a:pt x="729064" y="1901286"/>
                  </a:lnTo>
                  <a:lnTo>
                    <a:pt x="738592" y="1906052"/>
                  </a:lnTo>
                  <a:lnTo>
                    <a:pt x="729064" y="1925112"/>
                  </a:lnTo>
                  <a:lnTo>
                    <a:pt x="738592" y="1953704"/>
                  </a:lnTo>
                  <a:lnTo>
                    <a:pt x="729064" y="1967998"/>
                  </a:lnTo>
                  <a:lnTo>
                    <a:pt x="719532" y="1991824"/>
                  </a:lnTo>
                  <a:lnTo>
                    <a:pt x="714768" y="2006120"/>
                  </a:lnTo>
                  <a:lnTo>
                    <a:pt x="690944" y="2029946"/>
                  </a:lnTo>
                  <a:lnTo>
                    <a:pt x="671880" y="2034710"/>
                  </a:lnTo>
                  <a:lnTo>
                    <a:pt x="662352" y="2039476"/>
                  </a:lnTo>
                  <a:lnTo>
                    <a:pt x="652820" y="2034710"/>
                  </a:lnTo>
                  <a:lnTo>
                    <a:pt x="638524" y="2020414"/>
                  </a:lnTo>
                  <a:lnTo>
                    <a:pt x="633760" y="2010884"/>
                  </a:lnTo>
                  <a:lnTo>
                    <a:pt x="633760" y="1996590"/>
                  </a:lnTo>
                  <a:lnTo>
                    <a:pt x="628996" y="1991824"/>
                  </a:lnTo>
                  <a:lnTo>
                    <a:pt x="624232" y="1996590"/>
                  </a:lnTo>
                  <a:lnTo>
                    <a:pt x="633760" y="2015650"/>
                  </a:lnTo>
                  <a:lnTo>
                    <a:pt x="628996" y="2025180"/>
                  </a:lnTo>
                  <a:lnTo>
                    <a:pt x="643292" y="2049006"/>
                  </a:lnTo>
                  <a:lnTo>
                    <a:pt x="638524" y="2053770"/>
                  </a:lnTo>
                  <a:lnTo>
                    <a:pt x="614700" y="2063300"/>
                  </a:lnTo>
                  <a:lnTo>
                    <a:pt x="605168" y="2063300"/>
                  </a:lnTo>
                  <a:lnTo>
                    <a:pt x="600404" y="2063300"/>
                  </a:lnTo>
                  <a:lnTo>
                    <a:pt x="600404" y="2072832"/>
                  </a:lnTo>
                  <a:lnTo>
                    <a:pt x="595640" y="2077596"/>
                  </a:lnTo>
                  <a:lnTo>
                    <a:pt x="557520" y="2091892"/>
                  </a:lnTo>
                  <a:lnTo>
                    <a:pt x="547988" y="2106188"/>
                  </a:lnTo>
                  <a:lnTo>
                    <a:pt x="543224" y="2125248"/>
                  </a:lnTo>
                  <a:lnTo>
                    <a:pt x="524164" y="2144308"/>
                  </a:lnTo>
                  <a:lnTo>
                    <a:pt x="500336" y="2163368"/>
                  </a:lnTo>
                  <a:lnTo>
                    <a:pt x="490808" y="2163368"/>
                  </a:lnTo>
                  <a:lnTo>
                    <a:pt x="486040" y="2158604"/>
                  </a:lnTo>
                  <a:lnTo>
                    <a:pt x="486040" y="2139544"/>
                  </a:lnTo>
                  <a:lnTo>
                    <a:pt x="495572" y="2120482"/>
                  </a:lnTo>
                  <a:lnTo>
                    <a:pt x="490808" y="2101422"/>
                  </a:lnTo>
                  <a:lnTo>
                    <a:pt x="490808" y="2115718"/>
                  </a:lnTo>
                  <a:lnTo>
                    <a:pt x="471744" y="2139544"/>
                  </a:lnTo>
                  <a:lnTo>
                    <a:pt x="466980" y="2149074"/>
                  </a:lnTo>
                  <a:lnTo>
                    <a:pt x="452684" y="2144308"/>
                  </a:lnTo>
                  <a:lnTo>
                    <a:pt x="428860" y="2149074"/>
                  </a:lnTo>
                  <a:lnTo>
                    <a:pt x="419328" y="2125248"/>
                  </a:lnTo>
                  <a:lnTo>
                    <a:pt x="424096" y="2115718"/>
                  </a:lnTo>
                  <a:lnTo>
                    <a:pt x="419328" y="2106188"/>
                  </a:lnTo>
                  <a:lnTo>
                    <a:pt x="424096" y="2096656"/>
                  </a:lnTo>
                  <a:lnTo>
                    <a:pt x="424096" y="2091892"/>
                  </a:lnTo>
                  <a:lnTo>
                    <a:pt x="414564" y="2101422"/>
                  </a:lnTo>
                  <a:lnTo>
                    <a:pt x="414564" y="2115718"/>
                  </a:lnTo>
                  <a:lnTo>
                    <a:pt x="405036" y="2125248"/>
                  </a:lnTo>
                  <a:lnTo>
                    <a:pt x="385972" y="2134778"/>
                  </a:lnTo>
                  <a:lnTo>
                    <a:pt x="385972" y="2120482"/>
                  </a:lnTo>
                  <a:lnTo>
                    <a:pt x="385972" y="2110952"/>
                  </a:lnTo>
                  <a:lnTo>
                    <a:pt x="390740" y="2096656"/>
                  </a:lnTo>
                  <a:lnTo>
                    <a:pt x="385972" y="2082362"/>
                  </a:lnTo>
                  <a:lnTo>
                    <a:pt x="395504" y="2053770"/>
                  </a:lnTo>
                  <a:lnTo>
                    <a:pt x="395504" y="2044240"/>
                  </a:lnTo>
                  <a:lnTo>
                    <a:pt x="390740" y="2034710"/>
                  </a:lnTo>
                  <a:lnTo>
                    <a:pt x="385972" y="2049006"/>
                  </a:lnTo>
                  <a:lnTo>
                    <a:pt x="385972" y="2063300"/>
                  </a:lnTo>
                  <a:lnTo>
                    <a:pt x="381208" y="2068066"/>
                  </a:lnTo>
                  <a:lnTo>
                    <a:pt x="371680" y="2072832"/>
                  </a:lnTo>
                  <a:lnTo>
                    <a:pt x="357384" y="2091892"/>
                  </a:lnTo>
                  <a:lnTo>
                    <a:pt x="352616" y="2106188"/>
                  </a:lnTo>
                  <a:lnTo>
                    <a:pt x="328792" y="2120482"/>
                  </a:lnTo>
                  <a:lnTo>
                    <a:pt x="319260" y="2115718"/>
                  </a:lnTo>
                  <a:lnTo>
                    <a:pt x="314496" y="2101422"/>
                  </a:lnTo>
                  <a:lnTo>
                    <a:pt x="324028" y="2034710"/>
                  </a:lnTo>
                  <a:lnTo>
                    <a:pt x="333556" y="2025180"/>
                  </a:lnTo>
                  <a:lnTo>
                    <a:pt x="338324" y="2015650"/>
                  </a:lnTo>
                  <a:lnTo>
                    <a:pt x="343088" y="1977528"/>
                  </a:lnTo>
                  <a:lnTo>
                    <a:pt x="352616" y="1963234"/>
                  </a:lnTo>
                  <a:lnTo>
                    <a:pt x="357384" y="1934642"/>
                  </a:lnTo>
                  <a:lnTo>
                    <a:pt x="357384" y="1929878"/>
                  </a:lnTo>
                  <a:lnTo>
                    <a:pt x="371680" y="1906052"/>
                  </a:lnTo>
                  <a:lnTo>
                    <a:pt x="376444" y="1863166"/>
                  </a:lnTo>
                  <a:lnTo>
                    <a:pt x="371680" y="1844106"/>
                  </a:lnTo>
                  <a:lnTo>
                    <a:pt x="357384" y="1820280"/>
                  </a:lnTo>
                  <a:lnTo>
                    <a:pt x="347852" y="1758332"/>
                  </a:lnTo>
                  <a:lnTo>
                    <a:pt x="324028" y="1710682"/>
                  </a:lnTo>
                  <a:lnTo>
                    <a:pt x="319260" y="1691620"/>
                  </a:lnTo>
                  <a:lnTo>
                    <a:pt x="309732" y="1672560"/>
                  </a:lnTo>
                  <a:lnTo>
                    <a:pt x="319260" y="1672560"/>
                  </a:lnTo>
                  <a:lnTo>
                    <a:pt x="295436" y="1653500"/>
                  </a:lnTo>
                  <a:lnTo>
                    <a:pt x="295436" y="1643970"/>
                  </a:lnTo>
                  <a:lnTo>
                    <a:pt x="290672" y="1605848"/>
                  </a:lnTo>
                  <a:lnTo>
                    <a:pt x="290672" y="1582024"/>
                  </a:lnTo>
                  <a:lnTo>
                    <a:pt x="285904" y="1582024"/>
                  </a:lnTo>
                  <a:lnTo>
                    <a:pt x="281140" y="1596318"/>
                  </a:lnTo>
                  <a:lnTo>
                    <a:pt x="271612" y="1605848"/>
                  </a:lnTo>
                  <a:lnTo>
                    <a:pt x="276376" y="1629674"/>
                  </a:lnTo>
                  <a:lnTo>
                    <a:pt x="276376" y="1634440"/>
                  </a:lnTo>
                  <a:lnTo>
                    <a:pt x="271612" y="1643970"/>
                  </a:lnTo>
                  <a:lnTo>
                    <a:pt x="252548" y="1634440"/>
                  </a:lnTo>
                  <a:lnTo>
                    <a:pt x="238256" y="1624910"/>
                  </a:lnTo>
                  <a:lnTo>
                    <a:pt x="219196" y="1596318"/>
                  </a:lnTo>
                  <a:lnTo>
                    <a:pt x="204900" y="1567728"/>
                  </a:lnTo>
                  <a:lnTo>
                    <a:pt x="209664" y="1562962"/>
                  </a:lnTo>
                  <a:lnTo>
                    <a:pt x="214428" y="1562962"/>
                  </a:lnTo>
                  <a:lnTo>
                    <a:pt x="238256" y="1586788"/>
                  </a:lnTo>
                  <a:lnTo>
                    <a:pt x="252548" y="1586788"/>
                  </a:lnTo>
                  <a:lnTo>
                    <a:pt x="266844" y="1582024"/>
                  </a:lnTo>
                  <a:lnTo>
                    <a:pt x="276376" y="1572492"/>
                  </a:lnTo>
                  <a:lnTo>
                    <a:pt x="281140" y="1553432"/>
                  </a:lnTo>
                  <a:lnTo>
                    <a:pt x="276376" y="1548668"/>
                  </a:lnTo>
                  <a:lnTo>
                    <a:pt x="266844" y="1543902"/>
                  </a:lnTo>
                  <a:lnTo>
                    <a:pt x="257316" y="1539136"/>
                  </a:lnTo>
                  <a:lnTo>
                    <a:pt x="247784" y="1529606"/>
                  </a:lnTo>
                  <a:lnTo>
                    <a:pt x="243020" y="1520076"/>
                  </a:lnTo>
                  <a:lnTo>
                    <a:pt x="243020" y="1510546"/>
                  </a:lnTo>
                  <a:lnTo>
                    <a:pt x="228724" y="1505782"/>
                  </a:lnTo>
                  <a:lnTo>
                    <a:pt x="219196" y="1501016"/>
                  </a:lnTo>
                  <a:lnTo>
                    <a:pt x="228724" y="1486720"/>
                  </a:lnTo>
                  <a:lnTo>
                    <a:pt x="238256" y="1477190"/>
                  </a:lnTo>
                  <a:lnTo>
                    <a:pt x="219196" y="1477190"/>
                  </a:lnTo>
                  <a:lnTo>
                    <a:pt x="195368" y="1462896"/>
                  </a:lnTo>
                  <a:lnTo>
                    <a:pt x="190604" y="1458130"/>
                  </a:lnTo>
                  <a:lnTo>
                    <a:pt x="181072" y="1453364"/>
                  </a:lnTo>
                  <a:lnTo>
                    <a:pt x="166776" y="1453364"/>
                  </a:lnTo>
                  <a:lnTo>
                    <a:pt x="152484" y="1453364"/>
                  </a:lnTo>
                  <a:lnTo>
                    <a:pt x="157248" y="1481956"/>
                  </a:lnTo>
                  <a:lnTo>
                    <a:pt x="157248" y="1486720"/>
                  </a:lnTo>
                  <a:lnTo>
                    <a:pt x="147716" y="1486720"/>
                  </a:lnTo>
                  <a:lnTo>
                    <a:pt x="123892" y="1448600"/>
                  </a:lnTo>
                  <a:lnTo>
                    <a:pt x="133420" y="1439070"/>
                  </a:lnTo>
                  <a:lnTo>
                    <a:pt x="142952" y="1434304"/>
                  </a:lnTo>
                  <a:lnTo>
                    <a:pt x="138188" y="1429540"/>
                  </a:lnTo>
                  <a:lnTo>
                    <a:pt x="128656" y="1429540"/>
                  </a:lnTo>
                  <a:lnTo>
                    <a:pt x="138188" y="1400948"/>
                  </a:lnTo>
                  <a:lnTo>
                    <a:pt x="133420" y="1396184"/>
                  </a:lnTo>
                  <a:lnTo>
                    <a:pt x="128656" y="1405714"/>
                  </a:lnTo>
                  <a:lnTo>
                    <a:pt x="123892" y="1415244"/>
                  </a:lnTo>
                  <a:lnTo>
                    <a:pt x="109596" y="1439070"/>
                  </a:lnTo>
                  <a:lnTo>
                    <a:pt x="100064" y="1434304"/>
                  </a:lnTo>
                  <a:lnTo>
                    <a:pt x="95300" y="1429540"/>
                  </a:lnTo>
                  <a:lnTo>
                    <a:pt x="100064" y="1415244"/>
                  </a:lnTo>
                  <a:lnTo>
                    <a:pt x="104832" y="1410478"/>
                  </a:lnTo>
                  <a:lnTo>
                    <a:pt x="109596" y="1405714"/>
                  </a:lnTo>
                  <a:lnTo>
                    <a:pt x="104832" y="1391418"/>
                  </a:lnTo>
                  <a:lnTo>
                    <a:pt x="90536" y="1386652"/>
                  </a:lnTo>
                  <a:lnTo>
                    <a:pt x="85772" y="1367592"/>
                  </a:lnTo>
                  <a:lnTo>
                    <a:pt x="81004" y="1367592"/>
                  </a:lnTo>
                  <a:lnTo>
                    <a:pt x="85772" y="1386652"/>
                  </a:lnTo>
                  <a:lnTo>
                    <a:pt x="81004" y="1415244"/>
                  </a:lnTo>
                  <a:lnTo>
                    <a:pt x="66708" y="1386652"/>
                  </a:lnTo>
                  <a:lnTo>
                    <a:pt x="28588" y="1343766"/>
                  </a:lnTo>
                  <a:lnTo>
                    <a:pt x="19060" y="1329472"/>
                  </a:lnTo>
                  <a:lnTo>
                    <a:pt x="19060" y="1319942"/>
                  </a:lnTo>
                  <a:lnTo>
                    <a:pt x="14292" y="1305646"/>
                  </a:lnTo>
                  <a:lnTo>
                    <a:pt x="14292" y="1296116"/>
                  </a:lnTo>
                  <a:lnTo>
                    <a:pt x="9528" y="1286586"/>
                  </a:lnTo>
                  <a:lnTo>
                    <a:pt x="4764" y="1277056"/>
                  </a:lnTo>
                  <a:lnTo>
                    <a:pt x="0" y="1262760"/>
                  </a:lnTo>
                  <a:lnTo>
                    <a:pt x="0" y="1248464"/>
                  </a:lnTo>
                  <a:lnTo>
                    <a:pt x="0" y="1234168"/>
                  </a:lnTo>
                  <a:lnTo>
                    <a:pt x="14292" y="1224638"/>
                  </a:lnTo>
                  <a:lnTo>
                    <a:pt x="19060" y="1219874"/>
                  </a:lnTo>
                  <a:lnTo>
                    <a:pt x="28588" y="1224638"/>
                  </a:lnTo>
                  <a:lnTo>
                    <a:pt x="42884" y="1234168"/>
                  </a:lnTo>
                  <a:lnTo>
                    <a:pt x="52416" y="1243700"/>
                  </a:lnTo>
                  <a:lnTo>
                    <a:pt x="57180" y="1253230"/>
                  </a:lnTo>
                  <a:lnTo>
                    <a:pt x="61944" y="1253230"/>
                  </a:lnTo>
                  <a:lnTo>
                    <a:pt x="66708" y="1243700"/>
                  </a:lnTo>
                  <a:lnTo>
                    <a:pt x="66708" y="1238934"/>
                  </a:lnTo>
                  <a:lnTo>
                    <a:pt x="61944" y="1219874"/>
                  </a:lnTo>
                  <a:lnTo>
                    <a:pt x="61944" y="1196048"/>
                  </a:lnTo>
                  <a:lnTo>
                    <a:pt x="61944" y="1138866"/>
                  </a:lnTo>
                  <a:lnTo>
                    <a:pt x="61944" y="1134102"/>
                  </a:lnTo>
                  <a:lnTo>
                    <a:pt x="66708" y="1124572"/>
                  </a:lnTo>
                  <a:lnTo>
                    <a:pt x="71476" y="1119806"/>
                  </a:lnTo>
                  <a:lnTo>
                    <a:pt x="76240" y="1110276"/>
                  </a:lnTo>
                  <a:lnTo>
                    <a:pt x="76240" y="1105510"/>
                  </a:lnTo>
                  <a:lnTo>
                    <a:pt x="81004" y="1105510"/>
                  </a:lnTo>
                  <a:lnTo>
                    <a:pt x="90536" y="1110276"/>
                  </a:lnTo>
                  <a:lnTo>
                    <a:pt x="104832" y="1124572"/>
                  </a:lnTo>
                  <a:lnTo>
                    <a:pt x="114360" y="1129336"/>
                  </a:lnTo>
                  <a:lnTo>
                    <a:pt x="119128" y="1129336"/>
                  </a:lnTo>
                  <a:lnTo>
                    <a:pt x="128656" y="1105510"/>
                  </a:lnTo>
                  <a:lnTo>
                    <a:pt x="133420" y="1095980"/>
                  </a:lnTo>
                  <a:lnTo>
                    <a:pt x="138188" y="1091216"/>
                  </a:lnTo>
                  <a:lnTo>
                    <a:pt x="147716" y="1095980"/>
                  </a:lnTo>
                  <a:lnTo>
                    <a:pt x="147716" y="1091216"/>
                  </a:lnTo>
                  <a:lnTo>
                    <a:pt x="152484" y="1076920"/>
                  </a:lnTo>
                  <a:lnTo>
                    <a:pt x="152484" y="1067390"/>
                  </a:lnTo>
                  <a:lnTo>
                    <a:pt x="142952" y="1034034"/>
                  </a:lnTo>
                  <a:lnTo>
                    <a:pt x="138188" y="1019738"/>
                  </a:lnTo>
                  <a:lnTo>
                    <a:pt x="138188" y="1005442"/>
                  </a:lnTo>
                  <a:lnTo>
                    <a:pt x="142952" y="991148"/>
                  </a:lnTo>
                  <a:lnTo>
                    <a:pt x="152484" y="976852"/>
                  </a:lnTo>
                  <a:lnTo>
                    <a:pt x="147716" y="957792"/>
                  </a:lnTo>
                  <a:lnTo>
                    <a:pt x="152484" y="953026"/>
                  </a:lnTo>
                  <a:lnTo>
                    <a:pt x="157248" y="953026"/>
                  </a:lnTo>
                  <a:lnTo>
                    <a:pt x="166776" y="957792"/>
                  </a:lnTo>
                  <a:lnTo>
                    <a:pt x="176308" y="953026"/>
                  </a:lnTo>
                  <a:lnTo>
                    <a:pt x="181072" y="943496"/>
                  </a:lnTo>
                  <a:lnTo>
                    <a:pt x="185840" y="938732"/>
                  </a:lnTo>
                  <a:lnTo>
                    <a:pt x="185840" y="900610"/>
                  </a:lnTo>
                  <a:lnTo>
                    <a:pt x="190604" y="867254"/>
                  </a:lnTo>
                  <a:lnTo>
                    <a:pt x="190604" y="843428"/>
                  </a:lnTo>
                  <a:lnTo>
                    <a:pt x="185840" y="829134"/>
                  </a:lnTo>
                  <a:lnTo>
                    <a:pt x="176308" y="786246"/>
                  </a:lnTo>
                  <a:lnTo>
                    <a:pt x="176308" y="776716"/>
                  </a:lnTo>
                  <a:lnTo>
                    <a:pt x="181072" y="776716"/>
                  </a:lnTo>
                  <a:lnTo>
                    <a:pt x="195368" y="791012"/>
                  </a:lnTo>
                  <a:lnTo>
                    <a:pt x="204900" y="791012"/>
                  </a:lnTo>
                  <a:lnTo>
                    <a:pt x="214428" y="791012"/>
                  </a:lnTo>
                  <a:lnTo>
                    <a:pt x="223960" y="786246"/>
                  </a:lnTo>
                  <a:lnTo>
                    <a:pt x="233488" y="786246"/>
                  </a:lnTo>
                  <a:lnTo>
                    <a:pt x="243020" y="791012"/>
                  </a:lnTo>
                  <a:lnTo>
                    <a:pt x="257316" y="800542"/>
                  </a:lnTo>
                  <a:lnTo>
                    <a:pt x="285904" y="805308"/>
                  </a:lnTo>
                  <a:lnTo>
                    <a:pt x="295436" y="810072"/>
                  </a:lnTo>
                  <a:lnTo>
                    <a:pt x="300200" y="810072"/>
                  </a:lnTo>
                  <a:lnTo>
                    <a:pt x="309732" y="791012"/>
                  </a:lnTo>
                  <a:lnTo>
                    <a:pt x="314496" y="767186"/>
                  </a:lnTo>
                  <a:lnTo>
                    <a:pt x="328792" y="733830"/>
                  </a:lnTo>
                  <a:lnTo>
                    <a:pt x="343088" y="705240"/>
                  </a:lnTo>
                  <a:lnTo>
                    <a:pt x="343088" y="700474"/>
                  </a:lnTo>
                  <a:lnTo>
                    <a:pt x="371680" y="657588"/>
                  </a:lnTo>
                  <a:lnTo>
                    <a:pt x="385972" y="628998"/>
                  </a:lnTo>
                  <a:lnTo>
                    <a:pt x="390740" y="609938"/>
                  </a:lnTo>
                  <a:lnTo>
                    <a:pt x="390740" y="600408"/>
                  </a:lnTo>
                  <a:lnTo>
                    <a:pt x="385972" y="590876"/>
                  </a:lnTo>
                  <a:lnTo>
                    <a:pt x="376444" y="590876"/>
                  </a:lnTo>
                  <a:lnTo>
                    <a:pt x="371680" y="586112"/>
                  </a:lnTo>
                  <a:lnTo>
                    <a:pt x="366912" y="581346"/>
                  </a:lnTo>
                  <a:lnTo>
                    <a:pt x="366912" y="576582"/>
                  </a:lnTo>
                  <a:lnTo>
                    <a:pt x="371680" y="562286"/>
                  </a:lnTo>
                  <a:lnTo>
                    <a:pt x="381208" y="547990"/>
                  </a:lnTo>
                  <a:lnTo>
                    <a:pt x="385972" y="538460"/>
                  </a:lnTo>
                  <a:lnTo>
                    <a:pt x="405036" y="528930"/>
                  </a:lnTo>
                  <a:lnTo>
                    <a:pt x="414564" y="514634"/>
                  </a:lnTo>
                  <a:lnTo>
                    <a:pt x="428860" y="495574"/>
                  </a:lnTo>
                  <a:lnTo>
                    <a:pt x="438392" y="486044"/>
                  </a:lnTo>
                  <a:lnTo>
                    <a:pt x="443156" y="457454"/>
                  </a:lnTo>
                  <a:lnTo>
                    <a:pt x="443156" y="452688"/>
                  </a:lnTo>
                  <a:lnTo>
                    <a:pt x="452684" y="447922"/>
                  </a:lnTo>
                  <a:lnTo>
                    <a:pt x="457452" y="438392"/>
                  </a:lnTo>
                  <a:lnTo>
                    <a:pt x="457452" y="433628"/>
                  </a:lnTo>
                  <a:lnTo>
                    <a:pt x="457452" y="428862"/>
                  </a:lnTo>
                  <a:lnTo>
                    <a:pt x="447920" y="409802"/>
                  </a:lnTo>
                  <a:lnTo>
                    <a:pt x="447920" y="385976"/>
                  </a:lnTo>
                  <a:lnTo>
                    <a:pt x="447920" y="362150"/>
                  </a:lnTo>
                  <a:lnTo>
                    <a:pt x="452684" y="352620"/>
                  </a:lnTo>
                  <a:lnTo>
                    <a:pt x="457452" y="338324"/>
                  </a:lnTo>
                  <a:lnTo>
                    <a:pt x="471744" y="333560"/>
                  </a:lnTo>
                  <a:lnTo>
                    <a:pt x="486040" y="328794"/>
                  </a:lnTo>
                  <a:lnTo>
                    <a:pt x="509868" y="314500"/>
                  </a:lnTo>
                  <a:lnTo>
                    <a:pt x="552752" y="276378"/>
                  </a:lnTo>
                  <a:lnTo>
                    <a:pt x="567048" y="266848"/>
                  </a:lnTo>
                  <a:lnTo>
                    <a:pt x="581344" y="262082"/>
                  </a:lnTo>
                  <a:lnTo>
                    <a:pt x="590876" y="247788"/>
                  </a:lnTo>
                  <a:lnTo>
                    <a:pt x="605168" y="233492"/>
                  </a:lnTo>
                  <a:lnTo>
                    <a:pt x="624232" y="223962"/>
                  </a:lnTo>
                  <a:lnTo>
                    <a:pt x="638524" y="219196"/>
                  </a:lnTo>
                  <a:lnTo>
                    <a:pt x="700472" y="209666"/>
                  </a:lnTo>
                  <a:lnTo>
                    <a:pt x="710004" y="209666"/>
                  </a:lnTo>
                  <a:lnTo>
                    <a:pt x="719532" y="219196"/>
                  </a:lnTo>
                  <a:lnTo>
                    <a:pt x="733828" y="238258"/>
                  </a:lnTo>
                  <a:lnTo>
                    <a:pt x="743360" y="247788"/>
                  </a:lnTo>
                  <a:lnTo>
                    <a:pt x="757652" y="252552"/>
                  </a:lnTo>
                  <a:lnTo>
                    <a:pt x="767184" y="247788"/>
                  </a:lnTo>
                  <a:lnTo>
                    <a:pt x="767184" y="243022"/>
                  </a:lnTo>
                  <a:lnTo>
                    <a:pt x="733828" y="190606"/>
                  </a:lnTo>
                  <a:lnTo>
                    <a:pt x="733828" y="181076"/>
                  </a:lnTo>
                  <a:lnTo>
                    <a:pt x="729064" y="166780"/>
                  </a:lnTo>
                  <a:lnTo>
                    <a:pt x="733828" y="157250"/>
                  </a:lnTo>
                  <a:lnTo>
                    <a:pt x="743360" y="147720"/>
                  </a:lnTo>
                  <a:lnTo>
                    <a:pt x="757652" y="138190"/>
                  </a:lnTo>
                  <a:lnTo>
                    <a:pt x="776716" y="123894"/>
                  </a:lnTo>
                  <a:lnTo>
                    <a:pt x="786244" y="114364"/>
                  </a:lnTo>
                  <a:lnTo>
                    <a:pt x="800540" y="109598"/>
                  </a:lnTo>
                  <a:lnTo>
                    <a:pt x="805304" y="104834"/>
                  </a:lnTo>
                  <a:lnTo>
                    <a:pt x="805304" y="95304"/>
                  </a:lnTo>
                  <a:lnTo>
                    <a:pt x="805304" y="85774"/>
                  </a:lnTo>
                  <a:lnTo>
                    <a:pt x="800540" y="76244"/>
                  </a:lnTo>
                  <a:lnTo>
                    <a:pt x="800540" y="66712"/>
                  </a:lnTo>
                  <a:lnTo>
                    <a:pt x="800540" y="57182"/>
                  </a:lnTo>
                  <a:lnTo>
                    <a:pt x="805304" y="47652"/>
                  </a:lnTo>
                  <a:lnTo>
                    <a:pt x="819600" y="28592"/>
                  </a:lnTo>
                  <a:lnTo>
                    <a:pt x="824364" y="19062"/>
                  </a:lnTo>
                  <a:lnTo>
                    <a:pt x="829132" y="14296"/>
                  </a:lnTo>
                  <a:lnTo>
                    <a:pt x="833896"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6" name="Google Shape;4993;p64">
              <a:extLst>
                <a:ext uri="{FF2B5EF4-FFF2-40B4-BE49-F238E27FC236}">
                  <a16:creationId xmlns:a16="http://schemas.microsoft.com/office/drawing/2014/main" id="{C020656B-64FC-3A3B-80FD-472FDA4BF15E}"/>
                </a:ext>
              </a:extLst>
            </p:cNvPr>
            <p:cNvSpPr/>
            <p:nvPr/>
          </p:nvSpPr>
          <p:spPr>
            <a:xfrm>
              <a:off x="4597162" y="3617752"/>
              <a:ext cx="82695" cy="101073"/>
            </a:xfrm>
            <a:custGeom>
              <a:avLst/>
              <a:gdLst/>
              <a:ahLst/>
              <a:cxnLst/>
              <a:rect l="l" t="t" r="r" b="b"/>
              <a:pathLst>
                <a:path w="600406" h="733830" extrusionOk="0">
                  <a:moveTo>
                    <a:pt x="9530" y="571814"/>
                  </a:moveTo>
                  <a:lnTo>
                    <a:pt x="38120" y="571814"/>
                  </a:lnTo>
                  <a:lnTo>
                    <a:pt x="57180" y="576580"/>
                  </a:lnTo>
                  <a:lnTo>
                    <a:pt x="81006" y="581346"/>
                  </a:lnTo>
                  <a:lnTo>
                    <a:pt x="104832" y="571814"/>
                  </a:lnTo>
                  <a:lnTo>
                    <a:pt x="119128" y="581346"/>
                  </a:lnTo>
                  <a:lnTo>
                    <a:pt x="138188" y="571814"/>
                  </a:lnTo>
                  <a:lnTo>
                    <a:pt x="133422" y="581346"/>
                  </a:lnTo>
                  <a:lnTo>
                    <a:pt x="128658" y="595640"/>
                  </a:lnTo>
                  <a:lnTo>
                    <a:pt x="104832" y="609936"/>
                  </a:lnTo>
                  <a:lnTo>
                    <a:pt x="85772" y="619466"/>
                  </a:lnTo>
                  <a:lnTo>
                    <a:pt x="76242" y="614700"/>
                  </a:lnTo>
                  <a:lnTo>
                    <a:pt x="66710" y="609936"/>
                  </a:lnTo>
                  <a:lnTo>
                    <a:pt x="61946" y="605170"/>
                  </a:lnTo>
                  <a:lnTo>
                    <a:pt x="52416" y="600406"/>
                  </a:lnTo>
                  <a:lnTo>
                    <a:pt x="33354" y="600406"/>
                  </a:lnTo>
                  <a:lnTo>
                    <a:pt x="23824" y="605170"/>
                  </a:lnTo>
                  <a:lnTo>
                    <a:pt x="19060" y="609936"/>
                  </a:lnTo>
                  <a:lnTo>
                    <a:pt x="9530" y="609936"/>
                  </a:lnTo>
                  <a:lnTo>
                    <a:pt x="9530" y="605170"/>
                  </a:lnTo>
                  <a:lnTo>
                    <a:pt x="4764" y="595640"/>
                  </a:lnTo>
                  <a:lnTo>
                    <a:pt x="0" y="576580"/>
                  </a:lnTo>
                  <a:close/>
                  <a:moveTo>
                    <a:pt x="66712" y="481278"/>
                  </a:moveTo>
                  <a:lnTo>
                    <a:pt x="90538" y="486044"/>
                  </a:lnTo>
                  <a:lnTo>
                    <a:pt x="109598" y="500338"/>
                  </a:lnTo>
                  <a:lnTo>
                    <a:pt x="109598" y="505104"/>
                  </a:lnTo>
                  <a:lnTo>
                    <a:pt x="114364" y="509868"/>
                  </a:lnTo>
                  <a:lnTo>
                    <a:pt x="90538" y="514634"/>
                  </a:lnTo>
                  <a:lnTo>
                    <a:pt x="71476" y="495574"/>
                  </a:lnTo>
                  <a:lnTo>
                    <a:pt x="57182" y="500338"/>
                  </a:lnTo>
                  <a:lnTo>
                    <a:pt x="52416" y="490808"/>
                  </a:lnTo>
                  <a:lnTo>
                    <a:pt x="52416" y="486044"/>
                  </a:lnTo>
                  <a:close/>
                  <a:moveTo>
                    <a:pt x="357384" y="266846"/>
                  </a:moveTo>
                  <a:lnTo>
                    <a:pt x="371680" y="271612"/>
                  </a:lnTo>
                  <a:lnTo>
                    <a:pt x="381210" y="276378"/>
                  </a:lnTo>
                  <a:lnTo>
                    <a:pt x="385976" y="281142"/>
                  </a:lnTo>
                  <a:lnTo>
                    <a:pt x="385976" y="290672"/>
                  </a:lnTo>
                  <a:lnTo>
                    <a:pt x="381210" y="300202"/>
                  </a:lnTo>
                  <a:lnTo>
                    <a:pt x="371680" y="309734"/>
                  </a:lnTo>
                  <a:lnTo>
                    <a:pt x="352620" y="324028"/>
                  </a:lnTo>
                  <a:lnTo>
                    <a:pt x="343088" y="338324"/>
                  </a:lnTo>
                  <a:lnTo>
                    <a:pt x="333558" y="343090"/>
                  </a:lnTo>
                  <a:lnTo>
                    <a:pt x="324028" y="343090"/>
                  </a:lnTo>
                  <a:lnTo>
                    <a:pt x="295438" y="333558"/>
                  </a:lnTo>
                  <a:lnTo>
                    <a:pt x="285908" y="328794"/>
                  </a:lnTo>
                  <a:lnTo>
                    <a:pt x="281142" y="324028"/>
                  </a:lnTo>
                  <a:lnTo>
                    <a:pt x="314498" y="295438"/>
                  </a:lnTo>
                  <a:lnTo>
                    <a:pt x="343088" y="276378"/>
                  </a:lnTo>
                  <a:close/>
                  <a:moveTo>
                    <a:pt x="314498" y="147718"/>
                  </a:moveTo>
                  <a:lnTo>
                    <a:pt x="300202" y="157250"/>
                  </a:lnTo>
                  <a:lnTo>
                    <a:pt x="281142" y="171544"/>
                  </a:lnTo>
                  <a:lnTo>
                    <a:pt x="266846" y="181074"/>
                  </a:lnTo>
                  <a:lnTo>
                    <a:pt x="271612" y="190606"/>
                  </a:lnTo>
                  <a:lnTo>
                    <a:pt x="276376" y="204900"/>
                  </a:lnTo>
                  <a:lnTo>
                    <a:pt x="281142" y="219196"/>
                  </a:lnTo>
                  <a:lnTo>
                    <a:pt x="295438" y="233492"/>
                  </a:lnTo>
                  <a:lnTo>
                    <a:pt x="295438" y="247786"/>
                  </a:lnTo>
                  <a:lnTo>
                    <a:pt x="276376" y="257318"/>
                  </a:lnTo>
                  <a:lnTo>
                    <a:pt x="266846" y="262082"/>
                  </a:lnTo>
                  <a:lnTo>
                    <a:pt x="266846" y="276378"/>
                  </a:lnTo>
                  <a:lnTo>
                    <a:pt x="266846" y="285908"/>
                  </a:lnTo>
                  <a:lnTo>
                    <a:pt x="266846" y="304968"/>
                  </a:lnTo>
                  <a:lnTo>
                    <a:pt x="266846" y="309734"/>
                  </a:lnTo>
                  <a:lnTo>
                    <a:pt x="262082" y="314498"/>
                  </a:lnTo>
                  <a:lnTo>
                    <a:pt x="257316" y="324030"/>
                  </a:lnTo>
                  <a:lnTo>
                    <a:pt x="262082" y="328794"/>
                  </a:lnTo>
                  <a:lnTo>
                    <a:pt x="304968" y="343090"/>
                  </a:lnTo>
                  <a:lnTo>
                    <a:pt x="333558" y="357386"/>
                  </a:lnTo>
                  <a:lnTo>
                    <a:pt x="381210" y="309734"/>
                  </a:lnTo>
                  <a:lnTo>
                    <a:pt x="390740" y="295438"/>
                  </a:lnTo>
                  <a:lnTo>
                    <a:pt x="390740" y="276378"/>
                  </a:lnTo>
                  <a:lnTo>
                    <a:pt x="385974" y="262082"/>
                  </a:lnTo>
                  <a:lnTo>
                    <a:pt x="357384" y="257318"/>
                  </a:lnTo>
                  <a:lnTo>
                    <a:pt x="352618" y="252552"/>
                  </a:lnTo>
                  <a:lnTo>
                    <a:pt x="352618" y="243022"/>
                  </a:lnTo>
                  <a:lnTo>
                    <a:pt x="352618" y="223962"/>
                  </a:lnTo>
                  <a:lnTo>
                    <a:pt x="352618" y="219196"/>
                  </a:lnTo>
                  <a:lnTo>
                    <a:pt x="362150" y="209666"/>
                  </a:lnTo>
                  <a:lnTo>
                    <a:pt x="357384" y="200136"/>
                  </a:lnTo>
                  <a:lnTo>
                    <a:pt x="343088" y="200136"/>
                  </a:lnTo>
                  <a:lnTo>
                    <a:pt x="328794" y="200136"/>
                  </a:lnTo>
                  <a:lnTo>
                    <a:pt x="324028" y="195370"/>
                  </a:lnTo>
                  <a:lnTo>
                    <a:pt x="319262" y="185840"/>
                  </a:lnTo>
                  <a:lnTo>
                    <a:pt x="319262" y="152484"/>
                  </a:lnTo>
                  <a:close/>
                  <a:moveTo>
                    <a:pt x="238256" y="114362"/>
                  </a:moveTo>
                  <a:lnTo>
                    <a:pt x="238256" y="142954"/>
                  </a:lnTo>
                  <a:lnTo>
                    <a:pt x="223960" y="162014"/>
                  </a:lnTo>
                  <a:lnTo>
                    <a:pt x="214430" y="157248"/>
                  </a:lnTo>
                  <a:lnTo>
                    <a:pt x="209664" y="152484"/>
                  </a:lnTo>
                  <a:lnTo>
                    <a:pt x="214430" y="138188"/>
                  </a:lnTo>
                  <a:close/>
                  <a:moveTo>
                    <a:pt x="262082" y="81006"/>
                  </a:moveTo>
                  <a:lnTo>
                    <a:pt x="276376" y="81006"/>
                  </a:lnTo>
                  <a:lnTo>
                    <a:pt x="243020" y="100068"/>
                  </a:lnTo>
                  <a:close/>
                  <a:moveTo>
                    <a:pt x="500338" y="47650"/>
                  </a:moveTo>
                  <a:lnTo>
                    <a:pt x="543224" y="47650"/>
                  </a:lnTo>
                  <a:lnTo>
                    <a:pt x="557520" y="66712"/>
                  </a:lnTo>
                  <a:lnTo>
                    <a:pt x="567050" y="76242"/>
                  </a:lnTo>
                  <a:lnTo>
                    <a:pt x="576580" y="85772"/>
                  </a:lnTo>
                  <a:lnTo>
                    <a:pt x="600406" y="90538"/>
                  </a:lnTo>
                  <a:lnTo>
                    <a:pt x="600406" y="114362"/>
                  </a:lnTo>
                  <a:lnTo>
                    <a:pt x="600406" y="162014"/>
                  </a:lnTo>
                  <a:lnTo>
                    <a:pt x="595640" y="171544"/>
                  </a:lnTo>
                  <a:lnTo>
                    <a:pt x="586110" y="190604"/>
                  </a:lnTo>
                  <a:lnTo>
                    <a:pt x="576580" y="228726"/>
                  </a:lnTo>
                  <a:lnTo>
                    <a:pt x="576580" y="252552"/>
                  </a:lnTo>
                  <a:lnTo>
                    <a:pt x="571816" y="257316"/>
                  </a:lnTo>
                  <a:lnTo>
                    <a:pt x="528930" y="257316"/>
                  </a:lnTo>
                  <a:lnTo>
                    <a:pt x="524164" y="262082"/>
                  </a:lnTo>
                  <a:lnTo>
                    <a:pt x="524164" y="266846"/>
                  </a:lnTo>
                  <a:lnTo>
                    <a:pt x="524164" y="271612"/>
                  </a:lnTo>
                  <a:lnTo>
                    <a:pt x="524164" y="281142"/>
                  </a:lnTo>
                  <a:lnTo>
                    <a:pt x="519398" y="285908"/>
                  </a:lnTo>
                  <a:lnTo>
                    <a:pt x="524164" y="290672"/>
                  </a:lnTo>
                  <a:lnTo>
                    <a:pt x="528930" y="300202"/>
                  </a:lnTo>
                  <a:lnTo>
                    <a:pt x="543224" y="304968"/>
                  </a:lnTo>
                  <a:lnTo>
                    <a:pt x="557520" y="304968"/>
                  </a:lnTo>
                  <a:lnTo>
                    <a:pt x="567050" y="304968"/>
                  </a:lnTo>
                  <a:lnTo>
                    <a:pt x="571816" y="314498"/>
                  </a:lnTo>
                  <a:lnTo>
                    <a:pt x="576580" y="324028"/>
                  </a:lnTo>
                  <a:lnTo>
                    <a:pt x="576580" y="333558"/>
                  </a:lnTo>
                  <a:lnTo>
                    <a:pt x="571816" y="352618"/>
                  </a:lnTo>
                  <a:lnTo>
                    <a:pt x="567050" y="366914"/>
                  </a:lnTo>
                  <a:lnTo>
                    <a:pt x="547990" y="385974"/>
                  </a:lnTo>
                  <a:lnTo>
                    <a:pt x="538460" y="390740"/>
                  </a:lnTo>
                  <a:lnTo>
                    <a:pt x="528930" y="395506"/>
                  </a:lnTo>
                  <a:lnTo>
                    <a:pt x="528930" y="400270"/>
                  </a:lnTo>
                  <a:lnTo>
                    <a:pt x="524164" y="405036"/>
                  </a:lnTo>
                  <a:lnTo>
                    <a:pt x="524164" y="409800"/>
                  </a:lnTo>
                  <a:lnTo>
                    <a:pt x="538460" y="424096"/>
                  </a:lnTo>
                  <a:lnTo>
                    <a:pt x="538460" y="428862"/>
                  </a:lnTo>
                  <a:lnTo>
                    <a:pt x="533694" y="433626"/>
                  </a:lnTo>
                  <a:lnTo>
                    <a:pt x="528930" y="443156"/>
                  </a:lnTo>
                  <a:lnTo>
                    <a:pt x="495574" y="457452"/>
                  </a:lnTo>
                  <a:lnTo>
                    <a:pt x="481278" y="452686"/>
                  </a:lnTo>
                  <a:lnTo>
                    <a:pt x="471748" y="462216"/>
                  </a:lnTo>
                  <a:lnTo>
                    <a:pt x="466982" y="462216"/>
                  </a:lnTo>
                  <a:lnTo>
                    <a:pt x="457452" y="457452"/>
                  </a:lnTo>
                  <a:lnTo>
                    <a:pt x="438392" y="447922"/>
                  </a:lnTo>
                  <a:lnTo>
                    <a:pt x="433626" y="452686"/>
                  </a:lnTo>
                  <a:lnTo>
                    <a:pt x="428862" y="457452"/>
                  </a:lnTo>
                  <a:lnTo>
                    <a:pt x="414566" y="462216"/>
                  </a:lnTo>
                  <a:lnTo>
                    <a:pt x="405036" y="466982"/>
                  </a:lnTo>
                  <a:lnTo>
                    <a:pt x="405036" y="481278"/>
                  </a:lnTo>
                  <a:lnTo>
                    <a:pt x="419332" y="505102"/>
                  </a:lnTo>
                  <a:lnTo>
                    <a:pt x="428862" y="509868"/>
                  </a:lnTo>
                  <a:lnTo>
                    <a:pt x="428862" y="519398"/>
                  </a:lnTo>
                  <a:lnTo>
                    <a:pt x="433626" y="533694"/>
                  </a:lnTo>
                  <a:lnTo>
                    <a:pt x="443156" y="547990"/>
                  </a:lnTo>
                  <a:lnTo>
                    <a:pt x="443156" y="557520"/>
                  </a:lnTo>
                  <a:lnTo>
                    <a:pt x="443156" y="567050"/>
                  </a:lnTo>
                  <a:lnTo>
                    <a:pt x="438392" y="581346"/>
                  </a:lnTo>
                  <a:lnTo>
                    <a:pt x="424096" y="614700"/>
                  </a:lnTo>
                  <a:lnTo>
                    <a:pt x="424096" y="619466"/>
                  </a:lnTo>
                  <a:lnTo>
                    <a:pt x="424096" y="624232"/>
                  </a:lnTo>
                  <a:lnTo>
                    <a:pt x="428862" y="628996"/>
                  </a:lnTo>
                  <a:lnTo>
                    <a:pt x="433626" y="628996"/>
                  </a:lnTo>
                  <a:lnTo>
                    <a:pt x="433626" y="633762"/>
                  </a:lnTo>
                  <a:lnTo>
                    <a:pt x="405036" y="657586"/>
                  </a:lnTo>
                  <a:lnTo>
                    <a:pt x="390740" y="657586"/>
                  </a:lnTo>
                  <a:lnTo>
                    <a:pt x="390740" y="662352"/>
                  </a:lnTo>
                  <a:lnTo>
                    <a:pt x="390740" y="667118"/>
                  </a:lnTo>
                  <a:lnTo>
                    <a:pt x="395506" y="671882"/>
                  </a:lnTo>
                  <a:lnTo>
                    <a:pt x="405036" y="676648"/>
                  </a:lnTo>
                  <a:lnTo>
                    <a:pt x="414566" y="681412"/>
                  </a:lnTo>
                  <a:lnTo>
                    <a:pt x="419332" y="695708"/>
                  </a:lnTo>
                  <a:lnTo>
                    <a:pt x="414566" y="733830"/>
                  </a:lnTo>
                  <a:lnTo>
                    <a:pt x="395506" y="729064"/>
                  </a:lnTo>
                  <a:lnTo>
                    <a:pt x="381210" y="729064"/>
                  </a:lnTo>
                  <a:lnTo>
                    <a:pt x="371680" y="729064"/>
                  </a:lnTo>
                  <a:lnTo>
                    <a:pt x="366914" y="724298"/>
                  </a:lnTo>
                  <a:lnTo>
                    <a:pt x="357384" y="710004"/>
                  </a:lnTo>
                  <a:lnTo>
                    <a:pt x="357384" y="705238"/>
                  </a:lnTo>
                  <a:lnTo>
                    <a:pt x="371680" y="686178"/>
                  </a:lnTo>
                  <a:lnTo>
                    <a:pt x="376444" y="681412"/>
                  </a:lnTo>
                  <a:lnTo>
                    <a:pt x="371680" y="681412"/>
                  </a:lnTo>
                  <a:lnTo>
                    <a:pt x="376444" y="671882"/>
                  </a:lnTo>
                  <a:lnTo>
                    <a:pt x="385976" y="648056"/>
                  </a:lnTo>
                  <a:lnTo>
                    <a:pt x="385976" y="638526"/>
                  </a:lnTo>
                  <a:lnTo>
                    <a:pt x="381210" y="633762"/>
                  </a:lnTo>
                  <a:lnTo>
                    <a:pt x="376444" y="628996"/>
                  </a:lnTo>
                  <a:lnTo>
                    <a:pt x="352620" y="619466"/>
                  </a:lnTo>
                  <a:lnTo>
                    <a:pt x="343088" y="609936"/>
                  </a:lnTo>
                  <a:lnTo>
                    <a:pt x="338324" y="600406"/>
                  </a:lnTo>
                  <a:lnTo>
                    <a:pt x="333558" y="600406"/>
                  </a:lnTo>
                  <a:lnTo>
                    <a:pt x="324028" y="600406"/>
                  </a:lnTo>
                  <a:lnTo>
                    <a:pt x="304968" y="605170"/>
                  </a:lnTo>
                  <a:lnTo>
                    <a:pt x="290672" y="600406"/>
                  </a:lnTo>
                  <a:lnTo>
                    <a:pt x="271612" y="581346"/>
                  </a:lnTo>
                  <a:lnTo>
                    <a:pt x="266846" y="567050"/>
                  </a:lnTo>
                  <a:lnTo>
                    <a:pt x="266846" y="557520"/>
                  </a:lnTo>
                  <a:lnTo>
                    <a:pt x="262082" y="552754"/>
                  </a:lnTo>
                  <a:lnTo>
                    <a:pt x="257316" y="557520"/>
                  </a:lnTo>
                  <a:lnTo>
                    <a:pt x="247786" y="567050"/>
                  </a:lnTo>
                  <a:lnTo>
                    <a:pt x="233490" y="571814"/>
                  </a:lnTo>
                  <a:lnTo>
                    <a:pt x="228726" y="567050"/>
                  </a:lnTo>
                  <a:lnTo>
                    <a:pt x="228726" y="562284"/>
                  </a:lnTo>
                  <a:lnTo>
                    <a:pt x="228726" y="557520"/>
                  </a:lnTo>
                  <a:lnTo>
                    <a:pt x="223960" y="552754"/>
                  </a:lnTo>
                  <a:lnTo>
                    <a:pt x="219196" y="547990"/>
                  </a:lnTo>
                  <a:lnTo>
                    <a:pt x="200136" y="562284"/>
                  </a:lnTo>
                  <a:lnTo>
                    <a:pt x="195370" y="562284"/>
                  </a:lnTo>
                  <a:lnTo>
                    <a:pt x="185840" y="557520"/>
                  </a:lnTo>
                  <a:lnTo>
                    <a:pt x="181074" y="552754"/>
                  </a:lnTo>
                  <a:lnTo>
                    <a:pt x="171544" y="557520"/>
                  </a:lnTo>
                  <a:lnTo>
                    <a:pt x="162014" y="562284"/>
                  </a:lnTo>
                  <a:lnTo>
                    <a:pt x="162014" y="576580"/>
                  </a:lnTo>
                  <a:lnTo>
                    <a:pt x="157248" y="581346"/>
                  </a:lnTo>
                  <a:lnTo>
                    <a:pt x="147718" y="581346"/>
                  </a:lnTo>
                  <a:lnTo>
                    <a:pt x="138188" y="571814"/>
                  </a:lnTo>
                  <a:lnTo>
                    <a:pt x="123892" y="571814"/>
                  </a:lnTo>
                  <a:lnTo>
                    <a:pt x="100068" y="557520"/>
                  </a:lnTo>
                  <a:lnTo>
                    <a:pt x="71476" y="567050"/>
                  </a:lnTo>
                  <a:lnTo>
                    <a:pt x="52416" y="557520"/>
                  </a:lnTo>
                  <a:lnTo>
                    <a:pt x="38120" y="557520"/>
                  </a:lnTo>
                  <a:lnTo>
                    <a:pt x="23826" y="547990"/>
                  </a:lnTo>
                  <a:lnTo>
                    <a:pt x="14296" y="533694"/>
                  </a:lnTo>
                  <a:lnTo>
                    <a:pt x="23826" y="524164"/>
                  </a:lnTo>
                  <a:lnTo>
                    <a:pt x="28590" y="524164"/>
                  </a:lnTo>
                  <a:lnTo>
                    <a:pt x="61946" y="519398"/>
                  </a:lnTo>
                  <a:lnTo>
                    <a:pt x="81006" y="524164"/>
                  </a:lnTo>
                  <a:lnTo>
                    <a:pt x="123892" y="557520"/>
                  </a:lnTo>
                  <a:lnTo>
                    <a:pt x="133424" y="557520"/>
                  </a:lnTo>
                  <a:lnTo>
                    <a:pt x="142954" y="552754"/>
                  </a:lnTo>
                  <a:lnTo>
                    <a:pt x="138188" y="543224"/>
                  </a:lnTo>
                  <a:lnTo>
                    <a:pt x="128658" y="538458"/>
                  </a:lnTo>
                  <a:lnTo>
                    <a:pt x="114362" y="533694"/>
                  </a:lnTo>
                  <a:lnTo>
                    <a:pt x="100068" y="519398"/>
                  </a:lnTo>
                  <a:lnTo>
                    <a:pt x="128658" y="519398"/>
                  </a:lnTo>
                  <a:lnTo>
                    <a:pt x="123892" y="509868"/>
                  </a:lnTo>
                  <a:lnTo>
                    <a:pt x="123892" y="500338"/>
                  </a:lnTo>
                  <a:lnTo>
                    <a:pt x="90538" y="466982"/>
                  </a:lnTo>
                  <a:lnTo>
                    <a:pt x="95302" y="457452"/>
                  </a:lnTo>
                  <a:lnTo>
                    <a:pt x="104832" y="438392"/>
                  </a:lnTo>
                  <a:lnTo>
                    <a:pt x="114362" y="419330"/>
                  </a:lnTo>
                  <a:lnTo>
                    <a:pt x="119128" y="414566"/>
                  </a:lnTo>
                  <a:lnTo>
                    <a:pt x="133424" y="405036"/>
                  </a:lnTo>
                  <a:lnTo>
                    <a:pt x="157248" y="366914"/>
                  </a:lnTo>
                  <a:lnTo>
                    <a:pt x="176310" y="338324"/>
                  </a:lnTo>
                  <a:lnTo>
                    <a:pt x="190604" y="304968"/>
                  </a:lnTo>
                  <a:lnTo>
                    <a:pt x="204900" y="209666"/>
                  </a:lnTo>
                  <a:lnTo>
                    <a:pt x="214430" y="195370"/>
                  </a:lnTo>
                  <a:lnTo>
                    <a:pt x="219196" y="176310"/>
                  </a:lnTo>
                  <a:lnTo>
                    <a:pt x="233490" y="181074"/>
                  </a:lnTo>
                  <a:lnTo>
                    <a:pt x="238256" y="185840"/>
                  </a:lnTo>
                  <a:lnTo>
                    <a:pt x="266846" y="171544"/>
                  </a:lnTo>
                  <a:lnTo>
                    <a:pt x="314498" y="138188"/>
                  </a:lnTo>
                  <a:lnTo>
                    <a:pt x="324028" y="104832"/>
                  </a:lnTo>
                  <a:lnTo>
                    <a:pt x="338324" y="90538"/>
                  </a:lnTo>
                  <a:lnTo>
                    <a:pt x="395506" y="66712"/>
                  </a:lnTo>
                  <a:lnTo>
                    <a:pt x="424096" y="57182"/>
                  </a:lnTo>
                  <a:lnTo>
                    <a:pt x="466982" y="52416"/>
                  </a:lnTo>
                  <a:close/>
                  <a:moveTo>
                    <a:pt x="324028" y="47650"/>
                  </a:moveTo>
                  <a:lnTo>
                    <a:pt x="343088" y="47650"/>
                  </a:lnTo>
                  <a:lnTo>
                    <a:pt x="347854" y="47650"/>
                  </a:lnTo>
                  <a:lnTo>
                    <a:pt x="309732" y="61946"/>
                  </a:lnTo>
                  <a:lnTo>
                    <a:pt x="295438" y="61946"/>
                  </a:lnTo>
                  <a:lnTo>
                    <a:pt x="285908" y="61946"/>
                  </a:lnTo>
                  <a:close/>
                  <a:moveTo>
                    <a:pt x="366914" y="38122"/>
                  </a:moveTo>
                  <a:lnTo>
                    <a:pt x="395504" y="38122"/>
                  </a:lnTo>
                  <a:lnTo>
                    <a:pt x="400270" y="42886"/>
                  </a:lnTo>
                  <a:lnTo>
                    <a:pt x="371680" y="47650"/>
                  </a:lnTo>
                  <a:lnTo>
                    <a:pt x="362150" y="42886"/>
                  </a:lnTo>
                  <a:lnTo>
                    <a:pt x="357384" y="42886"/>
                  </a:lnTo>
                  <a:close/>
                  <a:moveTo>
                    <a:pt x="457452" y="28590"/>
                  </a:moveTo>
                  <a:lnTo>
                    <a:pt x="466982" y="28590"/>
                  </a:lnTo>
                  <a:lnTo>
                    <a:pt x="443156" y="38122"/>
                  </a:lnTo>
                  <a:lnTo>
                    <a:pt x="438392" y="38122"/>
                  </a:lnTo>
                  <a:lnTo>
                    <a:pt x="438392" y="33356"/>
                  </a:lnTo>
                  <a:close/>
                  <a:moveTo>
                    <a:pt x="528928" y="0"/>
                  </a:moveTo>
                  <a:lnTo>
                    <a:pt x="538460" y="0"/>
                  </a:lnTo>
                  <a:lnTo>
                    <a:pt x="528928" y="9530"/>
                  </a:lnTo>
                  <a:lnTo>
                    <a:pt x="514632" y="9530"/>
                  </a:lnTo>
                  <a:lnTo>
                    <a:pt x="519398" y="476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7" name="Google Shape;4994;p64">
              <a:extLst>
                <a:ext uri="{FF2B5EF4-FFF2-40B4-BE49-F238E27FC236}">
                  <a16:creationId xmlns:a16="http://schemas.microsoft.com/office/drawing/2014/main" id="{674AC65F-DD39-E6C5-C9F4-5020ABEC44B9}"/>
                </a:ext>
              </a:extLst>
            </p:cNvPr>
            <p:cNvSpPr/>
            <p:nvPr/>
          </p:nvSpPr>
          <p:spPr>
            <a:xfrm>
              <a:off x="8108027" y="5776414"/>
              <a:ext cx="257731" cy="368373"/>
            </a:xfrm>
            <a:custGeom>
              <a:avLst/>
              <a:gdLst/>
              <a:ahLst/>
              <a:cxnLst/>
              <a:rect l="l" t="t" r="r" b="b"/>
              <a:pathLst>
                <a:path w="1871240" h="2674548" extrusionOk="0">
                  <a:moveTo>
                    <a:pt x="204316" y="2544036"/>
                  </a:moveTo>
                  <a:lnTo>
                    <a:pt x="207016" y="2544036"/>
                  </a:lnTo>
                  <a:lnTo>
                    <a:pt x="209716" y="2544936"/>
                  </a:lnTo>
                  <a:lnTo>
                    <a:pt x="218716" y="2548536"/>
                  </a:lnTo>
                  <a:lnTo>
                    <a:pt x="227716" y="2553936"/>
                  </a:lnTo>
                  <a:lnTo>
                    <a:pt x="236716" y="2560240"/>
                  </a:lnTo>
                  <a:lnTo>
                    <a:pt x="244820" y="2567440"/>
                  </a:lnTo>
                  <a:lnTo>
                    <a:pt x="247520" y="2570140"/>
                  </a:lnTo>
                  <a:lnTo>
                    <a:pt x="249320" y="2572840"/>
                  </a:lnTo>
                  <a:lnTo>
                    <a:pt x="250220" y="2575540"/>
                  </a:lnTo>
                  <a:lnTo>
                    <a:pt x="250220" y="2578240"/>
                  </a:lnTo>
                  <a:lnTo>
                    <a:pt x="245720" y="2586340"/>
                  </a:lnTo>
                  <a:lnTo>
                    <a:pt x="244820" y="2590840"/>
                  </a:lnTo>
                  <a:lnTo>
                    <a:pt x="243020" y="2596240"/>
                  </a:lnTo>
                  <a:lnTo>
                    <a:pt x="243020" y="2602540"/>
                  </a:lnTo>
                  <a:lnTo>
                    <a:pt x="243020" y="2609740"/>
                  </a:lnTo>
                  <a:lnTo>
                    <a:pt x="244820" y="2617844"/>
                  </a:lnTo>
                  <a:lnTo>
                    <a:pt x="247520" y="2625944"/>
                  </a:lnTo>
                  <a:lnTo>
                    <a:pt x="249320" y="2630444"/>
                  </a:lnTo>
                  <a:lnTo>
                    <a:pt x="250220" y="2634044"/>
                  </a:lnTo>
                  <a:lnTo>
                    <a:pt x="249320" y="2636744"/>
                  </a:lnTo>
                  <a:lnTo>
                    <a:pt x="249320" y="2639444"/>
                  </a:lnTo>
                  <a:lnTo>
                    <a:pt x="247520" y="2642144"/>
                  </a:lnTo>
                  <a:lnTo>
                    <a:pt x="245720" y="2643944"/>
                  </a:lnTo>
                  <a:lnTo>
                    <a:pt x="239420" y="2646644"/>
                  </a:lnTo>
                  <a:lnTo>
                    <a:pt x="232216" y="2648444"/>
                  </a:lnTo>
                  <a:lnTo>
                    <a:pt x="223216" y="2649344"/>
                  </a:lnTo>
                  <a:lnTo>
                    <a:pt x="202516" y="2652944"/>
                  </a:lnTo>
                  <a:lnTo>
                    <a:pt x="194416" y="2654744"/>
                  </a:lnTo>
                  <a:lnTo>
                    <a:pt x="189016" y="2657444"/>
                  </a:lnTo>
                  <a:lnTo>
                    <a:pt x="185412" y="2661044"/>
                  </a:lnTo>
                  <a:lnTo>
                    <a:pt x="183612" y="2664644"/>
                  </a:lnTo>
                  <a:lnTo>
                    <a:pt x="180912" y="2667344"/>
                  </a:lnTo>
                  <a:lnTo>
                    <a:pt x="178212" y="2670044"/>
                  </a:lnTo>
                  <a:lnTo>
                    <a:pt x="172812" y="2672744"/>
                  </a:lnTo>
                  <a:lnTo>
                    <a:pt x="163812" y="2674548"/>
                  </a:lnTo>
                  <a:lnTo>
                    <a:pt x="154812" y="2674548"/>
                  </a:lnTo>
                  <a:lnTo>
                    <a:pt x="152112" y="2673644"/>
                  </a:lnTo>
                  <a:lnTo>
                    <a:pt x="151212" y="2672744"/>
                  </a:lnTo>
                  <a:lnTo>
                    <a:pt x="150312" y="2670944"/>
                  </a:lnTo>
                  <a:lnTo>
                    <a:pt x="149412" y="2669144"/>
                  </a:lnTo>
                  <a:lnTo>
                    <a:pt x="151212" y="2665544"/>
                  </a:lnTo>
                  <a:lnTo>
                    <a:pt x="157512" y="2652944"/>
                  </a:lnTo>
                  <a:lnTo>
                    <a:pt x="161112" y="2645744"/>
                  </a:lnTo>
                  <a:lnTo>
                    <a:pt x="163812" y="2637644"/>
                  </a:lnTo>
                  <a:lnTo>
                    <a:pt x="167412" y="2624144"/>
                  </a:lnTo>
                  <a:lnTo>
                    <a:pt x="170112" y="2619644"/>
                  </a:lnTo>
                  <a:lnTo>
                    <a:pt x="172812" y="2615140"/>
                  </a:lnTo>
                  <a:lnTo>
                    <a:pt x="175512" y="2610640"/>
                  </a:lnTo>
                  <a:lnTo>
                    <a:pt x="180012" y="2607040"/>
                  </a:lnTo>
                  <a:lnTo>
                    <a:pt x="189916" y="2597140"/>
                  </a:lnTo>
                  <a:lnTo>
                    <a:pt x="192616" y="2594440"/>
                  </a:lnTo>
                  <a:lnTo>
                    <a:pt x="195316" y="2590840"/>
                  </a:lnTo>
                  <a:lnTo>
                    <a:pt x="198916" y="2583640"/>
                  </a:lnTo>
                  <a:lnTo>
                    <a:pt x="201616" y="2575540"/>
                  </a:lnTo>
                  <a:lnTo>
                    <a:pt x="202516" y="2566540"/>
                  </a:lnTo>
                  <a:lnTo>
                    <a:pt x="202516" y="2559340"/>
                  </a:lnTo>
                  <a:lnTo>
                    <a:pt x="202516" y="2553036"/>
                  </a:lnTo>
                  <a:lnTo>
                    <a:pt x="202516" y="2547636"/>
                  </a:lnTo>
                  <a:lnTo>
                    <a:pt x="202516" y="2545836"/>
                  </a:lnTo>
                  <a:close/>
                  <a:moveTo>
                    <a:pt x="949572" y="1224540"/>
                  </a:moveTo>
                  <a:lnTo>
                    <a:pt x="952272" y="1224540"/>
                  </a:lnTo>
                  <a:lnTo>
                    <a:pt x="954972" y="1225440"/>
                  </a:lnTo>
                  <a:lnTo>
                    <a:pt x="956772" y="1227240"/>
                  </a:lnTo>
                  <a:lnTo>
                    <a:pt x="959472" y="1229040"/>
                  </a:lnTo>
                  <a:lnTo>
                    <a:pt x="963972" y="1235340"/>
                  </a:lnTo>
                  <a:lnTo>
                    <a:pt x="966672" y="1242540"/>
                  </a:lnTo>
                  <a:lnTo>
                    <a:pt x="969372" y="1252444"/>
                  </a:lnTo>
                  <a:lnTo>
                    <a:pt x="970272" y="1262344"/>
                  </a:lnTo>
                  <a:lnTo>
                    <a:pt x="970272" y="1273144"/>
                  </a:lnTo>
                  <a:lnTo>
                    <a:pt x="970272" y="1282144"/>
                  </a:lnTo>
                  <a:lnTo>
                    <a:pt x="970272" y="1285744"/>
                  </a:lnTo>
                  <a:lnTo>
                    <a:pt x="972072" y="1288444"/>
                  </a:lnTo>
                  <a:lnTo>
                    <a:pt x="972972" y="1290244"/>
                  </a:lnTo>
                  <a:lnTo>
                    <a:pt x="974772" y="1292044"/>
                  </a:lnTo>
                  <a:lnTo>
                    <a:pt x="980172" y="1293844"/>
                  </a:lnTo>
                  <a:lnTo>
                    <a:pt x="986472" y="1294744"/>
                  </a:lnTo>
                  <a:lnTo>
                    <a:pt x="993676" y="1295644"/>
                  </a:lnTo>
                  <a:lnTo>
                    <a:pt x="1003576" y="1296544"/>
                  </a:lnTo>
                  <a:lnTo>
                    <a:pt x="1013476" y="1299244"/>
                  </a:lnTo>
                  <a:lnTo>
                    <a:pt x="1022476" y="1303744"/>
                  </a:lnTo>
                  <a:lnTo>
                    <a:pt x="1027876" y="1307348"/>
                  </a:lnTo>
                  <a:lnTo>
                    <a:pt x="1029676" y="1310048"/>
                  </a:lnTo>
                  <a:lnTo>
                    <a:pt x="1031476" y="1311848"/>
                  </a:lnTo>
                  <a:lnTo>
                    <a:pt x="1032376" y="1317248"/>
                  </a:lnTo>
                  <a:lnTo>
                    <a:pt x="1032376" y="1323548"/>
                  </a:lnTo>
                  <a:lnTo>
                    <a:pt x="1031476" y="1330748"/>
                  </a:lnTo>
                  <a:lnTo>
                    <a:pt x="1030576" y="1338848"/>
                  </a:lnTo>
                  <a:lnTo>
                    <a:pt x="1030576" y="1347848"/>
                  </a:lnTo>
                  <a:lnTo>
                    <a:pt x="1030576" y="1355948"/>
                  </a:lnTo>
                  <a:lnTo>
                    <a:pt x="1031476" y="1361352"/>
                  </a:lnTo>
                  <a:lnTo>
                    <a:pt x="1033276" y="1364052"/>
                  </a:lnTo>
                  <a:lnTo>
                    <a:pt x="1035976" y="1364952"/>
                  </a:lnTo>
                  <a:lnTo>
                    <a:pt x="1039576" y="1364052"/>
                  </a:lnTo>
                  <a:lnTo>
                    <a:pt x="1045880" y="1362252"/>
                  </a:lnTo>
                  <a:lnTo>
                    <a:pt x="1052180" y="1361352"/>
                  </a:lnTo>
                  <a:lnTo>
                    <a:pt x="1061180" y="1359548"/>
                  </a:lnTo>
                  <a:lnTo>
                    <a:pt x="1071080" y="1357748"/>
                  </a:lnTo>
                  <a:lnTo>
                    <a:pt x="1078280" y="1355048"/>
                  </a:lnTo>
                  <a:lnTo>
                    <a:pt x="1085480" y="1350548"/>
                  </a:lnTo>
                  <a:lnTo>
                    <a:pt x="1091780" y="1345148"/>
                  </a:lnTo>
                  <a:lnTo>
                    <a:pt x="1105284" y="1330748"/>
                  </a:lnTo>
                  <a:lnTo>
                    <a:pt x="1112484" y="1322648"/>
                  </a:lnTo>
                  <a:lnTo>
                    <a:pt x="1121484" y="1314548"/>
                  </a:lnTo>
                  <a:lnTo>
                    <a:pt x="1130484" y="1306448"/>
                  </a:lnTo>
                  <a:lnTo>
                    <a:pt x="1138584" y="1301944"/>
                  </a:lnTo>
                  <a:lnTo>
                    <a:pt x="1144884" y="1300144"/>
                  </a:lnTo>
                  <a:lnTo>
                    <a:pt x="1150284" y="1300144"/>
                  </a:lnTo>
                  <a:lnTo>
                    <a:pt x="1155688" y="1302844"/>
                  </a:lnTo>
                  <a:lnTo>
                    <a:pt x="1161088" y="1305548"/>
                  </a:lnTo>
                  <a:lnTo>
                    <a:pt x="1171888" y="1314548"/>
                  </a:lnTo>
                  <a:lnTo>
                    <a:pt x="1184488" y="1323548"/>
                  </a:lnTo>
                  <a:lnTo>
                    <a:pt x="1188988" y="1328048"/>
                  </a:lnTo>
                  <a:lnTo>
                    <a:pt x="1193488" y="1332548"/>
                  </a:lnTo>
                  <a:lnTo>
                    <a:pt x="1196188" y="1337948"/>
                  </a:lnTo>
                  <a:lnTo>
                    <a:pt x="1197088" y="1343348"/>
                  </a:lnTo>
                  <a:lnTo>
                    <a:pt x="1196188" y="1348748"/>
                  </a:lnTo>
                  <a:lnTo>
                    <a:pt x="1194388" y="1355048"/>
                  </a:lnTo>
                  <a:lnTo>
                    <a:pt x="1190788" y="1362252"/>
                  </a:lnTo>
                  <a:lnTo>
                    <a:pt x="1189888" y="1369452"/>
                  </a:lnTo>
                  <a:lnTo>
                    <a:pt x="1188988" y="1378452"/>
                  </a:lnTo>
                  <a:lnTo>
                    <a:pt x="1190788" y="1388352"/>
                  </a:lnTo>
                  <a:lnTo>
                    <a:pt x="1193488" y="1399152"/>
                  </a:lnTo>
                  <a:lnTo>
                    <a:pt x="1197988" y="1410852"/>
                  </a:lnTo>
                  <a:lnTo>
                    <a:pt x="1203388" y="1424356"/>
                  </a:lnTo>
                  <a:lnTo>
                    <a:pt x="1210592" y="1439656"/>
                  </a:lnTo>
                  <a:lnTo>
                    <a:pt x="1214192" y="1446856"/>
                  </a:lnTo>
                  <a:lnTo>
                    <a:pt x="1216892" y="1453156"/>
                  </a:lnTo>
                  <a:lnTo>
                    <a:pt x="1218692" y="1458556"/>
                  </a:lnTo>
                  <a:lnTo>
                    <a:pt x="1218692" y="1463056"/>
                  </a:lnTo>
                  <a:lnTo>
                    <a:pt x="1218692" y="1467556"/>
                  </a:lnTo>
                  <a:lnTo>
                    <a:pt x="1218692" y="1471160"/>
                  </a:lnTo>
                  <a:lnTo>
                    <a:pt x="1215092" y="1478360"/>
                  </a:lnTo>
                  <a:lnTo>
                    <a:pt x="1210592" y="1485560"/>
                  </a:lnTo>
                  <a:lnTo>
                    <a:pt x="1206092" y="1492760"/>
                  </a:lnTo>
                  <a:lnTo>
                    <a:pt x="1200688" y="1501760"/>
                  </a:lnTo>
                  <a:lnTo>
                    <a:pt x="1197988" y="1507160"/>
                  </a:lnTo>
                  <a:lnTo>
                    <a:pt x="1196188" y="1513460"/>
                  </a:lnTo>
                  <a:lnTo>
                    <a:pt x="1192588" y="1526064"/>
                  </a:lnTo>
                  <a:lnTo>
                    <a:pt x="1188088" y="1536864"/>
                  </a:lnTo>
                  <a:lnTo>
                    <a:pt x="1183588" y="1545864"/>
                  </a:lnTo>
                  <a:lnTo>
                    <a:pt x="1178188" y="1553064"/>
                  </a:lnTo>
                  <a:lnTo>
                    <a:pt x="1172788" y="1560264"/>
                  </a:lnTo>
                  <a:lnTo>
                    <a:pt x="1166488" y="1565664"/>
                  </a:lnTo>
                  <a:lnTo>
                    <a:pt x="1152988" y="1576468"/>
                  </a:lnTo>
                  <a:lnTo>
                    <a:pt x="1149384" y="1580068"/>
                  </a:lnTo>
                  <a:lnTo>
                    <a:pt x="1145784" y="1583668"/>
                  </a:lnTo>
                  <a:lnTo>
                    <a:pt x="1136784" y="1594468"/>
                  </a:lnTo>
                  <a:lnTo>
                    <a:pt x="1128684" y="1607968"/>
                  </a:lnTo>
                  <a:lnTo>
                    <a:pt x="1120584" y="1623268"/>
                  </a:lnTo>
                  <a:lnTo>
                    <a:pt x="1104384" y="1653872"/>
                  </a:lnTo>
                  <a:lnTo>
                    <a:pt x="1092680" y="1679972"/>
                  </a:lnTo>
                  <a:lnTo>
                    <a:pt x="1088180" y="1689876"/>
                  </a:lnTo>
                  <a:lnTo>
                    <a:pt x="1081880" y="1699776"/>
                  </a:lnTo>
                  <a:lnTo>
                    <a:pt x="1075580" y="1707876"/>
                  </a:lnTo>
                  <a:lnTo>
                    <a:pt x="1068380" y="1715076"/>
                  </a:lnTo>
                  <a:lnTo>
                    <a:pt x="1054880" y="1727676"/>
                  </a:lnTo>
                  <a:lnTo>
                    <a:pt x="1043180" y="1737580"/>
                  </a:lnTo>
                  <a:lnTo>
                    <a:pt x="1039576" y="1741180"/>
                  </a:lnTo>
                  <a:lnTo>
                    <a:pt x="1036876" y="1744780"/>
                  </a:lnTo>
                  <a:lnTo>
                    <a:pt x="1029676" y="1756480"/>
                  </a:lnTo>
                  <a:lnTo>
                    <a:pt x="1022476" y="1771780"/>
                  </a:lnTo>
                  <a:lnTo>
                    <a:pt x="1014376" y="1788880"/>
                  </a:lnTo>
                  <a:lnTo>
                    <a:pt x="999976" y="1823084"/>
                  </a:lnTo>
                  <a:lnTo>
                    <a:pt x="989176" y="1848288"/>
                  </a:lnTo>
                  <a:lnTo>
                    <a:pt x="988276" y="1852788"/>
                  </a:lnTo>
                  <a:lnTo>
                    <a:pt x="988276" y="1857288"/>
                  </a:lnTo>
                  <a:lnTo>
                    <a:pt x="990076" y="1861788"/>
                  </a:lnTo>
                  <a:lnTo>
                    <a:pt x="992776" y="1866288"/>
                  </a:lnTo>
                  <a:lnTo>
                    <a:pt x="995476" y="1870788"/>
                  </a:lnTo>
                  <a:lnTo>
                    <a:pt x="999976" y="1874388"/>
                  </a:lnTo>
                  <a:lnTo>
                    <a:pt x="1009876" y="1882488"/>
                  </a:lnTo>
                  <a:lnTo>
                    <a:pt x="1029676" y="1898688"/>
                  </a:lnTo>
                  <a:lnTo>
                    <a:pt x="1037776" y="1905892"/>
                  </a:lnTo>
                  <a:lnTo>
                    <a:pt x="1040476" y="1909492"/>
                  </a:lnTo>
                  <a:lnTo>
                    <a:pt x="1042276" y="1913092"/>
                  </a:lnTo>
                  <a:lnTo>
                    <a:pt x="1043180" y="1916692"/>
                  </a:lnTo>
                  <a:lnTo>
                    <a:pt x="1041376" y="1919392"/>
                  </a:lnTo>
                  <a:lnTo>
                    <a:pt x="1038676" y="1921192"/>
                  </a:lnTo>
                  <a:lnTo>
                    <a:pt x="1035076" y="1922992"/>
                  </a:lnTo>
                  <a:lnTo>
                    <a:pt x="1029676" y="1923892"/>
                  </a:lnTo>
                  <a:lnTo>
                    <a:pt x="1024276" y="1924792"/>
                  </a:lnTo>
                  <a:lnTo>
                    <a:pt x="1010776" y="1923892"/>
                  </a:lnTo>
                  <a:lnTo>
                    <a:pt x="995476" y="1922092"/>
                  </a:lnTo>
                  <a:lnTo>
                    <a:pt x="981072" y="1919392"/>
                  </a:lnTo>
                  <a:lnTo>
                    <a:pt x="969372" y="1915792"/>
                  </a:lnTo>
                  <a:lnTo>
                    <a:pt x="963972" y="1913092"/>
                  </a:lnTo>
                  <a:lnTo>
                    <a:pt x="960372" y="1911292"/>
                  </a:lnTo>
                  <a:lnTo>
                    <a:pt x="956772" y="1909492"/>
                  </a:lnTo>
                  <a:lnTo>
                    <a:pt x="953172" y="1907692"/>
                  </a:lnTo>
                  <a:lnTo>
                    <a:pt x="949572" y="1906792"/>
                  </a:lnTo>
                  <a:lnTo>
                    <a:pt x="945072" y="1906792"/>
                  </a:lnTo>
                  <a:lnTo>
                    <a:pt x="935172" y="1907692"/>
                  </a:lnTo>
                  <a:lnTo>
                    <a:pt x="925268" y="1910392"/>
                  </a:lnTo>
                  <a:lnTo>
                    <a:pt x="914468" y="1914892"/>
                  </a:lnTo>
                  <a:lnTo>
                    <a:pt x="904568" y="1920292"/>
                  </a:lnTo>
                  <a:lnTo>
                    <a:pt x="894668" y="1927492"/>
                  </a:lnTo>
                  <a:lnTo>
                    <a:pt x="885668" y="1935592"/>
                  </a:lnTo>
                  <a:lnTo>
                    <a:pt x="877564" y="1942792"/>
                  </a:lnTo>
                  <a:lnTo>
                    <a:pt x="868564" y="1949092"/>
                  </a:lnTo>
                  <a:lnTo>
                    <a:pt x="858664" y="1954496"/>
                  </a:lnTo>
                  <a:lnTo>
                    <a:pt x="848764" y="1958096"/>
                  </a:lnTo>
                  <a:lnTo>
                    <a:pt x="837964" y="1960796"/>
                  </a:lnTo>
                  <a:lnTo>
                    <a:pt x="827164" y="1962596"/>
                  </a:lnTo>
                  <a:lnTo>
                    <a:pt x="815460" y="1962596"/>
                  </a:lnTo>
                  <a:lnTo>
                    <a:pt x="803760" y="1961696"/>
                  </a:lnTo>
                  <a:lnTo>
                    <a:pt x="798360" y="1961696"/>
                  </a:lnTo>
                  <a:lnTo>
                    <a:pt x="793860" y="1962596"/>
                  </a:lnTo>
                  <a:lnTo>
                    <a:pt x="790260" y="1964396"/>
                  </a:lnTo>
                  <a:lnTo>
                    <a:pt x="787560" y="1967996"/>
                  </a:lnTo>
                  <a:lnTo>
                    <a:pt x="784860" y="1971596"/>
                  </a:lnTo>
                  <a:lnTo>
                    <a:pt x="783060" y="1976996"/>
                  </a:lnTo>
                  <a:lnTo>
                    <a:pt x="779460" y="1987796"/>
                  </a:lnTo>
                  <a:lnTo>
                    <a:pt x="774960" y="2013000"/>
                  </a:lnTo>
                  <a:lnTo>
                    <a:pt x="772260" y="2024700"/>
                  </a:lnTo>
                  <a:lnTo>
                    <a:pt x="770456" y="2029200"/>
                  </a:lnTo>
                  <a:lnTo>
                    <a:pt x="767756" y="2033700"/>
                  </a:lnTo>
                  <a:lnTo>
                    <a:pt x="765056" y="2038200"/>
                  </a:lnTo>
                  <a:lnTo>
                    <a:pt x="763256" y="2043600"/>
                  </a:lnTo>
                  <a:lnTo>
                    <a:pt x="759656" y="2056200"/>
                  </a:lnTo>
                  <a:lnTo>
                    <a:pt x="756056" y="2070604"/>
                  </a:lnTo>
                  <a:lnTo>
                    <a:pt x="753356" y="2086804"/>
                  </a:lnTo>
                  <a:lnTo>
                    <a:pt x="750656" y="2103004"/>
                  </a:lnTo>
                  <a:lnTo>
                    <a:pt x="747956" y="2119208"/>
                  </a:lnTo>
                  <a:lnTo>
                    <a:pt x="743456" y="2133608"/>
                  </a:lnTo>
                  <a:lnTo>
                    <a:pt x="738956" y="2147108"/>
                  </a:lnTo>
                  <a:lnTo>
                    <a:pt x="730856" y="2165108"/>
                  </a:lnTo>
                  <a:lnTo>
                    <a:pt x="725456" y="2177712"/>
                  </a:lnTo>
                  <a:lnTo>
                    <a:pt x="712852" y="2211912"/>
                  </a:lnTo>
                  <a:lnTo>
                    <a:pt x="708352" y="2223612"/>
                  </a:lnTo>
                  <a:lnTo>
                    <a:pt x="707452" y="2232616"/>
                  </a:lnTo>
                  <a:lnTo>
                    <a:pt x="707452" y="2238916"/>
                  </a:lnTo>
                  <a:lnTo>
                    <a:pt x="708352" y="2244316"/>
                  </a:lnTo>
                  <a:lnTo>
                    <a:pt x="709252" y="2247916"/>
                  </a:lnTo>
                  <a:lnTo>
                    <a:pt x="710152" y="2252416"/>
                  </a:lnTo>
                  <a:lnTo>
                    <a:pt x="710152" y="2257816"/>
                  </a:lnTo>
                  <a:lnTo>
                    <a:pt x="707452" y="2265016"/>
                  </a:lnTo>
                  <a:lnTo>
                    <a:pt x="701152" y="2279420"/>
                  </a:lnTo>
                  <a:lnTo>
                    <a:pt x="693952" y="2292920"/>
                  </a:lnTo>
                  <a:lnTo>
                    <a:pt x="684952" y="2308220"/>
                  </a:lnTo>
                  <a:lnTo>
                    <a:pt x="671452" y="2329820"/>
                  </a:lnTo>
                  <a:lnTo>
                    <a:pt x="667852" y="2336124"/>
                  </a:lnTo>
                  <a:lnTo>
                    <a:pt x="666052" y="2340624"/>
                  </a:lnTo>
                  <a:lnTo>
                    <a:pt x="665152" y="2345124"/>
                  </a:lnTo>
                  <a:lnTo>
                    <a:pt x="665152" y="2348724"/>
                  </a:lnTo>
                  <a:lnTo>
                    <a:pt x="665152" y="2351424"/>
                  </a:lnTo>
                  <a:lnTo>
                    <a:pt x="666952" y="2353224"/>
                  </a:lnTo>
                  <a:lnTo>
                    <a:pt x="669652" y="2355924"/>
                  </a:lnTo>
                  <a:lnTo>
                    <a:pt x="672352" y="2356824"/>
                  </a:lnTo>
                  <a:lnTo>
                    <a:pt x="680452" y="2359524"/>
                  </a:lnTo>
                  <a:lnTo>
                    <a:pt x="689452" y="2361324"/>
                  </a:lnTo>
                  <a:lnTo>
                    <a:pt x="700252" y="2363124"/>
                  </a:lnTo>
                  <a:lnTo>
                    <a:pt x="710152" y="2365824"/>
                  </a:lnTo>
                  <a:lnTo>
                    <a:pt x="709252" y="2368524"/>
                  </a:lnTo>
                  <a:lnTo>
                    <a:pt x="706552" y="2374824"/>
                  </a:lnTo>
                  <a:lnTo>
                    <a:pt x="703852" y="2378424"/>
                  </a:lnTo>
                  <a:lnTo>
                    <a:pt x="700252" y="2382024"/>
                  </a:lnTo>
                  <a:lnTo>
                    <a:pt x="694852" y="2385628"/>
                  </a:lnTo>
                  <a:lnTo>
                    <a:pt x="688552" y="2387428"/>
                  </a:lnTo>
                  <a:lnTo>
                    <a:pt x="671452" y="2391928"/>
                  </a:lnTo>
                  <a:lnTo>
                    <a:pt x="650748" y="2396428"/>
                  </a:lnTo>
                  <a:lnTo>
                    <a:pt x="640848" y="2400028"/>
                  </a:lnTo>
                  <a:lnTo>
                    <a:pt x="630948" y="2403628"/>
                  </a:lnTo>
                  <a:lnTo>
                    <a:pt x="621948" y="2408128"/>
                  </a:lnTo>
                  <a:lnTo>
                    <a:pt x="613848" y="2414428"/>
                  </a:lnTo>
                  <a:lnTo>
                    <a:pt x="598544" y="2427028"/>
                  </a:lnTo>
                  <a:lnTo>
                    <a:pt x="583244" y="2439628"/>
                  </a:lnTo>
                  <a:lnTo>
                    <a:pt x="567044" y="2448632"/>
                  </a:lnTo>
                  <a:lnTo>
                    <a:pt x="559844" y="2452232"/>
                  </a:lnTo>
                  <a:lnTo>
                    <a:pt x="553540" y="2454932"/>
                  </a:lnTo>
                  <a:lnTo>
                    <a:pt x="549940" y="2456732"/>
                  </a:lnTo>
                  <a:lnTo>
                    <a:pt x="546340" y="2459432"/>
                  </a:lnTo>
                  <a:lnTo>
                    <a:pt x="536440" y="2467532"/>
                  </a:lnTo>
                  <a:lnTo>
                    <a:pt x="525640" y="2479232"/>
                  </a:lnTo>
                  <a:lnTo>
                    <a:pt x="514840" y="2491832"/>
                  </a:lnTo>
                  <a:lnTo>
                    <a:pt x="491436" y="2518836"/>
                  </a:lnTo>
                  <a:lnTo>
                    <a:pt x="480636" y="2530536"/>
                  </a:lnTo>
                  <a:lnTo>
                    <a:pt x="471636" y="2539536"/>
                  </a:lnTo>
                  <a:lnTo>
                    <a:pt x="467136" y="2542236"/>
                  </a:lnTo>
                  <a:lnTo>
                    <a:pt x="463536" y="2544936"/>
                  </a:lnTo>
                  <a:lnTo>
                    <a:pt x="459036" y="2546736"/>
                  </a:lnTo>
                  <a:lnTo>
                    <a:pt x="455436" y="2547636"/>
                  </a:lnTo>
                  <a:lnTo>
                    <a:pt x="450936" y="2547636"/>
                  </a:lnTo>
                  <a:lnTo>
                    <a:pt x="446432" y="2546736"/>
                  </a:lnTo>
                  <a:lnTo>
                    <a:pt x="437432" y="2544936"/>
                  </a:lnTo>
                  <a:lnTo>
                    <a:pt x="428432" y="2541336"/>
                  </a:lnTo>
                  <a:lnTo>
                    <a:pt x="417632" y="2535936"/>
                  </a:lnTo>
                  <a:lnTo>
                    <a:pt x="406832" y="2530536"/>
                  </a:lnTo>
                  <a:lnTo>
                    <a:pt x="395132" y="2525136"/>
                  </a:lnTo>
                  <a:lnTo>
                    <a:pt x="383428" y="2520636"/>
                  </a:lnTo>
                  <a:lnTo>
                    <a:pt x="373528" y="2518836"/>
                  </a:lnTo>
                  <a:lnTo>
                    <a:pt x="365428" y="2517936"/>
                  </a:lnTo>
                  <a:lnTo>
                    <a:pt x="358228" y="2518836"/>
                  </a:lnTo>
                  <a:lnTo>
                    <a:pt x="344728" y="2521536"/>
                  </a:lnTo>
                  <a:lnTo>
                    <a:pt x="336624" y="2523336"/>
                  </a:lnTo>
                  <a:lnTo>
                    <a:pt x="327624" y="2525136"/>
                  </a:lnTo>
                  <a:lnTo>
                    <a:pt x="317724" y="2525136"/>
                  </a:lnTo>
                  <a:lnTo>
                    <a:pt x="309624" y="2522436"/>
                  </a:lnTo>
                  <a:lnTo>
                    <a:pt x="301524" y="2519736"/>
                  </a:lnTo>
                  <a:lnTo>
                    <a:pt x="294324" y="2515236"/>
                  </a:lnTo>
                  <a:lnTo>
                    <a:pt x="288024" y="2509836"/>
                  </a:lnTo>
                  <a:lnTo>
                    <a:pt x="281720" y="2505336"/>
                  </a:lnTo>
                  <a:lnTo>
                    <a:pt x="271820" y="2496336"/>
                  </a:lnTo>
                  <a:lnTo>
                    <a:pt x="267320" y="2493636"/>
                  </a:lnTo>
                  <a:lnTo>
                    <a:pt x="261920" y="2492732"/>
                  </a:lnTo>
                  <a:lnTo>
                    <a:pt x="256520" y="2492732"/>
                  </a:lnTo>
                  <a:lnTo>
                    <a:pt x="251120" y="2493636"/>
                  </a:lnTo>
                  <a:lnTo>
                    <a:pt x="241220" y="2495436"/>
                  </a:lnTo>
                  <a:lnTo>
                    <a:pt x="236720" y="2496336"/>
                  </a:lnTo>
                  <a:lnTo>
                    <a:pt x="233120" y="2496336"/>
                  </a:lnTo>
                  <a:lnTo>
                    <a:pt x="229516" y="2492732"/>
                  </a:lnTo>
                  <a:lnTo>
                    <a:pt x="222316" y="2485532"/>
                  </a:lnTo>
                  <a:lnTo>
                    <a:pt x="202516" y="2465732"/>
                  </a:lnTo>
                  <a:lnTo>
                    <a:pt x="191716" y="2456732"/>
                  </a:lnTo>
                  <a:lnTo>
                    <a:pt x="186316" y="2453132"/>
                  </a:lnTo>
                  <a:lnTo>
                    <a:pt x="181816" y="2450432"/>
                  </a:lnTo>
                  <a:lnTo>
                    <a:pt x="177316" y="2447732"/>
                  </a:lnTo>
                  <a:lnTo>
                    <a:pt x="172812" y="2447732"/>
                  </a:lnTo>
                  <a:lnTo>
                    <a:pt x="169212" y="2447732"/>
                  </a:lnTo>
                  <a:lnTo>
                    <a:pt x="166512" y="2450432"/>
                  </a:lnTo>
                  <a:lnTo>
                    <a:pt x="162912" y="2453132"/>
                  </a:lnTo>
                  <a:lnTo>
                    <a:pt x="159312" y="2454932"/>
                  </a:lnTo>
                  <a:lnTo>
                    <a:pt x="154812" y="2454932"/>
                  </a:lnTo>
                  <a:lnTo>
                    <a:pt x="150312" y="2454932"/>
                  </a:lnTo>
                  <a:lnTo>
                    <a:pt x="138612" y="2453132"/>
                  </a:lnTo>
                  <a:lnTo>
                    <a:pt x="126912" y="2448632"/>
                  </a:lnTo>
                  <a:lnTo>
                    <a:pt x="99908" y="2438728"/>
                  </a:lnTo>
                  <a:lnTo>
                    <a:pt x="87308" y="2434228"/>
                  </a:lnTo>
                  <a:lnTo>
                    <a:pt x="74708" y="2430628"/>
                  </a:lnTo>
                  <a:lnTo>
                    <a:pt x="64804" y="2428828"/>
                  </a:lnTo>
                  <a:lnTo>
                    <a:pt x="57604" y="2426128"/>
                  </a:lnTo>
                  <a:lnTo>
                    <a:pt x="53104" y="2422528"/>
                  </a:lnTo>
                  <a:lnTo>
                    <a:pt x="50404" y="2418928"/>
                  </a:lnTo>
                  <a:lnTo>
                    <a:pt x="49504" y="2414428"/>
                  </a:lnTo>
                  <a:lnTo>
                    <a:pt x="49504" y="2409028"/>
                  </a:lnTo>
                  <a:lnTo>
                    <a:pt x="50404" y="2397328"/>
                  </a:lnTo>
                  <a:lnTo>
                    <a:pt x="49504" y="2391928"/>
                  </a:lnTo>
                  <a:lnTo>
                    <a:pt x="46804" y="2386528"/>
                  </a:lnTo>
                  <a:lnTo>
                    <a:pt x="42304" y="2382924"/>
                  </a:lnTo>
                  <a:lnTo>
                    <a:pt x="36904" y="2379324"/>
                  </a:lnTo>
                  <a:lnTo>
                    <a:pt x="23404" y="2371224"/>
                  </a:lnTo>
                  <a:lnTo>
                    <a:pt x="15304" y="2366724"/>
                  </a:lnTo>
                  <a:lnTo>
                    <a:pt x="7200" y="2361324"/>
                  </a:lnTo>
                  <a:lnTo>
                    <a:pt x="3600" y="2358624"/>
                  </a:lnTo>
                  <a:lnTo>
                    <a:pt x="900" y="2355924"/>
                  </a:lnTo>
                  <a:lnTo>
                    <a:pt x="0" y="2353224"/>
                  </a:lnTo>
                  <a:lnTo>
                    <a:pt x="0" y="2350524"/>
                  </a:lnTo>
                  <a:lnTo>
                    <a:pt x="0" y="2348724"/>
                  </a:lnTo>
                  <a:lnTo>
                    <a:pt x="900" y="2346924"/>
                  </a:lnTo>
                  <a:lnTo>
                    <a:pt x="5400" y="2344224"/>
                  </a:lnTo>
                  <a:lnTo>
                    <a:pt x="12600" y="2340624"/>
                  </a:lnTo>
                  <a:lnTo>
                    <a:pt x="20704" y="2337924"/>
                  </a:lnTo>
                  <a:lnTo>
                    <a:pt x="29704" y="2334324"/>
                  </a:lnTo>
                  <a:lnTo>
                    <a:pt x="38704" y="2329820"/>
                  </a:lnTo>
                  <a:lnTo>
                    <a:pt x="50404" y="2323520"/>
                  </a:lnTo>
                  <a:lnTo>
                    <a:pt x="53104" y="2320820"/>
                  </a:lnTo>
                  <a:lnTo>
                    <a:pt x="53104" y="2319920"/>
                  </a:lnTo>
                  <a:lnTo>
                    <a:pt x="52204" y="2318120"/>
                  </a:lnTo>
                  <a:lnTo>
                    <a:pt x="51304" y="2317220"/>
                  </a:lnTo>
                  <a:lnTo>
                    <a:pt x="49504" y="2315420"/>
                  </a:lnTo>
                  <a:lnTo>
                    <a:pt x="48604" y="2312720"/>
                  </a:lnTo>
                  <a:lnTo>
                    <a:pt x="48604" y="2310920"/>
                  </a:lnTo>
                  <a:lnTo>
                    <a:pt x="49504" y="2308220"/>
                  </a:lnTo>
                  <a:lnTo>
                    <a:pt x="54904" y="2303720"/>
                  </a:lnTo>
                  <a:lnTo>
                    <a:pt x="57604" y="2301020"/>
                  </a:lnTo>
                  <a:lnTo>
                    <a:pt x="60304" y="2296520"/>
                  </a:lnTo>
                  <a:lnTo>
                    <a:pt x="61204" y="2291120"/>
                  </a:lnTo>
                  <a:lnTo>
                    <a:pt x="60304" y="2283920"/>
                  </a:lnTo>
                  <a:lnTo>
                    <a:pt x="57604" y="2274916"/>
                  </a:lnTo>
                  <a:lnTo>
                    <a:pt x="57604" y="2274016"/>
                  </a:lnTo>
                  <a:lnTo>
                    <a:pt x="56704" y="2274916"/>
                  </a:lnTo>
                  <a:lnTo>
                    <a:pt x="56704" y="2275816"/>
                  </a:lnTo>
                  <a:lnTo>
                    <a:pt x="55804" y="2275816"/>
                  </a:lnTo>
                  <a:lnTo>
                    <a:pt x="53104" y="2274916"/>
                  </a:lnTo>
                  <a:lnTo>
                    <a:pt x="50404" y="2272216"/>
                  </a:lnTo>
                  <a:lnTo>
                    <a:pt x="49504" y="2270416"/>
                  </a:lnTo>
                  <a:lnTo>
                    <a:pt x="48604" y="2267716"/>
                  </a:lnTo>
                  <a:lnTo>
                    <a:pt x="48604" y="2265916"/>
                  </a:lnTo>
                  <a:lnTo>
                    <a:pt x="48604" y="2264116"/>
                  </a:lnTo>
                  <a:lnTo>
                    <a:pt x="51304" y="2259616"/>
                  </a:lnTo>
                  <a:lnTo>
                    <a:pt x="55804" y="2256016"/>
                  </a:lnTo>
                  <a:lnTo>
                    <a:pt x="66604" y="2247016"/>
                  </a:lnTo>
                  <a:lnTo>
                    <a:pt x="72008" y="2241616"/>
                  </a:lnTo>
                  <a:lnTo>
                    <a:pt x="77408" y="2236216"/>
                  </a:lnTo>
                  <a:lnTo>
                    <a:pt x="81008" y="2230816"/>
                  </a:lnTo>
                  <a:lnTo>
                    <a:pt x="84608" y="2227216"/>
                  </a:lnTo>
                  <a:lnTo>
                    <a:pt x="90908" y="2222712"/>
                  </a:lnTo>
                  <a:lnTo>
                    <a:pt x="93608" y="2220912"/>
                  </a:lnTo>
                  <a:lnTo>
                    <a:pt x="97208" y="2218212"/>
                  </a:lnTo>
                  <a:lnTo>
                    <a:pt x="99908" y="2214612"/>
                  </a:lnTo>
                  <a:lnTo>
                    <a:pt x="103508" y="2209212"/>
                  </a:lnTo>
                  <a:lnTo>
                    <a:pt x="106208" y="2203812"/>
                  </a:lnTo>
                  <a:lnTo>
                    <a:pt x="107108" y="2200212"/>
                  </a:lnTo>
                  <a:lnTo>
                    <a:pt x="107108" y="2197512"/>
                  </a:lnTo>
                  <a:lnTo>
                    <a:pt x="106208" y="2195712"/>
                  </a:lnTo>
                  <a:lnTo>
                    <a:pt x="100808" y="2192112"/>
                  </a:lnTo>
                  <a:lnTo>
                    <a:pt x="97208" y="2189412"/>
                  </a:lnTo>
                  <a:lnTo>
                    <a:pt x="93608" y="2185812"/>
                  </a:lnTo>
                  <a:lnTo>
                    <a:pt x="90908" y="2181312"/>
                  </a:lnTo>
                  <a:lnTo>
                    <a:pt x="90908" y="2177712"/>
                  </a:lnTo>
                  <a:lnTo>
                    <a:pt x="91808" y="2175012"/>
                  </a:lnTo>
                  <a:lnTo>
                    <a:pt x="94508" y="2171412"/>
                  </a:lnTo>
                  <a:lnTo>
                    <a:pt x="101708" y="2163308"/>
                  </a:lnTo>
                  <a:lnTo>
                    <a:pt x="106208" y="2157908"/>
                  </a:lnTo>
                  <a:lnTo>
                    <a:pt x="110708" y="2151608"/>
                  </a:lnTo>
                  <a:lnTo>
                    <a:pt x="113408" y="2148908"/>
                  </a:lnTo>
                  <a:lnTo>
                    <a:pt x="115208" y="2146208"/>
                  </a:lnTo>
                  <a:lnTo>
                    <a:pt x="117908" y="2145308"/>
                  </a:lnTo>
                  <a:lnTo>
                    <a:pt x="120608" y="2144408"/>
                  </a:lnTo>
                  <a:lnTo>
                    <a:pt x="126012" y="2144408"/>
                  </a:lnTo>
                  <a:lnTo>
                    <a:pt x="131412" y="2145308"/>
                  </a:lnTo>
                  <a:lnTo>
                    <a:pt x="142212" y="2149808"/>
                  </a:lnTo>
                  <a:lnTo>
                    <a:pt x="145812" y="2151608"/>
                  </a:lnTo>
                  <a:lnTo>
                    <a:pt x="149412" y="2151608"/>
                  </a:lnTo>
                  <a:lnTo>
                    <a:pt x="152112" y="2150708"/>
                  </a:lnTo>
                  <a:lnTo>
                    <a:pt x="154812" y="2148008"/>
                  </a:lnTo>
                  <a:lnTo>
                    <a:pt x="161112" y="2140808"/>
                  </a:lnTo>
                  <a:lnTo>
                    <a:pt x="168312" y="2131808"/>
                  </a:lnTo>
                  <a:lnTo>
                    <a:pt x="178216" y="2122808"/>
                  </a:lnTo>
                  <a:lnTo>
                    <a:pt x="181816" y="2118308"/>
                  </a:lnTo>
                  <a:lnTo>
                    <a:pt x="184516" y="2113804"/>
                  </a:lnTo>
                  <a:lnTo>
                    <a:pt x="184516" y="2109304"/>
                  </a:lnTo>
                  <a:lnTo>
                    <a:pt x="183616" y="2104804"/>
                  </a:lnTo>
                  <a:lnTo>
                    <a:pt x="181816" y="2102104"/>
                  </a:lnTo>
                  <a:lnTo>
                    <a:pt x="180016" y="2098504"/>
                  </a:lnTo>
                  <a:lnTo>
                    <a:pt x="178216" y="2096704"/>
                  </a:lnTo>
                  <a:lnTo>
                    <a:pt x="203416" y="2089504"/>
                  </a:lnTo>
                  <a:lnTo>
                    <a:pt x="210616" y="2086804"/>
                  </a:lnTo>
                  <a:lnTo>
                    <a:pt x="215116" y="2085004"/>
                  </a:lnTo>
                  <a:lnTo>
                    <a:pt x="215116" y="2084104"/>
                  </a:lnTo>
                  <a:lnTo>
                    <a:pt x="216016" y="2083204"/>
                  </a:lnTo>
                  <a:lnTo>
                    <a:pt x="214216" y="2081404"/>
                  </a:lnTo>
                  <a:lnTo>
                    <a:pt x="208816" y="2077804"/>
                  </a:lnTo>
                  <a:lnTo>
                    <a:pt x="206116" y="2076004"/>
                  </a:lnTo>
                  <a:lnTo>
                    <a:pt x="204316" y="2072404"/>
                  </a:lnTo>
                  <a:lnTo>
                    <a:pt x="203416" y="2065204"/>
                  </a:lnTo>
                  <a:lnTo>
                    <a:pt x="203416" y="2058000"/>
                  </a:lnTo>
                  <a:lnTo>
                    <a:pt x="204316" y="2050800"/>
                  </a:lnTo>
                  <a:lnTo>
                    <a:pt x="221416" y="2043600"/>
                  </a:lnTo>
                  <a:lnTo>
                    <a:pt x="226816" y="2040900"/>
                  </a:lnTo>
                  <a:lnTo>
                    <a:pt x="230420" y="2038200"/>
                  </a:lnTo>
                  <a:lnTo>
                    <a:pt x="233120" y="2036400"/>
                  </a:lnTo>
                  <a:lnTo>
                    <a:pt x="234920" y="2033700"/>
                  </a:lnTo>
                  <a:lnTo>
                    <a:pt x="235820" y="2031000"/>
                  </a:lnTo>
                  <a:lnTo>
                    <a:pt x="235820" y="2028300"/>
                  </a:lnTo>
                  <a:lnTo>
                    <a:pt x="235820" y="2022000"/>
                  </a:lnTo>
                  <a:lnTo>
                    <a:pt x="236720" y="2015700"/>
                  </a:lnTo>
                  <a:lnTo>
                    <a:pt x="237620" y="2013000"/>
                  </a:lnTo>
                  <a:lnTo>
                    <a:pt x="238520" y="2010300"/>
                  </a:lnTo>
                  <a:lnTo>
                    <a:pt x="241220" y="2008500"/>
                  </a:lnTo>
                  <a:lnTo>
                    <a:pt x="243920" y="2006696"/>
                  </a:lnTo>
                  <a:lnTo>
                    <a:pt x="252920" y="2002196"/>
                  </a:lnTo>
                  <a:lnTo>
                    <a:pt x="258320" y="2000396"/>
                  </a:lnTo>
                  <a:lnTo>
                    <a:pt x="261020" y="1998596"/>
                  </a:lnTo>
                  <a:lnTo>
                    <a:pt x="261920" y="1994996"/>
                  </a:lnTo>
                  <a:lnTo>
                    <a:pt x="262820" y="1991396"/>
                  </a:lnTo>
                  <a:lnTo>
                    <a:pt x="261920" y="1986896"/>
                  </a:lnTo>
                  <a:lnTo>
                    <a:pt x="260120" y="1980596"/>
                  </a:lnTo>
                  <a:lnTo>
                    <a:pt x="254720" y="1964396"/>
                  </a:lnTo>
                  <a:lnTo>
                    <a:pt x="253820" y="1956296"/>
                  </a:lnTo>
                  <a:lnTo>
                    <a:pt x="253820" y="1952692"/>
                  </a:lnTo>
                  <a:lnTo>
                    <a:pt x="254720" y="1952692"/>
                  </a:lnTo>
                  <a:lnTo>
                    <a:pt x="257420" y="1954496"/>
                  </a:lnTo>
                  <a:lnTo>
                    <a:pt x="266420" y="1959896"/>
                  </a:lnTo>
                  <a:lnTo>
                    <a:pt x="271820" y="1962596"/>
                  </a:lnTo>
                  <a:lnTo>
                    <a:pt x="277220" y="1964396"/>
                  </a:lnTo>
                  <a:lnTo>
                    <a:pt x="285324" y="1963496"/>
                  </a:lnTo>
                  <a:lnTo>
                    <a:pt x="288924" y="1962596"/>
                  </a:lnTo>
                  <a:lnTo>
                    <a:pt x="291624" y="1960796"/>
                  </a:lnTo>
                  <a:lnTo>
                    <a:pt x="294324" y="1958996"/>
                  </a:lnTo>
                  <a:lnTo>
                    <a:pt x="296124" y="1956296"/>
                  </a:lnTo>
                  <a:lnTo>
                    <a:pt x="300624" y="1947292"/>
                  </a:lnTo>
                  <a:lnTo>
                    <a:pt x="303324" y="1942792"/>
                  </a:lnTo>
                  <a:lnTo>
                    <a:pt x="306024" y="1940992"/>
                  </a:lnTo>
                  <a:lnTo>
                    <a:pt x="309624" y="1940992"/>
                  </a:lnTo>
                  <a:lnTo>
                    <a:pt x="314124" y="1941892"/>
                  </a:lnTo>
                  <a:lnTo>
                    <a:pt x="325824" y="1945492"/>
                  </a:lnTo>
                  <a:lnTo>
                    <a:pt x="334824" y="1946392"/>
                  </a:lnTo>
                  <a:lnTo>
                    <a:pt x="346528" y="1947292"/>
                  </a:lnTo>
                  <a:lnTo>
                    <a:pt x="357328" y="1947292"/>
                  </a:lnTo>
                  <a:lnTo>
                    <a:pt x="365428" y="1946392"/>
                  </a:lnTo>
                  <a:lnTo>
                    <a:pt x="370828" y="1944592"/>
                  </a:lnTo>
                  <a:lnTo>
                    <a:pt x="375328" y="1942792"/>
                  </a:lnTo>
                  <a:lnTo>
                    <a:pt x="378028" y="1940092"/>
                  </a:lnTo>
                  <a:lnTo>
                    <a:pt x="379828" y="1937392"/>
                  </a:lnTo>
                  <a:lnTo>
                    <a:pt x="385228" y="1928392"/>
                  </a:lnTo>
                  <a:lnTo>
                    <a:pt x="387928" y="1922992"/>
                  </a:lnTo>
                  <a:lnTo>
                    <a:pt x="389728" y="1919392"/>
                  </a:lnTo>
                  <a:lnTo>
                    <a:pt x="391528" y="1913092"/>
                  </a:lnTo>
                  <a:lnTo>
                    <a:pt x="392428" y="1910392"/>
                  </a:lnTo>
                  <a:lnTo>
                    <a:pt x="394232" y="1907692"/>
                  </a:lnTo>
                  <a:lnTo>
                    <a:pt x="397832" y="1904992"/>
                  </a:lnTo>
                  <a:lnTo>
                    <a:pt x="402332" y="1901392"/>
                  </a:lnTo>
                  <a:lnTo>
                    <a:pt x="406832" y="1898688"/>
                  </a:lnTo>
                  <a:lnTo>
                    <a:pt x="412232" y="1895988"/>
                  </a:lnTo>
                  <a:lnTo>
                    <a:pt x="423032" y="1891488"/>
                  </a:lnTo>
                  <a:lnTo>
                    <a:pt x="437432" y="1886088"/>
                  </a:lnTo>
                  <a:lnTo>
                    <a:pt x="446432" y="1881588"/>
                  </a:lnTo>
                  <a:lnTo>
                    <a:pt x="457236" y="1875288"/>
                  </a:lnTo>
                  <a:lnTo>
                    <a:pt x="467136" y="1868088"/>
                  </a:lnTo>
                  <a:lnTo>
                    <a:pt x="474336" y="1862688"/>
                  </a:lnTo>
                  <a:lnTo>
                    <a:pt x="486936" y="1852788"/>
                  </a:lnTo>
                  <a:lnTo>
                    <a:pt x="502240" y="1838384"/>
                  </a:lnTo>
                  <a:lnTo>
                    <a:pt x="514840" y="1829384"/>
                  </a:lnTo>
                  <a:lnTo>
                    <a:pt x="531940" y="1816784"/>
                  </a:lnTo>
                  <a:lnTo>
                    <a:pt x="558044" y="1798784"/>
                  </a:lnTo>
                  <a:lnTo>
                    <a:pt x="565244" y="1792484"/>
                  </a:lnTo>
                  <a:lnTo>
                    <a:pt x="569744" y="1788880"/>
                  </a:lnTo>
                  <a:lnTo>
                    <a:pt x="585044" y="1778980"/>
                  </a:lnTo>
                  <a:lnTo>
                    <a:pt x="594944" y="1771780"/>
                  </a:lnTo>
                  <a:lnTo>
                    <a:pt x="600344" y="1767280"/>
                  </a:lnTo>
                  <a:lnTo>
                    <a:pt x="602144" y="1763680"/>
                  </a:lnTo>
                  <a:lnTo>
                    <a:pt x="602144" y="1761880"/>
                  </a:lnTo>
                  <a:lnTo>
                    <a:pt x="601244" y="1759180"/>
                  </a:lnTo>
                  <a:lnTo>
                    <a:pt x="601244" y="1755580"/>
                  </a:lnTo>
                  <a:lnTo>
                    <a:pt x="602144" y="1750180"/>
                  </a:lnTo>
                  <a:lnTo>
                    <a:pt x="606644" y="1742980"/>
                  </a:lnTo>
                  <a:lnTo>
                    <a:pt x="612048" y="1735776"/>
                  </a:lnTo>
                  <a:lnTo>
                    <a:pt x="616548" y="1732176"/>
                  </a:lnTo>
                  <a:lnTo>
                    <a:pt x="619248" y="1730376"/>
                  </a:lnTo>
                  <a:lnTo>
                    <a:pt x="622848" y="1730376"/>
                  </a:lnTo>
                  <a:lnTo>
                    <a:pt x="627348" y="1729476"/>
                  </a:lnTo>
                  <a:lnTo>
                    <a:pt x="633648" y="1729476"/>
                  </a:lnTo>
                  <a:lnTo>
                    <a:pt x="641748" y="1726776"/>
                  </a:lnTo>
                  <a:lnTo>
                    <a:pt x="652548" y="1720476"/>
                  </a:lnTo>
                  <a:lnTo>
                    <a:pt x="663348" y="1714176"/>
                  </a:lnTo>
                  <a:lnTo>
                    <a:pt x="671452" y="1706976"/>
                  </a:lnTo>
                  <a:lnTo>
                    <a:pt x="676852" y="1700676"/>
                  </a:lnTo>
                  <a:lnTo>
                    <a:pt x="683152" y="1692576"/>
                  </a:lnTo>
                  <a:lnTo>
                    <a:pt x="689452" y="1683572"/>
                  </a:lnTo>
                  <a:lnTo>
                    <a:pt x="697552" y="1673672"/>
                  </a:lnTo>
                  <a:lnTo>
                    <a:pt x="709252" y="1661072"/>
                  </a:lnTo>
                  <a:lnTo>
                    <a:pt x="724556" y="1646672"/>
                  </a:lnTo>
                  <a:lnTo>
                    <a:pt x="732656" y="1638572"/>
                  </a:lnTo>
                  <a:lnTo>
                    <a:pt x="738956" y="1632272"/>
                  </a:lnTo>
                  <a:lnTo>
                    <a:pt x="743456" y="1625968"/>
                  </a:lnTo>
                  <a:lnTo>
                    <a:pt x="747056" y="1620568"/>
                  </a:lnTo>
                  <a:lnTo>
                    <a:pt x="748856" y="1616068"/>
                  </a:lnTo>
                  <a:lnTo>
                    <a:pt x="749756" y="1612468"/>
                  </a:lnTo>
                  <a:lnTo>
                    <a:pt x="749756" y="1607968"/>
                  </a:lnTo>
                  <a:lnTo>
                    <a:pt x="749756" y="1604368"/>
                  </a:lnTo>
                  <a:lnTo>
                    <a:pt x="747056" y="1597168"/>
                  </a:lnTo>
                  <a:lnTo>
                    <a:pt x="744356" y="1588168"/>
                  </a:lnTo>
                  <a:lnTo>
                    <a:pt x="743456" y="1583668"/>
                  </a:lnTo>
                  <a:lnTo>
                    <a:pt x="742556" y="1578268"/>
                  </a:lnTo>
                  <a:lnTo>
                    <a:pt x="742556" y="1571964"/>
                  </a:lnTo>
                  <a:lnTo>
                    <a:pt x="743456" y="1564764"/>
                  </a:lnTo>
                  <a:lnTo>
                    <a:pt x="746156" y="1551264"/>
                  </a:lnTo>
                  <a:lnTo>
                    <a:pt x="748856" y="1540464"/>
                  </a:lnTo>
                  <a:lnTo>
                    <a:pt x="752456" y="1533264"/>
                  </a:lnTo>
                  <a:lnTo>
                    <a:pt x="755156" y="1526964"/>
                  </a:lnTo>
                  <a:lnTo>
                    <a:pt x="761456" y="1515260"/>
                  </a:lnTo>
                  <a:lnTo>
                    <a:pt x="764156" y="1508060"/>
                  </a:lnTo>
                  <a:lnTo>
                    <a:pt x="767756" y="1499060"/>
                  </a:lnTo>
                  <a:lnTo>
                    <a:pt x="771356" y="1490060"/>
                  </a:lnTo>
                  <a:lnTo>
                    <a:pt x="775860" y="1481060"/>
                  </a:lnTo>
                  <a:lnTo>
                    <a:pt x="781260" y="1472960"/>
                  </a:lnTo>
                  <a:lnTo>
                    <a:pt x="786660" y="1465756"/>
                  </a:lnTo>
                  <a:lnTo>
                    <a:pt x="792960" y="1459456"/>
                  </a:lnTo>
                  <a:lnTo>
                    <a:pt x="799260" y="1453156"/>
                  </a:lnTo>
                  <a:lnTo>
                    <a:pt x="807360" y="1446856"/>
                  </a:lnTo>
                  <a:lnTo>
                    <a:pt x="816360" y="1441456"/>
                  </a:lnTo>
                  <a:lnTo>
                    <a:pt x="833464" y="1430656"/>
                  </a:lnTo>
                  <a:lnTo>
                    <a:pt x="847864" y="1419856"/>
                  </a:lnTo>
                  <a:lnTo>
                    <a:pt x="854164" y="1414456"/>
                  </a:lnTo>
                  <a:lnTo>
                    <a:pt x="858664" y="1409052"/>
                  </a:lnTo>
                  <a:lnTo>
                    <a:pt x="863164" y="1403652"/>
                  </a:lnTo>
                  <a:lnTo>
                    <a:pt x="866764" y="1398252"/>
                  </a:lnTo>
                  <a:lnTo>
                    <a:pt x="869464" y="1390152"/>
                  </a:lnTo>
                  <a:lnTo>
                    <a:pt x="873064" y="1376652"/>
                  </a:lnTo>
                  <a:lnTo>
                    <a:pt x="881168" y="1341548"/>
                  </a:lnTo>
                  <a:lnTo>
                    <a:pt x="887468" y="1305548"/>
                  </a:lnTo>
                  <a:lnTo>
                    <a:pt x="890168" y="1292044"/>
                  </a:lnTo>
                  <a:lnTo>
                    <a:pt x="891068" y="1283044"/>
                  </a:lnTo>
                  <a:lnTo>
                    <a:pt x="891068" y="1279444"/>
                  </a:lnTo>
                  <a:lnTo>
                    <a:pt x="892868" y="1275844"/>
                  </a:lnTo>
                  <a:lnTo>
                    <a:pt x="899168" y="1266844"/>
                  </a:lnTo>
                  <a:lnTo>
                    <a:pt x="907268" y="1257844"/>
                  </a:lnTo>
                  <a:lnTo>
                    <a:pt x="917168" y="1248840"/>
                  </a:lnTo>
                  <a:lnTo>
                    <a:pt x="935172" y="1233540"/>
                  </a:lnTo>
                  <a:lnTo>
                    <a:pt x="943272" y="1227240"/>
                  </a:lnTo>
                  <a:lnTo>
                    <a:pt x="946872" y="1225440"/>
                  </a:lnTo>
                  <a:close/>
                  <a:moveTo>
                    <a:pt x="970272" y="0"/>
                  </a:moveTo>
                  <a:lnTo>
                    <a:pt x="972072" y="0"/>
                  </a:lnTo>
                  <a:lnTo>
                    <a:pt x="973872" y="0"/>
                  </a:lnTo>
                  <a:lnTo>
                    <a:pt x="978372" y="1800"/>
                  </a:lnTo>
                  <a:lnTo>
                    <a:pt x="984672" y="5400"/>
                  </a:lnTo>
                  <a:lnTo>
                    <a:pt x="990972" y="10800"/>
                  </a:lnTo>
                  <a:lnTo>
                    <a:pt x="1006276" y="25202"/>
                  </a:lnTo>
                  <a:lnTo>
                    <a:pt x="1024276" y="43204"/>
                  </a:lnTo>
                  <a:lnTo>
                    <a:pt x="1042276" y="61204"/>
                  </a:lnTo>
                  <a:lnTo>
                    <a:pt x="1059380" y="77406"/>
                  </a:lnTo>
                  <a:lnTo>
                    <a:pt x="1068380" y="84606"/>
                  </a:lnTo>
                  <a:lnTo>
                    <a:pt x="1076480" y="90006"/>
                  </a:lnTo>
                  <a:lnTo>
                    <a:pt x="1083680" y="94506"/>
                  </a:lnTo>
                  <a:lnTo>
                    <a:pt x="1090880" y="96308"/>
                  </a:lnTo>
                  <a:lnTo>
                    <a:pt x="1102580" y="99008"/>
                  </a:lnTo>
                  <a:lnTo>
                    <a:pt x="1114284" y="102608"/>
                  </a:lnTo>
                  <a:lnTo>
                    <a:pt x="1125084" y="106208"/>
                  </a:lnTo>
                  <a:lnTo>
                    <a:pt x="1134984" y="111608"/>
                  </a:lnTo>
                  <a:lnTo>
                    <a:pt x="1144884" y="118808"/>
                  </a:lnTo>
                  <a:lnTo>
                    <a:pt x="1154784" y="127810"/>
                  </a:lnTo>
                  <a:lnTo>
                    <a:pt x="1164688" y="138610"/>
                  </a:lnTo>
                  <a:lnTo>
                    <a:pt x="1174588" y="153012"/>
                  </a:lnTo>
                  <a:lnTo>
                    <a:pt x="1185388" y="168312"/>
                  </a:lnTo>
                  <a:lnTo>
                    <a:pt x="1197988" y="182714"/>
                  </a:lnTo>
                  <a:lnTo>
                    <a:pt x="1211488" y="197114"/>
                  </a:lnTo>
                  <a:lnTo>
                    <a:pt x="1224992" y="210616"/>
                  </a:lnTo>
                  <a:lnTo>
                    <a:pt x="1238492" y="225016"/>
                  </a:lnTo>
                  <a:lnTo>
                    <a:pt x="1251092" y="239418"/>
                  </a:lnTo>
                  <a:lnTo>
                    <a:pt x="1263692" y="253818"/>
                  </a:lnTo>
                  <a:lnTo>
                    <a:pt x="1268196" y="261920"/>
                  </a:lnTo>
                  <a:lnTo>
                    <a:pt x="1273596" y="270020"/>
                  </a:lnTo>
                  <a:lnTo>
                    <a:pt x="1279896" y="283520"/>
                  </a:lnTo>
                  <a:lnTo>
                    <a:pt x="1281696" y="288022"/>
                  </a:lnTo>
                  <a:lnTo>
                    <a:pt x="1282596" y="291622"/>
                  </a:lnTo>
                  <a:lnTo>
                    <a:pt x="1282596" y="295222"/>
                  </a:lnTo>
                  <a:lnTo>
                    <a:pt x="1281696" y="297022"/>
                  </a:lnTo>
                  <a:lnTo>
                    <a:pt x="1278996" y="301522"/>
                  </a:lnTo>
                  <a:lnTo>
                    <a:pt x="1275396" y="305122"/>
                  </a:lnTo>
                  <a:lnTo>
                    <a:pt x="1271796" y="310522"/>
                  </a:lnTo>
                  <a:lnTo>
                    <a:pt x="1269996" y="314124"/>
                  </a:lnTo>
                  <a:lnTo>
                    <a:pt x="1269096" y="318624"/>
                  </a:lnTo>
                  <a:lnTo>
                    <a:pt x="1268196" y="324924"/>
                  </a:lnTo>
                  <a:lnTo>
                    <a:pt x="1268196" y="332124"/>
                  </a:lnTo>
                  <a:lnTo>
                    <a:pt x="1269996" y="345626"/>
                  </a:lnTo>
                  <a:lnTo>
                    <a:pt x="1271796" y="354626"/>
                  </a:lnTo>
                  <a:lnTo>
                    <a:pt x="1274496" y="360926"/>
                  </a:lnTo>
                  <a:lnTo>
                    <a:pt x="1278096" y="365426"/>
                  </a:lnTo>
                  <a:lnTo>
                    <a:pt x="1290696" y="375328"/>
                  </a:lnTo>
                  <a:lnTo>
                    <a:pt x="1298796" y="383428"/>
                  </a:lnTo>
                  <a:lnTo>
                    <a:pt x="1309596" y="395130"/>
                  </a:lnTo>
                  <a:lnTo>
                    <a:pt x="1318596" y="406830"/>
                  </a:lnTo>
                  <a:lnTo>
                    <a:pt x="1323100" y="414930"/>
                  </a:lnTo>
                  <a:lnTo>
                    <a:pt x="1324900" y="417630"/>
                  </a:lnTo>
                  <a:lnTo>
                    <a:pt x="1324900" y="420330"/>
                  </a:lnTo>
                  <a:lnTo>
                    <a:pt x="1324000" y="423932"/>
                  </a:lnTo>
                  <a:lnTo>
                    <a:pt x="1322200" y="429332"/>
                  </a:lnTo>
                  <a:lnTo>
                    <a:pt x="1320400" y="435632"/>
                  </a:lnTo>
                  <a:lnTo>
                    <a:pt x="1318596" y="446432"/>
                  </a:lnTo>
                  <a:lnTo>
                    <a:pt x="1318596" y="453634"/>
                  </a:lnTo>
                  <a:lnTo>
                    <a:pt x="1319500" y="462634"/>
                  </a:lnTo>
                  <a:lnTo>
                    <a:pt x="1321300" y="477936"/>
                  </a:lnTo>
                  <a:lnTo>
                    <a:pt x="1323100" y="483336"/>
                  </a:lnTo>
                  <a:lnTo>
                    <a:pt x="1324000" y="487836"/>
                  </a:lnTo>
                  <a:lnTo>
                    <a:pt x="1325800" y="490536"/>
                  </a:lnTo>
                  <a:lnTo>
                    <a:pt x="1328500" y="493236"/>
                  </a:lnTo>
                  <a:lnTo>
                    <a:pt x="1331200" y="495036"/>
                  </a:lnTo>
                  <a:lnTo>
                    <a:pt x="1333900" y="495936"/>
                  </a:lnTo>
                  <a:lnTo>
                    <a:pt x="1340200" y="497736"/>
                  </a:lnTo>
                  <a:lnTo>
                    <a:pt x="1348300" y="499536"/>
                  </a:lnTo>
                  <a:lnTo>
                    <a:pt x="1352800" y="502238"/>
                  </a:lnTo>
                  <a:lnTo>
                    <a:pt x="1358200" y="504938"/>
                  </a:lnTo>
                  <a:lnTo>
                    <a:pt x="1363600" y="508538"/>
                  </a:lnTo>
                  <a:lnTo>
                    <a:pt x="1369900" y="513038"/>
                  </a:lnTo>
                  <a:lnTo>
                    <a:pt x="1387004" y="527438"/>
                  </a:lnTo>
                  <a:lnTo>
                    <a:pt x="1390604" y="529240"/>
                  </a:lnTo>
                  <a:lnTo>
                    <a:pt x="1391504" y="529240"/>
                  </a:lnTo>
                  <a:lnTo>
                    <a:pt x="1392404" y="528338"/>
                  </a:lnTo>
                  <a:lnTo>
                    <a:pt x="1393304" y="525638"/>
                  </a:lnTo>
                  <a:lnTo>
                    <a:pt x="1395104" y="521138"/>
                  </a:lnTo>
                  <a:lnTo>
                    <a:pt x="1396904" y="514838"/>
                  </a:lnTo>
                  <a:lnTo>
                    <a:pt x="1401404" y="508538"/>
                  </a:lnTo>
                  <a:lnTo>
                    <a:pt x="1403204" y="504038"/>
                  </a:lnTo>
                  <a:lnTo>
                    <a:pt x="1405004" y="500436"/>
                  </a:lnTo>
                  <a:lnTo>
                    <a:pt x="1407704" y="491436"/>
                  </a:lnTo>
                  <a:lnTo>
                    <a:pt x="1408604" y="482436"/>
                  </a:lnTo>
                  <a:lnTo>
                    <a:pt x="1408604" y="471634"/>
                  </a:lnTo>
                  <a:lnTo>
                    <a:pt x="1406804" y="449134"/>
                  </a:lnTo>
                  <a:lnTo>
                    <a:pt x="1405904" y="438332"/>
                  </a:lnTo>
                  <a:lnTo>
                    <a:pt x="1405904" y="426632"/>
                  </a:lnTo>
                  <a:lnTo>
                    <a:pt x="1405904" y="421232"/>
                  </a:lnTo>
                  <a:lnTo>
                    <a:pt x="1406804" y="418530"/>
                  </a:lnTo>
                  <a:lnTo>
                    <a:pt x="1408604" y="416730"/>
                  </a:lnTo>
                  <a:lnTo>
                    <a:pt x="1410404" y="416730"/>
                  </a:lnTo>
                  <a:lnTo>
                    <a:pt x="1413104" y="417630"/>
                  </a:lnTo>
                  <a:lnTo>
                    <a:pt x="1415804" y="420330"/>
                  </a:lnTo>
                  <a:lnTo>
                    <a:pt x="1422104" y="427532"/>
                  </a:lnTo>
                  <a:lnTo>
                    <a:pt x="1428408" y="438332"/>
                  </a:lnTo>
                  <a:lnTo>
                    <a:pt x="1433808" y="450034"/>
                  </a:lnTo>
                  <a:lnTo>
                    <a:pt x="1439208" y="462634"/>
                  </a:lnTo>
                  <a:lnTo>
                    <a:pt x="1441908" y="474334"/>
                  </a:lnTo>
                  <a:lnTo>
                    <a:pt x="1444608" y="486936"/>
                  </a:lnTo>
                  <a:lnTo>
                    <a:pt x="1448208" y="501336"/>
                  </a:lnTo>
                  <a:lnTo>
                    <a:pt x="1458108" y="534640"/>
                  </a:lnTo>
                  <a:lnTo>
                    <a:pt x="1463508" y="553540"/>
                  </a:lnTo>
                  <a:lnTo>
                    <a:pt x="1468008" y="573342"/>
                  </a:lnTo>
                  <a:lnTo>
                    <a:pt x="1471608" y="592244"/>
                  </a:lnTo>
                  <a:lnTo>
                    <a:pt x="1473408" y="612046"/>
                  </a:lnTo>
                  <a:lnTo>
                    <a:pt x="1474308" y="620146"/>
                  </a:lnTo>
                  <a:lnTo>
                    <a:pt x="1475208" y="626446"/>
                  </a:lnTo>
                  <a:lnTo>
                    <a:pt x="1477008" y="631846"/>
                  </a:lnTo>
                  <a:lnTo>
                    <a:pt x="1478808" y="635446"/>
                  </a:lnTo>
                  <a:lnTo>
                    <a:pt x="1481512" y="637248"/>
                  </a:lnTo>
                  <a:lnTo>
                    <a:pt x="1484212" y="639048"/>
                  </a:lnTo>
                  <a:lnTo>
                    <a:pt x="1487812" y="639948"/>
                  </a:lnTo>
                  <a:lnTo>
                    <a:pt x="1491412" y="639948"/>
                  </a:lnTo>
                  <a:lnTo>
                    <a:pt x="1501312" y="639048"/>
                  </a:lnTo>
                  <a:lnTo>
                    <a:pt x="1513012" y="639048"/>
                  </a:lnTo>
                  <a:lnTo>
                    <a:pt x="1520212" y="639948"/>
                  </a:lnTo>
                  <a:lnTo>
                    <a:pt x="1527412" y="641748"/>
                  </a:lnTo>
                  <a:lnTo>
                    <a:pt x="1534612" y="643548"/>
                  </a:lnTo>
                  <a:lnTo>
                    <a:pt x="1542716" y="648048"/>
                  </a:lnTo>
                  <a:lnTo>
                    <a:pt x="1570616" y="662448"/>
                  </a:lnTo>
                  <a:lnTo>
                    <a:pt x="1589520" y="671450"/>
                  </a:lnTo>
                  <a:lnTo>
                    <a:pt x="1607520" y="680450"/>
                  </a:lnTo>
                  <a:lnTo>
                    <a:pt x="1630020" y="693052"/>
                  </a:lnTo>
                  <a:lnTo>
                    <a:pt x="1641720" y="700252"/>
                  </a:lnTo>
                  <a:lnTo>
                    <a:pt x="1651624" y="703852"/>
                  </a:lnTo>
                  <a:lnTo>
                    <a:pt x="1656124" y="704752"/>
                  </a:lnTo>
                  <a:lnTo>
                    <a:pt x="1659724" y="704752"/>
                  </a:lnTo>
                  <a:lnTo>
                    <a:pt x="1667824" y="704752"/>
                  </a:lnTo>
                  <a:lnTo>
                    <a:pt x="1675924" y="702052"/>
                  </a:lnTo>
                  <a:lnTo>
                    <a:pt x="1684924" y="697552"/>
                  </a:lnTo>
                  <a:lnTo>
                    <a:pt x="1695724" y="692152"/>
                  </a:lnTo>
                  <a:lnTo>
                    <a:pt x="1709228" y="685850"/>
                  </a:lnTo>
                  <a:lnTo>
                    <a:pt x="1716428" y="683150"/>
                  </a:lnTo>
                  <a:lnTo>
                    <a:pt x="1722728" y="678650"/>
                  </a:lnTo>
                  <a:lnTo>
                    <a:pt x="1729028" y="675050"/>
                  </a:lnTo>
                  <a:lnTo>
                    <a:pt x="1733528" y="670550"/>
                  </a:lnTo>
                  <a:lnTo>
                    <a:pt x="1743428" y="660648"/>
                  </a:lnTo>
                  <a:lnTo>
                    <a:pt x="1751532" y="649848"/>
                  </a:lnTo>
                  <a:lnTo>
                    <a:pt x="1760532" y="638148"/>
                  </a:lnTo>
                  <a:lnTo>
                    <a:pt x="1769532" y="626446"/>
                  </a:lnTo>
                  <a:lnTo>
                    <a:pt x="1781232" y="613846"/>
                  </a:lnTo>
                  <a:lnTo>
                    <a:pt x="1788432" y="607544"/>
                  </a:lnTo>
                  <a:lnTo>
                    <a:pt x="1795632" y="602144"/>
                  </a:lnTo>
                  <a:lnTo>
                    <a:pt x="1803732" y="596744"/>
                  </a:lnTo>
                  <a:lnTo>
                    <a:pt x="1810036" y="593144"/>
                  </a:lnTo>
                  <a:lnTo>
                    <a:pt x="1815436" y="590444"/>
                  </a:lnTo>
                  <a:lnTo>
                    <a:pt x="1820836" y="589544"/>
                  </a:lnTo>
                  <a:lnTo>
                    <a:pt x="1825336" y="589544"/>
                  </a:lnTo>
                  <a:lnTo>
                    <a:pt x="1828936" y="590444"/>
                  </a:lnTo>
                  <a:lnTo>
                    <a:pt x="1831636" y="592244"/>
                  </a:lnTo>
                  <a:lnTo>
                    <a:pt x="1835236" y="594044"/>
                  </a:lnTo>
                  <a:lnTo>
                    <a:pt x="1839736" y="601244"/>
                  </a:lnTo>
                  <a:lnTo>
                    <a:pt x="1844236" y="610244"/>
                  </a:lnTo>
                  <a:lnTo>
                    <a:pt x="1849636" y="619246"/>
                  </a:lnTo>
                  <a:lnTo>
                    <a:pt x="1855936" y="628246"/>
                  </a:lnTo>
                  <a:lnTo>
                    <a:pt x="1862240" y="638148"/>
                  </a:lnTo>
                  <a:lnTo>
                    <a:pt x="1866740" y="648048"/>
                  </a:lnTo>
                  <a:lnTo>
                    <a:pt x="1869440" y="658848"/>
                  </a:lnTo>
                  <a:lnTo>
                    <a:pt x="1871240" y="670550"/>
                  </a:lnTo>
                  <a:lnTo>
                    <a:pt x="1871240" y="683150"/>
                  </a:lnTo>
                  <a:lnTo>
                    <a:pt x="1871240" y="696652"/>
                  </a:lnTo>
                  <a:lnTo>
                    <a:pt x="1867640" y="727254"/>
                  </a:lnTo>
                  <a:lnTo>
                    <a:pt x="1865840" y="740754"/>
                  </a:lnTo>
                  <a:lnTo>
                    <a:pt x="1863140" y="749756"/>
                  </a:lnTo>
                  <a:lnTo>
                    <a:pt x="1860440" y="756056"/>
                  </a:lnTo>
                  <a:lnTo>
                    <a:pt x="1857740" y="759656"/>
                  </a:lnTo>
                  <a:lnTo>
                    <a:pt x="1855036" y="763256"/>
                  </a:lnTo>
                  <a:lnTo>
                    <a:pt x="1852336" y="767756"/>
                  </a:lnTo>
                  <a:lnTo>
                    <a:pt x="1849636" y="774958"/>
                  </a:lnTo>
                  <a:lnTo>
                    <a:pt x="1848736" y="784858"/>
                  </a:lnTo>
                  <a:lnTo>
                    <a:pt x="1846936" y="796558"/>
                  </a:lnTo>
                  <a:lnTo>
                    <a:pt x="1844236" y="806460"/>
                  </a:lnTo>
                  <a:lnTo>
                    <a:pt x="1840636" y="814560"/>
                  </a:lnTo>
                  <a:lnTo>
                    <a:pt x="1837036" y="820860"/>
                  </a:lnTo>
                  <a:lnTo>
                    <a:pt x="1831636" y="827160"/>
                  </a:lnTo>
                  <a:lnTo>
                    <a:pt x="1827136" y="832560"/>
                  </a:lnTo>
                  <a:lnTo>
                    <a:pt x="1817236" y="842464"/>
                  </a:lnTo>
                  <a:lnTo>
                    <a:pt x="1815436" y="846064"/>
                  </a:lnTo>
                  <a:lnTo>
                    <a:pt x="1813636" y="850564"/>
                  </a:lnTo>
                  <a:lnTo>
                    <a:pt x="1810036" y="861364"/>
                  </a:lnTo>
                  <a:lnTo>
                    <a:pt x="1806436" y="873964"/>
                  </a:lnTo>
                  <a:lnTo>
                    <a:pt x="1803732" y="889264"/>
                  </a:lnTo>
                  <a:lnTo>
                    <a:pt x="1799232" y="919868"/>
                  </a:lnTo>
                  <a:lnTo>
                    <a:pt x="1795632" y="945968"/>
                  </a:lnTo>
                  <a:lnTo>
                    <a:pt x="1794732" y="951372"/>
                  </a:lnTo>
                  <a:lnTo>
                    <a:pt x="1792032" y="954072"/>
                  </a:lnTo>
                  <a:lnTo>
                    <a:pt x="1789332" y="956772"/>
                  </a:lnTo>
                  <a:lnTo>
                    <a:pt x="1785732" y="957672"/>
                  </a:lnTo>
                  <a:lnTo>
                    <a:pt x="1782132" y="957672"/>
                  </a:lnTo>
                  <a:lnTo>
                    <a:pt x="1776732" y="956772"/>
                  </a:lnTo>
                  <a:lnTo>
                    <a:pt x="1765932" y="953172"/>
                  </a:lnTo>
                  <a:lnTo>
                    <a:pt x="1753332" y="947768"/>
                  </a:lnTo>
                  <a:lnTo>
                    <a:pt x="1738928" y="941468"/>
                  </a:lnTo>
                  <a:lnTo>
                    <a:pt x="1724528" y="935168"/>
                  </a:lnTo>
                  <a:lnTo>
                    <a:pt x="1709228" y="929768"/>
                  </a:lnTo>
                  <a:lnTo>
                    <a:pt x="1702028" y="927968"/>
                  </a:lnTo>
                  <a:lnTo>
                    <a:pt x="1695724" y="927068"/>
                  </a:lnTo>
                  <a:lnTo>
                    <a:pt x="1690324" y="926168"/>
                  </a:lnTo>
                  <a:lnTo>
                    <a:pt x="1685824" y="927068"/>
                  </a:lnTo>
                  <a:lnTo>
                    <a:pt x="1681324" y="928868"/>
                  </a:lnTo>
                  <a:lnTo>
                    <a:pt x="1677724" y="930668"/>
                  </a:lnTo>
                  <a:lnTo>
                    <a:pt x="1672324" y="935168"/>
                  </a:lnTo>
                  <a:lnTo>
                    <a:pt x="1666924" y="941468"/>
                  </a:lnTo>
                  <a:lnTo>
                    <a:pt x="1660624" y="948668"/>
                  </a:lnTo>
                  <a:lnTo>
                    <a:pt x="1653424" y="955872"/>
                  </a:lnTo>
                  <a:lnTo>
                    <a:pt x="1648924" y="959472"/>
                  </a:lnTo>
                  <a:lnTo>
                    <a:pt x="1644424" y="963072"/>
                  </a:lnTo>
                  <a:lnTo>
                    <a:pt x="1639020" y="966672"/>
                  </a:lnTo>
                  <a:lnTo>
                    <a:pt x="1636320" y="970272"/>
                  </a:lnTo>
                  <a:lnTo>
                    <a:pt x="1633620" y="974772"/>
                  </a:lnTo>
                  <a:lnTo>
                    <a:pt x="1631820" y="979272"/>
                  </a:lnTo>
                  <a:lnTo>
                    <a:pt x="1631820" y="983772"/>
                  </a:lnTo>
                  <a:lnTo>
                    <a:pt x="1631820" y="989172"/>
                  </a:lnTo>
                  <a:lnTo>
                    <a:pt x="1634520" y="999972"/>
                  </a:lnTo>
                  <a:lnTo>
                    <a:pt x="1640820" y="1022924"/>
                  </a:lnTo>
                  <a:lnTo>
                    <a:pt x="1643524" y="1034628"/>
                  </a:lnTo>
                  <a:lnTo>
                    <a:pt x="1644424" y="1040928"/>
                  </a:lnTo>
                  <a:lnTo>
                    <a:pt x="1644424" y="1047228"/>
                  </a:lnTo>
                  <a:lnTo>
                    <a:pt x="1642620" y="1058928"/>
                  </a:lnTo>
                  <a:lnTo>
                    <a:pt x="1639920" y="1072428"/>
                  </a:lnTo>
                  <a:lnTo>
                    <a:pt x="1636320" y="1086832"/>
                  </a:lnTo>
                  <a:lnTo>
                    <a:pt x="1632720" y="1100332"/>
                  </a:lnTo>
                  <a:lnTo>
                    <a:pt x="1627320" y="1113832"/>
                  </a:lnTo>
                  <a:lnTo>
                    <a:pt x="1621020" y="1127332"/>
                  </a:lnTo>
                  <a:lnTo>
                    <a:pt x="1614720" y="1139932"/>
                  </a:lnTo>
                  <a:lnTo>
                    <a:pt x="1608420" y="1150736"/>
                  </a:lnTo>
                  <a:lnTo>
                    <a:pt x="1600320" y="1162436"/>
                  </a:lnTo>
                  <a:lnTo>
                    <a:pt x="1590420" y="1177736"/>
                  </a:lnTo>
                  <a:lnTo>
                    <a:pt x="1568816" y="1214640"/>
                  </a:lnTo>
                  <a:lnTo>
                    <a:pt x="1546316" y="1251544"/>
                  </a:lnTo>
                  <a:lnTo>
                    <a:pt x="1535516" y="1267744"/>
                  </a:lnTo>
                  <a:lnTo>
                    <a:pt x="1526512" y="1280344"/>
                  </a:lnTo>
                  <a:lnTo>
                    <a:pt x="1517512" y="1292044"/>
                  </a:lnTo>
                  <a:lnTo>
                    <a:pt x="1508512" y="1306448"/>
                  </a:lnTo>
                  <a:lnTo>
                    <a:pt x="1490512" y="1337948"/>
                  </a:lnTo>
                  <a:lnTo>
                    <a:pt x="1480608" y="1353248"/>
                  </a:lnTo>
                  <a:lnTo>
                    <a:pt x="1470708" y="1367652"/>
                  </a:lnTo>
                  <a:lnTo>
                    <a:pt x="1460808" y="1380252"/>
                  </a:lnTo>
                  <a:lnTo>
                    <a:pt x="1454508" y="1386552"/>
                  </a:lnTo>
                  <a:lnTo>
                    <a:pt x="1449108" y="1391052"/>
                  </a:lnTo>
                  <a:lnTo>
                    <a:pt x="1439208" y="1399152"/>
                  </a:lnTo>
                  <a:lnTo>
                    <a:pt x="1431108" y="1403652"/>
                  </a:lnTo>
                  <a:lnTo>
                    <a:pt x="1424804" y="1407252"/>
                  </a:lnTo>
                  <a:lnTo>
                    <a:pt x="1419404" y="1409052"/>
                  </a:lnTo>
                  <a:lnTo>
                    <a:pt x="1414004" y="1409952"/>
                  </a:lnTo>
                  <a:lnTo>
                    <a:pt x="1408604" y="1409952"/>
                  </a:lnTo>
                  <a:lnTo>
                    <a:pt x="1391504" y="1409952"/>
                  </a:lnTo>
                  <a:lnTo>
                    <a:pt x="1381604" y="1410852"/>
                  </a:lnTo>
                  <a:lnTo>
                    <a:pt x="1373504" y="1409952"/>
                  </a:lnTo>
                  <a:lnTo>
                    <a:pt x="1366300" y="1408152"/>
                  </a:lnTo>
                  <a:lnTo>
                    <a:pt x="1360900" y="1404552"/>
                  </a:lnTo>
                  <a:lnTo>
                    <a:pt x="1348300" y="1397352"/>
                  </a:lnTo>
                  <a:lnTo>
                    <a:pt x="1342000" y="1392852"/>
                  </a:lnTo>
                  <a:lnTo>
                    <a:pt x="1333900" y="1388352"/>
                  </a:lnTo>
                  <a:lnTo>
                    <a:pt x="1318596" y="1381152"/>
                  </a:lnTo>
                  <a:lnTo>
                    <a:pt x="1313196" y="1378452"/>
                  </a:lnTo>
                  <a:lnTo>
                    <a:pt x="1309596" y="1374852"/>
                  </a:lnTo>
                  <a:lnTo>
                    <a:pt x="1305996" y="1370352"/>
                  </a:lnTo>
                  <a:lnTo>
                    <a:pt x="1304196" y="1364952"/>
                  </a:lnTo>
                  <a:lnTo>
                    <a:pt x="1301496" y="1357752"/>
                  </a:lnTo>
                  <a:lnTo>
                    <a:pt x="1299696" y="1347848"/>
                  </a:lnTo>
                  <a:lnTo>
                    <a:pt x="1299696" y="1342448"/>
                  </a:lnTo>
                  <a:lnTo>
                    <a:pt x="1300596" y="1336148"/>
                  </a:lnTo>
                  <a:lnTo>
                    <a:pt x="1301496" y="1330748"/>
                  </a:lnTo>
                  <a:lnTo>
                    <a:pt x="1304196" y="1324448"/>
                  </a:lnTo>
                  <a:lnTo>
                    <a:pt x="1311396" y="1311848"/>
                  </a:lnTo>
                  <a:lnTo>
                    <a:pt x="1320400" y="1299244"/>
                  </a:lnTo>
                  <a:lnTo>
                    <a:pt x="1330300" y="1286644"/>
                  </a:lnTo>
                  <a:lnTo>
                    <a:pt x="1341100" y="1274944"/>
                  </a:lnTo>
                  <a:lnTo>
                    <a:pt x="1360000" y="1254244"/>
                  </a:lnTo>
                  <a:lnTo>
                    <a:pt x="1363600" y="1249744"/>
                  </a:lnTo>
                  <a:lnTo>
                    <a:pt x="1366300" y="1244340"/>
                  </a:lnTo>
                  <a:lnTo>
                    <a:pt x="1369000" y="1239840"/>
                  </a:lnTo>
                  <a:lnTo>
                    <a:pt x="1370800" y="1235340"/>
                  </a:lnTo>
                  <a:lnTo>
                    <a:pt x="1372600" y="1225440"/>
                  </a:lnTo>
                  <a:lnTo>
                    <a:pt x="1373504" y="1214640"/>
                  </a:lnTo>
                  <a:lnTo>
                    <a:pt x="1373504" y="1191236"/>
                  </a:lnTo>
                  <a:lnTo>
                    <a:pt x="1373504" y="1178636"/>
                  </a:lnTo>
                  <a:lnTo>
                    <a:pt x="1374404" y="1165136"/>
                  </a:lnTo>
                  <a:lnTo>
                    <a:pt x="1375304" y="1157936"/>
                  </a:lnTo>
                  <a:lnTo>
                    <a:pt x="1375304" y="1152536"/>
                  </a:lnTo>
                  <a:lnTo>
                    <a:pt x="1374404" y="1148036"/>
                  </a:lnTo>
                  <a:lnTo>
                    <a:pt x="1373504" y="1143536"/>
                  </a:lnTo>
                  <a:lnTo>
                    <a:pt x="1371700" y="1140836"/>
                  </a:lnTo>
                  <a:lnTo>
                    <a:pt x="1369900" y="1138132"/>
                  </a:lnTo>
                  <a:lnTo>
                    <a:pt x="1367200" y="1136332"/>
                  </a:lnTo>
                  <a:lnTo>
                    <a:pt x="1364500" y="1134532"/>
                  </a:lnTo>
                  <a:lnTo>
                    <a:pt x="1357300" y="1131832"/>
                  </a:lnTo>
                  <a:lnTo>
                    <a:pt x="1349200" y="1129132"/>
                  </a:lnTo>
                  <a:lnTo>
                    <a:pt x="1339300" y="1125532"/>
                  </a:lnTo>
                  <a:lnTo>
                    <a:pt x="1328500" y="1121932"/>
                  </a:lnTo>
                  <a:lnTo>
                    <a:pt x="1318596" y="1115632"/>
                  </a:lnTo>
                  <a:lnTo>
                    <a:pt x="1308696" y="1108432"/>
                  </a:lnTo>
                  <a:lnTo>
                    <a:pt x="1299696" y="1101232"/>
                  </a:lnTo>
                  <a:lnTo>
                    <a:pt x="1290696" y="1093132"/>
                  </a:lnTo>
                  <a:lnTo>
                    <a:pt x="1271796" y="1076028"/>
                  </a:lnTo>
                  <a:lnTo>
                    <a:pt x="1261892" y="1067028"/>
                  </a:lnTo>
                  <a:lnTo>
                    <a:pt x="1251992" y="1058928"/>
                  </a:lnTo>
                  <a:lnTo>
                    <a:pt x="1233092" y="1045428"/>
                  </a:lnTo>
                  <a:lnTo>
                    <a:pt x="1216892" y="1037328"/>
                  </a:lnTo>
                  <a:lnTo>
                    <a:pt x="1199788" y="1029224"/>
                  </a:lnTo>
                  <a:lnTo>
                    <a:pt x="1177288" y="1020224"/>
                  </a:lnTo>
                  <a:lnTo>
                    <a:pt x="1170988" y="1017524"/>
                  </a:lnTo>
                  <a:lnTo>
                    <a:pt x="1165588" y="1014824"/>
                  </a:lnTo>
                  <a:lnTo>
                    <a:pt x="1161088" y="1011224"/>
                  </a:lnTo>
                  <a:lnTo>
                    <a:pt x="1156584" y="1007624"/>
                  </a:lnTo>
                  <a:lnTo>
                    <a:pt x="1153884" y="1004024"/>
                  </a:lnTo>
                  <a:lnTo>
                    <a:pt x="1151184" y="1000872"/>
                  </a:lnTo>
                  <a:lnTo>
                    <a:pt x="1146684" y="991872"/>
                  </a:lnTo>
                  <a:lnTo>
                    <a:pt x="1144884" y="982872"/>
                  </a:lnTo>
                  <a:lnTo>
                    <a:pt x="1143084" y="972972"/>
                  </a:lnTo>
                  <a:lnTo>
                    <a:pt x="1139484" y="951372"/>
                  </a:lnTo>
                  <a:lnTo>
                    <a:pt x="1138584" y="945068"/>
                  </a:lnTo>
                  <a:lnTo>
                    <a:pt x="1139484" y="940568"/>
                  </a:lnTo>
                  <a:lnTo>
                    <a:pt x="1140384" y="936068"/>
                  </a:lnTo>
                  <a:lnTo>
                    <a:pt x="1143084" y="932468"/>
                  </a:lnTo>
                  <a:lnTo>
                    <a:pt x="1146684" y="928868"/>
                  </a:lnTo>
                  <a:lnTo>
                    <a:pt x="1150284" y="925268"/>
                  </a:lnTo>
                  <a:lnTo>
                    <a:pt x="1160188" y="919868"/>
                  </a:lnTo>
                  <a:lnTo>
                    <a:pt x="1170988" y="915368"/>
                  </a:lnTo>
                  <a:lnTo>
                    <a:pt x="1182688" y="911768"/>
                  </a:lnTo>
                  <a:lnTo>
                    <a:pt x="1193488" y="909068"/>
                  </a:lnTo>
                  <a:lnTo>
                    <a:pt x="1203388" y="905468"/>
                  </a:lnTo>
                  <a:lnTo>
                    <a:pt x="1212392" y="900968"/>
                  </a:lnTo>
                  <a:lnTo>
                    <a:pt x="1219592" y="896468"/>
                  </a:lnTo>
                  <a:lnTo>
                    <a:pt x="1225892" y="891064"/>
                  </a:lnTo>
                  <a:lnTo>
                    <a:pt x="1233092" y="883864"/>
                  </a:lnTo>
                  <a:lnTo>
                    <a:pt x="1246592" y="869464"/>
                  </a:lnTo>
                  <a:lnTo>
                    <a:pt x="1254692" y="861364"/>
                  </a:lnTo>
                  <a:lnTo>
                    <a:pt x="1263692" y="852364"/>
                  </a:lnTo>
                  <a:lnTo>
                    <a:pt x="1271796" y="844264"/>
                  </a:lnTo>
                  <a:lnTo>
                    <a:pt x="1278096" y="836160"/>
                  </a:lnTo>
                  <a:lnTo>
                    <a:pt x="1281696" y="828060"/>
                  </a:lnTo>
                  <a:lnTo>
                    <a:pt x="1283496" y="820860"/>
                  </a:lnTo>
                  <a:lnTo>
                    <a:pt x="1285296" y="812760"/>
                  </a:lnTo>
                  <a:lnTo>
                    <a:pt x="1286196" y="802860"/>
                  </a:lnTo>
                  <a:lnTo>
                    <a:pt x="1286196" y="792958"/>
                  </a:lnTo>
                  <a:lnTo>
                    <a:pt x="1287996" y="780358"/>
                  </a:lnTo>
                  <a:lnTo>
                    <a:pt x="1292496" y="742554"/>
                  </a:lnTo>
                  <a:lnTo>
                    <a:pt x="1294296" y="729054"/>
                  </a:lnTo>
                  <a:lnTo>
                    <a:pt x="1299696" y="712852"/>
                  </a:lnTo>
                  <a:lnTo>
                    <a:pt x="1305996" y="696652"/>
                  </a:lnTo>
                  <a:lnTo>
                    <a:pt x="1307796" y="691250"/>
                  </a:lnTo>
                  <a:lnTo>
                    <a:pt x="1309596" y="685850"/>
                  </a:lnTo>
                  <a:lnTo>
                    <a:pt x="1308696" y="680450"/>
                  </a:lnTo>
                  <a:lnTo>
                    <a:pt x="1307796" y="674150"/>
                  </a:lnTo>
                  <a:lnTo>
                    <a:pt x="1304196" y="666950"/>
                  </a:lnTo>
                  <a:lnTo>
                    <a:pt x="1299696" y="657048"/>
                  </a:lnTo>
                  <a:lnTo>
                    <a:pt x="1295196" y="646248"/>
                  </a:lnTo>
                  <a:lnTo>
                    <a:pt x="1291596" y="633646"/>
                  </a:lnTo>
                  <a:lnTo>
                    <a:pt x="1285296" y="607544"/>
                  </a:lnTo>
                  <a:lnTo>
                    <a:pt x="1282596" y="594044"/>
                  </a:lnTo>
                  <a:lnTo>
                    <a:pt x="1279896" y="581442"/>
                  </a:lnTo>
                  <a:lnTo>
                    <a:pt x="1275396" y="569742"/>
                  </a:lnTo>
                  <a:lnTo>
                    <a:pt x="1270896" y="558942"/>
                  </a:lnTo>
                  <a:lnTo>
                    <a:pt x="1267296" y="550840"/>
                  </a:lnTo>
                  <a:lnTo>
                    <a:pt x="1266396" y="547240"/>
                  </a:lnTo>
                  <a:lnTo>
                    <a:pt x="1266396" y="545440"/>
                  </a:lnTo>
                  <a:lnTo>
                    <a:pt x="1266396" y="542740"/>
                  </a:lnTo>
                  <a:lnTo>
                    <a:pt x="1268196" y="541840"/>
                  </a:lnTo>
                  <a:lnTo>
                    <a:pt x="1270896" y="540040"/>
                  </a:lnTo>
                  <a:lnTo>
                    <a:pt x="1282596" y="536440"/>
                  </a:lnTo>
                  <a:lnTo>
                    <a:pt x="1288896" y="533740"/>
                  </a:lnTo>
                  <a:lnTo>
                    <a:pt x="1295196" y="530140"/>
                  </a:lnTo>
                  <a:lnTo>
                    <a:pt x="1297896" y="527438"/>
                  </a:lnTo>
                  <a:lnTo>
                    <a:pt x="1299696" y="524738"/>
                  </a:lnTo>
                  <a:lnTo>
                    <a:pt x="1299696" y="522038"/>
                  </a:lnTo>
                  <a:lnTo>
                    <a:pt x="1299696" y="520238"/>
                  </a:lnTo>
                  <a:lnTo>
                    <a:pt x="1298796" y="518438"/>
                  </a:lnTo>
                  <a:lnTo>
                    <a:pt x="1297896" y="516638"/>
                  </a:lnTo>
                  <a:lnTo>
                    <a:pt x="1293396" y="513938"/>
                  </a:lnTo>
                  <a:lnTo>
                    <a:pt x="1286196" y="511238"/>
                  </a:lnTo>
                  <a:lnTo>
                    <a:pt x="1278996" y="509438"/>
                  </a:lnTo>
                  <a:lnTo>
                    <a:pt x="1270896" y="508538"/>
                  </a:lnTo>
                  <a:lnTo>
                    <a:pt x="1263692" y="508538"/>
                  </a:lnTo>
                  <a:lnTo>
                    <a:pt x="1260092" y="507638"/>
                  </a:lnTo>
                  <a:lnTo>
                    <a:pt x="1256492" y="505838"/>
                  </a:lnTo>
                  <a:lnTo>
                    <a:pt x="1252892" y="504038"/>
                  </a:lnTo>
                  <a:lnTo>
                    <a:pt x="1250192" y="500436"/>
                  </a:lnTo>
                  <a:lnTo>
                    <a:pt x="1242992" y="491436"/>
                  </a:lnTo>
                  <a:lnTo>
                    <a:pt x="1236692" y="479736"/>
                  </a:lnTo>
                  <a:lnTo>
                    <a:pt x="1230392" y="467134"/>
                  </a:lnTo>
                  <a:lnTo>
                    <a:pt x="1224092" y="451834"/>
                  </a:lnTo>
                  <a:lnTo>
                    <a:pt x="1213292" y="421232"/>
                  </a:lnTo>
                  <a:lnTo>
                    <a:pt x="1206988" y="404130"/>
                  </a:lnTo>
                  <a:lnTo>
                    <a:pt x="1206988" y="402330"/>
                  </a:lnTo>
                  <a:lnTo>
                    <a:pt x="1208788" y="404130"/>
                  </a:lnTo>
                  <a:lnTo>
                    <a:pt x="1210588" y="406830"/>
                  </a:lnTo>
                  <a:lnTo>
                    <a:pt x="1213292" y="408630"/>
                  </a:lnTo>
                  <a:lnTo>
                    <a:pt x="1215092" y="408630"/>
                  </a:lnTo>
                  <a:lnTo>
                    <a:pt x="1216892" y="408630"/>
                  </a:lnTo>
                  <a:lnTo>
                    <a:pt x="1217792" y="406830"/>
                  </a:lnTo>
                  <a:lnTo>
                    <a:pt x="1218692" y="405030"/>
                  </a:lnTo>
                  <a:lnTo>
                    <a:pt x="1220492" y="398730"/>
                  </a:lnTo>
                  <a:lnTo>
                    <a:pt x="1221392" y="392428"/>
                  </a:lnTo>
                  <a:lnTo>
                    <a:pt x="1221392" y="387028"/>
                  </a:lnTo>
                  <a:lnTo>
                    <a:pt x="1219592" y="381628"/>
                  </a:lnTo>
                  <a:lnTo>
                    <a:pt x="1217792" y="377128"/>
                  </a:lnTo>
                  <a:lnTo>
                    <a:pt x="1214192" y="371728"/>
                  </a:lnTo>
                  <a:lnTo>
                    <a:pt x="1209688" y="366328"/>
                  </a:lnTo>
                  <a:lnTo>
                    <a:pt x="1203388" y="360926"/>
                  </a:lnTo>
                  <a:lnTo>
                    <a:pt x="1197988" y="357326"/>
                  </a:lnTo>
                  <a:lnTo>
                    <a:pt x="1193488" y="354626"/>
                  </a:lnTo>
                  <a:lnTo>
                    <a:pt x="1188988" y="354626"/>
                  </a:lnTo>
                  <a:lnTo>
                    <a:pt x="1184488" y="354626"/>
                  </a:lnTo>
                  <a:lnTo>
                    <a:pt x="1180888" y="354626"/>
                  </a:lnTo>
                  <a:lnTo>
                    <a:pt x="1175488" y="354626"/>
                  </a:lnTo>
                  <a:lnTo>
                    <a:pt x="1170088" y="352826"/>
                  </a:lnTo>
                  <a:lnTo>
                    <a:pt x="1162888" y="349226"/>
                  </a:lnTo>
                  <a:lnTo>
                    <a:pt x="1158388" y="346526"/>
                  </a:lnTo>
                  <a:lnTo>
                    <a:pt x="1153884" y="342926"/>
                  </a:lnTo>
                  <a:lnTo>
                    <a:pt x="1143084" y="332124"/>
                  </a:lnTo>
                  <a:lnTo>
                    <a:pt x="1131384" y="318624"/>
                  </a:lnTo>
                  <a:lnTo>
                    <a:pt x="1119684" y="303322"/>
                  </a:lnTo>
                  <a:lnTo>
                    <a:pt x="1108884" y="287122"/>
                  </a:lnTo>
                  <a:lnTo>
                    <a:pt x="1098980" y="271820"/>
                  </a:lnTo>
                  <a:lnTo>
                    <a:pt x="1090880" y="256518"/>
                  </a:lnTo>
                  <a:lnTo>
                    <a:pt x="1085480" y="243018"/>
                  </a:lnTo>
                  <a:lnTo>
                    <a:pt x="1080080" y="225916"/>
                  </a:lnTo>
                  <a:lnTo>
                    <a:pt x="1079180" y="220516"/>
                  </a:lnTo>
                  <a:lnTo>
                    <a:pt x="1076480" y="216916"/>
                  </a:lnTo>
                  <a:lnTo>
                    <a:pt x="1074680" y="215116"/>
                  </a:lnTo>
                  <a:lnTo>
                    <a:pt x="1071080" y="213316"/>
                  </a:lnTo>
                  <a:lnTo>
                    <a:pt x="1059380" y="212416"/>
                  </a:lnTo>
                  <a:lnTo>
                    <a:pt x="1055780" y="211516"/>
                  </a:lnTo>
                  <a:lnTo>
                    <a:pt x="1052180" y="210616"/>
                  </a:lnTo>
                  <a:lnTo>
                    <a:pt x="1049476" y="208816"/>
                  </a:lnTo>
                  <a:lnTo>
                    <a:pt x="1047676" y="207016"/>
                  </a:lnTo>
                  <a:lnTo>
                    <a:pt x="1044976" y="202514"/>
                  </a:lnTo>
                  <a:lnTo>
                    <a:pt x="1042276" y="195314"/>
                  </a:lnTo>
                  <a:lnTo>
                    <a:pt x="1037776" y="177314"/>
                  </a:lnTo>
                  <a:lnTo>
                    <a:pt x="1034176" y="166512"/>
                  </a:lnTo>
                  <a:lnTo>
                    <a:pt x="1028776" y="153012"/>
                  </a:lnTo>
                  <a:lnTo>
                    <a:pt x="1019776" y="135010"/>
                  </a:lnTo>
                  <a:lnTo>
                    <a:pt x="1018876" y="131410"/>
                  </a:lnTo>
                  <a:lnTo>
                    <a:pt x="1018876" y="129610"/>
                  </a:lnTo>
                  <a:lnTo>
                    <a:pt x="1022476" y="127810"/>
                  </a:lnTo>
                  <a:lnTo>
                    <a:pt x="1025176" y="124210"/>
                  </a:lnTo>
                  <a:lnTo>
                    <a:pt x="1027876" y="117908"/>
                  </a:lnTo>
                  <a:lnTo>
                    <a:pt x="1028776" y="114308"/>
                  </a:lnTo>
                  <a:lnTo>
                    <a:pt x="1028776" y="109808"/>
                  </a:lnTo>
                  <a:lnTo>
                    <a:pt x="1027876" y="105308"/>
                  </a:lnTo>
                  <a:lnTo>
                    <a:pt x="1026076" y="100808"/>
                  </a:lnTo>
                  <a:lnTo>
                    <a:pt x="1020676" y="92706"/>
                  </a:lnTo>
                  <a:lnTo>
                    <a:pt x="1014376" y="83706"/>
                  </a:lnTo>
                  <a:lnTo>
                    <a:pt x="1006276" y="75606"/>
                  </a:lnTo>
                  <a:lnTo>
                    <a:pt x="997276" y="67504"/>
                  </a:lnTo>
                  <a:lnTo>
                    <a:pt x="981972" y="53104"/>
                  </a:lnTo>
                  <a:lnTo>
                    <a:pt x="979272" y="49504"/>
                  </a:lnTo>
                  <a:lnTo>
                    <a:pt x="976572" y="45904"/>
                  </a:lnTo>
                  <a:lnTo>
                    <a:pt x="972972" y="37802"/>
                  </a:lnTo>
                  <a:lnTo>
                    <a:pt x="971172" y="28802"/>
                  </a:lnTo>
                  <a:lnTo>
                    <a:pt x="969372" y="20702"/>
                  </a:lnTo>
                  <a:lnTo>
                    <a:pt x="969372" y="12600"/>
                  </a:lnTo>
                  <a:lnTo>
                    <a:pt x="969372" y="630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28" name="Google Shape;4995;p64">
              <a:extLst>
                <a:ext uri="{FF2B5EF4-FFF2-40B4-BE49-F238E27FC236}">
                  <a16:creationId xmlns:a16="http://schemas.microsoft.com/office/drawing/2014/main" id="{47C62E6C-2295-723F-6C64-8B021872DF78}"/>
                </a:ext>
              </a:extLst>
            </p:cNvPr>
            <p:cNvSpPr/>
            <p:nvPr/>
          </p:nvSpPr>
          <p:spPr>
            <a:xfrm>
              <a:off x="4467867" y="3760173"/>
              <a:ext cx="13782" cy="11158"/>
            </a:xfrm>
            <a:custGeom>
              <a:avLst/>
              <a:gdLst/>
              <a:ahLst/>
              <a:cxnLst/>
              <a:rect l="l" t="t" r="r" b="b"/>
              <a:pathLst>
                <a:path w="100068" h="81006" extrusionOk="0">
                  <a:moveTo>
                    <a:pt x="66712" y="57180"/>
                  </a:moveTo>
                  <a:lnTo>
                    <a:pt x="90538" y="61946"/>
                  </a:lnTo>
                  <a:lnTo>
                    <a:pt x="100068" y="66710"/>
                  </a:lnTo>
                  <a:lnTo>
                    <a:pt x="100068" y="76240"/>
                  </a:lnTo>
                  <a:lnTo>
                    <a:pt x="95304" y="81006"/>
                  </a:lnTo>
                  <a:lnTo>
                    <a:pt x="85774" y="76240"/>
                  </a:lnTo>
                  <a:lnTo>
                    <a:pt x="76244" y="76240"/>
                  </a:lnTo>
                  <a:lnTo>
                    <a:pt x="66712" y="81006"/>
                  </a:lnTo>
                  <a:close/>
                  <a:moveTo>
                    <a:pt x="19062" y="0"/>
                  </a:moveTo>
                  <a:lnTo>
                    <a:pt x="23828" y="4764"/>
                  </a:lnTo>
                  <a:lnTo>
                    <a:pt x="19062" y="19060"/>
                  </a:lnTo>
                  <a:lnTo>
                    <a:pt x="4766" y="14294"/>
                  </a:lnTo>
                  <a:lnTo>
                    <a:pt x="0" y="953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nvGrpSpPr>
            <p:cNvPr id="529" name="Google Shape;4996;p64">
              <a:extLst>
                <a:ext uri="{FF2B5EF4-FFF2-40B4-BE49-F238E27FC236}">
                  <a16:creationId xmlns:a16="http://schemas.microsoft.com/office/drawing/2014/main" id="{70130F5D-C6E4-CB04-4CD8-250345940AD6}"/>
                </a:ext>
              </a:extLst>
            </p:cNvPr>
            <p:cNvGrpSpPr/>
            <p:nvPr/>
          </p:nvGrpSpPr>
          <p:grpSpPr>
            <a:xfrm>
              <a:off x="8339822" y="5349470"/>
              <a:ext cx="103644" cy="74172"/>
              <a:chOff x="3916363" y="3062288"/>
              <a:chExt cx="3003550" cy="2149475"/>
            </a:xfrm>
            <a:grpFill/>
          </p:grpSpPr>
          <p:sp>
            <p:nvSpPr>
              <p:cNvPr id="530" name="Google Shape;4997;p64">
                <a:extLst>
                  <a:ext uri="{FF2B5EF4-FFF2-40B4-BE49-F238E27FC236}">
                    <a16:creationId xmlns:a16="http://schemas.microsoft.com/office/drawing/2014/main" id="{FD8AA4E7-C483-BE3D-B4F9-189D121CE7EB}"/>
                  </a:ext>
                </a:extLst>
              </p:cNvPr>
              <p:cNvSpPr/>
              <p:nvPr/>
            </p:nvSpPr>
            <p:spPr>
              <a:xfrm>
                <a:off x="4014788" y="3897313"/>
                <a:ext cx="968375" cy="666750"/>
              </a:xfrm>
              <a:custGeom>
                <a:avLst/>
                <a:gdLst/>
                <a:ahLst/>
                <a:cxnLst/>
                <a:rect l="l" t="t" r="r" b="b"/>
                <a:pathLst>
                  <a:path w="610" h="420" extrusionOk="0">
                    <a:moveTo>
                      <a:pt x="0" y="268"/>
                    </a:moveTo>
                    <a:lnTo>
                      <a:pt x="24" y="344"/>
                    </a:lnTo>
                    <a:lnTo>
                      <a:pt x="90" y="378"/>
                    </a:lnTo>
                    <a:lnTo>
                      <a:pt x="150" y="378"/>
                    </a:lnTo>
                    <a:lnTo>
                      <a:pt x="252" y="420"/>
                    </a:lnTo>
                    <a:lnTo>
                      <a:pt x="318" y="418"/>
                    </a:lnTo>
                    <a:lnTo>
                      <a:pt x="348" y="404"/>
                    </a:lnTo>
                    <a:lnTo>
                      <a:pt x="386" y="406"/>
                    </a:lnTo>
                    <a:lnTo>
                      <a:pt x="436" y="358"/>
                    </a:lnTo>
                    <a:lnTo>
                      <a:pt x="480" y="340"/>
                    </a:lnTo>
                    <a:lnTo>
                      <a:pt x="506" y="360"/>
                    </a:lnTo>
                    <a:lnTo>
                      <a:pt x="530" y="338"/>
                    </a:lnTo>
                    <a:lnTo>
                      <a:pt x="558" y="350"/>
                    </a:lnTo>
                    <a:lnTo>
                      <a:pt x="602" y="322"/>
                    </a:lnTo>
                    <a:lnTo>
                      <a:pt x="610" y="298"/>
                    </a:lnTo>
                    <a:lnTo>
                      <a:pt x="598" y="302"/>
                    </a:lnTo>
                    <a:lnTo>
                      <a:pt x="594" y="284"/>
                    </a:lnTo>
                    <a:lnTo>
                      <a:pt x="580" y="282"/>
                    </a:lnTo>
                    <a:lnTo>
                      <a:pt x="562" y="246"/>
                    </a:lnTo>
                    <a:lnTo>
                      <a:pt x="578" y="240"/>
                    </a:lnTo>
                    <a:lnTo>
                      <a:pt x="582" y="216"/>
                    </a:lnTo>
                    <a:lnTo>
                      <a:pt x="566" y="210"/>
                    </a:lnTo>
                    <a:lnTo>
                      <a:pt x="570" y="200"/>
                    </a:lnTo>
                    <a:lnTo>
                      <a:pt x="554" y="184"/>
                    </a:lnTo>
                    <a:lnTo>
                      <a:pt x="570" y="150"/>
                    </a:lnTo>
                    <a:lnTo>
                      <a:pt x="566" y="136"/>
                    </a:lnTo>
                    <a:lnTo>
                      <a:pt x="544" y="118"/>
                    </a:lnTo>
                    <a:lnTo>
                      <a:pt x="536" y="120"/>
                    </a:lnTo>
                    <a:lnTo>
                      <a:pt x="530" y="106"/>
                    </a:lnTo>
                    <a:lnTo>
                      <a:pt x="502" y="100"/>
                    </a:lnTo>
                    <a:lnTo>
                      <a:pt x="476" y="76"/>
                    </a:lnTo>
                    <a:lnTo>
                      <a:pt x="460" y="44"/>
                    </a:lnTo>
                    <a:lnTo>
                      <a:pt x="438" y="46"/>
                    </a:lnTo>
                    <a:lnTo>
                      <a:pt x="418" y="62"/>
                    </a:lnTo>
                    <a:lnTo>
                      <a:pt x="416" y="40"/>
                    </a:lnTo>
                    <a:lnTo>
                      <a:pt x="436" y="30"/>
                    </a:lnTo>
                    <a:lnTo>
                      <a:pt x="438" y="2"/>
                    </a:lnTo>
                    <a:lnTo>
                      <a:pt x="390" y="0"/>
                    </a:lnTo>
                    <a:lnTo>
                      <a:pt x="372" y="12"/>
                    </a:lnTo>
                    <a:lnTo>
                      <a:pt x="336" y="6"/>
                    </a:lnTo>
                    <a:lnTo>
                      <a:pt x="306" y="30"/>
                    </a:lnTo>
                    <a:lnTo>
                      <a:pt x="258" y="28"/>
                    </a:lnTo>
                    <a:lnTo>
                      <a:pt x="242" y="42"/>
                    </a:lnTo>
                    <a:lnTo>
                      <a:pt x="248" y="14"/>
                    </a:lnTo>
                    <a:lnTo>
                      <a:pt x="216" y="32"/>
                    </a:lnTo>
                    <a:lnTo>
                      <a:pt x="210" y="44"/>
                    </a:lnTo>
                    <a:lnTo>
                      <a:pt x="194" y="38"/>
                    </a:lnTo>
                    <a:lnTo>
                      <a:pt x="172" y="50"/>
                    </a:lnTo>
                    <a:lnTo>
                      <a:pt x="160" y="48"/>
                    </a:lnTo>
                    <a:lnTo>
                      <a:pt x="122" y="80"/>
                    </a:lnTo>
                    <a:lnTo>
                      <a:pt x="114" y="78"/>
                    </a:lnTo>
                    <a:lnTo>
                      <a:pt x="104" y="94"/>
                    </a:lnTo>
                    <a:lnTo>
                      <a:pt x="70" y="130"/>
                    </a:lnTo>
                    <a:lnTo>
                      <a:pt x="62" y="130"/>
                    </a:lnTo>
                    <a:lnTo>
                      <a:pt x="60" y="148"/>
                    </a:lnTo>
                    <a:lnTo>
                      <a:pt x="78" y="158"/>
                    </a:lnTo>
                    <a:lnTo>
                      <a:pt x="80" y="188"/>
                    </a:lnTo>
                    <a:lnTo>
                      <a:pt x="54" y="176"/>
                    </a:lnTo>
                    <a:lnTo>
                      <a:pt x="54" y="218"/>
                    </a:lnTo>
                    <a:lnTo>
                      <a:pt x="8" y="232"/>
                    </a:lnTo>
                    <a:lnTo>
                      <a:pt x="12" y="258"/>
                    </a:lnTo>
                    <a:lnTo>
                      <a:pt x="0" y="268"/>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1" name="Google Shape;4998;p64">
                <a:extLst>
                  <a:ext uri="{FF2B5EF4-FFF2-40B4-BE49-F238E27FC236}">
                    <a16:creationId xmlns:a16="http://schemas.microsoft.com/office/drawing/2014/main" id="{B800D1C8-9747-5061-01A8-7E6703E3DBC1}"/>
                  </a:ext>
                </a:extLst>
              </p:cNvPr>
              <p:cNvSpPr/>
              <p:nvPr/>
            </p:nvSpPr>
            <p:spPr>
              <a:xfrm>
                <a:off x="4252913" y="4687888"/>
                <a:ext cx="73025" cy="114300"/>
              </a:xfrm>
              <a:custGeom>
                <a:avLst/>
                <a:gdLst/>
                <a:ahLst/>
                <a:cxnLst/>
                <a:rect l="l" t="t" r="r" b="b"/>
                <a:pathLst>
                  <a:path w="46" h="72" extrusionOk="0">
                    <a:moveTo>
                      <a:pt x="18" y="0"/>
                    </a:moveTo>
                    <a:lnTo>
                      <a:pt x="0" y="24"/>
                    </a:lnTo>
                    <a:lnTo>
                      <a:pt x="26" y="72"/>
                    </a:lnTo>
                    <a:lnTo>
                      <a:pt x="40" y="68"/>
                    </a:lnTo>
                    <a:lnTo>
                      <a:pt x="46" y="24"/>
                    </a:lnTo>
                    <a:lnTo>
                      <a:pt x="18"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2" name="Google Shape;4999;p64">
                <a:extLst>
                  <a:ext uri="{FF2B5EF4-FFF2-40B4-BE49-F238E27FC236}">
                    <a16:creationId xmlns:a16="http://schemas.microsoft.com/office/drawing/2014/main" id="{78F6A971-D9D6-23F4-53B9-A494694C5665}"/>
                  </a:ext>
                </a:extLst>
              </p:cNvPr>
              <p:cNvSpPr/>
              <p:nvPr/>
            </p:nvSpPr>
            <p:spPr>
              <a:xfrm>
                <a:off x="4487863" y="5018088"/>
                <a:ext cx="361950" cy="171450"/>
              </a:xfrm>
              <a:custGeom>
                <a:avLst/>
                <a:gdLst/>
                <a:ahLst/>
                <a:cxnLst/>
                <a:rect l="l" t="t" r="r" b="b"/>
                <a:pathLst>
                  <a:path w="228" h="108" extrusionOk="0">
                    <a:moveTo>
                      <a:pt x="0" y="86"/>
                    </a:moveTo>
                    <a:lnTo>
                      <a:pt x="8" y="74"/>
                    </a:lnTo>
                    <a:lnTo>
                      <a:pt x="32" y="76"/>
                    </a:lnTo>
                    <a:lnTo>
                      <a:pt x="36" y="52"/>
                    </a:lnTo>
                    <a:lnTo>
                      <a:pt x="72" y="64"/>
                    </a:lnTo>
                    <a:lnTo>
                      <a:pt x="78" y="48"/>
                    </a:lnTo>
                    <a:lnTo>
                      <a:pt x="90" y="48"/>
                    </a:lnTo>
                    <a:lnTo>
                      <a:pt x="96" y="22"/>
                    </a:lnTo>
                    <a:lnTo>
                      <a:pt x="124" y="12"/>
                    </a:lnTo>
                    <a:lnTo>
                      <a:pt x="146" y="18"/>
                    </a:lnTo>
                    <a:lnTo>
                      <a:pt x="148" y="2"/>
                    </a:lnTo>
                    <a:lnTo>
                      <a:pt x="180" y="0"/>
                    </a:lnTo>
                    <a:lnTo>
                      <a:pt x="228" y="24"/>
                    </a:lnTo>
                    <a:lnTo>
                      <a:pt x="224" y="38"/>
                    </a:lnTo>
                    <a:lnTo>
                      <a:pt x="198" y="40"/>
                    </a:lnTo>
                    <a:lnTo>
                      <a:pt x="182" y="52"/>
                    </a:lnTo>
                    <a:lnTo>
                      <a:pt x="150" y="30"/>
                    </a:lnTo>
                    <a:lnTo>
                      <a:pt x="116" y="50"/>
                    </a:lnTo>
                    <a:lnTo>
                      <a:pt x="98" y="52"/>
                    </a:lnTo>
                    <a:lnTo>
                      <a:pt x="92" y="68"/>
                    </a:lnTo>
                    <a:lnTo>
                      <a:pt x="102" y="84"/>
                    </a:lnTo>
                    <a:lnTo>
                      <a:pt x="104" y="98"/>
                    </a:lnTo>
                    <a:lnTo>
                      <a:pt x="92" y="98"/>
                    </a:lnTo>
                    <a:lnTo>
                      <a:pt x="88" y="82"/>
                    </a:lnTo>
                    <a:lnTo>
                      <a:pt x="66" y="98"/>
                    </a:lnTo>
                    <a:lnTo>
                      <a:pt x="70" y="108"/>
                    </a:lnTo>
                    <a:lnTo>
                      <a:pt x="62" y="106"/>
                    </a:lnTo>
                    <a:lnTo>
                      <a:pt x="54" y="100"/>
                    </a:lnTo>
                    <a:lnTo>
                      <a:pt x="28" y="98"/>
                    </a:lnTo>
                    <a:lnTo>
                      <a:pt x="16" y="100"/>
                    </a:lnTo>
                    <a:lnTo>
                      <a:pt x="0" y="86"/>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3" name="Google Shape;5000;p64">
                <a:extLst>
                  <a:ext uri="{FF2B5EF4-FFF2-40B4-BE49-F238E27FC236}">
                    <a16:creationId xmlns:a16="http://schemas.microsoft.com/office/drawing/2014/main" id="{FB9F506F-D708-A725-EA97-9C4958451FE5}"/>
                  </a:ext>
                </a:extLst>
              </p:cNvPr>
              <p:cNvSpPr/>
              <p:nvPr/>
            </p:nvSpPr>
            <p:spPr>
              <a:xfrm>
                <a:off x="4824413" y="4967288"/>
                <a:ext cx="47625" cy="47625"/>
              </a:xfrm>
              <a:custGeom>
                <a:avLst/>
                <a:gdLst/>
                <a:ahLst/>
                <a:cxnLst/>
                <a:rect l="l" t="t" r="r" b="b"/>
                <a:pathLst>
                  <a:path w="30" h="30" extrusionOk="0">
                    <a:moveTo>
                      <a:pt x="24" y="0"/>
                    </a:moveTo>
                    <a:lnTo>
                      <a:pt x="0" y="12"/>
                    </a:lnTo>
                    <a:lnTo>
                      <a:pt x="6" y="20"/>
                    </a:lnTo>
                    <a:lnTo>
                      <a:pt x="14" y="24"/>
                    </a:lnTo>
                    <a:lnTo>
                      <a:pt x="16" y="30"/>
                    </a:lnTo>
                    <a:lnTo>
                      <a:pt x="24" y="20"/>
                    </a:lnTo>
                    <a:lnTo>
                      <a:pt x="30" y="16"/>
                    </a:lnTo>
                    <a:lnTo>
                      <a:pt x="28" y="2"/>
                    </a:lnTo>
                    <a:lnTo>
                      <a:pt x="24"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4" name="Google Shape;5001;p64">
                <a:extLst>
                  <a:ext uri="{FF2B5EF4-FFF2-40B4-BE49-F238E27FC236}">
                    <a16:creationId xmlns:a16="http://schemas.microsoft.com/office/drawing/2014/main" id="{282B99EC-5D01-D17C-10B1-21AD71C02BF8}"/>
                  </a:ext>
                </a:extLst>
              </p:cNvPr>
              <p:cNvSpPr/>
              <p:nvPr/>
            </p:nvSpPr>
            <p:spPr>
              <a:xfrm>
                <a:off x="5729288" y="4725988"/>
                <a:ext cx="117475" cy="117475"/>
              </a:xfrm>
              <a:custGeom>
                <a:avLst/>
                <a:gdLst/>
                <a:ahLst/>
                <a:cxnLst/>
                <a:rect l="l" t="t" r="r" b="b"/>
                <a:pathLst>
                  <a:path w="74" h="74" extrusionOk="0">
                    <a:moveTo>
                      <a:pt x="70" y="0"/>
                    </a:moveTo>
                    <a:lnTo>
                      <a:pt x="0" y="22"/>
                    </a:lnTo>
                    <a:lnTo>
                      <a:pt x="16" y="74"/>
                    </a:lnTo>
                    <a:lnTo>
                      <a:pt x="44" y="72"/>
                    </a:lnTo>
                    <a:lnTo>
                      <a:pt x="54" y="46"/>
                    </a:lnTo>
                    <a:lnTo>
                      <a:pt x="74" y="28"/>
                    </a:lnTo>
                    <a:lnTo>
                      <a:pt x="7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5" name="Google Shape;5002;p64">
                <a:extLst>
                  <a:ext uri="{FF2B5EF4-FFF2-40B4-BE49-F238E27FC236}">
                    <a16:creationId xmlns:a16="http://schemas.microsoft.com/office/drawing/2014/main" id="{D977BC4B-D6B6-A2D8-3D7E-95036F6AF4C7}"/>
                  </a:ext>
                </a:extLst>
              </p:cNvPr>
              <p:cNvSpPr/>
              <p:nvPr/>
            </p:nvSpPr>
            <p:spPr>
              <a:xfrm>
                <a:off x="5300663" y="4310063"/>
                <a:ext cx="146050" cy="155575"/>
              </a:xfrm>
              <a:custGeom>
                <a:avLst/>
                <a:gdLst/>
                <a:ahLst/>
                <a:cxnLst/>
                <a:rect l="l" t="t" r="r" b="b"/>
                <a:pathLst>
                  <a:path w="92" h="98" extrusionOk="0">
                    <a:moveTo>
                      <a:pt x="22" y="2"/>
                    </a:moveTo>
                    <a:lnTo>
                      <a:pt x="14" y="30"/>
                    </a:lnTo>
                    <a:lnTo>
                      <a:pt x="0" y="42"/>
                    </a:lnTo>
                    <a:lnTo>
                      <a:pt x="8" y="58"/>
                    </a:lnTo>
                    <a:lnTo>
                      <a:pt x="26" y="70"/>
                    </a:lnTo>
                    <a:lnTo>
                      <a:pt x="58" y="98"/>
                    </a:lnTo>
                    <a:lnTo>
                      <a:pt x="92" y="80"/>
                    </a:lnTo>
                    <a:lnTo>
                      <a:pt x="84" y="42"/>
                    </a:lnTo>
                    <a:lnTo>
                      <a:pt x="88" y="30"/>
                    </a:lnTo>
                    <a:lnTo>
                      <a:pt x="56" y="0"/>
                    </a:lnTo>
                    <a:lnTo>
                      <a:pt x="22" y="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6" name="Google Shape;5003;p64">
                <a:extLst>
                  <a:ext uri="{FF2B5EF4-FFF2-40B4-BE49-F238E27FC236}">
                    <a16:creationId xmlns:a16="http://schemas.microsoft.com/office/drawing/2014/main" id="{69B3FC77-CD06-04DB-F803-81EE280505D4}"/>
                  </a:ext>
                </a:extLst>
              </p:cNvPr>
              <p:cNvSpPr/>
              <p:nvPr/>
            </p:nvSpPr>
            <p:spPr>
              <a:xfrm>
                <a:off x="5672138" y="5145088"/>
                <a:ext cx="50800" cy="66675"/>
              </a:xfrm>
              <a:custGeom>
                <a:avLst/>
                <a:gdLst/>
                <a:ahLst/>
                <a:cxnLst/>
                <a:rect l="l" t="t" r="r" b="b"/>
                <a:pathLst>
                  <a:path w="32" h="42" extrusionOk="0">
                    <a:moveTo>
                      <a:pt x="6" y="4"/>
                    </a:moveTo>
                    <a:lnTo>
                      <a:pt x="6" y="20"/>
                    </a:lnTo>
                    <a:lnTo>
                      <a:pt x="0" y="32"/>
                    </a:lnTo>
                    <a:lnTo>
                      <a:pt x="8" y="42"/>
                    </a:lnTo>
                    <a:lnTo>
                      <a:pt x="30" y="32"/>
                    </a:lnTo>
                    <a:lnTo>
                      <a:pt x="32" y="10"/>
                    </a:lnTo>
                    <a:lnTo>
                      <a:pt x="22" y="0"/>
                    </a:lnTo>
                    <a:lnTo>
                      <a:pt x="6" y="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7" name="Google Shape;5004;p64">
                <a:extLst>
                  <a:ext uri="{FF2B5EF4-FFF2-40B4-BE49-F238E27FC236}">
                    <a16:creationId xmlns:a16="http://schemas.microsoft.com/office/drawing/2014/main" id="{24A017EC-C818-9875-6AC9-51B52E95A21C}"/>
                  </a:ext>
                </a:extLst>
              </p:cNvPr>
              <p:cNvSpPr/>
              <p:nvPr/>
            </p:nvSpPr>
            <p:spPr>
              <a:xfrm>
                <a:off x="6519863" y="5002213"/>
                <a:ext cx="60325" cy="60325"/>
              </a:xfrm>
              <a:custGeom>
                <a:avLst/>
                <a:gdLst/>
                <a:ahLst/>
                <a:cxnLst/>
                <a:rect l="l" t="t" r="r" b="b"/>
                <a:pathLst>
                  <a:path w="38" h="38" extrusionOk="0">
                    <a:moveTo>
                      <a:pt x="24" y="0"/>
                    </a:moveTo>
                    <a:lnTo>
                      <a:pt x="0" y="14"/>
                    </a:lnTo>
                    <a:lnTo>
                      <a:pt x="12" y="38"/>
                    </a:lnTo>
                    <a:lnTo>
                      <a:pt x="34" y="36"/>
                    </a:lnTo>
                    <a:lnTo>
                      <a:pt x="38" y="10"/>
                    </a:lnTo>
                    <a:lnTo>
                      <a:pt x="24"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8" name="Google Shape;5005;p64">
                <a:extLst>
                  <a:ext uri="{FF2B5EF4-FFF2-40B4-BE49-F238E27FC236}">
                    <a16:creationId xmlns:a16="http://schemas.microsoft.com/office/drawing/2014/main" id="{C6387E0A-54A1-5617-CA96-425A7B9639D9}"/>
                  </a:ext>
                </a:extLst>
              </p:cNvPr>
              <p:cNvSpPr/>
              <p:nvPr/>
            </p:nvSpPr>
            <p:spPr>
              <a:xfrm>
                <a:off x="6615113" y="4478338"/>
                <a:ext cx="139700" cy="60325"/>
              </a:xfrm>
              <a:custGeom>
                <a:avLst/>
                <a:gdLst/>
                <a:ahLst/>
                <a:cxnLst/>
                <a:rect l="l" t="t" r="r" b="b"/>
                <a:pathLst>
                  <a:path w="88" h="38" extrusionOk="0">
                    <a:moveTo>
                      <a:pt x="32" y="10"/>
                    </a:moveTo>
                    <a:lnTo>
                      <a:pt x="8" y="8"/>
                    </a:lnTo>
                    <a:lnTo>
                      <a:pt x="0" y="24"/>
                    </a:lnTo>
                    <a:lnTo>
                      <a:pt x="24" y="38"/>
                    </a:lnTo>
                    <a:lnTo>
                      <a:pt x="46" y="36"/>
                    </a:lnTo>
                    <a:lnTo>
                      <a:pt x="72" y="36"/>
                    </a:lnTo>
                    <a:lnTo>
                      <a:pt x="88" y="20"/>
                    </a:lnTo>
                    <a:lnTo>
                      <a:pt x="80" y="2"/>
                    </a:lnTo>
                    <a:lnTo>
                      <a:pt x="66" y="10"/>
                    </a:lnTo>
                    <a:lnTo>
                      <a:pt x="44" y="0"/>
                    </a:lnTo>
                    <a:lnTo>
                      <a:pt x="32" y="1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39" name="Google Shape;5006;p64">
                <a:extLst>
                  <a:ext uri="{FF2B5EF4-FFF2-40B4-BE49-F238E27FC236}">
                    <a16:creationId xmlns:a16="http://schemas.microsoft.com/office/drawing/2014/main" id="{CEB89CAD-37E1-8049-3CEF-C334C795CA8C}"/>
                  </a:ext>
                </a:extLst>
              </p:cNvPr>
              <p:cNvSpPr/>
              <p:nvPr/>
            </p:nvSpPr>
            <p:spPr>
              <a:xfrm>
                <a:off x="5418138" y="3833813"/>
                <a:ext cx="60325" cy="107950"/>
              </a:xfrm>
              <a:custGeom>
                <a:avLst/>
                <a:gdLst/>
                <a:ahLst/>
                <a:cxnLst/>
                <a:rect l="l" t="t" r="r" b="b"/>
                <a:pathLst>
                  <a:path w="38" h="68" extrusionOk="0">
                    <a:moveTo>
                      <a:pt x="10" y="2"/>
                    </a:moveTo>
                    <a:lnTo>
                      <a:pt x="34" y="0"/>
                    </a:lnTo>
                    <a:lnTo>
                      <a:pt x="38" y="36"/>
                    </a:lnTo>
                    <a:lnTo>
                      <a:pt x="10" y="68"/>
                    </a:lnTo>
                    <a:lnTo>
                      <a:pt x="0" y="22"/>
                    </a:lnTo>
                    <a:lnTo>
                      <a:pt x="10" y="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0" name="Google Shape;5007;p64">
                <a:extLst>
                  <a:ext uri="{FF2B5EF4-FFF2-40B4-BE49-F238E27FC236}">
                    <a16:creationId xmlns:a16="http://schemas.microsoft.com/office/drawing/2014/main" id="{0AA2C3F7-08A1-E526-9EC5-99958002A284}"/>
                  </a:ext>
                </a:extLst>
              </p:cNvPr>
              <p:cNvSpPr/>
              <p:nvPr/>
            </p:nvSpPr>
            <p:spPr>
              <a:xfrm>
                <a:off x="6380163" y="3951288"/>
                <a:ext cx="60325" cy="63500"/>
              </a:xfrm>
              <a:custGeom>
                <a:avLst/>
                <a:gdLst/>
                <a:ahLst/>
                <a:cxnLst/>
                <a:rect l="l" t="t" r="r" b="b"/>
                <a:pathLst>
                  <a:path w="38" h="40" extrusionOk="0">
                    <a:moveTo>
                      <a:pt x="6" y="0"/>
                    </a:moveTo>
                    <a:lnTo>
                      <a:pt x="26" y="2"/>
                    </a:lnTo>
                    <a:lnTo>
                      <a:pt x="38" y="20"/>
                    </a:lnTo>
                    <a:lnTo>
                      <a:pt x="20" y="40"/>
                    </a:lnTo>
                    <a:lnTo>
                      <a:pt x="0" y="18"/>
                    </a:lnTo>
                    <a:lnTo>
                      <a:pt x="6"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1" name="Google Shape;5008;p64">
                <a:extLst>
                  <a:ext uri="{FF2B5EF4-FFF2-40B4-BE49-F238E27FC236}">
                    <a16:creationId xmlns:a16="http://schemas.microsoft.com/office/drawing/2014/main" id="{E86F7ECC-DA39-80BB-352B-A32748E6ADEA}"/>
                  </a:ext>
                </a:extLst>
              </p:cNvPr>
              <p:cNvSpPr/>
              <p:nvPr/>
            </p:nvSpPr>
            <p:spPr>
              <a:xfrm>
                <a:off x="5767388" y="3449638"/>
                <a:ext cx="200025" cy="215900"/>
              </a:xfrm>
              <a:custGeom>
                <a:avLst/>
                <a:gdLst/>
                <a:ahLst/>
                <a:cxnLst/>
                <a:rect l="l" t="t" r="r" b="b"/>
                <a:pathLst>
                  <a:path w="126" h="136" extrusionOk="0">
                    <a:moveTo>
                      <a:pt x="110" y="0"/>
                    </a:moveTo>
                    <a:lnTo>
                      <a:pt x="116" y="26"/>
                    </a:lnTo>
                    <a:lnTo>
                      <a:pt x="126" y="32"/>
                    </a:lnTo>
                    <a:lnTo>
                      <a:pt x="118" y="54"/>
                    </a:lnTo>
                    <a:lnTo>
                      <a:pt x="106" y="68"/>
                    </a:lnTo>
                    <a:lnTo>
                      <a:pt x="106" y="80"/>
                    </a:lnTo>
                    <a:lnTo>
                      <a:pt x="90" y="84"/>
                    </a:lnTo>
                    <a:lnTo>
                      <a:pt x="26" y="136"/>
                    </a:lnTo>
                    <a:lnTo>
                      <a:pt x="0" y="118"/>
                    </a:lnTo>
                    <a:lnTo>
                      <a:pt x="34" y="76"/>
                    </a:lnTo>
                    <a:lnTo>
                      <a:pt x="50" y="40"/>
                    </a:lnTo>
                    <a:lnTo>
                      <a:pt x="74" y="24"/>
                    </a:lnTo>
                    <a:lnTo>
                      <a:pt x="78" y="8"/>
                    </a:lnTo>
                    <a:lnTo>
                      <a:pt x="11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2" name="Google Shape;5009;p64">
                <a:extLst>
                  <a:ext uri="{FF2B5EF4-FFF2-40B4-BE49-F238E27FC236}">
                    <a16:creationId xmlns:a16="http://schemas.microsoft.com/office/drawing/2014/main" id="{7B13768B-F5E4-33C0-CBC1-024321C71FB5}"/>
                  </a:ext>
                </a:extLst>
              </p:cNvPr>
              <p:cNvSpPr/>
              <p:nvPr/>
            </p:nvSpPr>
            <p:spPr>
              <a:xfrm>
                <a:off x="3916363" y="3833813"/>
                <a:ext cx="41275" cy="53975"/>
              </a:xfrm>
              <a:custGeom>
                <a:avLst/>
                <a:gdLst/>
                <a:ahLst/>
                <a:cxnLst/>
                <a:rect l="l" t="t" r="r" b="b"/>
                <a:pathLst>
                  <a:path w="26" h="34" extrusionOk="0">
                    <a:moveTo>
                      <a:pt x="0" y="0"/>
                    </a:moveTo>
                    <a:lnTo>
                      <a:pt x="12" y="14"/>
                    </a:lnTo>
                    <a:lnTo>
                      <a:pt x="22" y="2"/>
                    </a:lnTo>
                    <a:lnTo>
                      <a:pt x="26" y="20"/>
                    </a:lnTo>
                    <a:lnTo>
                      <a:pt x="4" y="34"/>
                    </a:lnTo>
                    <a:lnTo>
                      <a:pt x="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3" name="Google Shape;5010;p64">
                <a:extLst>
                  <a:ext uri="{FF2B5EF4-FFF2-40B4-BE49-F238E27FC236}">
                    <a16:creationId xmlns:a16="http://schemas.microsoft.com/office/drawing/2014/main" id="{564A9986-9DC1-9E8D-E67F-14EB61DA1440}"/>
                  </a:ext>
                </a:extLst>
              </p:cNvPr>
              <p:cNvSpPr/>
              <p:nvPr/>
            </p:nvSpPr>
            <p:spPr>
              <a:xfrm>
                <a:off x="3967163" y="3690938"/>
                <a:ext cx="79375" cy="95250"/>
              </a:xfrm>
              <a:custGeom>
                <a:avLst/>
                <a:gdLst/>
                <a:ahLst/>
                <a:cxnLst/>
                <a:rect l="l" t="t" r="r" b="b"/>
                <a:pathLst>
                  <a:path w="50" h="60" extrusionOk="0">
                    <a:moveTo>
                      <a:pt x="30" y="0"/>
                    </a:moveTo>
                    <a:lnTo>
                      <a:pt x="0" y="30"/>
                    </a:lnTo>
                    <a:lnTo>
                      <a:pt x="6" y="60"/>
                    </a:lnTo>
                    <a:lnTo>
                      <a:pt x="24" y="44"/>
                    </a:lnTo>
                    <a:lnTo>
                      <a:pt x="40" y="40"/>
                    </a:lnTo>
                    <a:lnTo>
                      <a:pt x="50" y="16"/>
                    </a:lnTo>
                    <a:lnTo>
                      <a:pt x="34" y="16"/>
                    </a:lnTo>
                    <a:lnTo>
                      <a:pt x="3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4" name="Google Shape;5011;p64">
                <a:extLst>
                  <a:ext uri="{FF2B5EF4-FFF2-40B4-BE49-F238E27FC236}">
                    <a16:creationId xmlns:a16="http://schemas.microsoft.com/office/drawing/2014/main" id="{D3569FDE-632F-206E-A89E-7953292E3AE2}"/>
                  </a:ext>
                </a:extLst>
              </p:cNvPr>
              <p:cNvSpPr/>
              <p:nvPr/>
            </p:nvSpPr>
            <p:spPr>
              <a:xfrm>
                <a:off x="4138613" y="3443288"/>
                <a:ext cx="104775" cy="111125"/>
              </a:xfrm>
              <a:custGeom>
                <a:avLst/>
                <a:gdLst/>
                <a:ahLst/>
                <a:cxnLst/>
                <a:rect l="l" t="t" r="r" b="b"/>
                <a:pathLst>
                  <a:path w="66" h="70" extrusionOk="0">
                    <a:moveTo>
                      <a:pt x="56" y="0"/>
                    </a:moveTo>
                    <a:lnTo>
                      <a:pt x="52" y="20"/>
                    </a:lnTo>
                    <a:lnTo>
                      <a:pt x="16" y="52"/>
                    </a:lnTo>
                    <a:lnTo>
                      <a:pt x="0" y="52"/>
                    </a:lnTo>
                    <a:lnTo>
                      <a:pt x="2" y="66"/>
                    </a:lnTo>
                    <a:lnTo>
                      <a:pt x="16" y="70"/>
                    </a:lnTo>
                    <a:lnTo>
                      <a:pt x="32" y="52"/>
                    </a:lnTo>
                    <a:lnTo>
                      <a:pt x="62" y="20"/>
                    </a:lnTo>
                    <a:lnTo>
                      <a:pt x="66" y="4"/>
                    </a:lnTo>
                    <a:lnTo>
                      <a:pt x="56"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5" name="Google Shape;5012;p64">
                <a:extLst>
                  <a:ext uri="{FF2B5EF4-FFF2-40B4-BE49-F238E27FC236}">
                    <a16:creationId xmlns:a16="http://schemas.microsoft.com/office/drawing/2014/main" id="{7691D57C-2733-E19E-E55D-DC5423384173}"/>
                  </a:ext>
                </a:extLst>
              </p:cNvPr>
              <p:cNvSpPr/>
              <p:nvPr/>
            </p:nvSpPr>
            <p:spPr>
              <a:xfrm>
                <a:off x="4840288" y="3062288"/>
                <a:ext cx="1044575" cy="609600"/>
              </a:xfrm>
              <a:custGeom>
                <a:avLst/>
                <a:gdLst/>
                <a:ahLst/>
                <a:cxnLst/>
                <a:rect l="l" t="t" r="r" b="b"/>
                <a:pathLst>
                  <a:path w="658" h="384" extrusionOk="0">
                    <a:moveTo>
                      <a:pt x="34" y="214"/>
                    </a:moveTo>
                    <a:lnTo>
                      <a:pt x="22" y="220"/>
                    </a:lnTo>
                    <a:lnTo>
                      <a:pt x="24" y="234"/>
                    </a:lnTo>
                    <a:lnTo>
                      <a:pt x="42" y="234"/>
                    </a:lnTo>
                    <a:lnTo>
                      <a:pt x="26" y="254"/>
                    </a:lnTo>
                    <a:lnTo>
                      <a:pt x="2" y="270"/>
                    </a:lnTo>
                    <a:lnTo>
                      <a:pt x="0" y="298"/>
                    </a:lnTo>
                    <a:lnTo>
                      <a:pt x="26" y="298"/>
                    </a:lnTo>
                    <a:lnTo>
                      <a:pt x="38" y="284"/>
                    </a:lnTo>
                    <a:lnTo>
                      <a:pt x="58" y="300"/>
                    </a:lnTo>
                    <a:lnTo>
                      <a:pt x="56" y="320"/>
                    </a:lnTo>
                    <a:lnTo>
                      <a:pt x="76" y="336"/>
                    </a:lnTo>
                    <a:lnTo>
                      <a:pt x="78" y="378"/>
                    </a:lnTo>
                    <a:lnTo>
                      <a:pt x="108" y="384"/>
                    </a:lnTo>
                    <a:lnTo>
                      <a:pt x="134" y="356"/>
                    </a:lnTo>
                    <a:lnTo>
                      <a:pt x="138" y="338"/>
                    </a:lnTo>
                    <a:lnTo>
                      <a:pt x="164" y="322"/>
                    </a:lnTo>
                    <a:lnTo>
                      <a:pt x="222" y="342"/>
                    </a:lnTo>
                    <a:lnTo>
                      <a:pt x="244" y="328"/>
                    </a:lnTo>
                    <a:lnTo>
                      <a:pt x="226" y="322"/>
                    </a:lnTo>
                    <a:lnTo>
                      <a:pt x="238" y="296"/>
                    </a:lnTo>
                    <a:lnTo>
                      <a:pt x="266" y="290"/>
                    </a:lnTo>
                    <a:lnTo>
                      <a:pt x="266" y="272"/>
                    </a:lnTo>
                    <a:lnTo>
                      <a:pt x="302" y="252"/>
                    </a:lnTo>
                    <a:lnTo>
                      <a:pt x="330" y="240"/>
                    </a:lnTo>
                    <a:lnTo>
                      <a:pt x="344" y="260"/>
                    </a:lnTo>
                    <a:lnTo>
                      <a:pt x="360" y="262"/>
                    </a:lnTo>
                    <a:lnTo>
                      <a:pt x="362" y="278"/>
                    </a:lnTo>
                    <a:lnTo>
                      <a:pt x="336" y="292"/>
                    </a:lnTo>
                    <a:lnTo>
                      <a:pt x="378" y="304"/>
                    </a:lnTo>
                    <a:lnTo>
                      <a:pt x="448" y="300"/>
                    </a:lnTo>
                    <a:lnTo>
                      <a:pt x="482" y="290"/>
                    </a:lnTo>
                    <a:lnTo>
                      <a:pt x="518" y="266"/>
                    </a:lnTo>
                    <a:lnTo>
                      <a:pt x="554" y="272"/>
                    </a:lnTo>
                    <a:lnTo>
                      <a:pt x="574" y="276"/>
                    </a:lnTo>
                    <a:lnTo>
                      <a:pt x="598" y="272"/>
                    </a:lnTo>
                    <a:lnTo>
                      <a:pt x="614" y="262"/>
                    </a:lnTo>
                    <a:lnTo>
                      <a:pt x="590" y="244"/>
                    </a:lnTo>
                    <a:lnTo>
                      <a:pt x="586" y="212"/>
                    </a:lnTo>
                    <a:lnTo>
                      <a:pt x="598" y="184"/>
                    </a:lnTo>
                    <a:lnTo>
                      <a:pt x="616" y="164"/>
                    </a:lnTo>
                    <a:lnTo>
                      <a:pt x="606" y="146"/>
                    </a:lnTo>
                    <a:lnTo>
                      <a:pt x="544" y="192"/>
                    </a:lnTo>
                    <a:lnTo>
                      <a:pt x="530" y="192"/>
                    </a:lnTo>
                    <a:lnTo>
                      <a:pt x="530" y="204"/>
                    </a:lnTo>
                    <a:lnTo>
                      <a:pt x="518" y="206"/>
                    </a:lnTo>
                    <a:lnTo>
                      <a:pt x="518" y="218"/>
                    </a:lnTo>
                    <a:lnTo>
                      <a:pt x="500" y="218"/>
                    </a:lnTo>
                    <a:lnTo>
                      <a:pt x="490" y="236"/>
                    </a:lnTo>
                    <a:lnTo>
                      <a:pt x="478" y="250"/>
                    </a:lnTo>
                    <a:lnTo>
                      <a:pt x="462" y="266"/>
                    </a:lnTo>
                    <a:lnTo>
                      <a:pt x="442" y="270"/>
                    </a:lnTo>
                    <a:lnTo>
                      <a:pt x="418" y="270"/>
                    </a:lnTo>
                    <a:lnTo>
                      <a:pt x="418" y="244"/>
                    </a:lnTo>
                    <a:lnTo>
                      <a:pt x="460" y="214"/>
                    </a:lnTo>
                    <a:lnTo>
                      <a:pt x="460" y="178"/>
                    </a:lnTo>
                    <a:lnTo>
                      <a:pt x="488" y="164"/>
                    </a:lnTo>
                    <a:lnTo>
                      <a:pt x="506" y="152"/>
                    </a:lnTo>
                    <a:lnTo>
                      <a:pt x="542" y="120"/>
                    </a:lnTo>
                    <a:lnTo>
                      <a:pt x="574" y="60"/>
                    </a:lnTo>
                    <a:lnTo>
                      <a:pt x="610" y="38"/>
                    </a:lnTo>
                    <a:lnTo>
                      <a:pt x="632" y="18"/>
                    </a:lnTo>
                    <a:lnTo>
                      <a:pt x="658" y="0"/>
                    </a:lnTo>
                    <a:lnTo>
                      <a:pt x="642" y="0"/>
                    </a:lnTo>
                    <a:lnTo>
                      <a:pt x="626" y="10"/>
                    </a:lnTo>
                    <a:lnTo>
                      <a:pt x="610" y="16"/>
                    </a:lnTo>
                    <a:lnTo>
                      <a:pt x="590" y="26"/>
                    </a:lnTo>
                    <a:lnTo>
                      <a:pt x="570" y="48"/>
                    </a:lnTo>
                    <a:lnTo>
                      <a:pt x="564" y="30"/>
                    </a:lnTo>
                    <a:lnTo>
                      <a:pt x="542" y="36"/>
                    </a:lnTo>
                    <a:lnTo>
                      <a:pt x="538" y="20"/>
                    </a:lnTo>
                    <a:lnTo>
                      <a:pt x="506" y="36"/>
                    </a:lnTo>
                    <a:lnTo>
                      <a:pt x="492" y="38"/>
                    </a:lnTo>
                    <a:lnTo>
                      <a:pt x="486" y="52"/>
                    </a:lnTo>
                    <a:lnTo>
                      <a:pt x="470" y="44"/>
                    </a:lnTo>
                    <a:lnTo>
                      <a:pt x="452" y="44"/>
                    </a:lnTo>
                    <a:lnTo>
                      <a:pt x="446" y="58"/>
                    </a:lnTo>
                    <a:lnTo>
                      <a:pt x="432" y="58"/>
                    </a:lnTo>
                    <a:lnTo>
                      <a:pt x="418" y="56"/>
                    </a:lnTo>
                    <a:lnTo>
                      <a:pt x="406" y="74"/>
                    </a:lnTo>
                    <a:lnTo>
                      <a:pt x="394" y="84"/>
                    </a:lnTo>
                    <a:lnTo>
                      <a:pt x="390" y="98"/>
                    </a:lnTo>
                    <a:lnTo>
                      <a:pt x="376" y="100"/>
                    </a:lnTo>
                    <a:lnTo>
                      <a:pt x="372" y="118"/>
                    </a:lnTo>
                    <a:lnTo>
                      <a:pt x="330" y="122"/>
                    </a:lnTo>
                    <a:lnTo>
                      <a:pt x="290" y="120"/>
                    </a:lnTo>
                    <a:lnTo>
                      <a:pt x="280" y="132"/>
                    </a:lnTo>
                    <a:lnTo>
                      <a:pt x="256" y="132"/>
                    </a:lnTo>
                    <a:lnTo>
                      <a:pt x="238" y="142"/>
                    </a:lnTo>
                    <a:lnTo>
                      <a:pt x="200" y="146"/>
                    </a:lnTo>
                    <a:lnTo>
                      <a:pt x="182" y="148"/>
                    </a:lnTo>
                    <a:lnTo>
                      <a:pt x="182" y="164"/>
                    </a:lnTo>
                    <a:lnTo>
                      <a:pt x="166" y="184"/>
                    </a:lnTo>
                    <a:lnTo>
                      <a:pt x="150" y="186"/>
                    </a:lnTo>
                    <a:lnTo>
                      <a:pt x="138" y="202"/>
                    </a:lnTo>
                    <a:lnTo>
                      <a:pt x="134" y="216"/>
                    </a:lnTo>
                    <a:lnTo>
                      <a:pt x="126" y="202"/>
                    </a:lnTo>
                    <a:lnTo>
                      <a:pt x="114" y="212"/>
                    </a:lnTo>
                    <a:lnTo>
                      <a:pt x="96" y="232"/>
                    </a:lnTo>
                    <a:lnTo>
                      <a:pt x="82" y="236"/>
                    </a:lnTo>
                    <a:lnTo>
                      <a:pt x="44" y="220"/>
                    </a:lnTo>
                    <a:lnTo>
                      <a:pt x="34" y="21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6" name="Google Shape;5013;p64">
                <a:extLst>
                  <a:ext uri="{FF2B5EF4-FFF2-40B4-BE49-F238E27FC236}">
                    <a16:creationId xmlns:a16="http://schemas.microsoft.com/office/drawing/2014/main" id="{3B26C0BD-BF79-12E8-AF1A-328E31035A3E}"/>
                  </a:ext>
                </a:extLst>
              </p:cNvPr>
              <p:cNvSpPr/>
              <p:nvPr/>
            </p:nvSpPr>
            <p:spPr>
              <a:xfrm>
                <a:off x="4697413" y="3519488"/>
                <a:ext cx="44450" cy="28575"/>
              </a:xfrm>
              <a:custGeom>
                <a:avLst/>
                <a:gdLst/>
                <a:ahLst/>
                <a:cxnLst/>
                <a:rect l="l" t="t" r="r" b="b"/>
                <a:pathLst>
                  <a:path w="28" h="18" extrusionOk="0">
                    <a:moveTo>
                      <a:pt x="0" y="0"/>
                    </a:moveTo>
                    <a:lnTo>
                      <a:pt x="24" y="2"/>
                    </a:lnTo>
                    <a:lnTo>
                      <a:pt x="28" y="18"/>
                    </a:lnTo>
                    <a:lnTo>
                      <a:pt x="0" y="16"/>
                    </a:lnTo>
                    <a:lnTo>
                      <a:pt x="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7" name="Google Shape;5014;p64">
                <a:extLst>
                  <a:ext uri="{FF2B5EF4-FFF2-40B4-BE49-F238E27FC236}">
                    <a16:creationId xmlns:a16="http://schemas.microsoft.com/office/drawing/2014/main" id="{8E26E142-64A7-3415-1332-8E58FD2119E0}"/>
                  </a:ext>
                </a:extLst>
              </p:cNvPr>
              <p:cNvSpPr/>
              <p:nvPr/>
            </p:nvSpPr>
            <p:spPr>
              <a:xfrm>
                <a:off x="5837238" y="3271838"/>
                <a:ext cx="73025" cy="69850"/>
              </a:xfrm>
              <a:custGeom>
                <a:avLst/>
                <a:gdLst/>
                <a:ahLst/>
                <a:cxnLst/>
                <a:rect l="l" t="t" r="r" b="b"/>
                <a:pathLst>
                  <a:path w="46" h="44" extrusionOk="0">
                    <a:moveTo>
                      <a:pt x="38" y="0"/>
                    </a:moveTo>
                    <a:lnTo>
                      <a:pt x="0" y="24"/>
                    </a:lnTo>
                    <a:lnTo>
                      <a:pt x="2" y="44"/>
                    </a:lnTo>
                    <a:lnTo>
                      <a:pt x="40" y="36"/>
                    </a:lnTo>
                    <a:lnTo>
                      <a:pt x="28" y="16"/>
                    </a:lnTo>
                    <a:lnTo>
                      <a:pt x="46" y="8"/>
                    </a:lnTo>
                    <a:lnTo>
                      <a:pt x="38"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8" name="Google Shape;5015;p64">
                <a:extLst>
                  <a:ext uri="{FF2B5EF4-FFF2-40B4-BE49-F238E27FC236}">
                    <a16:creationId xmlns:a16="http://schemas.microsoft.com/office/drawing/2014/main" id="{5A6D2FB2-6819-B6A3-CC60-F682A50C6CCB}"/>
                  </a:ext>
                </a:extLst>
              </p:cNvPr>
              <p:cNvSpPr/>
              <p:nvPr/>
            </p:nvSpPr>
            <p:spPr>
              <a:xfrm>
                <a:off x="4595813" y="4608513"/>
                <a:ext cx="28575" cy="47625"/>
              </a:xfrm>
              <a:custGeom>
                <a:avLst/>
                <a:gdLst/>
                <a:ahLst/>
                <a:cxnLst/>
                <a:rect l="l" t="t" r="r" b="b"/>
                <a:pathLst>
                  <a:path w="18" h="30" extrusionOk="0">
                    <a:moveTo>
                      <a:pt x="2" y="0"/>
                    </a:moveTo>
                    <a:lnTo>
                      <a:pt x="16" y="2"/>
                    </a:lnTo>
                    <a:lnTo>
                      <a:pt x="18" y="18"/>
                    </a:lnTo>
                    <a:lnTo>
                      <a:pt x="12" y="30"/>
                    </a:lnTo>
                    <a:lnTo>
                      <a:pt x="0" y="30"/>
                    </a:lnTo>
                    <a:lnTo>
                      <a:pt x="2"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49" name="Google Shape;5016;p64">
                <a:extLst>
                  <a:ext uri="{FF2B5EF4-FFF2-40B4-BE49-F238E27FC236}">
                    <a16:creationId xmlns:a16="http://schemas.microsoft.com/office/drawing/2014/main" id="{912DEA80-71F1-E279-64D9-19ED19F30036}"/>
                  </a:ext>
                </a:extLst>
              </p:cNvPr>
              <p:cNvSpPr/>
              <p:nvPr/>
            </p:nvSpPr>
            <p:spPr>
              <a:xfrm>
                <a:off x="5922963" y="4992688"/>
                <a:ext cx="76200" cy="88900"/>
              </a:xfrm>
              <a:custGeom>
                <a:avLst/>
                <a:gdLst/>
                <a:ahLst/>
                <a:cxnLst/>
                <a:rect l="l" t="t" r="r" b="b"/>
                <a:pathLst>
                  <a:path w="48" h="56" extrusionOk="0">
                    <a:moveTo>
                      <a:pt x="10" y="22"/>
                    </a:moveTo>
                    <a:lnTo>
                      <a:pt x="26" y="24"/>
                    </a:lnTo>
                    <a:lnTo>
                      <a:pt x="38" y="40"/>
                    </a:lnTo>
                    <a:lnTo>
                      <a:pt x="48" y="22"/>
                    </a:lnTo>
                    <a:lnTo>
                      <a:pt x="36" y="6"/>
                    </a:lnTo>
                    <a:lnTo>
                      <a:pt x="18" y="0"/>
                    </a:lnTo>
                    <a:lnTo>
                      <a:pt x="4" y="14"/>
                    </a:lnTo>
                    <a:lnTo>
                      <a:pt x="0" y="38"/>
                    </a:lnTo>
                    <a:lnTo>
                      <a:pt x="8" y="54"/>
                    </a:lnTo>
                    <a:lnTo>
                      <a:pt x="28" y="56"/>
                    </a:lnTo>
                    <a:lnTo>
                      <a:pt x="16" y="38"/>
                    </a:lnTo>
                    <a:lnTo>
                      <a:pt x="10" y="2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0" name="Google Shape;5017;p64">
                <a:extLst>
                  <a:ext uri="{FF2B5EF4-FFF2-40B4-BE49-F238E27FC236}">
                    <a16:creationId xmlns:a16="http://schemas.microsoft.com/office/drawing/2014/main" id="{55E4984F-AC8D-3CE3-4CD6-89E7CD72318C}"/>
                  </a:ext>
                </a:extLst>
              </p:cNvPr>
              <p:cNvSpPr/>
              <p:nvPr/>
            </p:nvSpPr>
            <p:spPr>
              <a:xfrm>
                <a:off x="6764338" y="5132388"/>
                <a:ext cx="82550" cy="79375"/>
              </a:xfrm>
              <a:custGeom>
                <a:avLst/>
                <a:gdLst/>
                <a:ahLst/>
                <a:cxnLst/>
                <a:rect l="l" t="t" r="r" b="b"/>
                <a:pathLst>
                  <a:path w="52" h="50" extrusionOk="0">
                    <a:moveTo>
                      <a:pt x="22" y="0"/>
                    </a:moveTo>
                    <a:lnTo>
                      <a:pt x="28" y="6"/>
                    </a:lnTo>
                    <a:lnTo>
                      <a:pt x="22" y="18"/>
                    </a:lnTo>
                    <a:lnTo>
                      <a:pt x="30" y="30"/>
                    </a:lnTo>
                    <a:lnTo>
                      <a:pt x="46" y="14"/>
                    </a:lnTo>
                    <a:lnTo>
                      <a:pt x="52" y="28"/>
                    </a:lnTo>
                    <a:lnTo>
                      <a:pt x="44" y="46"/>
                    </a:lnTo>
                    <a:lnTo>
                      <a:pt x="28" y="50"/>
                    </a:lnTo>
                    <a:lnTo>
                      <a:pt x="8" y="36"/>
                    </a:lnTo>
                    <a:lnTo>
                      <a:pt x="0" y="10"/>
                    </a:lnTo>
                    <a:lnTo>
                      <a:pt x="22"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1" name="Google Shape;5018;p64">
                <a:extLst>
                  <a:ext uri="{FF2B5EF4-FFF2-40B4-BE49-F238E27FC236}">
                    <a16:creationId xmlns:a16="http://schemas.microsoft.com/office/drawing/2014/main" id="{900394F8-CBE4-DFA4-B9CC-DC065A3D3055}"/>
                  </a:ext>
                </a:extLst>
              </p:cNvPr>
              <p:cNvSpPr/>
              <p:nvPr/>
            </p:nvSpPr>
            <p:spPr>
              <a:xfrm>
                <a:off x="6291263" y="4170363"/>
                <a:ext cx="31750" cy="38100"/>
              </a:xfrm>
              <a:custGeom>
                <a:avLst/>
                <a:gdLst/>
                <a:ahLst/>
                <a:cxnLst/>
                <a:rect l="l" t="t" r="r" b="b"/>
                <a:pathLst>
                  <a:path w="20" h="24" extrusionOk="0">
                    <a:moveTo>
                      <a:pt x="2" y="2"/>
                    </a:moveTo>
                    <a:lnTo>
                      <a:pt x="0" y="18"/>
                    </a:lnTo>
                    <a:lnTo>
                      <a:pt x="18" y="24"/>
                    </a:lnTo>
                    <a:lnTo>
                      <a:pt x="20" y="8"/>
                    </a:lnTo>
                    <a:lnTo>
                      <a:pt x="12" y="0"/>
                    </a:lnTo>
                    <a:lnTo>
                      <a:pt x="2" y="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2" name="Google Shape;5019;p64">
                <a:extLst>
                  <a:ext uri="{FF2B5EF4-FFF2-40B4-BE49-F238E27FC236}">
                    <a16:creationId xmlns:a16="http://schemas.microsoft.com/office/drawing/2014/main" id="{A9884F9C-93AE-94C7-D76C-C86EDD737BB2}"/>
                  </a:ext>
                </a:extLst>
              </p:cNvPr>
              <p:cNvSpPr/>
              <p:nvPr/>
            </p:nvSpPr>
            <p:spPr>
              <a:xfrm>
                <a:off x="6469063" y="4319588"/>
                <a:ext cx="44450" cy="34925"/>
              </a:xfrm>
              <a:custGeom>
                <a:avLst/>
                <a:gdLst/>
                <a:ahLst/>
                <a:cxnLst/>
                <a:rect l="l" t="t" r="r" b="b"/>
                <a:pathLst>
                  <a:path w="28" h="22" extrusionOk="0">
                    <a:moveTo>
                      <a:pt x="6" y="2"/>
                    </a:moveTo>
                    <a:lnTo>
                      <a:pt x="0" y="12"/>
                    </a:lnTo>
                    <a:lnTo>
                      <a:pt x="14" y="22"/>
                    </a:lnTo>
                    <a:lnTo>
                      <a:pt x="28" y="12"/>
                    </a:lnTo>
                    <a:lnTo>
                      <a:pt x="12" y="0"/>
                    </a:lnTo>
                    <a:lnTo>
                      <a:pt x="6" y="2"/>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3" name="Google Shape;5020;p64">
                <a:extLst>
                  <a:ext uri="{FF2B5EF4-FFF2-40B4-BE49-F238E27FC236}">
                    <a16:creationId xmlns:a16="http://schemas.microsoft.com/office/drawing/2014/main" id="{0DBDE96D-DC18-5C08-3332-2BB266716800}"/>
                  </a:ext>
                </a:extLst>
              </p:cNvPr>
              <p:cNvSpPr/>
              <p:nvPr/>
            </p:nvSpPr>
            <p:spPr>
              <a:xfrm>
                <a:off x="6497638" y="3767138"/>
                <a:ext cx="66675" cy="117475"/>
              </a:xfrm>
              <a:custGeom>
                <a:avLst/>
                <a:gdLst/>
                <a:ahLst/>
                <a:cxnLst/>
                <a:rect l="l" t="t" r="r" b="b"/>
                <a:pathLst>
                  <a:path w="42" h="74" extrusionOk="0">
                    <a:moveTo>
                      <a:pt x="16" y="0"/>
                    </a:moveTo>
                    <a:lnTo>
                      <a:pt x="42" y="24"/>
                    </a:lnTo>
                    <a:lnTo>
                      <a:pt x="42" y="44"/>
                    </a:lnTo>
                    <a:lnTo>
                      <a:pt x="10" y="74"/>
                    </a:lnTo>
                    <a:lnTo>
                      <a:pt x="0" y="68"/>
                    </a:lnTo>
                    <a:lnTo>
                      <a:pt x="22" y="46"/>
                    </a:lnTo>
                    <a:lnTo>
                      <a:pt x="28" y="28"/>
                    </a:lnTo>
                    <a:lnTo>
                      <a:pt x="12" y="16"/>
                    </a:lnTo>
                    <a:lnTo>
                      <a:pt x="0" y="6"/>
                    </a:lnTo>
                    <a:lnTo>
                      <a:pt x="16"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4" name="Google Shape;5021;p64">
                <a:extLst>
                  <a:ext uri="{FF2B5EF4-FFF2-40B4-BE49-F238E27FC236}">
                    <a16:creationId xmlns:a16="http://schemas.microsoft.com/office/drawing/2014/main" id="{4FF2C147-E109-5EFD-FA70-D5AB48DDAFD1}"/>
                  </a:ext>
                </a:extLst>
              </p:cNvPr>
              <p:cNvSpPr/>
              <p:nvPr/>
            </p:nvSpPr>
            <p:spPr>
              <a:xfrm>
                <a:off x="5986463" y="3471863"/>
                <a:ext cx="88900" cy="47625"/>
              </a:xfrm>
              <a:custGeom>
                <a:avLst/>
                <a:gdLst/>
                <a:ahLst/>
                <a:cxnLst/>
                <a:rect l="l" t="t" r="r" b="b"/>
                <a:pathLst>
                  <a:path w="56" h="30" extrusionOk="0">
                    <a:moveTo>
                      <a:pt x="0" y="4"/>
                    </a:moveTo>
                    <a:lnTo>
                      <a:pt x="6" y="20"/>
                    </a:lnTo>
                    <a:lnTo>
                      <a:pt x="0" y="30"/>
                    </a:lnTo>
                    <a:lnTo>
                      <a:pt x="26" y="30"/>
                    </a:lnTo>
                    <a:lnTo>
                      <a:pt x="26" y="22"/>
                    </a:lnTo>
                    <a:lnTo>
                      <a:pt x="50" y="20"/>
                    </a:lnTo>
                    <a:lnTo>
                      <a:pt x="56" y="8"/>
                    </a:lnTo>
                    <a:lnTo>
                      <a:pt x="48" y="0"/>
                    </a:lnTo>
                    <a:lnTo>
                      <a:pt x="40" y="8"/>
                    </a:lnTo>
                    <a:lnTo>
                      <a:pt x="20" y="10"/>
                    </a:lnTo>
                    <a:lnTo>
                      <a:pt x="18" y="2"/>
                    </a:lnTo>
                    <a:lnTo>
                      <a:pt x="0" y="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5" name="Google Shape;5022;p64">
                <a:extLst>
                  <a:ext uri="{FF2B5EF4-FFF2-40B4-BE49-F238E27FC236}">
                    <a16:creationId xmlns:a16="http://schemas.microsoft.com/office/drawing/2014/main" id="{7046DB28-E254-6E34-ACD2-DF5D91C792D0}"/>
                  </a:ext>
                </a:extLst>
              </p:cNvPr>
              <p:cNvSpPr/>
              <p:nvPr/>
            </p:nvSpPr>
            <p:spPr>
              <a:xfrm>
                <a:off x="6821488" y="4802188"/>
                <a:ext cx="98425" cy="92075"/>
              </a:xfrm>
              <a:custGeom>
                <a:avLst/>
                <a:gdLst/>
                <a:ahLst/>
                <a:cxnLst/>
                <a:rect l="l" t="t" r="r" b="b"/>
                <a:pathLst>
                  <a:path w="62" h="58" extrusionOk="0">
                    <a:moveTo>
                      <a:pt x="4" y="0"/>
                    </a:moveTo>
                    <a:lnTo>
                      <a:pt x="40" y="4"/>
                    </a:lnTo>
                    <a:lnTo>
                      <a:pt x="30" y="28"/>
                    </a:lnTo>
                    <a:lnTo>
                      <a:pt x="62" y="52"/>
                    </a:lnTo>
                    <a:lnTo>
                      <a:pt x="40" y="58"/>
                    </a:lnTo>
                    <a:lnTo>
                      <a:pt x="12" y="24"/>
                    </a:lnTo>
                    <a:lnTo>
                      <a:pt x="0" y="26"/>
                    </a:lnTo>
                    <a:lnTo>
                      <a:pt x="4"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6" name="Google Shape;5023;p64">
                <a:extLst>
                  <a:ext uri="{FF2B5EF4-FFF2-40B4-BE49-F238E27FC236}">
                    <a16:creationId xmlns:a16="http://schemas.microsoft.com/office/drawing/2014/main" id="{734EBEF8-845E-4B39-2803-AA6E9CAD5009}"/>
                  </a:ext>
                </a:extLst>
              </p:cNvPr>
              <p:cNvSpPr/>
              <p:nvPr/>
            </p:nvSpPr>
            <p:spPr>
              <a:xfrm>
                <a:off x="6723063" y="4814888"/>
                <a:ext cx="79375" cy="57150"/>
              </a:xfrm>
              <a:custGeom>
                <a:avLst/>
                <a:gdLst/>
                <a:ahLst/>
                <a:cxnLst/>
                <a:rect l="l" t="t" r="r" b="b"/>
                <a:pathLst>
                  <a:path w="50" h="36" extrusionOk="0">
                    <a:moveTo>
                      <a:pt x="30" y="0"/>
                    </a:moveTo>
                    <a:lnTo>
                      <a:pt x="50" y="16"/>
                    </a:lnTo>
                    <a:lnTo>
                      <a:pt x="28" y="36"/>
                    </a:lnTo>
                    <a:lnTo>
                      <a:pt x="0" y="28"/>
                    </a:lnTo>
                    <a:lnTo>
                      <a:pt x="4" y="2"/>
                    </a:lnTo>
                    <a:lnTo>
                      <a:pt x="12" y="4"/>
                    </a:lnTo>
                    <a:lnTo>
                      <a:pt x="14" y="20"/>
                    </a:lnTo>
                    <a:lnTo>
                      <a:pt x="26" y="20"/>
                    </a:lnTo>
                    <a:lnTo>
                      <a:pt x="30"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7" name="Google Shape;5024;p64">
                <a:extLst>
                  <a:ext uri="{FF2B5EF4-FFF2-40B4-BE49-F238E27FC236}">
                    <a16:creationId xmlns:a16="http://schemas.microsoft.com/office/drawing/2014/main" id="{50BCE126-4557-4ED6-CE59-A3D001C7B68E}"/>
                  </a:ext>
                </a:extLst>
              </p:cNvPr>
              <p:cNvSpPr/>
              <p:nvPr/>
            </p:nvSpPr>
            <p:spPr>
              <a:xfrm>
                <a:off x="6135688" y="3827463"/>
                <a:ext cx="82550" cy="44450"/>
              </a:xfrm>
              <a:custGeom>
                <a:avLst/>
                <a:gdLst/>
                <a:ahLst/>
                <a:cxnLst/>
                <a:rect l="l" t="t" r="r" b="b"/>
                <a:pathLst>
                  <a:path w="52" h="28" extrusionOk="0">
                    <a:moveTo>
                      <a:pt x="24" y="0"/>
                    </a:moveTo>
                    <a:lnTo>
                      <a:pt x="52" y="10"/>
                    </a:lnTo>
                    <a:lnTo>
                      <a:pt x="44" y="28"/>
                    </a:lnTo>
                    <a:lnTo>
                      <a:pt x="20" y="22"/>
                    </a:lnTo>
                    <a:lnTo>
                      <a:pt x="0" y="8"/>
                    </a:lnTo>
                    <a:lnTo>
                      <a:pt x="24"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58" name="Google Shape;5025;p64">
                <a:extLst>
                  <a:ext uri="{FF2B5EF4-FFF2-40B4-BE49-F238E27FC236}">
                    <a16:creationId xmlns:a16="http://schemas.microsoft.com/office/drawing/2014/main" id="{738E5E39-E476-3D8A-A3E1-82D27F47142E}"/>
                  </a:ext>
                </a:extLst>
              </p:cNvPr>
              <p:cNvSpPr/>
              <p:nvPr/>
            </p:nvSpPr>
            <p:spPr>
              <a:xfrm>
                <a:off x="5011738" y="4084638"/>
                <a:ext cx="82550" cy="117475"/>
              </a:xfrm>
              <a:custGeom>
                <a:avLst/>
                <a:gdLst/>
                <a:ahLst/>
                <a:cxnLst/>
                <a:rect l="l" t="t" r="r" b="b"/>
                <a:pathLst>
                  <a:path w="52" h="74" extrusionOk="0">
                    <a:moveTo>
                      <a:pt x="42" y="0"/>
                    </a:moveTo>
                    <a:lnTo>
                      <a:pt x="0" y="12"/>
                    </a:lnTo>
                    <a:lnTo>
                      <a:pt x="2" y="56"/>
                    </a:lnTo>
                    <a:lnTo>
                      <a:pt x="16" y="74"/>
                    </a:lnTo>
                    <a:lnTo>
                      <a:pt x="50" y="68"/>
                    </a:lnTo>
                    <a:lnTo>
                      <a:pt x="52" y="36"/>
                    </a:lnTo>
                    <a:lnTo>
                      <a:pt x="42" y="12"/>
                    </a:lnTo>
                    <a:lnTo>
                      <a:pt x="42" y="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559" name="Google Shape;5026;p64">
              <a:extLst>
                <a:ext uri="{FF2B5EF4-FFF2-40B4-BE49-F238E27FC236}">
                  <a16:creationId xmlns:a16="http://schemas.microsoft.com/office/drawing/2014/main" id="{A34800EE-6523-8483-9021-8DC01ED9593E}"/>
                </a:ext>
              </a:extLst>
            </p:cNvPr>
            <p:cNvSpPr/>
            <p:nvPr/>
          </p:nvSpPr>
          <p:spPr>
            <a:xfrm>
              <a:off x="4683794" y="3940004"/>
              <a:ext cx="1313" cy="1313"/>
            </a:xfrm>
            <a:custGeom>
              <a:avLst/>
              <a:gdLst/>
              <a:ahLst/>
              <a:cxnLst/>
              <a:rect l="l" t="t" r="r" b="b"/>
              <a:pathLst>
                <a:path w="4" h="4" extrusionOk="0">
                  <a:moveTo>
                    <a:pt x="4" y="2"/>
                  </a:moveTo>
                  <a:lnTo>
                    <a:pt x="4" y="2"/>
                  </a:lnTo>
                  <a:lnTo>
                    <a:pt x="2" y="0"/>
                  </a:lnTo>
                  <a:lnTo>
                    <a:pt x="0" y="2"/>
                  </a:lnTo>
                  <a:lnTo>
                    <a:pt x="0" y="2"/>
                  </a:lnTo>
                  <a:lnTo>
                    <a:pt x="0" y="4"/>
                  </a:lnTo>
                  <a:lnTo>
                    <a:pt x="4" y="2"/>
                  </a:lnTo>
                </a:path>
              </a:pathLst>
            </a:custGeom>
            <a:grpFill/>
            <a:ln w="9525" cap="flat" cmpd="sng">
              <a:solidFill>
                <a:schemeClr val="bg2"/>
              </a:solidFill>
              <a:prstDash val="solid"/>
              <a:round/>
              <a:headEnd type="none" w="med" len="med"/>
              <a:tailEnd type="none" w="med" len="med"/>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60" name="Google Shape;5027;p64">
              <a:extLst>
                <a:ext uri="{FF2B5EF4-FFF2-40B4-BE49-F238E27FC236}">
                  <a16:creationId xmlns:a16="http://schemas.microsoft.com/office/drawing/2014/main" id="{977F83AB-CAAD-E937-CD00-C79D7B4BEE39}"/>
                </a:ext>
              </a:extLst>
            </p:cNvPr>
            <p:cNvSpPr/>
            <p:nvPr/>
          </p:nvSpPr>
          <p:spPr>
            <a:xfrm>
              <a:off x="6098324" y="4969468"/>
              <a:ext cx="1487" cy="1487"/>
            </a:xfrm>
            <a:custGeom>
              <a:avLst/>
              <a:gdLst/>
              <a:ahLst/>
              <a:cxnLst/>
              <a:rect l="l" t="t" r="r" b="b"/>
              <a:pathLst>
                <a:path w="1360378" h="1042404" extrusionOk="0">
                  <a:moveTo>
                    <a:pt x="580649" y="901389"/>
                  </a:moveTo>
                  <a:lnTo>
                    <a:pt x="586179" y="912449"/>
                  </a:lnTo>
                  <a:lnTo>
                    <a:pt x="602769" y="920744"/>
                  </a:lnTo>
                  <a:lnTo>
                    <a:pt x="624889" y="920744"/>
                  </a:lnTo>
                  <a:lnTo>
                    <a:pt x="633184" y="934569"/>
                  </a:lnTo>
                  <a:lnTo>
                    <a:pt x="652539" y="937334"/>
                  </a:lnTo>
                  <a:lnTo>
                    <a:pt x="671894" y="945629"/>
                  </a:lnTo>
                  <a:lnTo>
                    <a:pt x="705074" y="942864"/>
                  </a:lnTo>
                  <a:lnTo>
                    <a:pt x="716134" y="959454"/>
                  </a:lnTo>
                  <a:lnTo>
                    <a:pt x="735489" y="959454"/>
                  </a:lnTo>
                  <a:lnTo>
                    <a:pt x="743784" y="964984"/>
                  </a:lnTo>
                  <a:lnTo>
                    <a:pt x="763139" y="973279"/>
                  </a:lnTo>
                  <a:lnTo>
                    <a:pt x="760374" y="995399"/>
                  </a:lnTo>
                  <a:lnTo>
                    <a:pt x="738254" y="1023049"/>
                  </a:lnTo>
                  <a:lnTo>
                    <a:pt x="707839" y="1028579"/>
                  </a:lnTo>
                  <a:lnTo>
                    <a:pt x="694014" y="1034109"/>
                  </a:lnTo>
                  <a:lnTo>
                    <a:pt x="677424" y="1025814"/>
                  </a:lnTo>
                  <a:lnTo>
                    <a:pt x="649774" y="1025814"/>
                  </a:lnTo>
                  <a:lnTo>
                    <a:pt x="630419" y="1025814"/>
                  </a:lnTo>
                  <a:lnTo>
                    <a:pt x="644244" y="1034109"/>
                  </a:lnTo>
                  <a:lnTo>
                    <a:pt x="641479" y="1042404"/>
                  </a:lnTo>
                  <a:lnTo>
                    <a:pt x="619359" y="1031344"/>
                  </a:lnTo>
                  <a:lnTo>
                    <a:pt x="605534" y="1025814"/>
                  </a:lnTo>
                  <a:lnTo>
                    <a:pt x="605534" y="1011989"/>
                  </a:lnTo>
                  <a:lnTo>
                    <a:pt x="586179" y="998164"/>
                  </a:lnTo>
                  <a:lnTo>
                    <a:pt x="575119" y="978809"/>
                  </a:lnTo>
                  <a:lnTo>
                    <a:pt x="564059" y="970514"/>
                  </a:lnTo>
                  <a:lnTo>
                    <a:pt x="555764" y="956689"/>
                  </a:lnTo>
                  <a:lnTo>
                    <a:pt x="566824" y="937334"/>
                  </a:lnTo>
                  <a:lnTo>
                    <a:pt x="569589" y="917979"/>
                  </a:lnTo>
                  <a:lnTo>
                    <a:pt x="572354" y="904154"/>
                  </a:lnTo>
                  <a:close/>
                  <a:moveTo>
                    <a:pt x="395394" y="843324"/>
                  </a:moveTo>
                  <a:lnTo>
                    <a:pt x="395394" y="854384"/>
                  </a:lnTo>
                  <a:lnTo>
                    <a:pt x="406454" y="865444"/>
                  </a:lnTo>
                  <a:lnTo>
                    <a:pt x="414749" y="870974"/>
                  </a:lnTo>
                  <a:lnTo>
                    <a:pt x="400924" y="873739"/>
                  </a:lnTo>
                  <a:lnTo>
                    <a:pt x="387099" y="859914"/>
                  </a:lnTo>
                  <a:lnTo>
                    <a:pt x="387099" y="846089"/>
                  </a:lnTo>
                  <a:close/>
                  <a:moveTo>
                    <a:pt x="456224" y="832264"/>
                  </a:moveTo>
                  <a:lnTo>
                    <a:pt x="478344" y="859914"/>
                  </a:lnTo>
                  <a:lnTo>
                    <a:pt x="508759" y="868209"/>
                  </a:lnTo>
                  <a:lnTo>
                    <a:pt x="539174" y="890329"/>
                  </a:lnTo>
                  <a:lnTo>
                    <a:pt x="552999" y="895859"/>
                  </a:lnTo>
                  <a:lnTo>
                    <a:pt x="547469" y="909684"/>
                  </a:lnTo>
                  <a:lnTo>
                    <a:pt x="522584" y="909684"/>
                  </a:lnTo>
                  <a:lnTo>
                    <a:pt x="511524" y="917979"/>
                  </a:lnTo>
                  <a:lnTo>
                    <a:pt x="497699" y="904154"/>
                  </a:lnTo>
                  <a:lnTo>
                    <a:pt x="467284" y="904154"/>
                  </a:lnTo>
                  <a:lnTo>
                    <a:pt x="461754" y="876504"/>
                  </a:lnTo>
                  <a:lnTo>
                    <a:pt x="450694" y="859914"/>
                  </a:lnTo>
                  <a:lnTo>
                    <a:pt x="453459" y="851619"/>
                  </a:lnTo>
                  <a:close/>
                  <a:moveTo>
                    <a:pt x="976044" y="804614"/>
                  </a:moveTo>
                  <a:lnTo>
                    <a:pt x="1009224" y="807379"/>
                  </a:lnTo>
                  <a:lnTo>
                    <a:pt x="1011989" y="837794"/>
                  </a:lnTo>
                  <a:lnTo>
                    <a:pt x="1014754" y="848854"/>
                  </a:lnTo>
                  <a:lnTo>
                    <a:pt x="1000929" y="865444"/>
                  </a:lnTo>
                  <a:lnTo>
                    <a:pt x="981574" y="895859"/>
                  </a:lnTo>
                  <a:lnTo>
                    <a:pt x="956689" y="917979"/>
                  </a:lnTo>
                  <a:lnTo>
                    <a:pt x="940099" y="929039"/>
                  </a:lnTo>
                  <a:lnTo>
                    <a:pt x="926274" y="945629"/>
                  </a:lnTo>
                  <a:lnTo>
                    <a:pt x="915214" y="945629"/>
                  </a:lnTo>
                  <a:lnTo>
                    <a:pt x="931804" y="917979"/>
                  </a:lnTo>
                  <a:lnTo>
                    <a:pt x="940099" y="909684"/>
                  </a:lnTo>
                  <a:lnTo>
                    <a:pt x="951159" y="898624"/>
                  </a:lnTo>
                  <a:lnTo>
                    <a:pt x="970514" y="882034"/>
                  </a:lnTo>
                  <a:lnTo>
                    <a:pt x="976044" y="857149"/>
                  </a:lnTo>
                  <a:lnTo>
                    <a:pt x="978809" y="832264"/>
                  </a:lnTo>
                  <a:lnTo>
                    <a:pt x="970514" y="810144"/>
                  </a:lnTo>
                  <a:close/>
                  <a:moveTo>
                    <a:pt x="320740" y="694014"/>
                  </a:moveTo>
                  <a:lnTo>
                    <a:pt x="329035" y="696779"/>
                  </a:lnTo>
                  <a:lnTo>
                    <a:pt x="348390" y="721664"/>
                  </a:lnTo>
                  <a:lnTo>
                    <a:pt x="362215" y="735489"/>
                  </a:lnTo>
                  <a:lnTo>
                    <a:pt x="376040" y="743784"/>
                  </a:lnTo>
                  <a:lnTo>
                    <a:pt x="387100" y="743784"/>
                  </a:lnTo>
                  <a:lnTo>
                    <a:pt x="389865" y="763139"/>
                  </a:lnTo>
                  <a:lnTo>
                    <a:pt x="406455" y="779729"/>
                  </a:lnTo>
                  <a:lnTo>
                    <a:pt x="423045" y="804614"/>
                  </a:lnTo>
                  <a:lnTo>
                    <a:pt x="434105" y="812909"/>
                  </a:lnTo>
                  <a:lnTo>
                    <a:pt x="445165" y="832264"/>
                  </a:lnTo>
                  <a:lnTo>
                    <a:pt x="434105" y="843324"/>
                  </a:lnTo>
                  <a:lnTo>
                    <a:pt x="417515" y="840559"/>
                  </a:lnTo>
                  <a:lnTo>
                    <a:pt x="409220" y="821204"/>
                  </a:lnTo>
                  <a:lnTo>
                    <a:pt x="389865" y="812909"/>
                  </a:lnTo>
                  <a:lnTo>
                    <a:pt x="370510" y="782494"/>
                  </a:lnTo>
                  <a:lnTo>
                    <a:pt x="353920" y="763139"/>
                  </a:lnTo>
                  <a:lnTo>
                    <a:pt x="342860" y="765904"/>
                  </a:lnTo>
                  <a:lnTo>
                    <a:pt x="334565" y="738254"/>
                  </a:lnTo>
                  <a:lnTo>
                    <a:pt x="326270" y="716134"/>
                  </a:lnTo>
                  <a:lnTo>
                    <a:pt x="312445" y="707839"/>
                  </a:lnTo>
                  <a:close/>
                  <a:moveTo>
                    <a:pt x="1172358" y="685719"/>
                  </a:moveTo>
                  <a:lnTo>
                    <a:pt x="1180653" y="702309"/>
                  </a:lnTo>
                  <a:lnTo>
                    <a:pt x="1169593" y="710604"/>
                  </a:lnTo>
                  <a:lnTo>
                    <a:pt x="1153003" y="705074"/>
                  </a:lnTo>
                  <a:lnTo>
                    <a:pt x="1153003" y="691249"/>
                  </a:lnTo>
                  <a:lnTo>
                    <a:pt x="1166828" y="691249"/>
                  </a:lnTo>
                  <a:close/>
                  <a:moveTo>
                    <a:pt x="290325" y="658069"/>
                  </a:moveTo>
                  <a:lnTo>
                    <a:pt x="306915" y="666364"/>
                  </a:lnTo>
                  <a:lnTo>
                    <a:pt x="317975" y="674659"/>
                  </a:lnTo>
                  <a:lnTo>
                    <a:pt x="315210" y="685719"/>
                  </a:lnTo>
                  <a:lnTo>
                    <a:pt x="301385" y="674659"/>
                  </a:lnTo>
                  <a:lnTo>
                    <a:pt x="284795" y="671894"/>
                  </a:lnTo>
                  <a:lnTo>
                    <a:pt x="284795" y="660834"/>
                  </a:lnTo>
                  <a:close/>
                  <a:moveTo>
                    <a:pt x="207375" y="483874"/>
                  </a:moveTo>
                  <a:lnTo>
                    <a:pt x="215670" y="492169"/>
                  </a:lnTo>
                  <a:lnTo>
                    <a:pt x="226730" y="514289"/>
                  </a:lnTo>
                  <a:lnTo>
                    <a:pt x="232260" y="522584"/>
                  </a:lnTo>
                  <a:lnTo>
                    <a:pt x="251615" y="544704"/>
                  </a:lnTo>
                  <a:lnTo>
                    <a:pt x="254380" y="577884"/>
                  </a:lnTo>
                  <a:lnTo>
                    <a:pt x="262675" y="605534"/>
                  </a:lnTo>
                  <a:lnTo>
                    <a:pt x="276500" y="624889"/>
                  </a:lnTo>
                  <a:lnTo>
                    <a:pt x="276500" y="641479"/>
                  </a:lnTo>
                  <a:lnTo>
                    <a:pt x="265440" y="641479"/>
                  </a:lnTo>
                  <a:lnTo>
                    <a:pt x="262675" y="624889"/>
                  </a:lnTo>
                  <a:lnTo>
                    <a:pt x="254380" y="616594"/>
                  </a:lnTo>
                  <a:lnTo>
                    <a:pt x="251615" y="600004"/>
                  </a:lnTo>
                  <a:lnTo>
                    <a:pt x="237790" y="588944"/>
                  </a:lnTo>
                  <a:lnTo>
                    <a:pt x="237790" y="550234"/>
                  </a:lnTo>
                  <a:lnTo>
                    <a:pt x="210140" y="525349"/>
                  </a:lnTo>
                  <a:close/>
                  <a:moveTo>
                    <a:pt x="1235953" y="196315"/>
                  </a:moveTo>
                  <a:lnTo>
                    <a:pt x="1249778" y="215670"/>
                  </a:lnTo>
                  <a:lnTo>
                    <a:pt x="1249778" y="246085"/>
                  </a:lnTo>
                  <a:lnTo>
                    <a:pt x="1249778" y="290325"/>
                  </a:lnTo>
                  <a:lnTo>
                    <a:pt x="1247013" y="323505"/>
                  </a:lnTo>
                  <a:lnTo>
                    <a:pt x="1252543" y="362215"/>
                  </a:lnTo>
                  <a:lnTo>
                    <a:pt x="1260838" y="381570"/>
                  </a:lnTo>
                  <a:lnTo>
                    <a:pt x="1255308" y="428575"/>
                  </a:lnTo>
                  <a:lnTo>
                    <a:pt x="1247013" y="456225"/>
                  </a:lnTo>
                  <a:lnTo>
                    <a:pt x="1241483" y="497700"/>
                  </a:lnTo>
                  <a:lnTo>
                    <a:pt x="1233188" y="514290"/>
                  </a:lnTo>
                  <a:lnTo>
                    <a:pt x="1233188" y="497700"/>
                  </a:lnTo>
                  <a:lnTo>
                    <a:pt x="1238718" y="431340"/>
                  </a:lnTo>
                  <a:lnTo>
                    <a:pt x="1238718" y="398160"/>
                  </a:lnTo>
                  <a:lnTo>
                    <a:pt x="1235953" y="359450"/>
                  </a:lnTo>
                  <a:lnTo>
                    <a:pt x="1233188" y="334565"/>
                  </a:lnTo>
                  <a:lnTo>
                    <a:pt x="1238718" y="293090"/>
                  </a:lnTo>
                  <a:lnTo>
                    <a:pt x="1230423" y="243320"/>
                  </a:lnTo>
                  <a:lnTo>
                    <a:pt x="1233188" y="204610"/>
                  </a:lnTo>
                  <a:close/>
                  <a:moveTo>
                    <a:pt x="1341023" y="30415"/>
                  </a:moveTo>
                  <a:lnTo>
                    <a:pt x="1360378" y="35945"/>
                  </a:lnTo>
                  <a:lnTo>
                    <a:pt x="1360378" y="69125"/>
                  </a:lnTo>
                  <a:lnTo>
                    <a:pt x="1352083" y="88480"/>
                  </a:lnTo>
                  <a:lnTo>
                    <a:pt x="1329963" y="124425"/>
                  </a:lnTo>
                  <a:lnTo>
                    <a:pt x="1305078" y="154840"/>
                  </a:lnTo>
                  <a:lnTo>
                    <a:pt x="1277428" y="182490"/>
                  </a:lnTo>
                  <a:lnTo>
                    <a:pt x="1247013" y="193550"/>
                  </a:lnTo>
                  <a:lnTo>
                    <a:pt x="1233188" y="174195"/>
                  </a:lnTo>
                  <a:lnTo>
                    <a:pt x="1244248" y="157605"/>
                  </a:lnTo>
                  <a:lnTo>
                    <a:pt x="1247013" y="118895"/>
                  </a:lnTo>
                  <a:lnTo>
                    <a:pt x="1238718" y="82950"/>
                  </a:lnTo>
                  <a:lnTo>
                    <a:pt x="1230423" y="55300"/>
                  </a:lnTo>
                  <a:lnTo>
                    <a:pt x="1244248" y="38710"/>
                  </a:lnTo>
                  <a:lnTo>
                    <a:pt x="1285723" y="41475"/>
                  </a:lnTo>
                  <a:lnTo>
                    <a:pt x="1307843" y="35945"/>
                  </a:lnTo>
                  <a:close/>
                  <a:moveTo>
                    <a:pt x="107835" y="22120"/>
                  </a:moveTo>
                  <a:lnTo>
                    <a:pt x="121660" y="27650"/>
                  </a:lnTo>
                  <a:lnTo>
                    <a:pt x="113365" y="44240"/>
                  </a:lnTo>
                  <a:lnTo>
                    <a:pt x="107835" y="69125"/>
                  </a:lnTo>
                  <a:lnTo>
                    <a:pt x="105070" y="88480"/>
                  </a:lnTo>
                  <a:lnTo>
                    <a:pt x="116130" y="102305"/>
                  </a:lnTo>
                  <a:lnTo>
                    <a:pt x="113365" y="132720"/>
                  </a:lnTo>
                  <a:lnTo>
                    <a:pt x="121660" y="143780"/>
                  </a:lnTo>
                  <a:lnTo>
                    <a:pt x="127190" y="163135"/>
                  </a:lnTo>
                  <a:lnTo>
                    <a:pt x="121660" y="174195"/>
                  </a:lnTo>
                  <a:lnTo>
                    <a:pt x="110600" y="163135"/>
                  </a:lnTo>
                  <a:lnTo>
                    <a:pt x="116130" y="157605"/>
                  </a:lnTo>
                  <a:lnTo>
                    <a:pt x="110600" y="146545"/>
                  </a:lnTo>
                  <a:lnTo>
                    <a:pt x="107835" y="129955"/>
                  </a:lnTo>
                  <a:lnTo>
                    <a:pt x="107835" y="110600"/>
                  </a:lnTo>
                  <a:lnTo>
                    <a:pt x="105070" y="102305"/>
                  </a:lnTo>
                  <a:lnTo>
                    <a:pt x="96775" y="82950"/>
                  </a:lnTo>
                  <a:lnTo>
                    <a:pt x="99540" y="63595"/>
                  </a:lnTo>
                  <a:lnTo>
                    <a:pt x="105070" y="49770"/>
                  </a:lnTo>
                  <a:lnTo>
                    <a:pt x="96775" y="41475"/>
                  </a:lnTo>
                  <a:lnTo>
                    <a:pt x="85715" y="44240"/>
                  </a:lnTo>
                  <a:lnTo>
                    <a:pt x="82950" y="60830"/>
                  </a:lnTo>
                  <a:lnTo>
                    <a:pt x="85715" y="88480"/>
                  </a:lnTo>
                  <a:lnTo>
                    <a:pt x="94010" y="107835"/>
                  </a:lnTo>
                  <a:lnTo>
                    <a:pt x="91245" y="116130"/>
                  </a:lnTo>
                  <a:lnTo>
                    <a:pt x="82950" y="96775"/>
                  </a:lnTo>
                  <a:lnTo>
                    <a:pt x="60830" y="88480"/>
                  </a:lnTo>
                  <a:lnTo>
                    <a:pt x="49770" y="91245"/>
                  </a:lnTo>
                  <a:lnTo>
                    <a:pt x="63595" y="105070"/>
                  </a:lnTo>
                  <a:lnTo>
                    <a:pt x="49770" y="129955"/>
                  </a:lnTo>
                  <a:lnTo>
                    <a:pt x="60830" y="138250"/>
                  </a:lnTo>
                  <a:lnTo>
                    <a:pt x="60830" y="176960"/>
                  </a:lnTo>
                  <a:lnTo>
                    <a:pt x="55300" y="196315"/>
                  </a:lnTo>
                  <a:lnTo>
                    <a:pt x="91245" y="207375"/>
                  </a:lnTo>
                  <a:lnTo>
                    <a:pt x="94010" y="221200"/>
                  </a:lnTo>
                  <a:lnTo>
                    <a:pt x="110600" y="229495"/>
                  </a:lnTo>
                  <a:lnTo>
                    <a:pt x="116130" y="240555"/>
                  </a:lnTo>
                  <a:lnTo>
                    <a:pt x="138250" y="257145"/>
                  </a:lnTo>
                  <a:lnTo>
                    <a:pt x="146545" y="276500"/>
                  </a:lnTo>
                  <a:lnTo>
                    <a:pt x="157605" y="293090"/>
                  </a:lnTo>
                  <a:lnTo>
                    <a:pt x="188020" y="315210"/>
                  </a:lnTo>
                  <a:lnTo>
                    <a:pt x="188020" y="331800"/>
                  </a:lnTo>
                  <a:lnTo>
                    <a:pt x="196315" y="340095"/>
                  </a:lnTo>
                  <a:lnTo>
                    <a:pt x="196315" y="378804"/>
                  </a:lnTo>
                  <a:lnTo>
                    <a:pt x="196315" y="417514"/>
                  </a:lnTo>
                  <a:lnTo>
                    <a:pt x="201845" y="439634"/>
                  </a:lnTo>
                  <a:lnTo>
                    <a:pt x="199080" y="475579"/>
                  </a:lnTo>
                  <a:lnTo>
                    <a:pt x="176960" y="450694"/>
                  </a:lnTo>
                  <a:lnTo>
                    <a:pt x="163135" y="434104"/>
                  </a:lnTo>
                  <a:lnTo>
                    <a:pt x="138250" y="395394"/>
                  </a:lnTo>
                  <a:lnTo>
                    <a:pt x="124425" y="367744"/>
                  </a:lnTo>
                  <a:lnTo>
                    <a:pt x="99540" y="334565"/>
                  </a:lnTo>
                  <a:lnTo>
                    <a:pt x="88480" y="298620"/>
                  </a:lnTo>
                  <a:lnTo>
                    <a:pt x="69125" y="254380"/>
                  </a:lnTo>
                  <a:lnTo>
                    <a:pt x="47005" y="218435"/>
                  </a:lnTo>
                  <a:lnTo>
                    <a:pt x="22120" y="179725"/>
                  </a:lnTo>
                  <a:lnTo>
                    <a:pt x="5530" y="146545"/>
                  </a:lnTo>
                  <a:lnTo>
                    <a:pt x="0" y="121660"/>
                  </a:lnTo>
                  <a:lnTo>
                    <a:pt x="5530" y="105070"/>
                  </a:lnTo>
                  <a:lnTo>
                    <a:pt x="5530" y="118895"/>
                  </a:lnTo>
                  <a:lnTo>
                    <a:pt x="19355" y="116130"/>
                  </a:lnTo>
                  <a:lnTo>
                    <a:pt x="22120" y="99540"/>
                  </a:lnTo>
                  <a:lnTo>
                    <a:pt x="11060" y="99540"/>
                  </a:lnTo>
                  <a:lnTo>
                    <a:pt x="8295" y="74655"/>
                  </a:lnTo>
                  <a:lnTo>
                    <a:pt x="16590" y="60830"/>
                  </a:lnTo>
                  <a:lnTo>
                    <a:pt x="38710" y="58065"/>
                  </a:lnTo>
                  <a:lnTo>
                    <a:pt x="63595" y="47005"/>
                  </a:lnTo>
                  <a:lnTo>
                    <a:pt x="77420" y="33180"/>
                  </a:lnTo>
                  <a:lnTo>
                    <a:pt x="94010" y="30415"/>
                  </a:lnTo>
                  <a:close/>
                  <a:moveTo>
                    <a:pt x="1108764" y="0"/>
                  </a:moveTo>
                  <a:lnTo>
                    <a:pt x="1128119" y="11060"/>
                  </a:lnTo>
                  <a:lnTo>
                    <a:pt x="1141944" y="11060"/>
                  </a:lnTo>
                  <a:lnTo>
                    <a:pt x="1164064" y="22120"/>
                  </a:lnTo>
                  <a:lnTo>
                    <a:pt x="1180654" y="30415"/>
                  </a:lnTo>
                  <a:lnTo>
                    <a:pt x="1177889" y="35945"/>
                  </a:lnTo>
                  <a:lnTo>
                    <a:pt x="1164064" y="35945"/>
                  </a:lnTo>
                  <a:lnTo>
                    <a:pt x="1139179" y="22120"/>
                  </a:lnTo>
                  <a:lnTo>
                    <a:pt x="1119824" y="16590"/>
                  </a:lnTo>
                  <a:lnTo>
                    <a:pt x="1100469" y="13825"/>
                  </a:lnTo>
                  <a:lnTo>
                    <a:pt x="1086644" y="13825"/>
                  </a:lnTo>
                  <a:lnTo>
                    <a:pt x="1081114" y="1106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61" name="Google Shape;5028;p64">
              <a:extLst>
                <a:ext uri="{FF2B5EF4-FFF2-40B4-BE49-F238E27FC236}">
                  <a16:creationId xmlns:a16="http://schemas.microsoft.com/office/drawing/2014/main" id="{AAF4D15E-DED3-6B4C-12F5-24A7824A1460}"/>
                </a:ext>
              </a:extLst>
            </p:cNvPr>
            <p:cNvSpPr/>
            <p:nvPr/>
          </p:nvSpPr>
          <p:spPr>
            <a:xfrm>
              <a:off x="2966801" y="4505202"/>
              <a:ext cx="29210" cy="12266"/>
            </a:xfrm>
            <a:custGeom>
              <a:avLst/>
              <a:gdLst/>
              <a:ahLst/>
              <a:cxnLst/>
              <a:rect l="l" t="t" r="r" b="b"/>
              <a:pathLst>
                <a:path w="212080" h="89058" extrusionOk="0">
                  <a:moveTo>
                    <a:pt x="212080" y="74378"/>
                  </a:moveTo>
                  <a:lnTo>
                    <a:pt x="212080" y="81718"/>
                  </a:lnTo>
                  <a:lnTo>
                    <a:pt x="212080" y="87590"/>
                  </a:lnTo>
                  <a:lnTo>
                    <a:pt x="210176" y="89058"/>
                  </a:lnTo>
                  <a:lnTo>
                    <a:pt x="208276" y="84654"/>
                  </a:lnTo>
                  <a:lnTo>
                    <a:pt x="208276" y="78782"/>
                  </a:lnTo>
                  <a:lnTo>
                    <a:pt x="208276" y="75846"/>
                  </a:lnTo>
                  <a:close/>
                  <a:moveTo>
                    <a:pt x="154066" y="64590"/>
                  </a:moveTo>
                  <a:lnTo>
                    <a:pt x="154066" y="72420"/>
                  </a:lnTo>
                  <a:lnTo>
                    <a:pt x="154066" y="77118"/>
                  </a:lnTo>
                  <a:lnTo>
                    <a:pt x="147980" y="80250"/>
                  </a:lnTo>
                  <a:lnTo>
                    <a:pt x="146458" y="73986"/>
                  </a:lnTo>
                  <a:lnTo>
                    <a:pt x="147980" y="70854"/>
                  </a:lnTo>
                  <a:lnTo>
                    <a:pt x="152544" y="70854"/>
                  </a:lnTo>
                  <a:close/>
                  <a:moveTo>
                    <a:pt x="7132" y="40126"/>
                  </a:moveTo>
                  <a:lnTo>
                    <a:pt x="8560" y="40126"/>
                  </a:lnTo>
                  <a:lnTo>
                    <a:pt x="5706" y="44692"/>
                  </a:lnTo>
                  <a:lnTo>
                    <a:pt x="5706" y="50782"/>
                  </a:lnTo>
                  <a:lnTo>
                    <a:pt x="2852" y="53826"/>
                  </a:lnTo>
                  <a:lnTo>
                    <a:pt x="0" y="53826"/>
                  </a:lnTo>
                  <a:lnTo>
                    <a:pt x="1426" y="49258"/>
                  </a:lnTo>
                  <a:lnTo>
                    <a:pt x="2852" y="41648"/>
                  </a:lnTo>
                  <a:lnTo>
                    <a:pt x="4280" y="41648"/>
                  </a:lnTo>
                  <a:close/>
                  <a:moveTo>
                    <a:pt x="23688" y="14680"/>
                  </a:moveTo>
                  <a:lnTo>
                    <a:pt x="26802" y="17692"/>
                  </a:lnTo>
                  <a:lnTo>
                    <a:pt x="29914" y="22208"/>
                  </a:lnTo>
                  <a:lnTo>
                    <a:pt x="34582" y="26724"/>
                  </a:lnTo>
                  <a:lnTo>
                    <a:pt x="37694" y="26724"/>
                  </a:lnTo>
                  <a:lnTo>
                    <a:pt x="40808" y="28230"/>
                  </a:lnTo>
                  <a:lnTo>
                    <a:pt x="45476" y="26724"/>
                  </a:lnTo>
                  <a:lnTo>
                    <a:pt x="50144" y="22208"/>
                  </a:lnTo>
                  <a:lnTo>
                    <a:pt x="51700" y="19196"/>
                  </a:lnTo>
                  <a:lnTo>
                    <a:pt x="53256" y="22208"/>
                  </a:lnTo>
                  <a:lnTo>
                    <a:pt x="51700" y="28230"/>
                  </a:lnTo>
                  <a:lnTo>
                    <a:pt x="48588" y="31242"/>
                  </a:lnTo>
                  <a:lnTo>
                    <a:pt x="45476" y="31242"/>
                  </a:lnTo>
                  <a:lnTo>
                    <a:pt x="40808" y="31242"/>
                  </a:lnTo>
                  <a:lnTo>
                    <a:pt x="37694" y="32748"/>
                  </a:lnTo>
                  <a:lnTo>
                    <a:pt x="36138" y="29736"/>
                  </a:lnTo>
                  <a:lnTo>
                    <a:pt x="33026" y="34254"/>
                  </a:lnTo>
                  <a:lnTo>
                    <a:pt x="29914" y="34254"/>
                  </a:lnTo>
                  <a:lnTo>
                    <a:pt x="28358" y="32748"/>
                  </a:lnTo>
                  <a:lnTo>
                    <a:pt x="23688" y="31242"/>
                  </a:lnTo>
                  <a:lnTo>
                    <a:pt x="19020" y="32748"/>
                  </a:lnTo>
                  <a:lnTo>
                    <a:pt x="22132" y="26724"/>
                  </a:lnTo>
                  <a:lnTo>
                    <a:pt x="20576" y="23714"/>
                  </a:lnTo>
                  <a:lnTo>
                    <a:pt x="22132" y="19196"/>
                  </a:lnTo>
                  <a:close/>
                  <a:moveTo>
                    <a:pt x="71516" y="0"/>
                  </a:moveTo>
                  <a:lnTo>
                    <a:pt x="79124" y="0"/>
                  </a:lnTo>
                  <a:lnTo>
                    <a:pt x="85212" y="0"/>
                  </a:lnTo>
                  <a:lnTo>
                    <a:pt x="86732" y="0"/>
                  </a:lnTo>
                  <a:lnTo>
                    <a:pt x="92820" y="4566"/>
                  </a:lnTo>
                  <a:lnTo>
                    <a:pt x="94342" y="9134"/>
                  </a:lnTo>
                  <a:lnTo>
                    <a:pt x="95862" y="12178"/>
                  </a:lnTo>
                  <a:lnTo>
                    <a:pt x="98906" y="18268"/>
                  </a:lnTo>
                  <a:lnTo>
                    <a:pt x="95862" y="19790"/>
                  </a:lnTo>
                  <a:lnTo>
                    <a:pt x="94342" y="19790"/>
                  </a:lnTo>
                  <a:lnTo>
                    <a:pt x="92304" y="23866"/>
                  </a:lnTo>
                  <a:lnTo>
                    <a:pt x="98318" y="22346"/>
                  </a:lnTo>
                  <a:lnTo>
                    <a:pt x="99836" y="14680"/>
                  </a:lnTo>
                  <a:lnTo>
                    <a:pt x="101354" y="16214"/>
                  </a:lnTo>
                  <a:lnTo>
                    <a:pt x="105906" y="19280"/>
                  </a:lnTo>
                  <a:lnTo>
                    <a:pt x="111974" y="19280"/>
                  </a:lnTo>
                  <a:lnTo>
                    <a:pt x="116526" y="20812"/>
                  </a:lnTo>
                  <a:lnTo>
                    <a:pt x="118044" y="20812"/>
                  </a:lnTo>
                  <a:lnTo>
                    <a:pt x="125632" y="22346"/>
                  </a:lnTo>
                  <a:lnTo>
                    <a:pt x="127908" y="22346"/>
                  </a:lnTo>
                  <a:lnTo>
                    <a:pt x="129424" y="26946"/>
                  </a:lnTo>
                  <a:lnTo>
                    <a:pt x="135494" y="31546"/>
                  </a:lnTo>
                  <a:lnTo>
                    <a:pt x="140046" y="33078"/>
                  </a:lnTo>
                  <a:lnTo>
                    <a:pt x="144598" y="36144"/>
                  </a:lnTo>
                  <a:lnTo>
                    <a:pt x="149150" y="39212"/>
                  </a:lnTo>
                  <a:lnTo>
                    <a:pt x="155220" y="39212"/>
                  </a:lnTo>
                  <a:lnTo>
                    <a:pt x="159772" y="42278"/>
                  </a:lnTo>
                  <a:lnTo>
                    <a:pt x="158254" y="45344"/>
                  </a:lnTo>
                  <a:lnTo>
                    <a:pt x="156738" y="51476"/>
                  </a:lnTo>
                  <a:lnTo>
                    <a:pt x="153702" y="53010"/>
                  </a:lnTo>
                  <a:lnTo>
                    <a:pt x="153702" y="56076"/>
                  </a:lnTo>
                  <a:lnTo>
                    <a:pt x="150668" y="60676"/>
                  </a:lnTo>
                  <a:lnTo>
                    <a:pt x="146116" y="60676"/>
                  </a:lnTo>
                  <a:lnTo>
                    <a:pt x="141564" y="59142"/>
                  </a:lnTo>
                  <a:lnTo>
                    <a:pt x="143080" y="54544"/>
                  </a:lnTo>
                  <a:lnTo>
                    <a:pt x="141564" y="48410"/>
                  </a:lnTo>
                  <a:lnTo>
                    <a:pt x="138528" y="48410"/>
                  </a:lnTo>
                  <a:lnTo>
                    <a:pt x="137012" y="46878"/>
                  </a:lnTo>
                  <a:lnTo>
                    <a:pt x="133976" y="45344"/>
                  </a:lnTo>
                  <a:lnTo>
                    <a:pt x="130942" y="48410"/>
                  </a:lnTo>
                  <a:lnTo>
                    <a:pt x="127908" y="45344"/>
                  </a:lnTo>
                  <a:lnTo>
                    <a:pt x="130942" y="42278"/>
                  </a:lnTo>
                  <a:lnTo>
                    <a:pt x="133976" y="40744"/>
                  </a:lnTo>
                  <a:lnTo>
                    <a:pt x="133976" y="36144"/>
                  </a:lnTo>
                  <a:lnTo>
                    <a:pt x="132460" y="33078"/>
                  </a:lnTo>
                  <a:lnTo>
                    <a:pt x="130942" y="31546"/>
                  </a:lnTo>
                  <a:lnTo>
                    <a:pt x="129424" y="30012"/>
                  </a:lnTo>
                  <a:lnTo>
                    <a:pt x="127148" y="31546"/>
                  </a:lnTo>
                  <a:lnTo>
                    <a:pt x="132460" y="36144"/>
                  </a:lnTo>
                  <a:lnTo>
                    <a:pt x="130942" y="40744"/>
                  </a:lnTo>
                  <a:lnTo>
                    <a:pt x="125632" y="40744"/>
                  </a:lnTo>
                  <a:lnTo>
                    <a:pt x="119562" y="42278"/>
                  </a:lnTo>
                  <a:lnTo>
                    <a:pt x="118044" y="39212"/>
                  </a:lnTo>
                  <a:lnTo>
                    <a:pt x="113492" y="37678"/>
                  </a:lnTo>
                  <a:lnTo>
                    <a:pt x="107422" y="37678"/>
                  </a:lnTo>
                  <a:lnTo>
                    <a:pt x="102870" y="34612"/>
                  </a:lnTo>
                  <a:lnTo>
                    <a:pt x="98318" y="37678"/>
                  </a:lnTo>
                  <a:lnTo>
                    <a:pt x="95284" y="33078"/>
                  </a:lnTo>
                  <a:lnTo>
                    <a:pt x="92248" y="28478"/>
                  </a:lnTo>
                  <a:lnTo>
                    <a:pt x="92248" y="23980"/>
                  </a:lnTo>
                  <a:lnTo>
                    <a:pt x="91298" y="25880"/>
                  </a:lnTo>
                  <a:lnTo>
                    <a:pt x="88254" y="27402"/>
                  </a:lnTo>
                  <a:lnTo>
                    <a:pt x="80646" y="22834"/>
                  </a:lnTo>
                  <a:lnTo>
                    <a:pt x="76082" y="19790"/>
                  </a:lnTo>
                  <a:lnTo>
                    <a:pt x="68474" y="16746"/>
                  </a:lnTo>
                  <a:lnTo>
                    <a:pt x="69994" y="13702"/>
                  </a:lnTo>
                  <a:lnTo>
                    <a:pt x="68474" y="7612"/>
                  </a:lnTo>
                  <a:lnTo>
                    <a:pt x="65430" y="10656"/>
                  </a:lnTo>
                  <a:lnTo>
                    <a:pt x="60864" y="13702"/>
                  </a:lnTo>
                  <a:lnTo>
                    <a:pt x="65430" y="4566"/>
                  </a:lnTo>
                  <a:lnTo>
                    <a:pt x="68474" y="3044"/>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sp>
          <p:nvSpPr>
            <p:cNvPr id="562" name="Google Shape;5029;p64">
              <a:extLst>
                <a:ext uri="{FF2B5EF4-FFF2-40B4-BE49-F238E27FC236}">
                  <a16:creationId xmlns:a16="http://schemas.microsoft.com/office/drawing/2014/main" id="{1B3D4C23-D8DE-6852-7461-AD6737DD4E26}"/>
                </a:ext>
              </a:extLst>
            </p:cNvPr>
            <p:cNvSpPr/>
            <p:nvPr/>
          </p:nvSpPr>
          <p:spPr>
            <a:xfrm>
              <a:off x="2826120" y="4387664"/>
              <a:ext cx="135441" cy="141800"/>
            </a:xfrm>
            <a:custGeom>
              <a:avLst/>
              <a:gdLst/>
              <a:ahLst/>
              <a:cxnLst/>
              <a:rect l="l" t="t" r="r" b="b"/>
              <a:pathLst>
                <a:path w="983364" h="1029528" extrusionOk="0">
                  <a:moveTo>
                    <a:pt x="930094" y="959068"/>
                  </a:moveTo>
                  <a:lnTo>
                    <a:pt x="937716" y="960598"/>
                  </a:lnTo>
                  <a:lnTo>
                    <a:pt x="937716" y="974384"/>
                  </a:lnTo>
                  <a:lnTo>
                    <a:pt x="937716" y="985108"/>
                  </a:lnTo>
                  <a:lnTo>
                    <a:pt x="930094" y="991234"/>
                  </a:lnTo>
                  <a:lnTo>
                    <a:pt x="927046" y="997362"/>
                  </a:lnTo>
                  <a:lnTo>
                    <a:pt x="920948" y="1005020"/>
                  </a:lnTo>
                  <a:lnTo>
                    <a:pt x="919424" y="1011148"/>
                  </a:lnTo>
                  <a:lnTo>
                    <a:pt x="913328" y="1020338"/>
                  </a:lnTo>
                  <a:lnTo>
                    <a:pt x="898084" y="1021870"/>
                  </a:lnTo>
                  <a:lnTo>
                    <a:pt x="885890" y="1021870"/>
                  </a:lnTo>
                  <a:lnTo>
                    <a:pt x="873696" y="1026466"/>
                  </a:lnTo>
                  <a:lnTo>
                    <a:pt x="859978" y="1026466"/>
                  </a:lnTo>
                  <a:lnTo>
                    <a:pt x="852358" y="1023402"/>
                  </a:lnTo>
                  <a:lnTo>
                    <a:pt x="840164" y="1023402"/>
                  </a:lnTo>
                  <a:lnTo>
                    <a:pt x="840164" y="1029528"/>
                  </a:lnTo>
                  <a:lnTo>
                    <a:pt x="832542" y="1029528"/>
                  </a:lnTo>
                  <a:lnTo>
                    <a:pt x="831018" y="1020338"/>
                  </a:lnTo>
                  <a:lnTo>
                    <a:pt x="826444" y="1012680"/>
                  </a:lnTo>
                  <a:lnTo>
                    <a:pt x="835590" y="1009616"/>
                  </a:lnTo>
                  <a:lnTo>
                    <a:pt x="835590" y="1001956"/>
                  </a:lnTo>
                  <a:lnTo>
                    <a:pt x="834066" y="997362"/>
                  </a:lnTo>
                  <a:lnTo>
                    <a:pt x="841688" y="995830"/>
                  </a:lnTo>
                  <a:lnTo>
                    <a:pt x="850832" y="992766"/>
                  </a:lnTo>
                  <a:lnTo>
                    <a:pt x="855406" y="986640"/>
                  </a:lnTo>
                  <a:lnTo>
                    <a:pt x="863026" y="985108"/>
                  </a:lnTo>
                  <a:lnTo>
                    <a:pt x="872172" y="983576"/>
                  </a:lnTo>
                  <a:lnTo>
                    <a:pt x="876746" y="975916"/>
                  </a:lnTo>
                  <a:lnTo>
                    <a:pt x="879794" y="983576"/>
                  </a:lnTo>
                  <a:lnTo>
                    <a:pt x="888940" y="989702"/>
                  </a:lnTo>
                  <a:lnTo>
                    <a:pt x="896560" y="991234"/>
                  </a:lnTo>
                  <a:lnTo>
                    <a:pt x="905706" y="986640"/>
                  </a:lnTo>
                  <a:lnTo>
                    <a:pt x="916376" y="983576"/>
                  </a:lnTo>
                  <a:lnTo>
                    <a:pt x="920948" y="974384"/>
                  </a:lnTo>
                  <a:lnTo>
                    <a:pt x="928570" y="965194"/>
                  </a:lnTo>
                  <a:close/>
                  <a:moveTo>
                    <a:pt x="934386" y="922858"/>
                  </a:moveTo>
                  <a:lnTo>
                    <a:pt x="940568" y="922858"/>
                  </a:lnTo>
                  <a:lnTo>
                    <a:pt x="948296" y="927360"/>
                  </a:lnTo>
                  <a:lnTo>
                    <a:pt x="952932" y="930360"/>
                  </a:lnTo>
                  <a:lnTo>
                    <a:pt x="948296" y="933362"/>
                  </a:lnTo>
                  <a:lnTo>
                    <a:pt x="937478" y="937864"/>
                  </a:lnTo>
                  <a:lnTo>
                    <a:pt x="931296" y="945366"/>
                  </a:lnTo>
                  <a:lnTo>
                    <a:pt x="928204" y="936362"/>
                  </a:lnTo>
                  <a:lnTo>
                    <a:pt x="928204" y="927360"/>
                  </a:lnTo>
                  <a:close/>
                  <a:moveTo>
                    <a:pt x="918108" y="768232"/>
                  </a:moveTo>
                  <a:lnTo>
                    <a:pt x="921144" y="769750"/>
                  </a:lnTo>
                  <a:lnTo>
                    <a:pt x="925696" y="772784"/>
                  </a:lnTo>
                  <a:lnTo>
                    <a:pt x="931766" y="771266"/>
                  </a:lnTo>
                  <a:lnTo>
                    <a:pt x="937838" y="774300"/>
                  </a:lnTo>
                  <a:lnTo>
                    <a:pt x="940872" y="778850"/>
                  </a:lnTo>
                  <a:lnTo>
                    <a:pt x="943908" y="775818"/>
                  </a:lnTo>
                  <a:lnTo>
                    <a:pt x="954530" y="777334"/>
                  </a:lnTo>
                  <a:lnTo>
                    <a:pt x="963636" y="780368"/>
                  </a:lnTo>
                  <a:lnTo>
                    <a:pt x="971224" y="784918"/>
                  </a:lnTo>
                  <a:lnTo>
                    <a:pt x="975778" y="786436"/>
                  </a:lnTo>
                  <a:lnTo>
                    <a:pt x="980330" y="787952"/>
                  </a:lnTo>
                  <a:lnTo>
                    <a:pt x="983364" y="790986"/>
                  </a:lnTo>
                  <a:lnTo>
                    <a:pt x="980330" y="795536"/>
                  </a:lnTo>
                  <a:lnTo>
                    <a:pt x="972742" y="798570"/>
                  </a:lnTo>
                  <a:lnTo>
                    <a:pt x="965154" y="790986"/>
                  </a:lnTo>
                  <a:lnTo>
                    <a:pt x="957566" y="786436"/>
                  </a:lnTo>
                  <a:lnTo>
                    <a:pt x="949978" y="786436"/>
                  </a:lnTo>
                  <a:lnTo>
                    <a:pt x="943908" y="787952"/>
                  </a:lnTo>
                  <a:lnTo>
                    <a:pt x="942390" y="784918"/>
                  </a:lnTo>
                  <a:lnTo>
                    <a:pt x="936320" y="784918"/>
                  </a:lnTo>
                  <a:lnTo>
                    <a:pt x="934802" y="787952"/>
                  </a:lnTo>
                  <a:lnTo>
                    <a:pt x="930250" y="787952"/>
                  </a:lnTo>
                  <a:lnTo>
                    <a:pt x="922662" y="784918"/>
                  </a:lnTo>
                  <a:lnTo>
                    <a:pt x="916590" y="784918"/>
                  </a:lnTo>
                  <a:lnTo>
                    <a:pt x="912038" y="784918"/>
                  </a:lnTo>
                  <a:lnTo>
                    <a:pt x="915074" y="777334"/>
                  </a:lnTo>
                  <a:lnTo>
                    <a:pt x="918108" y="775818"/>
                  </a:lnTo>
                  <a:close/>
                  <a:moveTo>
                    <a:pt x="735146" y="734960"/>
                  </a:moveTo>
                  <a:lnTo>
                    <a:pt x="733720" y="742488"/>
                  </a:lnTo>
                  <a:lnTo>
                    <a:pt x="728014" y="748510"/>
                  </a:lnTo>
                  <a:lnTo>
                    <a:pt x="726588" y="753026"/>
                  </a:lnTo>
                  <a:lnTo>
                    <a:pt x="723734" y="754532"/>
                  </a:lnTo>
                  <a:lnTo>
                    <a:pt x="723734" y="747004"/>
                  </a:lnTo>
                  <a:lnTo>
                    <a:pt x="728014" y="743992"/>
                  </a:lnTo>
                  <a:lnTo>
                    <a:pt x="732292" y="736464"/>
                  </a:lnTo>
                  <a:close/>
                  <a:moveTo>
                    <a:pt x="803456" y="719300"/>
                  </a:moveTo>
                  <a:lnTo>
                    <a:pt x="806474" y="723862"/>
                  </a:lnTo>
                  <a:lnTo>
                    <a:pt x="801946" y="729946"/>
                  </a:lnTo>
                  <a:lnTo>
                    <a:pt x="804964" y="737548"/>
                  </a:lnTo>
                  <a:lnTo>
                    <a:pt x="804964" y="745152"/>
                  </a:lnTo>
                  <a:lnTo>
                    <a:pt x="804964" y="752756"/>
                  </a:lnTo>
                  <a:lnTo>
                    <a:pt x="803456" y="757318"/>
                  </a:lnTo>
                  <a:lnTo>
                    <a:pt x="803456" y="764920"/>
                  </a:lnTo>
                  <a:lnTo>
                    <a:pt x="798928" y="769482"/>
                  </a:lnTo>
                  <a:lnTo>
                    <a:pt x="791382" y="771002"/>
                  </a:lnTo>
                  <a:lnTo>
                    <a:pt x="789872" y="775564"/>
                  </a:lnTo>
                  <a:lnTo>
                    <a:pt x="785344" y="781648"/>
                  </a:lnTo>
                  <a:lnTo>
                    <a:pt x="785344" y="786210"/>
                  </a:lnTo>
                  <a:lnTo>
                    <a:pt x="780816" y="790772"/>
                  </a:lnTo>
                  <a:lnTo>
                    <a:pt x="773270" y="792292"/>
                  </a:lnTo>
                  <a:lnTo>
                    <a:pt x="767234" y="796854"/>
                  </a:lnTo>
                  <a:lnTo>
                    <a:pt x="762706" y="795334"/>
                  </a:lnTo>
                  <a:lnTo>
                    <a:pt x="758178" y="801416"/>
                  </a:lnTo>
                  <a:lnTo>
                    <a:pt x="755160" y="805978"/>
                  </a:lnTo>
                  <a:lnTo>
                    <a:pt x="750632" y="810540"/>
                  </a:lnTo>
                  <a:lnTo>
                    <a:pt x="747614" y="812060"/>
                  </a:lnTo>
                  <a:lnTo>
                    <a:pt x="743086" y="812060"/>
                  </a:lnTo>
                  <a:lnTo>
                    <a:pt x="740068" y="815102"/>
                  </a:lnTo>
                  <a:lnTo>
                    <a:pt x="737048" y="818144"/>
                  </a:lnTo>
                  <a:lnTo>
                    <a:pt x="737048" y="813582"/>
                  </a:lnTo>
                  <a:lnTo>
                    <a:pt x="737048" y="807498"/>
                  </a:lnTo>
                  <a:lnTo>
                    <a:pt x="743086" y="807498"/>
                  </a:lnTo>
                  <a:lnTo>
                    <a:pt x="746104" y="807498"/>
                  </a:lnTo>
                  <a:lnTo>
                    <a:pt x="749122" y="807498"/>
                  </a:lnTo>
                  <a:lnTo>
                    <a:pt x="750632" y="807498"/>
                  </a:lnTo>
                  <a:lnTo>
                    <a:pt x="752142" y="799896"/>
                  </a:lnTo>
                  <a:lnTo>
                    <a:pt x="753650" y="795334"/>
                  </a:lnTo>
                  <a:lnTo>
                    <a:pt x="758178" y="792292"/>
                  </a:lnTo>
                  <a:lnTo>
                    <a:pt x="762706" y="790772"/>
                  </a:lnTo>
                  <a:lnTo>
                    <a:pt x="767234" y="786210"/>
                  </a:lnTo>
                  <a:lnTo>
                    <a:pt x="770252" y="784688"/>
                  </a:lnTo>
                  <a:lnTo>
                    <a:pt x="765724" y="780126"/>
                  </a:lnTo>
                  <a:lnTo>
                    <a:pt x="773270" y="778606"/>
                  </a:lnTo>
                  <a:lnTo>
                    <a:pt x="779308" y="778606"/>
                  </a:lnTo>
                  <a:lnTo>
                    <a:pt x="782326" y="774044"/>
                  </a:lnTo>
                  <a:lnTo>
                    <a:pt x="782326" y="767962"/>
                  </a:lnTo>
                  <a:lnTo>
                    <a:pt x="789872" y="766442"/>
                  </a:lnTo>
                  <a:lnTo>
                    <a:pt x="794400" y="764920"/>
                  </a:lnTo>
                  <a:lnTo>
                    <a:pt x="800438" y="761880"/>
                  </a:lnTo>
                  <a:lnTo>
                    <a:pt x="800438" y="752756"/>
                  </a:lnTo>
                  <a:lnTo>
                    <a:pt x="795910" y="748194"/>
                  </a:lnTo>
                  <a:lnTo>
                    <a:pt x="792890" y="743632"/>
                  </a:lnTo>
                  <a:lnTo>
                    <a:pt x="788364" y="746672"/>
                  </a:lnTo>
                  <a:lnTo>
                    <a:pt x="783836" y="745152"/>
                  </a:lnTo>
                  <a:lnTo>
                    <a:pt x="777798" y="742110"/>
                  </a:lnTo>
                  <a:lnTo>
                    <a:pt x="774780" y="740590"/>
                  </a:lnTo>
                  <a:lnTo>
                    <a:pt x="779308" y="736028"/>
                  </a:lnTo>
                  <a:lnTo>
                    <a:pt x="780816" y="732986"/>
                  </a:lnTo>
                  <a:lnTo>
                    <a:pt x="779308" y="729946"/>
                  </a:lnTo>
                  <a:lnTo>
                    <a:pt x="786854" y="729946"/>
                  </a:lnTo>
                  <a:lnTo>
                    <a:pt x="789872" y="725384"/>
                  </a:lnTo>
                  <a:lnTo>
                    <a:pt x="792890" y="723862"/>
                  </a:lnTo>
                  <a:lnTo>
                    <a:pt x="797418" y="723862"/>
                  </a:lnTo>
                  <a:close/>
                  <a:moveTo>
                    <a:pt x="729060" y="702664"/>
                  </a:moveTo>
                  <a:lnTo>
                    <a:pt x="732102" y="702664"/>
                  </a:lnTo>
                  <a:lnTo>
                    <a:pt x="736668" y="704202"/>
                  </a:lnTo>
                  <a:lnTo>
                    <a:pt x="742754" y="707278"/>
                  </a:lnTo>
                  <a:lnTo>
                    <a:pt x="748842" y="711892"/>
                  </a:lnTo>
                  <a:lnTo>
                    <a:pt x="750362" y="718042"/>
                  </a:lnTo>
                  <a:lnTo>
                    <a:pt x="757972" y="716504"/>
                  </a:lnTo>
                  <a:lnTo>
                    <a:pt x="757972" y="719580"/>
                  </a:lnTo>
                  <a:lnTo>
                    <a:pt x="762536" y="721118"/>
                  </a:lnTo>
                  <a:lnTo>
                    <a:pt x="767102" y="718042"/>
                  </a:lnTo>
                  <a:lnTo>
                    <a:pt x="774710" y="721118"/>
                  </a:lnTo>
                  <a:lnTo>
                    <a:pt x="780796" y="724194"/>
                  </a:lnTo>
                  <a:lnTo>
                    <a:pt x="774710" y="725732"/>
                  </a:lnTo>
                  <a:lnTo>
                    <a:pt x="771666" y="730346"/>
                  </a:lnTo>
                  <a:lnTo>
                    <a:pt x="767102" y="733422"/>
                  </a:lnTo>
                  <a:lnTo>
                    <a:pt x="764058" y="731884"/>
                  </a:lnTo>
                  <a:lnTo>
                    <a:pt x="764058" y="728808"/>
                  </a:lnTo>
                  <a:lnTo>
                    <a:pt x="759492" y="730346"/>
                  </a:lnTo>
                  <a:lnTo>
                    <a:pt x="757972" y="731884"/>
                  </a:lnTo>
                  <a:lnTo>
                    <a:pt x="757972" y="734960"/>
                  </a:lnTo>
                  <a:lnTo>
                    <a:pt x="756450" y="734960"/>
                  </a:lnTo>
                  <a:lnTo>
                    <a:pt x="754928" y="733422"/>
                  </a:lnTo>
                  <a:lnTo>
                    <a:pt x="753406" y="731884"/>
                  </a:lnTo>
                  <a:lnTo>
                    <a:pt x="753406" y="728808"/>
                  </a:lnTo>
                  <a:lnTo>
                    <a:pt x="748842" y="727270"/>
                  </a:lnTo>
                  <a:lnTo>
                    <a:pt x="744276" y="725732"/>
                  </a:lnTo>
                  <a:lnTo>
                    <a:pt x="738190" y="728808"/>
                  </a:lnTo>
                  <a:lnTo>
                    <a:pt x="735146" y="728808"/>
                  </a:lnTo>
                  <a:lnTo>
                    <a:pt x="736668" y="722656"/>
                  </a:lnTo>
                  <a:lnTo>
                    <a:pt x="733624" y="718042"/>
                  </a:lnTo>
                  <a:lnTo>
                    <a:pt x="729060" y="713428"/>
                  </a:lnTo>
                  <a:lnTo>
                    <a:pt x="727538" y="705740"/>
                  </a:lnTo>
                  <a:close/>
                  <a:moveTo>
                    <a:pt x="813250" y="656668"/>
                  </a:moveTo>
                  <a:lnTo>
                    <a:pt x="823652" y="656668"/>
                  </a:lnTo>
                  <a:lnTo>
                    <a:pt x="828110" y="658234"/>
                  </a:lnTo>
                  <a:lnTo>
                    <a:pt x="834054" y="658234"/>
                  </a:lnTo>
                  <a:lnTo>
                    <a:pt x="834054" y="662932"/>
                  </a:lnTo>
                  <a:lnTo>
                    <a:pt x="828110" y="661366"/>
                  </a:lnTo>
                  <a:lnTo>
                    <a:pt x="823652" y="664496"/>
                  </a:lnTo>
                  <a:lnTo>
                    <a:pt x="817708" y="662932"/>
                  </a:lnTo>
                  <a:lnTo>
                    <a:pt x="814736" y="662932"/>
                  </a:lnTo>
                  <a:lnTo>
                    <a:pt x="810278" y="659800"/>
                  </a:lnTo>
                  <a:close/>
                  <a:moveTo>
                    <a:pt x="572696" y="561740"/>
                  </a:moveTo>
                  <a:lnTo>
                    <a:pt x="584814" y="567806"/>
                  </a:lnTo>
                  <a:lnTo>
                    <a:pt x="584814" y="576904"/>
                  </a:lnTo>
                  <a:lnTo>
                    <a:pt x="589356" y="581452"/>
                  </a:lnTo>
                  <a:lnTo>
                    <a:pt x="592386" y="586002"/>
                  </a:lnTo>
                  <a:lnTo>
                    <a:pt x="593900" y="592068"/>
                  </a:lnTo>
                  <a:lnTo>
                    <a:pt x="598444" y="604198"/>
                  </a:lnTo>
                  <a:lnTo>
                    <a:pt x="606018" y="613296"/>
                  </a:lnTo>
                  <a:lnTo>
                    <a:pt x="609046" y="620878"/>
                  </a:lnTo>
                  <a:lnTo>
                    <a:pt x="612076" y="628460"/>
                  </a:lnTo>
                  <a:lnTo>
                    <a:pt x="612076" y="634524"/>
                  </a:lnTo>
                  <a:lnTo>
                    <a:pt x="610562" y="640590"/>
                  </a:lnTo>
                  <a:lnTo>
                    <a:pt x="613590" y="646656"/>
                  </a:lnTo>
                  <a:lnTo>
                    <a:pt x="618134" y="654238"/>
                  </a:lnTo>
                  <a:lnTo>
                    <a:pt x="622678" y="658786"/>
                  </a:lnTo>
                  <a:lnTo>
                    <a:pt x="630252" y="658786"/>
                  </a:lnTo>
                  <a:lnTo>
                    <a:pt x="636310" y="661820"/>
                  </a:lnTo>
                  <a:lnTo>
                    <a:pt x="642368" y="669400"/>
                  </a:lnTo>
                  <a:lnTo>
                    <a:pt x="646912" y="676982"/>
                  </a:lnTo>
                  <a:lnTo>
                    <a:pt x="648426" y="681532"/>
                  </a:lnTo>
                  <a:lnTo>
                    <a:pt x="648426" y="689114"/>
                  </a:lnTo>
                  <a:lnTo>
                    <a:pt x="651456" y="695178"/>
                  </a:lnTo>
                  <a:lnTo>
                    <a:pt x="651456" y="699728"/>
                  </a:lnTo>
                  <a:lnTo>
                    <a:pt x="642368" y="696696"/>
                  </a:lnTo>
                  <a:lnTo>
                    <a:pt x="640854" y="689114"/>
                  </a:lnTo>
                  <a:lnTo>
                    <a:pt x="636310" y="678500"/>
                  </a:lnTo>
                  <a:lnTo>
                    <a:pt x="631766" y="669400"/>
                  </a:lnTo>
                  <a:lnTo>
                    <a:pt x="627222" y="664852"/>
                  </a:lnTo>
                  <a:lnTo>
                    <a:pt x="618134" y="661820"/>
                  </a:lnTo>
                  <a:lnTo>
                    <a:pt x="609046" y="658786"/>
                  </a:lnTo>
                  <a:lnTo>
                    <a:pt x="601474" y="654238"/>
                  </a:lnTo>
                  <a:lnTo>
                    <a:pt x="595416" y="651204"/>
                  </a:lnTo>
                  <a:lnTo>
                    <a:pt x="589356" y="646656"/>
                  </a:lnTo>
                  <a:lnTo>
                    <a:pt x="592386" y="645140"/>
                  </a:lnTo>
                  <a:lnTo>
                    <a:pt x="599960" y="646656"/>
                  </a:lnTo>
                  <a:lnTo>
                    <a:pt x="604504" y="649688"/>
                  </a:lnTo>
                  <a:lnTo>
                    <a:pt x="609046" y="652722"/>
                  </a:lnTo>
                  <a:lnTo>
                    <a:pt x="612076" y="655754"/>
                  </a:lnTo>
                  <a:lnTo>
                    <a:pt x="616620" y="657270"/>
                  </a:lnTo>
                  <a:lnTo>
                    <a:pt x="612076" y="651204"/>
                  </a:lnTo>
                  <a:lnTo>
                    <a:pt x="609046" y="648172"/>
                  </a:lnTo>
                  <a:lnTo>
                    <a:pt x="604504" y="643622"/>
                  </a:lnTo>
                  <a:lnTo>
                    <a:pt x="602988" y="640590"/>
                  </a:lnTo>
                  <a:lnTo>
                    <a:pt x="601474" y="636042"/>
                  </a:lnTo>
                  <a:lnTo>
                    <a:pt x="604504" y="633008"/>
                  </a:lnTo>
                  <a:lnTo>
                    <a:pt x="609046" y="628460"/>
                  </a:lnTo>
                  <a:lnTo>
                    <a:pt x="606018" y="626944"/>
                  </a:lnTo>
                  <a:lnTo>
                    <a:pt x="604504" y="622394"/>
                  </a:lnTo>
                  <a:lnTo>
                    <a:pt x="604504" y="616328"/>
                  </a:lnTo>
                  <a:lnTo>
                    <a:pt x="599960" y="616328"/>
                  </a:lnTo>
                  <a:lnTo>
                    <a:pt x="599960" y="611780"/>
                  </a:lnTo>
                  <a:lnTo>
                    <a:pt x="595416" y="607230"/>
                  </a:lnTo>
                  <a:lnTo>
                    <a:pt x="590872" y="602682"/>
                  </a:lnTo>
                  <a:lnTo>
                    <a:pt x="587842" y="596616"/>
                  </a:lnTo>
                  <a:lnTo>
                    <a:pt x="584814" y="590550"/>
                  </a:lnTo>
                  <a:lnTo>
                    <a:pt x="584814" y="586002"/>
                  </a:lnTo>
                  <a:lnTo>
                    <a:pt x="581784" y="578420"/>
                  </a:lnTo>
                  <a:lnTo>
                    <a:pt x="581784" y="575388"/>
                  </a:lnTo>
                  <a:lnTo>
                    <a:pt x="577240" y="578420"/>
                  </a:lnTo>
                  <a:lnTo>
                    <a:pt x="577240" y="572354"/>
                  </a:lnTo>
                  <a:lnTo>
                    <a:pt x="577240" y="567806"/>
                  </a:lnTo>
                  <a:lnTo>
                    <a:pt x="572696" y="572354"/>
                  </a:lnTo>
                  <a:lnTo>
                    <a:pt x="569668" y="567806"/>
                  </a:lnTo>
                  <a:lnTo>
                    <a:pt x="572696" y="566290"/>
                  </a:lnTo>
                  <a:close/>
                  <a:moveTo>
                    <a:pt x="645808" y="554888"/>
                  </a:moveTo>
                  <a:lnTo>
                    <a:pt x="654724" y="554888"/>
                  </a:lnTo>
                  <a:lnTo>
                    <a:pt x="656210" y="559660"/>
                  </a:lnTo>
                  <a:lnTo>
                    <a:pt x="656210" y="564430"/>
                  </a:lnTo>
                  <a:lnTo>
                    <a:pt x="653238" y="567612"/>
                  </a:lnTo>
                  <a:lnTo>
                    <a:pt x="651752" y="567612"/>
                  </a:lnTo>
                  <a:lnTo>
                    <a:pt x="647294" y="564430"/>
                  </a:lnTo>
                  <a:lnTo>
                    <a:pt x="641350" y="564430"/>
                  </a:lnTo>
                  <a:lnTo>
                    <a:pt x="638378" y="566020"/>
                  </a:lnTo>
                  <a:lnTo>
                    <a:pt x="632436" y="566020"/>
                  </a:lnTo>
                  <a:lnTo>
                    <a:pt x="632436" y="562840"/>
                  </a:lnTo>
                  <a:lnTo>
                    <a:pt x="635406" y="559660"/>
                  </a:lnTo>
                  <a:lnTo>
                    <a:pt x="641350" y="556480"/>
                  </a:lnTo>
                  <a:close/>
                  <a:moveTo>
                    <a:pt x="457446" y="553912"/>
                  </a:moveTo>
                  <a:lnTo>
                    <a:pt x="466515" y="561460"/>
                  </a:lnTo>
                  <a:lnTo>
                    <a:pt x="471049" y="561460"/>
                  </a:lnTo>
                  <a:lnTo>
                    <a:pt x="478606" y="569010"/>
                  </a:lnTo>
                  <a:lnTo>
                    <a:pt x="489186" y="575050"/>
                  </a:lnTo>
                  <a:lnTo>
                    <a:pt x="499766" y="585618"/>
                  </a:lnTo>
                  <a:lnTo>
                    <a:pt x="504300" y="591658"/>
                  </a:lnTo>
                  <a:lnTo>
                    <a:pt x="510346" y="596188"/>
                  </a:lnTo>
                  <a:lnTo>
                    <a:pt x="517904" y="596188"/>
                  </a:lnTo>
                  <a:lnTo>
                    <a:pt x="529996" y="600718"/>
                  </a:lnTo>
                  <a:lnTo>
                    <a:pt x="539064" y="602228"/>
                  </a:lnTo>
                  <a:lnTo>
                    <a:pt x="542088" y="605248"/>
                  </a:lnTo>
                  <a:lnTo>
                    <a:pt x="536042" y="606756"/>
                  </a:lnTo>
                  <a:lnTo>
                    <a:pt x="528484" y="605248"/>
                  </a:lnTo>
                  <a:lnTo>
                    <a:pt x="522438" y="600718"/>
                  </a:lnTo>
                  <a:lnTo>
                    <a:pt x="517904" y="600718"/>
                  </a:lnTo>
                  <a:lnTo>
                    <a:pt x="517904" y="602228"/>
                  </a:lnTo>
                  <a:lnTo>
                    <a:pt x="510346" y="599208"/>
                  </a:lnTo>
                  <a:lnTo>
                    <a:pt x="507324" y="597698"/>
                  </a:lnTo>
                  <a:lnTo>
                    <a:pt x="504300" y="597698"/>
                  </a:lnTo>
                  <a:lnTo>
                    <a:pt x="496744" y="597698"/>
                  </a:lnTo>
                  <a:lnTo>
                    <a:pt x="490698" y="597698"/>
                  </a:lnTo>
                  <a:lnTo>
                    <a:pt x="490698" y="593168"/>
                  </a:lnTo>
                  <a:lnTo>
                    <a:pt x="498256" y="593168"/>
                  </a:lnTo>
                  <a:lnTo>
                    <a:pt x="496744" y="590148"/>
                  </a:lnTo>
                  <a:lnTo>
                    <a:pt x="495232" y="587128"/>
                  </a:lnTo>
                  <a:lnTo>
                    <a:pt x="493720" y="585618"/>
                  </a:lnTo>
                  <a:lnTo>
                    <a:pt x="484652" y="582598"/>
                  </a:lnTo>
                  <a:lnTo>
                    <a:pt x="477095" y="578070"/>
                  </a:lnTo>
                  <a:lnTo>
                    <a:pt x="468026" y="573540"/>
                  </a:lnTo>
                  <a:lnTo>
                    <a:pt x="461980" y="575050"/>
                  </a:lnTo>
                  <a:lnTo>
                    <a:pt x="463492" y="570520"/>
                  </a:lnTo>
                  <a:lnTo>
                    <a:pt x="463492" y="565990"/>
                  </a:lnTo>
                  <a:lnTo>
                    <a:pt x="461980" y="562970"/>
                  </a:lnTo>
                  <a:lnTo>
                    <a:pt x="458957" y="561460"/>
                  </a:lnTo>
                  <a:close/>
                  <a:moveTo>
                    <a:pt x="700616" y="483448"/>
                  </a:moveTo>
                  <a:lnTo>
                    <a:pt x="707932" y="483448"/>
                  </a:lnTo>
                  <a:lnTo>
                    <a:pt x="712322" y="488120"/>
                  </a:lnTo>
                  <a:lnTo>
                    <a:pt x="712322" y="494348"/>
                  </a:lnTo>
                  <a:lnTo>
                    <a:pt x="710858" y="502132"/>
                  </a:lnTo>
                  <a:lnTo>
                    <a:pt x="707932" y="508360"/>
                  </a:lnTo>
                  <a:lnTo>
                    <a:pt x="706470" y="514588"/>
                  </a:lnTo>
                  <a:lnTo>
                    <a:pt x="702080" y="516146"/>
                  </a:lnTo>
                  <a:lnTo>
                    <a:pt x="699154" y="514588"/>
                  </a:lnTo>
                  <a:lnTo>
                    <a:pt x="693300" y="517702"/>
                  </a:lnTo>
                  <a:lnTo>
                    <a:pt x="694764" y="509918"/>
                  </a:lnTo>
                  <a:lnTo>
                    <a:pt x="697690" y="505246"/>
                  </a:lnTo>
                  <a:lnTo>
                    <a:pt x="700616" y="499018"/>
                  </a:lnTo>
                  <a:lnTo>
                    <a:pt x="697690" y="495904"/>
                  </a:lnTo>
                  <a:lnTo>
                    <a:pt x="697690" y="492790"/>
                  </a:lnTo>
                  <a:lnTo>
                    <a:pt x="699154" y="488120"/>
                  </a:lnTo>
                  <a:close/>
                  <a:moveTo>
                    <a:pt x="171478" y="460940"/>
                  </a:moveTo>
                  <a:lnTo>
                    <a:pt x="178794" y="460940"/>
                  </a:lnTo>
                  <a:lnTo>
                    <a:pt x="175868" y="468688"/>
                  </a:lnTo>
                  <a:lnTo>
                    <a:pt x="172941" y="473336"/>
                  </a:lnTo>
                  <a:lnTo>
                    <a:pt x="168552" y="477984"/>
                  </a:lnTo>
                  <a:lnTo>
                    <a:pt x="161236" y="479534"/>
                  </a:lnTo>
                  <a:lnTo>
                    <a:pt x="159773" y="474886"/>
                  </a:lnTo>
                  <a:lnTo>
                    <a:pt x="168552" y="471786"/>
                  </a:lnTo>
                  <a:lnTo>
                    <a:pt x="171478" y="465588"/>
                  </a:lnTo>
                  <a:close/>
                  <a:moveTo>
                    <a:pt x="203631" y="455068"/>
                  </a:moveTo>
                  <a:lnTo>
                    <a:pt x="205157" y="458110"/>
                  </a:lnTo>
                  <a:lnTo>
                    <a:pt x="209735" y="465712"/>
                  </a:lnTo>
                  <a:lnTo>
                    <a:pt x="212787" y="465712"/>
                  </a:lnTo>
                  <a:lnTo>
                    <a:pt x="211261" y="473316"/>
                  </a:lnTo>
                  <a:lnTo>
                    <a:pt x="206683" y="477878"/>
                  </a:lnTo>
                  <a:lnTo>
                    <a:pt x="206683" y="480918"/>
                  </a:lnTo>
                  <a:lnTo>
                    <a:pt x="203631" y="483960"/>
                  </a:lnTo>
                  <a:lnTo>
                    <a:pt x="202105" y="488522"/>
                  </a:lnTo>
                  <a:lnTo>
                    <a:pt x="199053" y="496126"/>
                  </a:lnTo>
                  <a:lnTo>
                    <a:pt x="196000" y="499166"/>
                  </a:lnTo>
                  <a:lnTo>
                    <a:pt x="188370" y="496126"/>
                  </a:lnTo>
                  <a:lnTo>
                    <a:pt x="188370" y="499166"/>
                  </a:lnTo>
                  <a:lnTo>
                    <a:pt x="188370" y="500688"/>
                  </a:lnTo>
                  <a:lnTo>
                    <a:pt x="200579" y="500688"/>
                  </a:lnTo>
                  <a:lnTo>
                    <a:pt x="203631" y="493084"/>
                  </a:lnTo>
                  <a:lnTo>
                    <a:pt x="206683" y="485480"/>
                  </a:lnTo>
                  <a:lnTo>
                    <a:pt x="208209" y="483960"/>
                  </a:lnTo>
                  <a:lnTo>
                    <a:pt x="211261" y="482440"/>
                  </a:lnTo>
                  <a:lnTo>
                    <a:pt x="212787" y="474836"/>
                  </a:lnTo>
                  <a:lnTo>
                    <a:pt x="215839" y="471796"/>
                  </a:lnTo>
                  <a:lnTo>
                    <a:pt x="220418" y="477878"/>
                  </a:lnTo>
                  <a:lnTo>
                    <a:pt x="224996" y="488522"/>
                  </a:lnTo>
                  <a:lnTo>
                    <a:pt x="226522" y="499166"/>
                  </a:lnTo>
                  <a:lnTo>
                    <a:pt x="228048" y="512852"/>
                  </a:lnTo>
                  <a:lnTo>
                    <a:pt x="231100" y="520456"/>
                  </a:lnTo>
                  <a:lnTo>
                    <a:pt x="231100" y="528060"/>
                  </a:lnTo>
                  <a:lnTo>
                    <a:pt x="231100" y="535662"/>
                  </a:lnTo>
                  <a:lnTo>
                    <a:pt x="228048" y="546306"/>
                  </a:lnTo>
                  <a:lnTo>
                    <a:pt x="223470" y="552390"/>
                  </a:lnTo>
                  <a:lnTo>
                    <a:pt x="214313" y="553910"/>
                  </a:lnTo>
                  <a:lnTo>
                    <a:pt x="208209" y="553910"/>
                  </a:lnTo>
                  <a:lnTo>
                    <a:pt x="203631" y="552390"/>
                  </a:lnTo>
                  <a:lnTo>
                    <a:pt x="196000" y="550868"/>
                  </a:lnTo>
                  <a:lnTo>
                    <a:pt x="189896" y="550868"/>
                  </a:lnTo>
                  <a:lnTo>
                    <a:pt x="188370" y="546306"/>
                  </a:lnTo>
                  <a:lnTo>
                    <a:pt x="189896" y="541744"/>
                  </a:lnTo>
                  <a:lnTo>
                    <a:pt x="186844" y="537182"/>
                  </a:lnTo>
                  <a:lnTo>
                    <a:pt x="186844" y="534142"/>
                  </a:lnTo>
                  <a:lnTo>
                    <a:pt x="186844" y="526538"/>
                  </a:lnTo>
                  <a:lnTo>
                    <a:pt x="188370" y="521976"/>
                  </a:lnTo>
                  <a:lnTo>
                    <a:pt x="183792" y="517414"/>
                  </a:lnTo>
                  <a:lnTo>
                    <a:pt x="182266" y="512852"/>
                  </a:lnTo>
                  <a:lnTo>
                    <a:pt x="180740" y="508290"/>
                  </a:lnTo>
                  <a:lnTo>
                    <a:pt x="180740" y="506770"/>
                  </a:lnTo>
                  <a:lnTo>
                    <a:pt x="182266" y="505250"/>
                  </a:lnTo>
                  <a:lnTo>
                    <a:pt x="180740" y="505250"/>
                  </a:lnTo>
                  <a:lnTo>
                    <a:pt x="177688" y="502208"/>
                  </a:lnTo>
                  <a:lnTo>
                    <a:pt x="176161" y="499166"/>
                  </a:lnTo>
                  <a:lnTo>
                    <a:pt x="176161" y="496126"/>
                  </a:lnTo>
                  <a:lnTo>
                    <a:pt x="170057" y="494604"/>
                  </a:lnTo>
                  <a:lnTo>
                    <a:pt x="165479" y="493084"/>
                  </a:lnTo>
                  <a:lnTo>
                    <a:pt x="165479" y="490042"/>
                  </a:lnTo>
                  <a:lnTo>
                    <a:pt x="171583" y="488522"/>
                  </a:lnTo>
                  <a:lnTo>
                    <a:pt x="168531" y="482440"/>
                  </a:lnTo>
                  <a:lnTo>
                    <a:pt x="174635" y="480918"/>
                  </a:lnTo>
                  <a:lnTo>
                    <a:pt x="179214" y="477878"/>
                  </a:lnTo>
                  <a:lnTo>
                    <a:pt x="179214" y="471796"/>
                  </a:lnTo>
                  <a:lnTo>
                    <a:pt x="182266" y="465712"/>
                  </a:lnTo>
                  <a:lnTo>
                    <a:pt x="189896" y="462672"/>
                  </a:lnTo>
                  <a:lnTo>
                    <a:pt x="197526" y="458110"/>
                  </a:lnTo>
                  <a:close/>
                  <a:moveTo>
                    <a:pt x="511712" y="387542"/>
                  </a:moveTo>
                  <a:lnTo>
                    <a:pt x="517846" y="389060"/>
                  </a:lnTo>
                  <a:lnTo>
                    <a:pt x="519380" y="392094"/>
                  </a:lnTo>
                  <a:lnTo>
                    <a:pt x="525512" y="396646"/>
                  </a:lnTo>
                  <a:lnTo>
                    <a:pt x="527046" y="402714"/>
                  </a:lnTo>
                  <a:lnTo>
                    <a:pt x="528578" y="407266"/>
                  </a:lnTo>
                  <a:lnTo>
                    <a:pt x="530112" y="411818"/>
                  </a:lnTo>
                  <a:lnTo>
                    <a:pt x="533178" y="414852"/>
                  </a:lnTo>
                  <a:lnTo>
                    <a:pt x="534712" y="414852"/>
                  </a:lnTo>
                  <a:lnTo>
                    <a:pt x="536246" y="416370"/>
                  </a:lnTo>
                  <a:lnTo>
                    <a:pt x="536246" y="417888"/>
                  </a:lnTo>
                  <a:lnTo>
                    <a:pt x="537778" y="420922"/>
                  </a:lnTo>
                  <a:lnTo>
                    <a:pt x="542378" y="428508"/>
                  </a:lnTo>
                  <a:lnTo>
                    <a:pt x="545446" y="433818"/>
                  </a:lnTo>
                  <a:lnTo>
                    <a:pt x="550046" y="439888"/>
                  </a:lnTo>
                  <a:lnTo>
                    <a:pt x="554646" y="442922"/>
                  </a:lnTo>
                  <a:lnTo>
                    <a:pt x="562312" y="448992"/>
                  </a:lnTo>
                  <a:lnTo>
                    <a:pt x="565378" y="455060"/>
                  </a:lnTo>
                  <a:lnTo>
                    <a:pt x="569978" y="461130"/>
                  </a:lnTo>
                  <a:lnTo>
                    <a:pt x="573044" y="468716"/>
                  </a:lnTo>
                  <a:lnTo>
                    <a:pt x="576112" y="474786"/>
                  </a:lnTo>
                  <a:lnTo>
                    <a:pt x="579178" y="480854"/>
                  </a:lnTo>
                  <a:lnTo>
                    <a:pt x="574578" y="480854"/>
                  </a:lnTo>
                  <a:lnTo>
                    <a:pt x="569978" y="480854"/>
                  </a:lnTo>
                  <a:lnTo>
                    <a:pt x="563844" y="480854"/>
                  </a:lnTo>
                  <a:lnTo>
                    <a:pt x="560778" y="482372"/>
                  </a:lnTo>
                  <a:lnTo>
                    <a:pt x="557712" y="479336"/>
                  </a:lnTo>
                  <a:lnTo>
                    <a:pt x="556178" y="482372"/>
                  </a:lnTo>
                  <a:lnTo>
                    <a:pt x="554646" y="483888"/>
                  </a:lnTo>
                  <a:lnTo>
                    <a:pt x="553112" y="485406"/>
                  </a:lnTo>
                  <a:lnTo>
                    <a:pt x="546978" y="485406"/>
                  </a:lnTo>
                  <a:lnTo>
                    <a:pt x="543912" y="485406"/>
                  </a:lnTo>
                  <a:lnTo>
                    <a:pt x="540846" y="477820"/>
                  </a:lnTo>
                  <a:lnTo>
                    <a:pt x="548512" y="473268"/>
                  </a:lnTo>
                  <a:lnTo>
                    <a:pt x="559246" y="471750"/>
                  </a:lnTo>
                  <a:lnTo>
                    <a:pt x="560778" y="468716"/>
                  </a:lnTo>
                  <a:lnTo>
                    <a:pt x="562312" y="464164"/>
                  </a:lnTo>
                  <a:lnTo>
                    <a:pt x="560778" y="459612"/>
                  </a:lnTo>
                  <a:lnTo>
                    <a:pt x="557712" y="455060"/>
                  </a:lnTo>
                  <a:lnTo>
                    <a:pt x="551578" y="455060"/>
                  </a:lnTo>
                  <a:lnTo>
                    <a:pt x="550046" y="450508"/>
                  </a:lnTo>
                  <a:lnTo>
                    <a:pt x="545446" y="442922"/>
                  </a:lnTo>
                  <a:lnTo>
                    <a:pt x="539312" y="433060"/>
                  </a:lnTo>
                  <a:lnTo>
                    <a:pt x="537778" y="426992"/>
                  </a:lnTo>
                  <a:lnTo>
                    <a:pt x="533178" y="420922"/>
                  </a:lnTo>
                  <a:lnTo>
                    <a:pt x="530112" y="416370"/>
                  </a:lnTo>
                  <a:lnTo>
                    <a:pt x="522446" y="414852"/>
                  </a:lnTo>
                  <a:lnTo>
                    <a:pt x="523978" y="410302"/>
                  </a:lnTo>
                  <a:lnTo>
                    <a:pt x="522446" y="405750"/>
                  </a:lnTo>
                  <a:lnTo>
                    <a:pt x="519380" y="402714"/>
                  </a:lnTo>
                  <a:lnTo>
                    <a:pt x="516312" y="398162"/>
                  </a:lnTo>
                  <a:lnTo>
                    <a:pt x="513246" y="396646"/>
                  </a:lnTo>
                  <a:lnTo>
                    <a:pt x="510180" y="396646"/>
                  </a:lnTo>
                  <a:lnTo>
                    <a:pt x="508646" y="392094"/>
                  </a:lnTo>
                  <a:lnTo>
                    <a:pt x="504046" y="389060"/>
                  </a:lnTo>
                  <a:close/>
                  <a:moveTo>
                    <a:pt x="255007" y="320996"/>
                  </a:moveTo>
                  <a:lnTo>
                    <a:pt x="262549" y="320996"/>
                  </a:lnTo>
                  <a:lnTo>
                    <a:pt x="267075" y="323930"/>
                  </a:lnTo>
                  <a:lnTo>
                    <a:pt x="270092" y="328334"/>
                  </a:lnTo>
                  <a:lnTo>
                    <a:pt x="261041" y="332738"/>
                  </a:lnTo>
                  <a:lnTo>
                    <a:pt x="253498" y="334206"/>
                  </a:lnTo>
                  <a:lnTo>
                    <a:pt x="245956" y="338610"/>
                  </a:lnTo>
                  <a:lnTo>
                    <a:pt x="239922" y="338610"/>
                  </a:lnTo>
                  <a:lnTo>
                    <a:pt x="232379" y="334206"/>
                  </a:lnTo>
                  <a:lnTo>
                    <a:pt x="226345" y="334206"/>
                  </a:lnTo>
                  <a:lnTo>
                    <a:pt x="226345" y="328334"/>
                  </a:lnTo>
                  <a:lnTo>
                    <a:pt x="233888" y="323930"/>
                  </a:lnTo>
                  <a:lnTo>
                    <a:pt x="239922" y="323930"/>
                  </a:lnTo>
                  <a:close/>
                  <a:moveTo>
                    <a:pt x="124516" y="299464"/>
                  </a:moveTo>
                  <a:lnTo>
                    <a:pt x="132113" y="304004"/>
                  </a:lnTo>
                  <a:lnTo>
                    <a:pt x="136671" y="313086"/>
                  </a:lnTo>
                  <a:lnTo>
                    <a:pt x="141228" y="310060"/>
                  </a:lnTo>
                  <a:lnTo>
                    <a:pt x="147306" y="307032"/>
                  </a:lnTo>
                  <a:lnTo>
                    <a:pt x="154902" y="313086"/>
                  </a:lnTo>
                  <a:lnTo>
                    <a:pt x="151864" y="317628"/>
                  </a:lnTo>
                  <a:lnTo>
                    <a:pt x="159460" y="320654"/>
                  </a:lnTo>
                  <a:lnTo>
                    <a:pt x="159460" y="322168"/>
                  </a:lnTo>
                  <a:lnTo>
                    <a:pt x="159460" y="325196"/>
                  </a:lnTo>
                  <a:lnTo>
                    <a:pt x="156422" y="332764"/>
                  </a:lnTo>
                  <a:lnTo>
                    <a:pt x="159460" y="341846"/>
                  </a:lnTo>
                  <a:lnTo>
                    <a:pt x="162499" y="337304"/>
                  </a:lnTo>
                  <a:lnTo>
                    <a:pt x="162499" y="344872"/>
                  </a:lnTo>
                  <a:lnTo>
                    <a:pt x="164018" y="350928"/>
                  </a:lnTo>
                  <a:lnTo>
                    <a:pt x="168576" y="361522"/>
                  </a:lnTo>
                  <a:lnTo>
                    <a:pt x="174654" y="366064"/>
                  </a:lnTo>
                  <a:lnTo>
                    <a:pt x="180731" y="372118"/>
                  </a:lnTo>
                  <a:lnTo>
                    <a:pt x="186808" y="379686"/>
                  </a:lnTo>
                  <a:lnTo>
                    <a:pt x="192886" y="387254"/>
                  </a:lnTo>
                  <a:lnTo>
                    <a:pt x="194405" y="394822"/>
                  </a:lnTo>
                  <a:lnTo>
                    <a:pt x="192886" y="402390"/>
                  </a:lnTo>
                  <a:lnTo>
                    <a:pt x="194405" y="408446"/>
                  </a:lnTo>
                  <a:lnTo>
                    <a:pt x="194405" y="414500"/>
                  </a:lnTo>
                  <a:lnTo>
                    <a:pt x="198963" y="417526"/>
                  </a:lnTo>
                  <a:lnTo>
                    <a:pt x="198963" y="425096"/>
                  </a:lnTo>
                  <a:lnTo>
                    <a:pt x="192886" y="428122"/>
                  </a:lnTo>
                  <a:lnTo>
                    <a:pt x="197444" y="431150"/>
                  </a:lnTo>
                  <a:lnTo>
                    <a:pt x="200482" y="437960"/>
                  </a:lnTo>
                  <a:lnTo>
                    <a:pt x="203521" y="447042"/>
                  </a:lnTo>
                  <a:lnTo>
                    <a:pt x="195924" y="447042"/>
                  </a:lnTo>
                  <a:lnTo>
                    <a:pt x="191366" y="450070"/>
                  </a:lnTo>
                  <a:lnTo>
                    <a:pt x="185289" y="451584"/>
                  </a:lnTo>
                  <a:lnTo>
                    <a:pt x="183770" y="445528"/>
                  </a:lnTo>
                  <a:lnTo>
                    <a:pt x="186808" y="439474"/>
                  </a:lnTo>
                  <a:lnTo>
                    <a:pt x="177692" y="439474"/>
                  </a:lnTo>
                  <a:lnTo>
                    <a:pt x="173134" y="442502"/>
                  </a:lnTo>
                  <a:lnTo>
                    <a:pt x="177692" y="447042"/>
                  </a:lnTo>
                  <a:lnTo>
                    <a:pt x="174654" y="448556"/>
                  </a:lnTo>
                  <a:lnTo>
                    <a:pt x="167057" y="447042"/>
                  </a:lnTo>
                  <a:lnTo>
                    <a:pt x="167057" y="451584"/>
                  </a:lnTo>
                  <a:lnTo>
                    <a:pt x="159460" y="450070"/>
                  </a:lnTo>
                  <a:lnTo>
                    <a:pt x="154902" y="450070"/>
                  </a:lnTo>
                  <a:lnTo>
                    <a:pt x="148825" y="453098"/>
                  </a:lnTo>
                  <a:lnTo>
                    <a:pt x="153383" y="457638"/>
                  </a:lnTo>
                  <a:lnTo>
                    <a:pt x="156422" y="457638"/>
                  </a:lnTo>
                  <a:lnTo>
                    <a:pt x="162499" y="457638"/>
                  </a:lnTo>
                  <a:lnTo>
                    <a:pt x="165538" y="462178"/>
                  </a:lnTo>
                  <a:lnTo>
                    <a:pt x="164018" y="466720"/>
                  </a:lnTo>
                  <a:lnTo>
                    <a:pt x="154902" y="469748"/>
                  </a:lnTo>
                  <a:lnTo>
                    <a:pt x="147306" y="463692"/>
                  </a:lnTo>
                  <a:lnTo>
                    <a:pt x="145786" y="456124"/>
                  </a:lnTo>
                  <a:lnTo>
                    <a:pt x="141228" y="447042"/>
                  </a:lnTo>
                  <a:lnTo>
                    <a:pt x="136671" y="444016"/>
                  </a:lnTo>
                  <a:lnTo>
                    <a:pt x="129074" y="439474"/>
                  </a:lnTo>
                  <a:lnTo>
                    <a:pt x="124516" y="433420"/>
                  </a:lnTo>
                  <a:lnTo>
                    <a:pt x="132113" y="426608"/>
                  </a:lnTo>
                  <a:lnTo>
                    <a:pt x="119958" y="432664"/>
                  </a:lnTo>
                  <a:lnTo>
                    <a:pt x="113881" y="428122"/>
                  </a:lnTo>
                  <a:lnTo>
                    <a:pt x="100207" y="419040"/>
                  </a:lnTo>
                  <a:lnTo>
                    <a:pt x="78936" y="402390"/>
                  </a:lnTo>
                  <a:lnTo>
                    <a:pt x="86533" y="399364"/>
                  </a:lnTo>
                  <a:lnTo>
                    <a:pt x="91091" y="391796"/>
                  </a:lnTo>
                  <a:lnTo>
                    <a:pt x="98687" y="391796"/>
                  </a:lnTo>
                  <a:lnTo>
                    <a:pt x="100207" y="385740"/>
                  </a:lnTo>
                  <a:lnTo>
                    <a:pt x="104765" y="379686"/>
                  </a:lnTo>
                  <a:lnTo>
                    <a:pt x="106284" y="373632"/>
                  </a:lnTo>
                  <a:lnTo>
                    <a:pt x="110842" y="375146"/>
                  </a:lnTo>
                  <a:lnTo>
                    <a:pt x="116919" y="369090"/>
                  </a:lnTo>
                  <a:lnTo>
                    <a:pt x="115400" y="363036"/>
                  </a:lnTo>
                  <a:lnTo>
                    <a:pt x="122997" y="358496"/>
                  </a:lnTo>
                  <a:lnTo>
                    <a:pt x="129074" y="349414"/>
                  </a:lnTo>
                  <a:lnTo>
                    <a:pt x="127555" y="340332"/>
                  </a:lnTo>
                  <a:lnTo>
                    <a:pt x="130593" y="338818"/>
                  </a:lnTo>
                  <a:lnTo>
                    <a:pt x="132113" y="329736"/>
                  </a:lnTo>
                  <a:lnTo>
                    <a:pt x="127555" y="322168"/>
                  </a:lnTo>
                  <a:lnTo>
                    <a:pt x="126035" y="314600"/>
                  </a:lnTo>
                  <a:lnTo>
                    <a:pt x="119958" y="310060"/>
                  </a:lnTo>
                  <a:lnTo>
                    <a:pt x="116919" y="300978"/>
                  </a:lnTo>
                  <a:close/>
                  <a:moveTo>
                    <a:pt x="358539" y="235852"/>
                  </a:moveTo>
                  <a:lnTo>
                    <a:pt x="361582" y="238888"/>
                  </a:lnTo>
                  <a:lnTo>
                    <a:pt x="357017" y="238888"/>
                  </a:lnTo>
                  <a:lnTo>
                    <a:pt x="357017" y="246474"/>
                  </a:lnTo>
                  <a:lnTo>
                    <a:pt x="364625" y="246474"/>
                  </a:lnTo>
                  <a:lnTo>
                    <a:pt x="366147" y="251026"/>
                  </a:lnTo>
                  <a:lnTo>
                    <a:pt x="372234" y="255578"/>
                  </a:lnTo>
                  <a:lnTo>
                    <a:pt x="381364" y="261648"/>
                  </a:lnTo>
                  <a:lnTo>
                    <a:pt x="384407" y="264682"/>
                  </a:lnTo>
                  <a:lnTo>
                    <a:pt x="387450" y="269234"/>
                  </a:lnTo>
                  <a:lnTo>
                    <a:pt x="388972" y="270752"/>
                  </a:lnTo>
                  <a:lnTo>
                    <a:pt x="392015" y="270752"/>
                  </a:lnTo>
                  <a:lnTo>
                    <a:pt x="396580" y="272270"/>
                  </a:lnTo>
                  <a:lnTo>
                    <a:pt x="404188" y="275304"/>
                  </a:lnTo>
                  <a:lnTo>
                    <a:pt x="410275" y="272270"/>
                  </a:lnTo>
                  <a:lnTo>
                    <a:pt x="417883" y="281374"/>
                  </a:lnTo>
                  <a:lnTo>
                    <a:pt x="425492" y="290478"/>
                  </a:lnTo>
                  <a:lnTo>
                    <a:pt x="431578" y="296546"/>
                  </a:lnTo>
                  <a:lnTo>
                    <a:pt x="439186" y="302616"/>
                  </a:lnTo>
                  <a:lnTo>
                    <a:pt x="446795" y="307168"/>
                  </a:lnTo>
                  <a:lnTo>
                    <a:pt x="449838" y="319306"/>
                  </a:lnTo>
                  <a:lnTo>
                    <a:pt x="449838" y="328410"/>
                  </a:lnTo>
                  <a:lnTo>
                    <a:pt x="445273" y="340550"/>
                  </a:lnTo>
                  <a:lnTo>
                    <a:pt x="443751" y="349654"/>
                  </a:lnTo>
                  <a:lnTo>
                    <a:pt x="446795" y="358758"/>
                  </a:lnTo>
                  <a:lnTo>
                    <a:pt x="445273" y="366344"/>
                  </a:lnTo>
                  <a:lnTo>
                    <a:pt x="439186" y="373930"/>
                  </a:lnTo>
                  <a:lnTo>
                    <a:pt x="439186" y="383034"/>
                  </a:lnTo>
                  <a:lnTo>
                    <a:pt x="442230" y="389104"/>
                  </a:lnTo>
                  <a:lnTo>
                    <a:pt x="445273" y="392138"/>
                  </a:lnTo>
                  <a:lnTo>
                    <a:pt x="445273" y="401244"/>
                  </a:lnTo>
                  <a:lnTo>
                    <a:pt x="437665" y="393656"/>
                  </a:lnTo>
                  <a:lnTo>
                    <a:pt x="433100" y="384552"/>
                  </a:lnTo>
                  <a:lnTo>
                    <a:pt x="430057" y="378482"/>
                  </a:lnTo>
                  <a:lnTo>
                    <a:pt x="425492" y="373930"/>
                  </a:lnTo>
                  <a:lnTo>
                    <a:pt x="416362" y="370896"/>
                  </a:lnTo>
                  <a:lnTo>
                    <a:pt x="413318" y="363310"/>
                  </a:lnTo>
                  <a:lnTo>
                    <a:pt x="420927" y="366344"/>
                  </a:lnTo>
                  <a:lnTo>
                    <a:pt x="427013" y="370896"/>
                  </a:lnTo>
                  <a:lnTo>
                    <a:pt x="434621" y="370896"/>
                  </a:lnTo>
                  <a:lnTo>
                    <a:pt x="439186" y="364826"/>
                  </a:lnTo>
                  <a:lnTo>
                    <a:pt x="442230" y="361792"/>
                  </a:lnTo>
                  <a:lnTo>
                    <a:pt x="440708" y="352688"/>
                  </a:lnTo>
                  <a:lnTo>
                    <a:pt x="437665" y="358758"/>
                  </a:lnTo>
                  <a:lnTo>
                    <a:pt x="436143" y="355722"/>
                  </a:lnTo>
                  <a:lnTo>
                    <a:pt x="436143" y="346618"/>
                  </a:lnTo>
                  <a:lnTo>
                    <a:pt x="437665" y="340550"/>
                  </a:lnTo>
                  <a:lnTo>
                    <a:pt x="440708" y="335998"/>
                  </a:lnTo>
                  <a:lnTo>
                    <a:pt x="445273" y="331446"/>
                  </a:lnTo>
                  <a:lnTo>
                    <a:pt x="445273" y="320824"/>
                  </a:lnTo>
                  <a:lnTo>
                    <a:pt x="445273" y="313238"/>
                  </a:lnTo>
                  <a:lnTo>
                    <a:pt x="436143" y="308686"/>
                  </a:lnTo>
                  <a:lnTo>
                    <a:pt x="428535" y="299582"/>
                  </a:lnTo>
                  <a:lnTo>
                    <a:pt x="419405" y="290478"/>
                  </a:lnTo>
                  <a:lnTo>
                    <a:pt x="411797" y="278338"/>
                  </a:lnTo>
                  <a:lnTo>
                    <a:pt x="401145" y="276822"/>
                  </a:lnTo>
                  <a:lnTo>
                    <a:pt x="393537" y="276822"/>
                  </a:lnTo>
                  <a:lnTo>
                    <a:pt x="382885" y="270752"/>
                  </a:lnTo>
                  <a:lnTo>
                    <a:pt x="378320" y="264682"/>
                  </a:lnTo>
                  <a:lnTo>
                    <a:pt x="370712" y="260130"/>
                  </a:lnTo>
                  <a:lnTo>
                    <a:pt x="366147" y="258614"/>
                  </a:lnTo>
                  <a:lnTo>
                    <a:pt x="357017" y="257096"/>
                  </a:lnTo>
                  <a:lnTo>
                    <a:pt x="346366" y="263166"/>
                  </a:lnTo>
                  <a:lnTo>
                    <a:pt x="340279" y="272270"/>
                  </a:lnTo>
                  <a:lnTo>
                    <a:pt x="335714" y="276822"/>
                  </a:lnTo>
                  <a:lnTo>
                    <a:pt x="344844" y="261648"/>
                  </a:lnTo>
                  <a:lnTo>
                    <a:pt x="347887" y="257096"/>
                  </a:lnTo>
                  <a:lnTo>
                    <a:pt x="350931" y="249510"/>
                  </a:lnTo>
                  <a:lnTo>
                    <a:pt x="353974" y="241922"/>
                  </a:lnTo>
                  <a:lnTo>
                    <a:pt x="352452" y="237370"/>
                  </a:lnTo>
                  <a:close/>
                  <a:moveTo>
                    <a:pt x="63844" y="22510"/>
                  </a:moveTo>
                  <a:lnTo>
                    <a:pt x="66884" y="22510"/>
                  </a:lnTo>
                  <a:lnTo>
                    <a:pt x="69924" y="28612"/>
                  </a:lnTo>
                  <a:lnTo>
                    <a:pt x="69924" y="34714"/>
                  </a:lnTo>
                  <a:lnTo>
                    <a:pt x="74484" y="33188"/>
                  </a:lnTo>
                  <a:lnTo>
                    <a:pt x="83605" y="33188"/>
                  </a:lnTo>
                  <a:lnTo>
                    <a:pt x="91205" y="37766"/>
                  </a:lnTo>
                  <a:lnTo>
                    <a:pt x="104886" y="40816"/>
                  </a:lnTo>
                  <a:lnTo>
                    <a:pt x="112487" y="39290"/>
                  </a:lnTo>
                  <a:lnTo>
                    <a:pt x="106406" y="33188"/>
                  </a:lnTo>
                  <a:lnTo>
                    <a:pt x="107926" y="28612"/>
                  </a:lnTo>
                  <a:lnTo>
                    <a:pt x="112487" y="33188"/>
                  </a:lnTo>
                  <a:lnTo>
                    <a:pt x="120087" y="34714"/>
                  </a:lnTo>
                  <a:lnTo>
                    <a:pt x="129208" y="34714"/>
                  </a:lnTo>
                  <a:lnTo>
                    <a:pt x="138328" y="37766"/>
                  </a:lnTo>
                  <a:lnTo>
                    <a:pt x="138328" y="36240"/>
                  </a:lnTo>
                  <a:lnTo>
                    <a:pt x="141368" y="33188"/>
                  </a:lnTo>
                  <a:lnTo>
                    <a:pt x="147449" y="31664"/>
                  </a:lnTo>
                  <a:lnTo>
                    <a:pt x="152009" y="31664"/>
                  </a:lnTo>
                  <a:lnTo>
                    <a:pt x="155049" y="33188"/>
                  </a:lnTo>
                  <a:lnTo>
                    <a:pt x="156569" y="34714"/>
                  </a:lnTo>
                  <a:lnTo>
                    <a:pt x="159609" y="34714"/>
                  </a:lnTo>
                  <a:lnTo>
                    <a:pt x="165690" y="31664"/>
                  </a:lnTo>
                  <a:lnTo>
                    <a:pt x="170250" y="28612"/>
                  </a:lnTo>
                  <a:lnTo>
                    <a:pt x="170250" y="34714"/>
                  </a:lnTo>
                  <a:lnTo>
                    <a:pt x="171770" y="42342"/>
                  </a:lnTo>
                  <a:lnTo>
                    <a:pt x="180891" y="48444"/>
                  </a:lnTo>
                  <a:lnTo>
                    <a:pt x="183931" y="56072"/>
                  </a:lnTo>
                  <a:lnTo>
                    <a:pt x="185451" y="62174"/>
                  </a:lnTo>
                  <a:lnTo>
                    <a:pt x="180891" y="65224"/>
                  </a:lnTo>
                  <a:lnTo>
                    <a:pt x="173290" y="59122"/>
                  </a:lnTo>
                  <a:lnTo>
                    <a:pt x="167210" y="48444"/>
                  </a:lnTo>
                  <a:lnTo>
                    <a:pt x="159609" y="46918"/>
                  </a:lnTo>
                  <a:lnTo>
                    <a:pt x="139848" y="46918"/>
                  </a:lnTo>
                  <a:lnTo>
                    <a:pt x="123127" y="48444"/>
                  </a:lnTo>
                  <a:lnTo>
                    <a:pt x="115527" y="53020"/>
                  </a:lnTo>
                  <a:lnTo>
                    <a:pt x="103366" y="51496"/>
                  </a:lnTo>
                  <a:lnTo>
                    <a:pt x="92726" y="56072"/>
                  </a:lnTo>
                  <a:lnTo>
                    <a:pt x="83605" y="56072"/>
                  </a:lnTo>
                  <a:lnTo>
                    <a:pt x="72964" y="62174"/>
                  </a:lnTo>
                  <a:lnTo>
                    <a:pt x="65364" y="65224"/>
                  </a:lnTo>
                  <a:lnTo>
                    <a:pt x="56243" y="71326"/>
                  </a:lnTo>
                  <a:lnTo>
                    <a:pt x="50163" y="74378"/>
                  </a:lnTo>
                  <a:lnTo>
                    <a:pt x="41042" y="74378"/>
                  </a:lnTo>
                  <a:lnTo>
                    <a:pt x="33442" y="69802"/>
                  </a:lnTo>
                  <a:lnTo>
                    <a:pt x="25842" y="65224"/>
                  </a:lnTo>
                  <a:lnTo>
                    <a:pt x="16721" y="57598"/>
                  </a:lnTo>
                  <a:lnTo>
                    <a:pt x="12161" y="51496"/>
                  </a:lnTo>
                  <a:lnTo>
                    <a:pt x="4560" y="46918"/>
                  </a:lnTo>
                  <a:lnTo>
                    <a:pt x="0" y="39290"/>
                  </a:lnTo>
                  <a:lnTo>
                    <a:pt x="1520" y="39290"/>
                  </a:lnTo>
                  <a:lnTo>
                    <a:pt x="13681" y="45392"/>
                  </a:lnTo>
                  <a:lnTo>
                    <a:pt x="21281" y="51496"/>
                  </a:lnTo>
                  <a:lnTo>
                    <a:pt x="28882" y="62174"/>
                  </a:lnTo>
                  <a:lnTo>
                    <a:pt x="33442" y="65224"/>
                  </a:lnTo>
                  <a:lnTo>
                    <a:pt x="34962" y="60648"/>
                  </a:lnTo>
                  <a:lnTo>
                    <a:pt x="41042" y="60648"/>
                  </a:lnTo>
                  <a:lnTo>
                    <a:pt x="53203" y="54546"/>
                  </a:lnTo>
                  <a:lnTo>
                    <a:pt x="57763" y="49970"/>
                  </a:lnTo>
                  <a:lnTo>
                    <a:pt x="60804" y="42342"/>
                  </a:lnTo>
                  <a:lnTo>
                    <a:pt x="63844" y="36240"/>
                  </a:lnTo>
                  <a:lnTo>
                    <a:pt x="59284" y="34714"/>
                  </a:lnTo>
                  <a:lnTo>
                    <a:pt x="62324" y="27086"/>
                  </a:lnTo>
                  <a:close/>
                  <a:moveTo>
                    <a:pt x="178794" y="0"/>
                  </a:moveTo>
                  <a:lnTo>
                    <a:pt x="184889" y="0"/>
                  </a:lnTo>
                  <a:lnTo>
                    <a:pt x="194032" y="0"/>
                  </a:lnTo>
                  <a:lnTo>
                    <a:pt x="204699" y="3040"/>
                  </a:lnTo>
                  <a:lnTo>
                    <a:pt x="216889" y="3040"/>
                  </a:lnTo>
                  <a:lnTo>
                    <a:pt x="224509" y="3040"/>
                  </a:lnTo>
                  <a:lnTo>
                    <a:pt x="235175" y="9120"/>
                  </a:lnTo>
                  <a:lnTo>
                    <a:pt x="244318" y="18238"/>
                  </a:lnTo>
                  <a:lnTo>
                    <a:pt x="251937" y="28874"/>
                  </a:lnTo>
                  <a:lnTo>
                    <a:pt x="262604" y="36474"/>
                  </a:lnTo>
                  <a:lnTo>
                    <a:pt x="268699" y="41032"/>
                  </a:lnTo>
                  <a:lnTo>
                    <a:pt x="264128" y="45592"/>
                  </a:lnTo>
                  <a:lnTo>
                    <a:pt x="265652" y="50150"/>
                  </a:lnTo>
                  <a:lnTo>
                    <a:pt x="268699" y="51670"/>
                  </a:lnTo>
                  <a:lnTo>
                    <a:pt x="273271" y="53190"/>
                  </a:lnTo>
                  <a:lnTo>
                    <a:pt x="279366" y="54710"/>
                  </a:lnTo>
                  <a:lnTo>
                    <a:pt x="285461" y="57748"/>
                  </a:lnTo>
                  <a:lnTo>
                    <a:pt x="296128" y="60788"/>
                  </a:lnTo>
                  <a:lnTo>
                    <a:pt x="303747" y="65348"/>
                  </a:lnTo>
                  <a:lnTo>
                    <a:pt x="303747" y="72946"/>
                  </a:lnTo>
                  <a:lnTo>
                    <a:pt x="303747" y="75984"/>
                  </a:lnTo>
                  <a:lnTo>
                    <a:pt x="303747" y="83584"/>
                  </a:lnTo>
                  <a:lnTo>
                    <a:pt x="306795" y="92702"/>
                  </a:lnTo>
                  <a:lnTo>
                    <a:pt x="311366" y="95740"/>
                  </a:lnTo>
                  <a:lnTo>
                    <a:pt x="306795" y="98780"/>
                  </a:lnTo>
                  <a:lnTo>
                    <a:pt x="312890" y="101820"/>
                  </a:lnTo>
                  <a:lnTo>
                    <a:pt x="308319" y="109418"/>
                  </a:lnTo>
                  <a:lnTo>
                    <a:pt x="303747" y="112456"/>
                  </a:lnTo>
                  <a:lnTo>
                    <a:pt x="303747" y="106378"/>
                  </a:lnTo>
                  <a:lnTo>
                    <a:pt x="299176" y="107898"/>
                  </a:lnTo>
                  <a:lnTo>
                    <a:pt x="291557" y="115496"/>
                  </a:lnTo>
                  <a:lnTo>
                    <a:pt x="285461" y="123094"/>
                  </a:lnTo>
                  <a:lnTo>
                    <a:pt x="283937" y="130694"/>
                  </a:lnTo>
                  <a:lnTo>
                    <a:pt x="283937" y="142850"/>
                  </a:lnTo>
                  <a:lnTo>
                    <a:pt x="282414" y="145890"/>
                  </a:lnTo>
                  <a:lnTo>
                    <a:pt x="280890" y="148930"/>
                  </a:lnTo>
                  <a:lnTo>
                    <a:pt x="279366" y="150448"/>
                  </a:lnTo>
                  <a:lnTo>
                    <a:pt x="279366" y="151968"/>
                  </a:lnTo>
                  <a:lnTo>
                    <a:pt x="279366" y="156528"/>
                  </a:lnTo>
                  <a:lnTo>
                    <a:pt x="283937" y="168684"/>
                  </a:lnTo>
                  <a:lnTo>
                    <a:pt x="283937" y="185402"/>
                  </a:lnTo>
                  <a:lnTo>
                    <a:pt x="277842" y="186920"/>
                  </a:lnTo>
                  <a:lnTo>
                    <a:pt x="273271" y="179322"/>
                  </a:lnTo>
                  <a:lnTo>
                    <a:pt x="267175" y="177802"/>
                  </a:lnTo>
                  <a:lnTo>
                    <a:pt x="270223" y="171724"/>
                  </a:lnTo>
                  <a:lnTo>
                    <a:pt x="267175" y="165646"/>
                  </a:lnTo>
                  <a:lnTo>
                    <a:pt x="262604" y="162606"/>
                  </a:lnTo>
                  <a:lnTo>
                    <a:pt x="254985" y="161086"/>
                  </a:lnTo>
                  <a:lnTo>
                    <a:pt x="247366" y="159566"/>
                  </a:lnTo>
                  <a:lnTo>
                    <a:pt x="245842" y="159566"/>
                  </a:lnTo>
                  <a:lnTo>
                    <a:pt x="247366" y="158048"/>
                  </a:lnTo>
                  <a:lnTo>
                    <a:pt x="248890" y="156528"/>
                  </a:lnTo>
                  <a:lnTo>
                    <a:pt x="253461" y="156528"/>
                  </a:lnTo>
                  <a:lnTo>
                    <a:pt x="256509" y="151968"/>
                  </a:lnTo>
                  <a:lnTo>
                    <a:pt x="268699" y="144370"/>
                  </a:lnTo>
                  <a:lnTo>
                    <a:pt x="276318" y="135252"/>
                  </a:lnTo>
                  <a:lnTo>
                    <a:pt x="274795" y="126134"/>
                  </a:lnTo>
                  <a:lnTo>
                    <a:pt x="268699" y="126134"/>
                  </a:lnTo>
                  <a:lnTo>
                    <a:pt x="271747" y="123094"/>
                  </a:lnTo>
                  <a:lnTo>
                    <a:pt x="273271" y="120056"/>
                  </a:lnTo>
                  <a:lnTo>
                    <a:pt x="277842" y="118536"/>
                  </a:lnTo>
                  <a:lnTo>
                    <a:pt x="279366" y="117016"/>
                  </a:lnTo>
                  <a:lnTo>
                    <a:pt x="276318" y="109418"/>
                  </a:lnTo>
                  <a:lnTo>
                    <a:pt x="273271" y="103338"/>
                  </a:lnTo>
                  <a:lnTo>
                    <a:pt x="279366" y="100300"/>
                  </a:lnTo>
                  <a:lnTo>
                    <a:pt x="286985" y="98780"/>
                  </a:lnTo>
                  <a:lnTo>
                    <a:pt x="279366" y="97260"/>
                  </a:lnTo>
                  <a:lnTo>
                    <a:pt x="276318" y="94220"/>
                  </a:lnTo>
                  <a:lnTo>
                    <a:pt x="273271" y="91182"/>
                  </a:lnTo>
                  <a:lnTo>
                    <a:pt x="277842" y="88142"/>
                  </a:lnTo>
                  <a:lnTo>
                    <a:pt x="282414" y="85102"/>
                  </a:lnTo>
                  <a:lnTo>
                    <a:pt x="277842" y="83584"/>
                  </a:lnTo>
                  <a:lnTo>
                    <a:pt x="280890" y="80544"/>
                  </a:lnTo>
                  <a:lnTo>
                    <a:pt x="283937" y="75984"/>
                  </a:lnTo>
                  <a:lnTo>
                    <a:pt x="276318" y="72946"/>
                  </a:lnTo>
                  <a:lnTo>
                    <a:pt x="270223" y="71426"/>
                  </a:lnTo>
                  <a:lnTo>
                    <a:pt x="273271" y="68386"/>
                  </a:lnTo>
                  <a:lnTo>
                    <a:pt x="279366" y="65348"/>
                  </a:lnTo>
                  <a:lnTo>
                    <a:pt x="283937" y="68386"/>
                  </a:lnTo>
                  <a:lnTo>
                    <a:pt x="288509" y="71426"/>
                  </a:lnTo>
                  <a:lnTo>
                    <a:pt x="291557" y="66866"/>
                  </a:lnTo>
                  <a:lnTo>
                    <a:pt x="286985" y="63828"/>
                  </a:lnTo>
                  <a:lnTo>
                    <a:pt x="282414" y="60788"/>
                  </a:lnTo>
                  <a:lnTo>
                    <a:pt x="279366" y="60788"/>
                  </a:lnTo>
                  <a:lnTo>
                    <a:pt x="273271" y="60788"/>
                  </a:lnTo>
                  <a:lnTo>
                    <a:pt x="265652" y="59268"/>
                  </a:lnTo>
                  <a:lnTo>
                    <a:pt x="259556" y="56228"/>
                  </a:lnTo>
                  <a:lnTo>
                    <a:pt x="256509" y="51670"/>
                  </a:lnTo>
                  <a:lnTo>
                    <a:pt x="258033" y="45592"/>
                  </a:lnTo>
                  <a:lnTo>
                    <a:pt x="258033" y="41032"/>
                  </a:lnTo>
                  <a:lnTo>
                    <a:pt x="253461" y="39512"/>
                  </a:lnTo>
                  <a:lnTo>
                    <a:pt x="248890" y="39512"/>
                  </a:lnTo>
                  <a:lnTo>
                    <a:pt x="242794" y="39512"/>
                  </a:lnTo>
                  <a:lnTo>
                    <a:pt x="241271" y="31914"/>
                  </a:lnTo>
                  <a:lnTo>
                    <a:pt x="241271" y="27356"/>
                  </a:lnTo>
                  <a:lnTo>
                    <a:pt x="241271" y="21276"/>
                  </a:lnTo>
                  <a:lnTo>
                    <a:pt x="236699" y="16718"/>
                  </a:lnTo>
                  <a:lnTo>
                    <a:pt x="230604" y="10638"/>
                  </a:lnTo>
                  <a:lnTo>
                    <a:pt x="227556" y="6080"/>
                  </a:lnTo>
                  <a:lnTo>
                    <a:pt x="221461" y="7600"/>
                  </a:lnTo>
                  <a:lnTo>
                    <a:pt x="213842" y="9120"/>
                  </a:lnTo>
                  <a:lnTo>
                    <a:pt x="210794" y="7600"/>
                  </a:lnTo>
                  <a:lnTo>
                    <a:pt x="206223" y="7600"/>
                  </a:lnTo>
                  <a:lnTo>
                    <a:pt x="198604" y="4560"/>
                  </a:lnTo>
                  <a:lnTo>
                    <a:pt x="194032" y="4560"/>
                  </a:lnTo>
                  <a:lnTo>
                    <a:pt x="186413" y="1520"/>
                  </a:lnTo>
                  <a:close/>
                </a:path>
              </a:pathLst>
            </a:custGeom>
            <a:grpFill/>
            <a:ln w="9525" cap="flat" cmpd="sng">
              <a:solidFill>
                <a:schemeClr val="bg2"/>
              </a:solidFill>
              <a:prstDash val="solid"/>
              <a:round/>
              <a:headEnd type="none" w="sm" len="sm"/>
              <a:tailEnd type="none" w="sm" len="sm"/>
            </a:ln>
          </p:spPr>
          <p:txBody>
            <a:bodyPr spcFirstLastPara="1" wrap="square" lIns="78175" tIns="39075" rIns="78175" bIns="39075" anchor="t" anchorCtr="0">
              <a:noAutofit/>
            </a:bodyPr>
            <a:lstStyle/>
            <a:p>
              <a:pPr marL="0" marR="0" lvl="0" indent="0" algn="l" rtl="0">
                <a:spcBef>
                  <a:spcPts val="0"/>
                </a:spcBef>
                <a:spcAft>
                  <a:spcPts val="0"/>
                </a:spcAft>
                <a:buNone/>
              </a:pPr>
              <a:endParaRPr sz="1539">
                <a:solidFill>
                  <a:schemeClr val="dk1"/>
                </a:solidFill>
                <a:latin typeface="Arial"/>
                <a:ea typeface="Arial"/>
                <a:cs typeface="Arial"/>
                <a:sym typeface="Arial"/>
              </a:endParaRPr>
            </a:p>
          </p:txBody>
        </p:sp>
      </p:grpSp>
      <p:sp>
        <p:nvSpPr>
          <p:cNvPr id="4" name="LOREM IPSUM">
            <a:extLst>
              <a:ext uri="{FF2B5EF4-FFF2-40B4-BE49-F238E27FC236}">
                <a16:creationId xmlns:a16="http://schemas.microsoft.com/office/drawing/2014/main" id="{7B805B00-7C01-55CE-8964-95CDF0B8BA2F}"/>
              </a:ext>
            </a:extLst>
          </p:cNvPr>
          <p:cNvSpPr txBox="1"/>
          <p:nvPr/>
        </p:nvSpPr>
        <p:spPr>
          <a:xfrm>
            <a:off x="958459" y="537415"/>
            <a:ext cx="9312815" cy="6565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GLOBAL INFLATION – A SOFT LANDING</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566" name="Oval 565">
            <a:extLst>
              <a:ext uri="{FF2B5EF4-FFF2-40B4-BE49-F238E27FC236}">
                <a16:creationId xmlns:a16="http://schemas.microsoft.com/office/drawing/2014/main" id="{E2A3BE28-541A-933A-C8B0-B5596D05001E}"/>
              </a:ext>
            </a:extLst>
          </p:cNvPr>
          <p:cNvSpPr/>
          <p:nvPr/>
        </p:nvSpPr>
        <p:spPr>
          <a:xfrm>
            <a:off x="1574705" y="3977520"/>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7" name="Oval 566">
            <a:extLst>
              <a:ext uri="{FF2B5EF4-FFF2-40B4-BE49-F238E27FC236}">
                <a16:creationId xmlns:a16="http://schemas.microsoft.com/office/drawing/2014/main" id="{2B9D5548-87CA-AB8B-574F-667B63CA277C}"/>
              </a:ext>
            </a:extLst>
          </p:cNvPr>
          <p:cNvSpPr/>
          <p:nvPr/>
        </p:nvSpPr>
        <p:spPr>
          <a:xfrm>
            <a:off x="2016949" y="3980413"/>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8" name="TextBox 567">
            <a:extLst>
              <a:ext uri="{FF2B5EF4-FFF2-40B4-BE49-F238E27FC236}">
                <a16:creationId xmlns:a16="http://schemas.microsoft.com/office/drawing/2014/main" id="{292205B9-1F97-4362-3308-083BAE0C4358}"/>
              </a:ext>
            </a:extLst>
          </p:cNvPr>
          <p:cNvSpPr txBox="1"/>
          <p:nvPr/>
        </p:nvSpPr>
        <p:spPr>
          <a:xfrm>
            <a:off x="1446387" y="4030512"/>
            <a:ext cx="673767" cy="276999"/>
          </a:xfrm>
          <a:prstGeom prst="rect">
            <a:avLst/>
          </a:prstGeom>
          <a:noFill/>
        </p:spPr>
        <p:txBody>
          <a:bodyPr wrap="square" rtlCol="0" anchor="ctr">
            <a:spAutoFit/>
          </a:bodyPr>
          <a:lstStyle/>
          <a:p>
            <a:pPr algn="ctr"/>
            <a:r>
              <a:rPr lang="en-US" sz="1200" b="1" dirty="0">
                <a:solidFill>
                  <a:schemeClr val="bg1"/>
                </a:solidFill>
              </a:rPr>
              <a:t>3.2%</a:t>
            </a:r>
          </a:p>
        </p:txBody>
      </p:sp>
      <p:sp>
        <p:nvSpPr>
          <p:cNvPr id="569" name="TextBox 568">
            <a:extLst>
              <a:ext uri="{FF2B5EF4-FFF2-40B4-BE49-F238E27FC236}">
                <a16:creationId xmlns:a16="http://schemas.microsoft.com/office/drawing/2014/main" id="{EB2A0868-D544-4495-D95D-B0C7ECCCC11E}"/>
              </a:ext>
            </a:extLst>
          </p:cNvPr>
          <p:cNvSpPr txBox="1"/>
          <p:nvPr/>
        </p:nvSpPr>
        <p:spPr>
          <a:xfrm>
            <a:off x="1887623" y="4024017"/>
            <a:ext cx="673767" cy="276999"/>
          </a:xfrm>
          <a:prstGeom prst="rect">
            <a:avLst/>
          </a:prstGeom>
          <a:noFill/>
        </p:spPr>
        <p:txBody>
          <a:bodyPr wrap="square" rtlCol="0" anchor="ctr">
            <a:spAutoFit/>
          </a:bodyPr>
          <a:lstStyle/>
          <a:p>
            <a:pPr algn="ctr"/>
            <a:r>
              <a:rPr lang="en-US" sz="1200" b="1" dirty="0">
                <a:solidFill>
                  <a:schemeClr val="bg1"/>
                </a:solidFill>
              </a:rPr>
              <a:t>3.5%</a:t>
            </a:r>
          </a:p>
        </p:txBody>
      </p:sp>
      <p:sp>
        <p:nvSpPr>
          <p:cNvPr id="574" name="Oval 573">
            <a:extLst>
              <a:ext uri="{FF2B5EF4-FFF2-40B4-BE49-F238E27FC236}">
                <a16:creationId xmlns:a16="http://schemas.microsoft.com/office/drawing/2014/main" id="{27193C0D-75FD-6366-70E7-1F8BBDF418E5}"/>
              </a:ext>
            </a:extLst>
          </p:cNvPr>
          <p:cNvSpPr/>
          <p:nvPr/>
        </p:nvSpPr>
        <p:spPr>
          <a:xfrm>
            <a:off x="3561395" y="3513508"/>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Oval 574">
            <a:extLst>
              <a:ext uri="{FF2B5EF4-FFF2-40B4-BE49-F238E27FC236}">
                <a16:creationId xmlns:a16="http://schemas.microsoft.com/office/drawing/2014/main" id="{7BFE6113-A8ED-F03D-2DC2-64C6CE8A5B77}"/>
              </a:ext>
            </a:extLst>
          </p:cNvPr>
          <p:cNvSpPr/>
          <p:nvPr/>
        </p:nvSpPr>
        <p:spPr>
          <a:xfrm>
            <a:off x="4003639" y="3516401"/>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6" name="TextBox 575">
            <a:extLst>
              <a:ext uri="{FF2B5EF4-FFF2-40B4-BE49-F238E27FC236}">
                <a16:creationId xmlns:a16="http://schemas.microsoft.com/office/drawing/2014/main" id="{52F9CEBE-5C9D-D22E-4771-42607A16DBE9}"/>
              </a:ext>
            </a:extLst>
          </p:cNvPr>
          <p:cNvSpPr txBox="1"/>
          <p:nvPr/>
        </p:nvSpPr>
        <p:spPr>
          <a:xfrm>
            <a:off x="3433077" y="3566500"/>
            <a:ext cx="673767" cy="276999"/>
          </a:xfrm>
          <a:prstGeom prst="rect">
            <a:avLst/>
          </a:prstGeom>
          <a:noFill/>
        </p:spPr>
        <p:txBody>
          <a:bodyPr wrap="square" rtlCol="0" anchor="ctr">
            <a:spAutoFit/>
          </a:bodyPr>
          <a:lstStyle/>
          <a:p>
            <a:pPr algn="ctr"/>
            <a:r>
              <a:rPr lang="en-US" sz="1200" b="1" dirty="0">
                <a:solidFill>
                  <a:schemeClr val="bg1"/>
                </a:solidFill>
              </a:rPr>
              <a:t>8.9%</a:t>
            </a:r>
          </a:p>
        </p:txBody>
      </p:sp>
      <p:sp>
        <p:nvSpPr>
          <p:cNvPr id="577" name="TextBox 576">
            <a:extLst>
              <a:ext uri="{FF2B5EF4-FFF2-40B4-BE49-F238E27FC236}">
                <a16:creationId xmlns:a16="http://schemas.microsoft.com/office/drawing/2014/main" id="{08CAB14B-2F77-AEB2-A7CA-2AEF5C228E55}"/>
              </a:ext>
            </a:extLst>
          </p:cNvPr>
          <p:cNvSpPr txBox="1"/>
          <p:nvPr/>
        </p:nvSpPr>
        <p:spPr>
          <a:xfrm>
            <a:off x="3874313" y="3560005"/>
            <a:ext cx="673767" cy="276999"/>
          </a:xfrm>
          <a:prstGeom prst="rect">
            <a:avLst/>
          </a:prstGeom>
          <a:noFill/>
        </p:spPr>
        <p:txBody>
          <a:bodyPr wrap="square" rtlCol="0" anchor="ctr">
            <a:spAutoFit/>
          </a:bodyPr>
          <a:lstStyle/>
          <a:p>
            <a:pPr algn="ctr"/>
            <a:r>
              <a:rPr lang="en-US" sz="1200" b="1" dirty="0">
                <a:solidFill>
                  <a:schemeClr val="bg1"/>
                </a:solidFill>
              </a:rPr>
              <a:t>3.2%</a:t>
            </a:r>
          </a:p>
        </p:txBody>
      </p:sp>
      <p:sp>
        <p:nvSpPr>
          <p:cNvPr id="578" name="Oval 577">
            <a:extLst>
              <a:ext uri="{FF2B5EF4-FFF2-40B4-BE49-F238E27FC236}">
                <a16:creationId xmlns:a16="http://schemas.microsoft.com/office/drawing/2014/main" id="{5A5D1D02-FD41-2E7E-6CDE-FA41B15C9E60}"/>
              </a:ext>
            </a:extLst>
          </p:cNvPr>
          <p:cNvSpPr/>
          <p:nvPr/>
        </p:nvSpPr>
        <p:spPr>
          <a:xfrm>
            <a:off x="5098029" y="4421040"/>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9" name="Oval 578">
            <a:extLst>
              <a:ext uri="{FF2B5EF4-FFF2-40B4-BE49-F238E27FC236}">
                <a16:creationId xmlns:a16="http://schemas.microsoft.com/office/drawing/2014/main" id="{AF6CCF1C-0B48-5158-3987-A8B4318AE2E8}"/>
              </a:ext>
            </a:extLst>
          </p:cNvPr>
          <p:cNvSpPr/>
          <p:nvPr/>
        </p:nvSpPr>
        <p:spPr>
          <a:xfrm>
            <a:off x="5540273" y="4423933"/>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0" name="TextBox 579">
            <a:extLst>
              <a:ext uri="{FF2B5EF4-FFF2-40B4-BE49-F238E27FC236}">
                <a16:creationId xmlns:a16="http://schemas.microsoft.com/office/drawing/2014/main" id="{809FCCA3-B9F9-D38F-132B-3A1BF83A2685}"/>
              </a:ext>
            </a:extLst>
          </p:cNvPr>
          <p:cNvSpPr txBox="1"/>
          <p:nvPr/>
        </p:nvSpPr>
        <p:spPr>
          <a:xfrm>
            <a:off x="4969711" y="4474032"/>
            <a:ext cx="673767" cy="276999"/>
          </a:xfrm>
          <a:prstGeom prst="rect">
            <a:avLst/>
          </a:prstGeom>
          <a:noFill/>
        </p:spPr>
        <p:txBody>
          <a:bodyPr wrap="square" rtlCol="0" anchor="ctr">
            <a:spAutoFit/>
          </a:bodyPr>
          <a:lstStyle/>
          <a:p>
            <a:pPr algn="ctr"/>
            <a:r>
              <a:rPr lang="en-US" sz="1200" b="1" dirty="0">
                <a:solidFill>
                  <a:schemeClr val="bg1"/>
                </a:solidFill>
              </a:rPr>
              <a:t>2.7%</a:t>
            </a:r>
          </a:p>
        </p:txBody>
      </p:sp>
      <p:sp>
        <p:nvSpPr>
          <p:cNvPr id="581" name="TextBox 580">
            <a:extLst>
              <a:ext uri="{FF2B5EF4-FFF2-40B4-BE49-F238E27FC236}">
                <a16:creationId xmlns:a16="http://schemas.microsoft.com/office/drawing/2014/main" id="{2A6C2A4D-69EA-2789-0E94-29E1429E9B64}"/>
              </a:ext>
            </a:extLst>
          </p:cNvPr>
          <p:cNvSpPr txBox="1"/>
          <p:nvPr/>
        </p:nvSpPr>
        <p:spPr>
          <a:xfrm>
            <a:off x="5410947" y="4467537"/>
            <a:ext cx="673767" cy="276999"/>
          </a:xfrm>
          <a:prstGeom prst="rect">
            <a:avLst/>
          </a:prstGeom>
          <a:noFill/>
        </p:spPr>
        <p:txBody>
          <a:bodyPr wrap="square" rtlCol="0" anchor="ctr">
            <a:spAutoFit/>
          </a:bodyPr>
          <a:lstStyle/>
          <a:p>
            <a:pPr algn="ctr"/>
            <a:r>
              <a:rPr lang="en-US" sz="1200" b="1" dirty="0">
                <a:solidFill>
                  <a:schemeClr val="bg1"/>
                </a:solidFill>
              </a:rPr>
              <a:t>1.6%</a:t>
            </a:r>
          </a:p>
        </p:txBody>
      </p:sp>
      <p:sp>
        <p:nvSpPr>
          <p:cNvPr id="582" name="Oval 581">
            <a:extLst>
              <a:ext uri="{FF2B5EF4-FFF2-40B4-BE49-F238E27FC236}">
                <a16:creationId xmlns:a16="http://schemas.microsoft.com/office/drawing/2014/main" id="{E8ABC039-0FC1-789D-EEBD-9AE8B564F9E8}"/>
              </a:ext>
            </a:extLst>
          </p:cNvPr>
          <p:cNvSpPr/>
          <p:nvPr/>
        </p:nvSpPr>
        <p:spPr>
          <a:xfrm>
            <a:off x="4255941" y="3830145"/>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3" name="Oval 582">
            <a:extLst>
              <a:ext uri="{FF2B5EF4-FFF2-40B4-BE49-F238E27FC236}">
                <a16:creationId xmlns:a16="http://schemas.microsoft.com/office/drawing/2014/main" id="{B98D12C4-BDBE-2980-CEC4-2BD31B6C11AE}"/>
              </a:ext>
            </a:extLst>
          </p:cNvPr>
          <p:cNvSpPr/>
          <p:nvPr/>
        </p:nvSpPr>
        <p:spPr>
          <a:xfrm>
            <a:off x="4698185" y="3833038"/>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4" name="TextBox 583">
            <a:extLst>
              <a:ext uri="{FF2B5EF4-FFF2-40B4-BE49-F238E27FC236}">
                <a16:creationId xmlns:a16="http://schemas.microsoft.com/office/drawing/2014/main" id="{CC15C2EF-DD97-486C-F625-21D80A82F378}"/>
              </a:ext>
            </a:extLst>
          </p:cNvPr>
          <p:cNvSpPr txBox="1"/>
          <p:nvPr/>
        </p:nvSpPr>
        <p:spPr>
          <a:xfrm>
            <a:off x="4127623" y="3883137"/>
            <a:ext cx="673767" cy="276999"/>
          </a:xfrm>
          <a:prstGeom prst="rect">
            <a:avLst/>
          </a:prstGeom>
          <a:noFill/>
        </p:spPr>
        <p:txBody>
          <a:bodyPr wrap="square" rtlCol="0" anchor="ctr">
            <a:spAutoFit/>
          </a:bodyPr>
          <a:lstStyle/>
          <a:p>
            <a:pPr algn="ctr"/>
            <a:r>
              <a:rPr lang="en-US" sz="1200" b="1" dirty="0">
                <a:solidFill>
                  <a:schemeClr val="bg1"/>
                </a:solidFill>
              </a:rPr>
              <a:t>4.8%</a:t>
            </a:r>
          </a:p>
        </p:txBody>
      </p:sp>
      <p:sp>
        <p:nvSpPr>
          <p:cNvPr id="585" name="TextBox 584">
            <a:extLst>
              <a:ext uri="{FF2B5EF4-FFF2-40B4-BE49-F238E27FC236}">
                <a16:creationId xmlns:a16="http://schemas.microsoft.com/office/drawing/2014/main" id="{EE6852BC-FEF8-2139-681C-2517B535EB5D}"/>
              </a:ext>
            </a:extLst>
          </p:cNvPr>
          <p:cNvSpPr txBox="1"/>
          <p:nvPr/>
        </p:nvSpPr>
        <p:spPr>
          <a:xfrm>
            <a:off x="4568859" y="3876642"/>
            <a:ext cx="673767" cy="276999"/>
          </a:xfrm>
          <a:prstGeom prst="rect">
            <a:avLst/>
          </a:prstGeom>
          <a:noFill/>
        </p:spPr>
        <p:txBody>
          <a:bodyPr wrap="square" rtlCol="0" anchor="ctr">
            <a:spAutoFit/>
          </a:bodyPr>
          <a:lstStyle/>
          <a:p>
            <a:pPr algn="ctr"/>
            <a:r>
              <a:rPr lang="en-US" sz="1200" b="1" dirty="0">
                <a:solidFill>
                  <a:schemeClr val="bg1"/>
                </a:solidFill>
              </a:rPr>
              <a:t>2.3%</a:t>
            </a:r>
          </a:p>
        </p:txBody>
      </p:sp>
      <p:sp>
        <p:nvSpPr>
          <p:cNvPr id="586" name="Oval 585">
            <a:extLst>
              <a:ext uri="{FF2B5EF4-FFF2-40B4-BE49-F238E27FC236}">
                <a16:creationId xmlns:a16="http://schemas.microsoft.com/office/drawing/2014/main" id="{23147402-8456-E412-EAD0-44B9B7D438E3}"/>
              </a:ext>
            </a:extLst>
          </p:cNvPr>
          <p:cNvSpPr/>
          <p:nvPr/>
        </p:nvSpPr>
        <p:spPr>
          <a:xfrm>
            <a:off x="6078793" y="4466749"/>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7" name="Oval 586">
            <a:extLst>
              <a:ext uri="{FF2B5EF4-FFF2-40B4-BE49-F238E27FC236}">
                <a16:creationId xmlns:a16="http://schemas.microsoft.com/office/drawing/2014/main" id="{5E1B1FA6-8497-21DD-1079-2F155AAF25EE}"/>
              </a:ext>
            </a:extLst>
          </p:cNvPr>
          <p:cNvSpPr/>
          <p:nvPr/>
        </p:nvSpPr>
        <p:spPr>
          <a:xfrm>
            <a:off x="6521037" y="4469642"/>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8" name="TextBox 587">
            <a:extLst>
              <a:ext uri="{FF2B5EF4-FFF2-40B4-BE49-F238E27FC236}">
                <a16:creationId xmlns:a16="http://schemas.microsoft.com/office/drawing/2014/main" id="{E4EE5EF2-0186-8E18-A816-4D60D22163FA}"/>
              </a:ext>
            </a:extLst>
          </p:cNvPr>
          <p:cNvSpPr txBox="1"/>
          <p:nvPr/>
        </p:nvSpPr>
        <p:spPr>
          <a:xfrm>
            <a:off x="5950475" y="4519741"/>
            <a:ext cx="673767" cy="276999"/>
          </a:xfrm>
          <a:prstGeom prst="rect">
            <a:avLst/>
          </a:prstGeom>
          <a:noFill/>
        </p:spPr>
        <p:txBody>
          <a:bodyPr wrap="square" rtlCol="0" anchor="ctr">
            <a:spAutoFit/>
          </a:bodyPr>
          <a:lstStyle/>
          <a:p>
            <a:pPr algn="ctr"/>
            <a:r>
              <a:rPr lang="en-US" sz="1200" b="1" dirty="0">
                <a:solidFill>
                  <a:schemeClr val="bg1"/>
                </a:solidFill>
              </a:rPr>
              <a:t>3.2%</a:t>
            </a:r>
          </a:p>
        </p:txBody>
      </p:sp>
      <p:sp>
        <p:nvSpPr>
          <p:cNvPr id="589" name="TextBox 588">
            <a:extLst>
              <a:ext uri="{FF2B5EF4-FFF2-40B4-BE49-F238E27FC236}">
                <a16:creationId xmlns:a16="http://schemas.microsoft.com/office/drawing/2014/main" id="{F13544A8-C873-A7B9-7331-15F1A05A130C}"/>
              </a:ext>
            </a:extLst>
          </p:cNvPr>
          <p:cNvSpPr txBox="1"/>
          <p:nvPr/>
        </p:nvSpPr>
        <p:spPr>
          <a:xfrm>
            <a:off x="6394889" y="4517140"/>
            <a:ext cx="673767" cy="276999"/>
          </a:xfrm>
          <a:prstGeom prst="rect">
            <a:avLst/>
          </a:prstGeom>
          <a:noFill/>
        </p:spPr>
        <p:txBody>
          <a:bodyPr wrap="square" rtlCol="0" anchor="ctr">
            <a:spAutoFit/>
          </a:bodyPr>
          <a:lstStyle/>
          <a:p>
            <a:pPr algn="ctr"/>
            <a:r>
              <a:rPr lang="en-US" sz="1200" b="1" dirty="0">
                <a:solidFill>
                  <a:schemeClr val="bg1"/>
                </a:solidFill>
              </a:rPr>
              <a:t>4.6%</a:t>
            </a:r>
          </a:p>
        </p:txBody>
      </p:sp>
      <p:sp>
        <p:nvSpPr>
          <p:cNvPr id="590" name="Oval 589">
            <a:extLst>
              <a:ext uri="{FF2B5EF4-FFF2-40B4-BE49-F238E27FC236}">
                <a16:creationId xmlns:a16="http://schemas.microsoft.com/office/drawing/2014/main" id="{0D5A7844-D5FA-3E12-A89D-312336C6EAD2}"/>
              </a:ext>
            </a:extLst>
          </p:cNvPr>
          <p:cNvSpPr/>
          <p:nvPr/>
        </p:nvSpPr>
        <p:spPr>
          <a:xfrm>
            <a:off x="6327331" y="3120246"/>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1" name="Oval 590">
            <a:extLst>
              <a:ext uri="{FF2B5EF4-FFF2-40B4-BE49-F238E27FC236}">
                <a16:creationId xmlns:a16="http://schemas.microsoft.com/office/drawing/2014/main" id="{7836FB7A-95A8-F7A0-2534-38ABEA7F71B4}"/>
              </a:ext>
            </a:extLst>
          </p:cNvPr>
          <p:cNvSpPr/>
          <p:nvPr/>
        </p:nvSpPr>
        <p:spPr>
          <a:xfrm>
            <a:off x="6769575" y="3123139"/>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2" name="TextBox 591">
            <a:extLst>
              <a:ext uri="{FF2B5EF4-FFF2-40B4-BE49-F238E27FC236}">
                <a16:creationId xmlns:a16="http://schemas.microsoft.com/office/drawing/2014/main" id="{559BBBF8-C89E-69D1-49DE-E3DCC99A56C7}"/>
              </a:ext>
            </a:extLst>
          </p:cNvPr>
          <p:cNvSpPr txBox="1"/>
          <p:nvPr/>
        </p:nvSpPr>
        <p:spPr>
          <a:xfrm>
            <a:off x="6199013" y="3173238"/>
            <a:ext cx="673767" cy="276999"/>
          </a:xfrm>
          <a:prstGeom prst="rect">
            <a:avLst/>
          </a:prstGeom>
          <a:noFill/>
        </p:spPr>
        <p:txBody>
          <a:bodyPr wrap="square" rtlCol="0" anchor="ctr">
            <a:spAutoFit/>
          </a:bodyPr>
          <a:lstStyle/>
          <a:p>
            <a:pPr algn="ctr"/>
            <a:r>
              <a:rPr lang="en-US" sz="1200" b="1" dirty="0">
                <a:solidFill>
                  <a:schemeClr val="bg1"/>
                </a:solidFill>
              </a:rPr>
              <a:t>7.4%</a:t>
            </a:r>
          </a:p>
        </p:txBody>
      </p:sp>
      <p:sp>
        <p:nvSpPr>
          <p:cNvPr id="593" name="TextBox 592">
            <a:extLst>
              <a:ext uri="{FF2B5EF4-FFF2-40B4-BE49-F238E27FC236}">
                <a16:creationId xmlns:a16="http://schemas.microsoft.com/office/drawing/2014/main" id="{5C689B35-C7CC-33B6-E79E-6D848EBEE071}"/>
              </a:ext>
            </a:extLst>
          </p:cNvPr>
          <p:cNvSpPr txBox="1"/>
          <p:nvPr/>
        </p:nvSpPr>
        <p:spPr>
          <a:xfrm>
            <a:off x="6642106" y="3165185"/>
            <a:ext cx="673767" cy="276999"/>
          </a:xfrm>
          <a:prstGeom prst="rect">
            <a:avLst/>
          </a:prstGeom>
          <a:noFill/>
        </p:spPr>
        <p:txBody>
          <a:bodyPr wrap="square" rtlCol="0" anchor="ctr">
            <a:spAutoFit/>
          </a:bodyPr>
          <a:lstStyle/>
          <a:p>
            <a:pPr algn="ctr"/>
            <a:r>
              <a:rPr lang="en-US" sz="1200" b="1" dirty="0">
                <a:solidFill>
                  <a:schemeClr val="bg1"/>
                </a:solidFill>
              </a:rPr>
              <a:t>6.4%</a:t>
            </a:r>
          </a:p>
        </p:txBody>
      </p:sp>
      <p:sp>
        <p:nvSpPr>
          <p:cNvPr id="594" name="Oval 593">
            <a:extLst>
              <a:ext uri="{FF2B5EF4-FFF2-40B4-BE49-F238E27FC236}">
                <a16:creationId xmlns:a16="http://schemas.microsoft.com/office/drawing/2014/main" id="{7404E484-BE88-3E4B-5F55-B78DD8F75E15}"/>
              </a:ext>
            </a:extLst>
          </p:cNvPr>
          <p:cNvSpPr/>
          <p:nvPr/>
        </p:nvSpPr>
        <p:spPr>
          <a:xfrm>
            <a:off x="7432521" y="4086898"/>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5" name="Oval 594">
            <a:extLst>
              <a:ext uri="{FF2B5EF4-FFF2-40B4-BE49-F238E27FC236}">
                <a16:creationId xmlns:a16="http://schemas.microsoft.com/office/drawing/2014/main" id="{FF6E3E78-19CE-4D92-6D30-1433703B6EE0}"/>
              </a:ext>
            </a:extLst>
          </p:cNvPr>
          <p:cNvSpPr/>
          <p:nvPr/>
        </p:nvSpPr>
        <p:spPr>
          <a:xfrm>
            <a:off x="7874765" y="4089791"/>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6" name="TextBox 595">
            <a:extLst>
              <a:ext uri="{FF2B5EF4-FFF2-40B4-BE49-F238E27FC236}">
                <a16:creationId xmlns:a16="http://schemas.microsoft.com/office/drawing/2014/main" id="{FEAAA096-43DA-80D5-60D9-F2825E878617}"/>
              </a:ext>
            </a:extLst>
          </p:cNvPr>
          <p:cNvSpPr txBox="1"/>
          <p:nvPr/>
        </p:nvSpPr>
        <p:spPr>
          <a:xfrm>
            <a:off x="7304203" y="4139890"/>
            <a:ext cx="673767" cy="276999"/>
          </a:xfrm>
          <a:prstGeom prst="rect">
            <a:avLst/>
          </a:prstGeom>
          <a:noFill/>
        </p:spPr>
        <p:txBody>
          <a:bodyPr wrap="square" rtlCol="0" anchor="ctr">
            <a:spAutoFit/>
          </a:bodyPr>
          <a:lstStyle/>
          <a:p>
            <a:pPr algn="ctr"/>
            <a:r>
              <a:rPr lang="en-US" sz="1200" b="1" dirty="0">
                <a:solidFill>
                  <a:schemeClr val="bg1"/>
                </a:solidFill>
              </a:rPr>
              <a:t>3.2%</a:t>
            </a:r>
          </a:p>
        </p:txBody>
      </p:sp>
      <p:sp>
        <p:nvSpPr>
          <p:cNvPr id="597" name="TextBox 596">
            <a:extLst>
              <a:ext uri="{FF2B5EF4-FFF2-40B4-BE49-F238E27FC236}">
                <a16:creationId xmlns:a16="http://schemas.microsoft.com/office/drawing/2014/main" id="{EB45C659-D46A-B778-7D5A-BD4C1A402F86}"/>
              </a:ext>
            </a:extLst>
          </p:cNvPr>
          <p:cNvSpPr txBox="1"/>
          <p:nvPr/>
        </p:nvSpPr>
        <p:spPr>
          <a:xfrm>
            <a:off x="7747296" y="4131837"/>
            <a:ext cx="673767" cy="276999"/>
          </a:xfrm>
          <a:prstGeom prst="rect">
            <a:avLst/>
          </a:prstGeom>
          <a:noFill/>
        </p:spPr>
        <p:txBody>
          <a:bodyPr wrap="square" rtlCol="0" anchor="ctr">
            <a:spAutoFit/>
          </a:bodyPr>
          <a:lstStyle/>
          <a:p>
            <a:pPr algn="ctr"/>
            <a:r>
              <a:rPr lang="en-US" sz="1200" b="1" dirty="0">
                <a:solidFill>
                  <a:schemeClr val="bg1"/>
                </a:solidFill>
              </a:rPr>
              <a:t>2.9%</a:t>
            </a:r>
          </a:p>
        </p:txBody>
      </p:sp>
      <p:sp>
        <p:nvSpPr>
          <p:cNvPr id="598" name="TextBox 597">
            <a:extLst>
              <a:ext uri="{FF2B5EF4-FFF2-40B4-BE49-F238E27FC236}">
                <a16:creationId xmlns:a16="http://schemas.microsoft.com/office/drawing/2014/main" id="{5D164B6B-685A-A948-4259-C688304EE8D2}"/>
              </a:ext>
            </a:extLst>
          </p:cNvPr>
          <p:cNvSpPr txBox="1"/>
          <p:nvPr/>
        </p:nvSpPr>
        <p:spPr>
          <a:xfrm>
            <a:off x="1036799" y="4039441"/>
            <a:ext cx="598812" cy="261610"/>
          </a:xfrm>
          <a:prstGeom prst="rect">
            <a:avLst/>
          </a:prstGeom>
          <a:noFill/>
        </p:spPr>
        <p:txBody>
          <a:bodyPr wrap="square" rtlCol="0" anchor="ctr">
            <a:spAutoFit/>
          </a:bodyPr>
          <a:lstStyle/>
          <a:p>
            <a:pPr algn="ctr"/>
            <a:r>
              <a:rPr lang="en-US" sz="1100" b="1" dirty="0"/>
              <a:t>USA</a:t>
            </a:r>
          </a:p>
        </p:txBody>
      </p:sp>
      <p:sp>
        <p:nvSpPr>
          <p:cNvPr id="599" name="TextBox 598">
            <a:extLst>
              <a:ext uri="{FF2B5EF4-FFF2-40B4-BE49-F238E27FC236}">
                <a16:creationId xmlns:a16="http://schemas.microsoft.com/office/drawing/2014/main" id="{859DAF10-9F17-F3E5-A908-3E264F0E6AC1}"/>
              </a:ext>
            </a:extLst>
          </p:cNvPr>
          <p:cNvSpPr txBox="1"/>
          <p:nvPr/>
        </p:nvSpPr>
        <p:spPr>
          <a:xfrm>
            <a:off x="3660084" y="3323333"/>
            <a:ext cx="598812" cy="261610"/>
          </a:xfrm>
          <a:prstGeom prst="rect">
            <a:avLst/>
          </a:prstGeom>
          <a:noFill/>
        </p:spPr>
        <p:txBody>
          <a:bodyPr wrap="square" rtlCol="0" anchor="ctr">
            <a:spAutoFit/>
          </a:bodyPr>
          <a:lstStyle/>
          <a:p>
            <a:pPr algn="ctr"/>
            <a:r>
              <a:rPr lang="en-US" sz="1100" b="1" dirty="0"/>
              <a:t>UK</a:t>
            </a:r>
          </a:p>
        </p:txBody>
      </p:sp>
      <p:sp>
        <p:nvSpPr>
          <p:cNvPr id="601" name="TextBox 600">
            <a:extLst>
              <a:ext uri="{FF2B5EF4-FFF2-40B4-BE49-F238E27FC236}">
                <a16:creationId xmlns:a16="http://schemas.microsoft.com/office/drawing/2014/main" id="{9F0BD33F-6885-7FCA-3555-104B8FF876C8}"/>
              </a:ext>
            </a:extLst>
          </p:cNvPr>
          <p:cNvSpPr txBox="1"/>
          <p:nvPr/>
        </p:nvSpPr>
        <p:spPr>
          <a:xfrm>
            <a:off x="5230958" y="4185731"/>
            <a:ext cx="527144" cy="261610"/>
          </a:xfrm>
          <a:prstGeom prst="rect">
            <a:avLst/>
          </a:prstGeom>
          <a:solidFill>
            <a:schemeClr val="tx2"/>
          </a:solidFill>
        </p:spPr>
        <p:txBody>
          <a:bodyPr wrap="square" rtlCol="0" anchor="ctr">
            <a:spAutoFit/>
          </a:bodyPr>
          <a:lstStyle/>
          <a:p>
            <a:pPr algn="ctr"/>
            <a:r>
              <a:rPr lang="en-US" sz="1100" b="1" dirty="0">
                <a:solidFill>
                  <a:schemeClr val="bg1"/>
                </a:solidFill>
              </a:rPr>
              <a:t>KSA</a:t>
            </a:r>
          </a:p>
        </p:txBody>
      </p:sp>
      <p:sp>
        <p:nvSpPr>
          <p:cNvPr id="602" name="TextBox 601">
            <a:extLst>
              <a:ext uri="{FF2B5EF4-FFF2-40B4-BE49-F238E27FC236}">
                <a16:creationId xmlns:a16="http://schemas.microsoft.com/office/drawing/2014/main" id="{64C12E44-E901-1CE9-6ED0-8D3DF39A588D}"/>
              </a:ext>
            </a:extLst>
          </p:cNvPr>
          <p:cNvSpPr txBox="1"/>
          <p:nvPr/>
        </p:nvSpPr>
        <p:spPr>
          <a:xfrm>
            <a:off x="6265696" y="2893139"/>
            <a:ext cx="969522" cy="261610"/>
          </a:xfrm>
          <a:prstGeom prst="rect">
            <a:avLst/>
          </a:prstGeom>
          <a:noFill/>
        </p:spPr>
        <p:txBody>
          <a:bodyPr wrap="square" rtlCol="0" anchor="ctr">
            <a:spAutoFit/>
          </a:bodyPr>
          <a:lstStyle/>
          <a:p>
            <a:pPr algn="ctr"/>
            <a:r>
              <a:rPr lang="en-US" sz="1100" b="1" dirty="0">
                <a:solidFill>
                  <a:schemeClr val="bg1"/>
                </a:solidFill>
              </a:rPr>
              <a:t>RUSSIA</a:t>
            </a:r>
          </a:p>
        </p:txBody>
      </p:sp>
      <p:sp>
        <p:nvSpPr>
          <p:cNvPr id="603" name="TextBox 602">
            <a:extLst>
              <a:ext uri="{FF2B5EF4-FFF2-40B4-BE49-F238E27FC236}">
                <a16:creationId xmlns:a16="http://schemas.microsoft.com/office/drawing/2014/main" id="{716F700B-0427-4578-9CF7-E574701A2634}"/>
              </a:ext>
            </a:extLst>
          </p:cNvPr>
          <p:cNvSpPr txBox="1"/>
          <p:nvPr/>
        </p:nvSpPr>
        <p:spPr>
          <a:xfrm>
            <a:off x="7338515" y="3853648"/>
            <a:ext cx="969522" cy="261610"/>
          </a:xfrm>
          <a:prstGeom prst="rect">
            <a:avLst/>
          </a:prstGeom>
          <a:noFill/>
        </p:spPr>
        <p:txBody>
          <a:bodyPr wrap="square" rtlCol="0" anchor="ctr">
            <a:spAutoFit/>
          </a:bodyPr>
          <a:lstStyle/>
          <a:p>
            <a:pPr algn="ctr"/>
            <a:r>
              <a:rPr lang="en-US" sz="1100" b="1" dirty="0"/>
              <a:t>JAPAN</a:t>
            </a:r>
          </a:p>
        </p:txBody>
      </p:sp>
      <p:sp>
        <p:nvSpPr>
          <p:cNvPr id="604" name="TextBox 603">
            <a:extLst>
              <a:ext uri="{FF2B5EF4-FFF2-40B4-BE49-F238E27FC236}">
                <a16:creationId xmlns:a16="http://schemas.microsoft.com/office/drawing/2014/main" id="{7CCAEB75-4380-6F70-CDE8-13334622F0E1}"/>
              </a:ext>
            </a:extLst>
          </p:cNvPr>
          <p:cNvSpPr txBox="1"/>
          <p:nvPr/>
        </p:nvSpPr>
        <p:spPr>
          <a:xfrm>
            <a:off x="5997707" y="4221440"/>
            <a:ext cx="969522" cy="261610"/>
          </a:xfrm>
          <a:prstGeom prst="rect">
            <a:avLst/>
          </a:prstGeom>
          <a:noFill/>
        </p:spPr>
        <p:txBody>
          <a:bodyPr wrap="square" rtlCol="0" anchor="ctr">
            <a:spAutoFit/>
          </a:bodyPr>
          <a:lstStyle/>
          <a:p>
            <a:pPr algn="ctr"/>
            <a:r>
              <a:rPr lang="en-US" sz="1100" b="1" dirty="0">
                <a:solidFill>
                  <a:schemeClr val="bg1"/>
                </a:solidFill>
              </a:rPr>
              <a:t>INDIA</a:t>
            </a:r>
          </a:p>
        </p:txBody>
      </p:sp>
      <p:sp>
        <p:nvSpPr>
          <p:cNvPr id="605" name="Oval 604">
            <a:extLst>
              <a:ext uri="{FF2B5EF4-FFF2-40B4-BE49-F238E27FC236}">
                <a16:creationId xmlns:a16="http://schemas.microsoft.com/office/drawing/2014/main" id="{5DE6232B-EE5E-875A-4EA5-79BE41D7AE6F}"/>
              </a:ext>
            </a:extLst>
          </p:cNvPr>
          <p:cNvSpPr/>
          <p:nvPr/>
        </p:nvSpPr>
        <p:spPr>
          <a:xfrm>
            <a:off x="6470086" y="3910229"/>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6" name="Oval 605">
            <a:extLst>
              <a:ext uri="{FF2B5EF4-FFF2-40B4-BE49-F238E27FC236}">
                <a16:creationId xmlns:a16="http://schemas.microsoft.com/office/drawing/2014/main" id="{34BCEBAE-4CA6-3E63-6305-E78492139AE2}"/>
              </a:ext>
            </a:extLst>
          </p:cNvPr>
          <p:cNvSpPr/>
          <p:nvPr/>
        </p:nvSpPr>
        <p:spPr>
          <a:xfrm>
            <a:off x="6912330" y="3913122"/>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7" name="TextBox 606">
            <a:extLst>
              <a:ext uri="{FF2B5EF4-FFF2-40B4-BE49-F238E27FC236}">
                <a16:creationId xmlns:a16="http://schemas.microsoft.com/office/drawing/2014/main" id="{46EECCE2-A03D-93E5-8FBC-EA93A5FEE26F}"/>
              </a:ext>
            </a:extLst>
          </p:cNvPr>
          <p:cNvSpPr txBox="1"/>
          <p:nvPr/>
        </p:nvSpPr>
        <p:spPr>
          <a:xfrm>
            <a:off x="6784861" y="3955168"/>
            <a:ext cx="673767" cy="276999"/>
          </a:xfrm>
          <a:prstGeom prst="rect">
            <a:avLst/>
          </a:prstGeom>
          <a:noFill/>
        </p:spPr>
        <p:txBody>
          <a:bodyPr wrap="square" rtlCol="0" anchor="ctr">
            <a:spAutoFit/>
          </a:bodyPr>
          <a:lstStyle/>
          <a:p>
            <a:pPr algn="ctr"/>
            <a:r>
              <a:rPr lang="en-US" sz="1200" b="1" dirty="0">
                <a:solidFill>
                  <a:schemeClr val="bg1"/>
                </a:solidFill>
              </a:rPr>
              <a:t>1.7%</a:t>
            </a:r>
          </a:p>
        </p:txBody>
      </p:sp>
      <p:sp>
        <p:nvSpPr>
          <p:cNvPr id="608" name="TextBox 607">
            <a:extLst>
              <a:ext uri="{FF2B5EF4-FFF2-40B4-BE49-F238E27FC236}">
                <a16:creationId xmlns:a16="http://schemas.microsoft.com/office/drawing/2014/main" id="{2A4105C0-1C85-C29F-D872-9718415E27D1}"/>
              </a:ext>
            </a:extLst>
          </p:cNvPr>
          <p:cNvSpPr txBox="1"/>
          <p:nvPr/>
        </p:nvSpPr>
        <p:spPr>
          <a:xfrm>
            <a:off x="6417121" y="3723601"/>
            <a:ext cx="969522" cy="261610"/>
          </a:xfrm>
          <a:prstGeom prst="rect">
            <a:avLst/>
          </a:prstGeom>
          <a:noFill/>
        </p:spPr>
        <p:txBody>
          <a:bodyPr wrap="square" rtlCol="0" anchor="ctr">
            <a:spAutoFit/>
          </a:bodyPr>
          <a:lstStyle/>
          <a:p>
            <a:pPr algn="ctr"/>
            <a:r>
              <a:rPr lang="en-US" sz="1100" b="1" dirty="0">
                <a:solidFill>
                  <a:schemeClr val="bg1"/>
                </a:solidFill>
              </a:rPr>
              <a:t>CHINA</a:t>
            </a:r>
          </a:p>
        </p:txBody>
      </p:sp>
      <p:sp>
        <p:nvSpPr>
          <p:cNvPr id="609" name="TextBox 608">
            <a:extLst>
              <a:ext uri="{FF2B5EF4-FFF2-40B4-BE49-F238E27FC236}">
                <a16:creationId xmlns:a16="http://schemas.microsoft.com/office/drawing/2014/main" id="{8983DAE4-51F4-123C-B74A-1AE0EFBD93B1}"/>
              </a:ext>
            </a:extLst>
          </p:cNvPr>
          <p:cNvSpPr txBox="1"/>
          <p:nvPr/>
        </p:nvSpPr>
        <p:spPr>
          <a:xfrm>
            <a:off x="6333014" y="3962999"/>
            <a:ext cx="673767" cy="276999"/>
          </a:xfrm>
          <a:prstGeom prst="rect">
            <a:avLst/>
          </a:prstGeom>
          <a:noFill/>
        </p:spPr>
        <p:txBody>
          <a:bodyPr wrap="square" rtlCol="0" anchor="ctr">
            <a:spAutoFit/>
          </a:bodyPr>
          <a:lstStyle/>
          <a:p>
            <a:pPr algn="ctr"/>
            <a:r>
              <a:rPr lang="en-US" sz="1200" b="1" dirty="0">
                <a:solidFill>
                  <a:schemeClr val="bg1"/>
                </a:solidFill>
              </a:rPr>
              <a:t>0.2%</a:t>
            </a:r>
          </a:p>
        </p:txBody>
      </p:sp>
      <p:sp>
        <p:nvSpPr>
          <p:cNvPr id="610" name="TextBox 609">
            <a:extLst>
              <a:ext uri="{FF2B5EF4-FFF2-40B4-BE49-F238E27FC236}">
                <a16:creationId xmlns:a16="http://schemas.microsoft.com/office/drawing/2014/main" id="{792C1B27-4BF9-FF66-001C-ECB6AFFC73D2}"/>
              </a:ext>
            </a:extLst>
          </p:cNvPr>
          <p:cNvSpPr txBox="1"/>
          <p:nvPr/>
        </p:nvSpPr>
        <p:spPr>
          <a:xfrm>
            <a:off x="3441950" y="3902204"/>
            <a:ext cx="969522" cy="261610"/>
          </a:xfrm>
          <a:prstGeom prst="rect">
            <a:avLst/>
          </a:prstGeom>
          <a:noFill/>
        </p:spPr>
        <p:txBody>
          <a:bodyPr wrap="square" rtlCol="0" anchor="ctr">
            <a:spAutoFit/>
          </a:bodyPr>
          <a:lstStyle/>
          <a:p>
            <a:pPr algn="ctr"/>
            <a:r>
              <a:rPr lang="en-US" sz="1100" b="1" dirty="0"/>
              <a:t>FRANCE</a:t>
            </a:r>
          </a:p>
        </p:txBody>
      </p:sp>
      <p:sp>
        <p:nvSpPr>
          <p:cNvPr id="612" name="Oval 611">
            <a:extLst>
              <a:ext uri="{FF2B5EF4-FFF2-40B4-BE49-F238E27FC236}">
                <a16:creationId xmlns:a16="http://schemas.microsoft.com/office/drawing/2014/main" id="{5F9809FF-DC3C-804A-FD74-0A18C2F2142C}"/>
              </a:ext>
            </a:extLst>
          </p:cNvPr>
          <p:cNvSpPr/>
          <p:nvPr/>
        </p:nvSpPr>
        <p:spPr>
          <a:xfrm>
            <a:off x="5846353" y="5369856"/>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3" name="Oval 612">
            <a:extLst>
              <a:ext uri="{FF2B5EF4-FFF2-40B4-BE49-F238E27FC236}">
                <a16:creationId xmlns:a16="http://schemas.microsoft.com/office/drawing/2014/main" id="{767361FC-309C-11AD-6EBA-7C1BD2C31D7F}"/>
              </a:ext>
            </a:extLst>
          </p:cNvPr>
          <p:cNvSpPr/>
          <p:nvPr/>
        </p:nvSpPr>
        <p:spPr>
          <a:xfrm>
            <a:off x="6288597" y="5372749"/>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4" name="TextBox 613">
            <a:extLst>
              <a:ext uri="{FF2B5EF4-FFF2-40B4-BE49-F238E27FC236}">
                <a16:creationId xmlns:a16="http://schemas.microsoft.com/office/drawing/2014/main" id="{9947DA63-CE42-3895-F46C-49C951A9E27B}"/>
              </a:ext>
            </a:extLst>
          </p:cNvPr>
          <p:cNvSpPr txBox="1"/>
          <p:nvPr/>
        </p:nvSpPr>
        <p:spPr>
          <a:xfrm>
            <a:off x="5718035" y="5422848"/>
            <a:ext cx="673767" cy="276999"/>
          </a:xfrm>
          <a:prstGeom prst="rect">
            <a:avLst/>
          </a:prstGeom>
          <a:noFill/>
        </p:spPr>
        <p:txBody>
          <a:bodyPr wrap="square" rtlCol="0" anchor="ctr">
            <a:spAutoFit/>
          </a:bodyPr>
          <a:lstStyle/>
          <a:p>
            <a:pPr algn="ctr"/>
            <a:r>
              <a:rPr lang="en-US" sz="1200" b="1" dirty="0">
                <a:solidFill>
                  <a:schemeClr val="bg1"/>
                </a:solidFill>
              </a:rPr>
              <a:t>3.6%</a:t>
            </a:r>
          </a:p>
        </p:txBody>
      </p:sp>
      <p:sp>
        <p:nvSpPr>
          <p:cNvPr id="615" name="TextBox 614">
            <a:extLst>
              <a:ext uri="{FF2B5EF4-FFF2-40B4-BE49-F238E27FC236}">
                <a16:creationId xmlns:a16="http://schemas.microsoft.com/office/drawing/2014/main" id="{C8CD2147-2D8A-BFE0-B90D-697DBB866E2C}"/>
              </a:ext>
            </a:extLst>
          </p:cNvPr>
          <p:cNvSpPr txBox="1"/>
          <p:nvPr/>
        </p:nvSpPr>
        <p:spPr>
          <a:xfrm>
            <a:off x="6159271" y="5416353"/>
            <a:ext cx="673767" cy="276999"/>
          </a:xfrm>
          <a:prstGeom prst="rect">
            <a:avLst/>
          </a:prstGeom>
          <a:noFill/>
        </p:spPr>
        <p:txBody>
          <a:bodyPr wrap="square" rtlCol="0" anchor="ctr">
            <a:spAutoFit/>
          </a:bodyPr>
          <a:lstStyle/>
          <a:p>
            <a:pPr algn="ctr"/>
            <a:r>
              <a:rPr lang="en-US" sz="1200" b="1" dirty="0">
                <a:solidFill>
                  <a:schemeClr val="bg1"/>
                </a:solidFill>
              </a:rPr>
              <a:t>2.1%</a:t>
            </a:r>
          </a:p>
        </p:txBody>
      </p:sp>
      <p:sp>
        <p:nvSpPr>
          <p:cNvPr id="616" name="TextBox 615">
            <a:extLst>
              <a:ext uri="{FF2B5EF4-FFF2-40B4-BE49-F238E27FC236}">
                <a16:creationId xmlns:a16="http://schemas.microsoft.com/office/drawing/2014/main" id="{EFD274A7-0BFB-0435-E2E0-94F3CC730EA2}"/>
              </a:ext>
            </a:extLst>
          </p:cNvPr>
          <p:cNvSpPr txBox="1"/>
          <p:nvPr/>
        </p:nvSpPr>
        <p:spPr>
          <a:xfrm>
            <a:off x="5979282" y="5134547"/>
            <a:ext cx="527144" cy="261610"/>
          </a:xfrm>
          <a:prstGeom prst="rect">
            <a:avLst/>
          </a:prstGeom>
          <a:noFill/>
        </p:spPr>
        <p:txBody>
          <a:bodyPr wrap="square" rtlCol="0" anchor="ctr">
            <a:spAutoFit/>
          </a:bodyPr>
          <a:lstStyle/>
          <a:p>
            <a:pPr algn="ctr"/>
            <a:r>
              <a:rPr lang="en-US" sz="1100" b="1" dirty="0"/>
              <a:t>UAE</a:t>
            </a:r>
          </a:p>
        </p:txBody>
      </p:sp>
      <p:sp>
        <p:nvSpPr>
          <p:cNvPr id="619" name="TextBox 618">
            <a:extLst>
              <a:ext uri="{FF2B5EF4-FFF2-40B4-BE49-F238E27FC236}">
                <a16:creationId xmlns:a16="http://schemas.microsoft.com/office/drawing/2014/main" id="{B1EC0338-0122-21F9-F8AD-F339C81D8457}"/>
              </a:ext>
            </a:extLst>
          </p:cNvPr>
          <p:cNvSpPr txBox="1"/>
          <p:nvPr/>
        </p:nvSpPr>
        <p:spPr>
          <a:xfrm>
            <a:off x="10177386" y="6478117"/>
            <a:ext cx="1643857" cy="246221"/>
          </a:xfrm>
          <a:prstGeom prst="rect">
            <a:avLst/>
          </a:prstGeom>
          <a:noFill/>
        </p:spPr>
        <p:txBody>
          <a:bodyPr wrap="square" rtlCol="0" anchor="ctr">
            <a:spAutoFit/>
          </a:bodyPr>
          <a:lstStyle/>
          <a:p>
            <a:pPr algn="r"/>
            <a:r>
              <a:rPr lang="en-US" sz="1000" i="1" dirty="0"/>
              <a:t>Source: IMF, Bloomberg</a:t>
            </a:r>
          </a:p>
        </p:txBody>
      </p:sp>
      <p:sp>
        <p:nvSpPr>
          <p:cNvPr id="620" name="Rectangle 619">
            <a:extLst>
              <a:ext uri="{FF2B5EF4-FFF2-40B4-BE49-F238E27FC236}">
                <a16:creationId xmlns:a16="http://schemas.microsoft.com/office/drawing/2014/main" id="{F02FF3E2-09E8-4872-5263-28995896804C}"/>
              </a:ext>
            </a:extLst>
          </p:cNvPr>
          <p:cNvSpPr/>
          <p:nvPr/>
        </p:nvSpPr>
        <p:spPr>
          <a:xfrm>
            <a:off x="9294735" y="2806536"/>
            <a:ext cx="2442690" cy="3577916"/>
          </a:xfrm>
          <a:prstGeom prst="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tIns="182880" rtlCol="0" anchor="t"/>
          <a:lstStyle/>
          <a:p>
            <a:pPr algn="ctr">
              <a:spcBef>
                <a:spcPts val="600"/>
              </a:spcBef>
            </a:pPr>
            <a:r>
              <a:rPr lang="en-US" sz="1400" b="1" dirty="0">
                <a:solidFill>
                  <a:schemeClr val="tx1"/>
                </a:solidFill>
              </a:rPr>
              <a:t>INFLATION COMPONENTS IN THE GCC</a:t>
            </a:r>
          </a:p>
        </p:txBody>
      </p:sp>
      <p:sp>
        <p:nvSpPr>
          <p:cNvPr id="621" name="Oval 620">
            <a:extLst>
              <a:ext uri="{FF2B5EF4-FFF2-40B4-BE49-F238E27FC236}">
                <a16:creationId xmlns:a16="http://schemas.microsoft.com/office/drawing/2014/main" id="{B81488A2-32CE-AC62-EA51-F74098313833}"/>
              </a:ext>
            </a:extLst>
          </p:cNvPr>
          <p:cNvSpPr/>
          <p:nvPr/>
        </p:nvSpPr>
        <p:spPr>
          <a:xfrm>
            <a:off x="859173" y="6161672"/>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TextBox 622">
            <a:extLst>
              <a:ext uri="{FF2B5EF4-FFF2-40B4-BE49-F238E27FC236}">
                <a16:creationId xmlns:a16="http://schemas.microsoft.com/office/drawing/2014/main" id="{80F7078A-D8E2-7821-4CD7-BAB220D0D374}"/>
              </a:ext>
            </a:extLst>
          </p:cNvPr>
          <p:cNvSpPr txBox="1"/>
          <p:nvPr/>
        </p:nvSpPr>
        <p:spPr>
          <a:xfrm>
            <a:off x="748595" y="6229918"/>
            <a:ext cx="598812" cy="261610"/>
          </a:xfrm>
          <a:prstGeom prst="rect">
            <a:avLst/>
          </a:prstGeom>
          <a:noFill/>
        </p:spPr>
        <p:txBody>
          <a:bodyPr wrap="square" rtlCol="0" anchor="ctr">
            <a:spAutoFit/>
          </a:bodyPr>
          <a:lstStyle/>
          <a:p>
            <a:pPr algn="ctr"/>
            <a:r>
              <a:rPr lang="en-US" sz="1100" b="1" dirty="0">
                <a:solidFill>
                  <a:schemeClr val="bg1"/>
                </a:solidFill>
              </a:rPr>
              <a:t>2023</a:t>
            </a:r>
          </a:p>
        </p:txBody>
      </p:sp>
      <p:sp>
        <p:nvSpPr>
          <p:cNvPr id="624" name="Oval 623">
            <a:extLst>
              <a:ext uri="{FF2B5EF4-FFF2-40B4-BE49-F238E27FC236}">
                <a16:creationId xmlns:a16="http://schemas.microsoft.com/office/drawing/2014/main" id="{A13B1D06-358F-D91E-09E4-938A835DA5D6}"/>
              </a:ext>
            </a:extLst>
          </p:cNvPr>
          <p:cNvSpPr/>
          <p:nvPr/>
        </p:nvSpPr>
        <p:spPr>
          <a:xfrm>
            <a:off x="1322515" y="6168122"/>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5" name="TextBox 624">
            <a:extLst>
              <a:ext uri="{FF2B5EF4-FFF2-40B4-BE49-F238E27FC236}">
                <a16:creationId xmlns:a16="http://schemas.microsoft.com/office/drawing/2014/main" id="{4D4FCCD4-E093-8FE0-CEF0-0B76A9B2E6A4}"/>
              </a:ext>
            </a:extLst>
          </p:cNvPr>
          <p:cNvSpPr txBox="1"/>
          <p:nvPr/>
        </p:nvSpPr>
        <p:spPr>
          <a:xfrm>
            <a:off x="1211937" y="6236368"/>
            <a:ext cx="598812" cy="261610"/>
          </a:xfrm>
          <a:prstGeom prst="rect">
            <a:avLst/>
          </a:prstGeom>
          <a:noFill/>
        </p:spPr>
        <p:txBody>
          <a:bodyPr wrap="square" rtlCol="0" anchor="ctr">
            <a:spAutoFit/>
          </a:bodyPr>
          <a:lstStyle/>
          <a:p>
            <a:pPr algn="ctr"/>
            <a:r>
              <a:rPr lang="en-US" sz="1100" b="1" dirty="0">
                <a:solidFill>
                  <a:schemeClr val="bg1"/>
                </a:solidFill>
              </a:rPr>
              <a:t>2024</a:t>
            </a:r>
          </a:p>
        </p:txBody>
      </p:sp>
      <p:sp>
        <p:nvSpPr>
          <p:cNvPr id="626" name="TextBox 625">
            <a:extLst>
              <a:ext uri="{FF2B5EF4-FFF2-40B4-BE49-F238E27FC236}">
                <a16:creationId xmlns:a16="http://schemas.microsoft.com/office/drawing/2014/main" id="{7CADC10C-1FE3-7F0D-35DC-602EA5E608C5}"/>
              </a:ext>
            </a:extLst>
          </p:cNvPr>
          <p:cNvSpPr txBox="1"/>
          <p:nvPr/>
        </p:nvSpPr>
        <p:spPr>
          <a:xfrm>
            <a:off x="788622" y="5885332"/>
            <a:ext cx="1370334" cy="261610"/>
          </a:xfrm>
          <a:prstGeom prst="rect">
            <a:avLst/>
          </a:prstGeom>
          <a:noFill/>
        </p:spPr>
        <p:txBody>
          <a:bodyPr wrap="square" rtlCol="0" anchor="ctr">
            <a:spAutoFit/>
          </a:bodyPr>
          <a:lstStyle/>
          <a:p>
            <a:r>
              <a:rPr lang="en-US" sz="1100" i="1" dirty="0"/>
              <a:t>As of March</a:t>
            </a:r>
          </a:p>
        </p:txBody>
      </p:sp>
      <p:sp>
        <p:nvSpPr>
          <p:cNvPr id="628" name="TextBox 627">
            <a:extLst>
              <a:ext uri="{FF2B5EF4-FFF2-40B4-BE49-F238E27FC236}">
                <a16:creationId xmlns:a16="http://schemas.microsoft.com/office/drawing/2014/main" id="{42DF82B2-9079-9AB1-5024-1F06766ECFF0}"/>
              </a:ext>
            </a:extLst>
          </p:cNvPr>
          <p:cNvSpPr txBox="1"/>
          <p:nvPr/>
        </p:nvSpPr>
        <p:spPr>
          <a:xfrm>
            <a:off x="4212116" y="2036336"/>
            <a:ext cx="4274457" cy="276999"/>
          </a:xfrm>
          <a:prstGeom prst="rect">
            <a:avLst/>
          </a:prstGeom>
          <a:solidFill>
            <a:schemeClr val="accent5"/>
          </a:solidFill>
          <a:ln>
            <a:noFill/>
          </a:ln>
        </p:spPr>
        <p:txBody>
          <a:bodyPr wrap="square">
            <a:spAutoFit/>
          </a:bodyPr>
          <a:lstStyle/>
          <a:p>
            <a:pPr algn="r"/>
            <a:r>
              <a:rPr lang="en-US" sz="1200" b="1" i="1" u="none" strike="noStrike" baseline="0" dirty="0">
                <a:solidFill>
                  <a:schemeClr val="bg1"/>
                </a:solidFill>
                <a:latin typeface="Arial,BoldItalic"/>
              </a:rPr>
              <a:t>GCC inflation witnessed broad-based decline in 2023</a:t>
            </a:r>
            <a:endParaRPr lang="en-US" sz="1200" dirty="0">
              <a:solidFill>
                <a:schemeClr val="bg1"/>
              </a:solidFill>
            </a:endParaRPr>
          </a:p>
        </p:txBody>
      </p:sp>
      <p:sp>
        <p:nvSpPr>
          <p:cNvPr id="642" name="Oval 641">
            <a:extLst>
              <a:ext uri="{FF2B5EF4-FFF2-40B4-BE49-F238E27FC236}">
                <a16:creationId xmlns:a16="http://schemas.microsoft.com/office/drawing/2014/main" id="{DDA2610E-DEC5-EB3D-FCCB-5AA41F35FDBE}"/>
              </a:ext>
            </a:extLst>
          </p:cNvPr>
          <p:cNvSpPr/>
          <p:nvPr/>
        </p:nvSpPr>
        <p:spPr>
          <a:xfrm>
            <a:off x="9518673" y="3986085"/>
            <a:ext cx="514417" cy="514417"/>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3" name="Oval 642">
            <a:extLst>
              <a:ext uri="{FF2B5EF4-FFF2-40B4-BE49-F238E27FC236}">
                <a16:creationId xmlns:a16="http://schemas.microsoft.com/office/drawing/2014/main" id="{7D6BF03D-55E9-B7F5-84B6-E59D5410192E}"/>
              </a:ext>
            </a:extLst>
          </p:cNvPr>
          <p:cNvSpPr/>
          <p:nvPr/>
        </p:nvSpPr>
        <p:spPr>
          <a:xfrm>
            <a:off x="9517883" y="4578801"/>
            <a:ext cx="514417" cy="514417"/>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4" name="Oval 643">
            <a:extLst>
              <a:ext uri="{FF2B5EF4-FFF2-40B4-BE49-F238E27FC236}">
                <a16:creationId xmlns:a16="http://schemas.microsoft.com/office/drawing/2014/main" id="{84B3B432-4D61-C624-438F-DBBEA79E312A}"/>
              </a:ext>
            </a:extLst>
          </p:cNvPr>
          <p:cNvSpPr/>
          <p:nvPr/>
        </p:nvSpPr>
        <p:spPr>
          <a:xfrm>
            <a:off x="9517216" y="5171517"/>
            <a:ext cx="514417" cy="514417"/>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5" name="Oval 644">
            <a:extLst>
              <a:ext uri="{FF2B5EF4-FFF2-40B4-BE49-F238E27FC236}">
                <a16:creationId xmlns:a16="http://schemas.microsoft.com/office/drawing/2014/main" id="{DC252E66-7191-A5BB-4C9E-B1798A8B0EDD}"/>
              </a:ext>
            </a:extLst>
          </p:cNvPr>
          <p:cNvSpPr/>
          <p:nvPr/>
        </p:nvSpPr>
        <p:spPr>
          <a:xfrm>
            <a:off x="9515636" y="5764233"/>
            <a:ext cx="514417" cy="514417"/>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7" name="Picture 646" descr="A white outline of a house&#10;&#10;Description automatically generated">
            <a:extLst>
              <a:ext uri="{FF2B5EF4-FFF2-40B4-BE49-F238E27FC236}">
                <a16:creationId xmlns:a16="http://schemas.microsoft.com/office/drawing/2014/main" id="{07B4A4EC-F2F5-1104-EA5B-D5B7D1556B7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16232" y="4070572"/>
            <a:ext cx="320654" cy="320654"/>
          </a:xfrm>
          <a:prstGeom prst="rect">
            <a:avLst/>
          </a:prstGeom>
        </p:spPr>
      </p:pic>
      <p:sp>
        <p:nvSpPr>
          <p:cNvPr id="648" name="TextBox 647">
            <a:extLst>
              <a:ext uri="{FF2B5EF4-FFF2-40B4-BE49-F238E27FC236}">
                <a16:creationId xmlns:a16="http://schemas.microsoft.com/office/drawing/2014/main" id="{449EB005-52D5-E03D-2BCA-188EF0DEEA96}"/>
              </a:ext>
            </a:extLst>
          </p:cNvPr>
          <p:cNvSpPr txBox="1"/>
          <p:nvPr/>
        </p:nvSpPr>
        <p:spPr>
          <a:xfrm>
            <a:off x="10008100" y="3954443"/>
            <a:ext cx="990427" cy="261610"/>
          </a:xfrm>
          <a:prstGeom prst="rect">
            <a:avLst/>
          </a:prstGeom>
          <a:noFill/>
        </p:spPr>
        <p:txBody>
          <a:bodyPr wrap="square" rtlCol="0">
            <a:spAutoFit/>
          </a:bodyPr>
          <a:lstStyle/>
          <a:p>
            <a:r>
              <a:rPr lang="en-US" sz="1100" i="1" u="sng" dirty="0"/>
              <a:t>HOUSING</a:t>
            </a:r>
          </a:p>
        </p:txBody>
      </p:sp>
      <p:sp>
        <p:nvSpPr>
          <p:cNvPr id="649" name="TextBox 648">
            <a:extLst>
              <a:ext uri="{FF2B5EF4-FFF2-40B4-BE49-F238E27FC236}">
                <a16:creationId xmlns:a16="http://schemas.microsoft.com/office/drawing/2014/main" id="{16445E3A-6FD3-2E3D-136C-BC7136B83D2E}"/>
              </a:ext>
            </a:extLst>
          </p:cNvPr>
          <p:cNvSpPr txBox="1"/>
          <p:nvPr/>
        </p:nvSpPr>
        <p:spPr>
          <a:xfrm>
            <a:off x="10045857" y="4555382"/>
            <a:ext cx="990427" cy="261610"/>
          </a:xfrm>
          <a:prstGeom prst="rect">
            <a:avLst/>
          </a:prstGeom>
          <a:noFill/>
        </p:spPr>
        <p:txBody>
          <a:bodyPr wrap="square" rtlCol="0">
            <a:spAutoFit/>
          </a:bodyPr>
          <a:lstStyle/>
          <a:p>
            <a:r>
              <a:rPr lang="en-US" sz="1100" i="1" u="sng" dirty="0"/>
              <a:t>F&amp;B</a:t>
            </a:r>
          </a:p>
        </p:txBody>
      </p:sp>
      <p:sp>
        <p:nvSpPr>
          <p:cNvPr id="650" name="TextBox 649">
            <a:extLst>
              <a:ext uri="{FF2B5EF4-FFF2-40B4-BE49-F238E27FC236}">
                <a16:creationId xmlns:a16="http://schemas.microsoft.com/office/drawing/2014/main" id="{C5F13278-6053-209C-6626-72B1F4A87B53}"/>
              </a:ext>
            </a:extLst>
          </p:cNvPr>
          <p:cNvSpPr txBox="1"/>
          <p:nvPr/>
        </p:nvSpPr>
        <p:spPr>
          <a:xfrm>
            <a:off x="10027681" y="5099108"/>
            <a:ext cx="1224291" cy="261610"/>
          </a:xfrm>
          <a:prstGeom prst="rect">
            <a:avLst/>
          </a:prstGeom>
          <a:noFill/>
        </p:spPr>
        <p:txBody>
          <a:bodyPr wrap="square" rtlCol="0">
            <a:spAutoFit/>
          </a:bodyPr>
          <a:lstStyle/>
          <a:p>
            <a:r>
              <a:rPr lang="en-US" sz="1100" i="1" u="sng" dirty="0"/>
              <a:t>HOSPITALITY</a:t>
            </a:r>
          </a:p>
        </p:txBody>
      </p:sp>
      <p:sp>
        <p:nvSpPr>
          <p:cNvPr id="651" name="TextBox 650">
            <a:extLst>
              <a:ext uri="{FF2B5EF4-FFF2-40B4-BE49-F238E27FC236}">
                <a16:creationId xmlns:a16="http://schemas.microsoft.com/office/drawing/2014/main" id="{7997299B-4194-6908-75DD-93057E67EFC8}"/>
              </a:ext>
            </a:extLst>
          </p:cNvPr>
          <p:cNvSpPr txBox="1"/>
          <p:nvPr/>
        </p:nvSpPr>
        <p:spPr>
          <a:xfrm>
            <a:off x="10027680" y="5727996"/>
            <a:ext cx="1224291" cy="261610"/>
          </a:xfrm>
          <a:prstGeom prst="rect">
            <a:avLst/>
          </a:prstGeom>
          <a:noFill/>
        </p:spPr>
        <p:txBody>
          <a:bodyPr wrap="square" rtlCol="0">
            <a:spAutoFit/>
          </a:bodyPr>
          <a:lstStyle/>
          <a:p>
            <a:r>
              <a:rPr lang="en-US" sz="1100" i="1" u="sng" dirty="0"/>
              <a:t>LEISURE</a:t>
            </a:r>
          </a:p>
        </p:txBody>
      </p:sp>
      <p:pic>
        <p:nvPicPr>
          <p:cNvPr id="653" name="Picture 652" descr="A white symbol of a fork and spoon&#10;&#10;Description automatically generated">
            <a:extLst>
              <a:ext uri="{FF2B5EF4-FFF2-40B4-BE49-F238E27FC236}">
                <a16:creationId xmlns:a16="http://schemas.microsoft.com/office/drawing/2014/main" id="{88048F02-2B67-9E57-CA78-7F17360B02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14079" y="4674384"/>
            <a:ext cx="335273" cy="335273"/>
          </a:xfrm>
          <a:prstGeom prst="rect">
            <a:avLst/>
          </a:prstGeom>
        </p:spPr>
      </p:pic>
      <p:pic>
        <p:nvPicPr>
          <p:cNvPr id="655" name="Picture 654" descr="A white sign with a check mark&#10;&#10;Description automatically generated">
            <a:extLst>
              <a:ext uri="{FF2B5EF4-FFF2-40B4-BE49-F238E27FC236}">
                <a16:creationId xmlns:a16="http://schemas.microsoft.com/office/drawing/2014/main" id="{624C3DD9-F25C-3BAC-5355-E02340EA6EC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620429" y="5273641"/>
            <a:ext cx="303737" cy="303737"/>
          </a:xfrm>
          <a:prstGeom prst="rect">
            <a:avLst/>
          </a:prstGeom>
        </p:spPr>
      </p:pic>
      <p:pic>
        <p:nvPicPr>
          <p:cNvPr id="657" name="Picture 656" descr="A white and black movie clapper board&#10;&#10;Description automatically generated">
            <a:extLst>
              <a:ext uri="{FF2B5EF4-FFF2-40B4-BE49-F238E27FC236}">
                <a16:creationId xmlns:a16="http://schemas.microsoft.com/office/drawing/2014/main" id="{3564D85F-4E36-C844-CE61-3BEA9AAAC3D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27543" y="5854716"/>
            <a:ext cx="306464" cy="306464"/>
          </a:xfrm>
          <a:prstGeom prst="rect">
            <a:avLst/>
          </a:prstGeom>
        </p:spPr>
      </p:pic>
      <p:sp>
        <p:nvSpPr>
          <p:cNvPr id="658" name="TextBox 657">
            <a:extLst>
              <a:ext uri="{FF2B5EF4-FFF2-40B4-BE49-F238E27FC236}">
                <a16:creationId xmlns:a16="http://schemas.microsoft.com/office/drawing/2014/main" id="{3ECD2835-908D-4DDB-2F9F-FAFEF06CA2F3}"/>
              </a:ext>
            </a:extLst>
          </p:cNvPr>
          <p:cNvSpPr txBox="1"/>
          <p:nvPr/>
        </p:nvSpPr>
        <p:spPr>
          <a:xfrm>
            <a:off x="9367556" y="3466023"/>
            <a:ext cx="2305219" cy="430887"/>
          </a:xfrm>
          <a:prstGeom prst="rect">
            <a:avLst/>
          </a:prstGeom>
          <a:noFill/>
        </p:spPr>
        <p:txBody>
          <a:bodyPr wrap="square" rtlCol="0">
            <a:spAutoFit/>
          </a:bodyPr>
          <a:lstStyle/>
          <a:p>
            <a:r>
              <a:rPr lang="en-US" sz="1100" b="1" dirty="0"/>
              <a:t>HIGHEST AND LOWEST YEAR-ON YEAR CHANGE (2022-2023)</a:t>
            </a:r>
          </a:p>
        </p:txBody>
      </p:sp>
      <p:cxnSp>
        <p:nvCxnSpPr>
          <p:cNvPr id="660" name="Straight Connector 659">
            <a:extLst>
              <a:ext uri="{FF2B5EF4-FFF2-40B4-BE49-F238E27FC236}">
                <a16:creationId xmlns:a16="http://schemas.microsoft.com/office/drawing/2014/main" id="{B9200C49-54C5-1513-6C48-BAC0BDF23FD6}"/>
              </a:ext>
            </a:extLst>
          </p:cNvPr>
          <p:cNvCxnSpPr>
            <a:cxnSpLocks/>
          </p:cNvCxnSpPr>
          <p:nvPr/>
        </p:nvCxnSpPr>
        <p:spPr>
          <a:xfrm>
            <a:off x="10539689" y="4337737"/>
            <a:ext cx="1055121"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63" name="Straight Connector 662">
            <a:extLst>
              <a:ext uri="{FF2B5EF4-FFF2-40B4-BE49-F238E27FC236}">
                <a16:creationId xmlns:a16="http://schemas.microsoft.com/office/drawing/2014/main" id="{F694FC72-D7A0-D645-4E91-25B518A7B8FC}"/>
              </a:ext>
            </a:extLst>
          </p:cNvPr>
          <p:cNvCxnSpPr>
            <a:cxnSpLocks/>
          </p:cNvCxnSpPr>
          <p:nvPr/>
        </p:nvCxnSpPr>
        <p:spPr>
          <a:xfrm flipV="1">
            <a:off x="10110875" y="4307511"/>
            <a:ext cx="437191" cy="2056"/>
          </a:xfrm>
          <a:prstGeom prst="line">
            <a:avLst/>
          </a:prstGeom>
          <a:ln w="285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66" name="TextBox 665">
            <a:extLst>
              <a:ext uri="{FF2B5EF4-FFF2-40B4-BE49-F238E27FC236}">
                <a16:creationId xmlns:a16="http://schemas.microsoft.com/office/drawing/2014/main" id="{AE98D1C9-C6F7-407E-C6FA-7737C83D63F6}"/>
              </a:ext>
            </a:extLst>
          </p:cNvPr>
          <p:cNvSpPr txBox="1"/>
          <p:nvPr/>
        </p:nvSpPr>
        <p:spPr>
          <a:xfrm>
            <a:off x="10006976" y="4316247"/>
            <a:ext cx="992673" cy="215444"/>
          </a:xfrm>
          <a:prstGeom prst="rect">
            <a:avLst/>
          </a:prstGeom>
          <a:noFill/>
        </p:spPr>
        <p:txBody>
          <a:bodyPr wrap="square" rtlCol="0">
            <a:spAutoFit/>
          </a:bodyPr>
          <a:lstStyle/>
          <a:p>
            <a:r>
              <a:rPr lang="en-US" sz="800" i="1" dirty="0"/>
              <a:t>-3.6% Bahrain</a:t>
            </a:r>
          </a:p>
        </p:txBody>
      </p:sp>
      <p:sp>
        <p:nvSpPr>
          <p:cNvPr id="667" name="TextBox 666">
            <a:extLst>
              <a:ext uri="{FF2B5EF4-FFF2-40B4-BE49-F238E27FC236}">
                <a16:creationId xmlns:a16="http://schemas.microsoft.com/office/drawing/2014/main" id="{3699E035-AD5C-0DE0-E945-13268BFAACF4}"/>
              </a:ext>
            </a:extLst>
          </p:cNvPr>
          <p:cNvSpPr txBox="1"/>
          <p:nvPr/>
        </p:nvSpPr>
        <p:spPr>
          <a:xfrm>
            <a:off x="10828606" y="4141500"/>
            <a:ext cx="816989" cy="215444"/>
          </a:xfrm>
          <a:prstGeom prst="rect">
            <a:avLst/>
          </a:prstGeom>
          <a:noFill/>
        </p:spPr>
        <p:txBody>
          <a:bodyPr wrap="square" rtlCol="0">
            <a:spAutoFit/>
          </a:bodyPr>
          <a:lstStyle/>
          <a:p>
            <a:pPr algn="r"/>
            <a:r>
              <a:rPr lang="en-US" sz="800" i="1" dirty="0"/>
              <a:t>19.5% UAE</a:t>
            </a:r>
          </a:p>
        </p:txBody>
      </p:sp>
      <p:cxnSp>
        <p:nvCxnSpPr>
          <p:cNvPr id="668" name="Straight Connector 667">
            <a:extLst>
              <a:ext uri="{FF2B5EF4-FFF2-40B4-BE49-F238E27FC236}">
                <a16:creationId xmlns:a16="http://schemas.microsoft.com/office/drawing/2014/main" id="{8A9121A6-BDC7-05F6-3D97-015E450CEB07}"/>
              </a:ext>
            </a:extLst>
          </p:cNvPr>
          <p:cNvCxnSpPr>
            <a:cxnSpLocks/>
          </p:cNvCxnSpPr>
          <p:nvPr/>
        </p:nvCxnSpPr>
        <p:spPr>
          <a:xfrm>
            <a:off x="10718621" y="4847654"/>
            <a:ext cx="884342"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69" name="Straight Connector 668">
            <a:extLst>
              <a:ext uri="{FF2B5EF4-FFF2-40B4-BE49-F238E27FC236}">
                <a16:creationId xmlns:a16="http://schemas.microsoft.com/office/drawing/2014/main" id="{B9BDF502-8B7C-8808-2B6F-B4FF74E76332}"/>
              </a:ext>
            </a:extLst>
          </p:cNvPr>
          <p:cNvCxnSpPr>
            <a:cxnSpLocks/>
          </p:cNvCxnSpPr>
          <p:nvPr/>
        </p:nvCxnSpPr>
        <p:spPr>
          <a:xfrm>
            <a:off x="10119028" y="4819484"/>
            <a:ext cx="599593" cy="0"/>
          </a:xfrm>
          <a:prstGeom prst="line">
            <a:avLst/>
          </a:prstGeom>
          <a:ln w="285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70" name="TextBox 669">
            <a:extLst>
              <a:ext uri="{FF2B5EF4-FFF2-40B4-BE49-F238E27FC236}">
                <a16:creationId xmlns:a16="http://schemas.microsoft.com/office/drawing/2014/main" id="{59D8EB74-4940-1BCC-6F12-1E09A97DFAED}"/>
              </a:ext>
            </a:extLst>
          </p:cNvPr>
          <p:cNvSpPr txBox="1"/>
          <p:nvPr/>
        </p:nvSpPr>
        <p:spPr>
          <a:xfrm>
            <a:off x="10041918" y="4807152"/>
            <a:ext cx="775245" cy="215444"/>
          </a:xfrm>
          <a:prstGeom prst="rect">
            <a:avLst/>
          </a:prstGeom>
          <a:noFill/>
        </p:spPr>
        <p:txBody>
          <a:bodyPr wrap="square" rtlCol="0">
            <a:spAutoFit/>
          </a:bodyPr>
          <a:lstStyle/>
          <a:p>
            <a:r>
              <a:rPr lang="en-US" sz="800" i="1" dirty="0"/>
              <a:t>-4.5% UAE</a:t>
            </a:r>
          </a:p>
        </p:txBody>
      </p:sp>
      <p:sp>
        <p:nvSpPr>
          <p:cNvPr id="671" name="TextBox 670">
            <a:extLst>
              <a:ext uri="{FF2B5EF4-FFF2-40B4-BE49-F238E27FC236}">
                <a16:creationId xmlns:a16="http://schemas.microsoft.com/office/drawing/2014/main" id="{52F3D76C-6A72-C2B4-CF20-514CAF59A51E}"/>
              </a:ext>
            </a:extLst>
          </p:cNvPr>
          <p:cNvSpPr txBox="1"/>
          <p:nvPr/>
        </p:nvSpPr>
        <p:spPr>
          <a:xfrm>
            <a:off x="10750112" y="4650142"/>
            <a:ext cx="911920" cy="215444"/>
          </a:xfrm>
          <a:prstGeom prst="rect">
            <a:avLst/>
          </a:prstGeom>
          <a:noFill/>
        </p:spPr>
        <p:txBody>
          <a:bodyPr wrap="square" rtlCol="0">
            <a:spAutoFit/>
          </a:bodyPr>
          <a:lstStyle/>
          <a:p>
            <a:pPr algn="r"/>
            <a:r>
              <a:rPr lang="en-US" sz="800" i="1" dirty="0"/>
              <a:t>11.5% Bahrain</a:t>
            </a:r>
          </a:p>
        </p:txBody>
      </p:sp>
      <p:cxnSp>
        <p:nvCxnSpPr>
          <p:cNvPr id="674" name="Straight Connector 673">
            <a:extLst>
              <a:ext uri="{FF2B5EF4-FFF2-40B4-BE49-F238E27FC236}">
                <a16:creationId xmlns:a16="http://schemas.microsoft.com/office/drawing/2014/main" id="{6F87E299-7D74-5F36-C30C-7ECB8146EAC8}"/>
              </a:ext>
            </a:extLst>
          </p:cNvPr>
          <p:cNvCxnSpPr>
            <a:cxnSpLocks/>
          </p:cNvCxnSpPr>
          <p:nvPr/>
        </p:nvCxnSpPr>
        <p:spPr>
          <a:xfrm>
            <a:off x="11017892" y="5441875"/>
            <a:ext cx="487901"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75" name="Straight Connector 674">
            <a:extLst>
              <a:ext uri="{FF2B5EF4-FFF2-40B4-BE49-F238E27FC236}">
                <a16:creationId xmlns:a16="http://schemas.microsoft.com/office/drawing/2014/main" id="{77159519-2A26-0499-B92F-30E0BCC51193}"/>
              </a:ext>
            </a:extLst>
          </p:cNvPr>
          <p:cNvCxnSpPr>
            <a:cxnSpLocks/>
          </p:cNvCxnSpPr>
          <p:nvPr/>
        </p:nvCxnSpPr>
        <p:spPr>
          <a:xfrm>
            <a:off x="10726405" y="5416353"/>
            <a:ext cx="291487" cy="0"/>
          </a:xfrm>
          <a:prstGeom prst="line">
            <a:avLst/>
          </a:prstGeom>
          <a:ln w="28575">
            <a:solidFill>
              <a:schemeClr val="accent6"/>
            </a:solidFill>
          </a:ln>
        </p:spPr>
        <p:style>
          <a:lnRef idx="2">
            <a:schemeClr val="accent1"/>
          </a:lnRef>
          <a:fillRef idx="0">
            <a:schemeClr val="accent1"/>
          </a:fillRef>
          <a:effectRef idx="1">
            <a:schemeClr val="accent1"/>
          </a:effectRef>
          <a:fontRef idx="minor">
            <a:schemeClr val="tx1"/>
          </a:fontRef>
        </p:style>
      </p:cxnSp>
      <p:sp>
        <p:nvSpPr>
          <p:cNvPr id="676" name="TextBox 675">
            <a:extLst>
              <a:ext uri="{FF2B5EF4-FFF2-40B4-BE49-F238E27FC236}">
                <a16:creationId xmlns:a16="http://schemas.microsoft.com/office/drawing/2014/main" id="{FA46FA5E-CD30-7D7A-46AD-0C770A530FE6}"/>
              </a:ext>
            </a:extLst>
          </p:cNvPr>
          <p:cNvSpPr txBox="1"/>
          <p:nvPr/>
        </p:nvSpPr>
        <p:spPr>
          <a:xfrm>
            <a:off x="10444067" y="5402780"/>
            <a:ext cx="788729" cy="215444"/>
          </a:xfrm>
          <a:prstGeom prst="rect">
            <a:avLst/>
          </a:prstGeom>
          <a:noFill/>
        </p:spPr>
        <p:txBody>
          <a:bodyPr wrap="square" rtlCol="0">
            <a:spAutoFit/>
          </a:bodyPr>
          <a:lstStyle/>
          <a:p>
            <a:r>
              <a:rPr lang="en-US" sz="800" i="1" dirty="0"/>
              <a:t>-2.3% Qatar</a:t>
            </a:r>
          </a:p>
        </p:txBody>
      </p:sp>
      <p:sp>
        <p:nvSpPr>
          <p:cNvPr id="677" name="TextBox 676">
            <a:extLst>
              <a:ext uri="{FF2B5EF4-FFF2-40B4-BE49-F238E27FC236}">
                <a16:creationId xmlns:a16="http://schemas.microsoft.com/office/drawing/2014/main" id="{D65E5F2E-7169-1309-AD03-BAB99ACD9A8F}"/>
              </a:ext>
            </a:extLst>
          </p:cNvPr>
          <p:cNvSpPr txBox="1"/>
          <p:nvPr/>
        </p:nvSpPr>
        <p:spPr>
          <a:xfrm>
            <a:off x="10775435" y="5262976"/>
            <a:ext cx="862931" cy="215444"/>
          </a:xfrm>
          <a:prstGeom prst="rect">
            <a:avLst/>
          </a:prstGeom>
          <a:noFill/>
        </p:spPr>
        <p:txBody>
          <a:bodyPr wrap="square" rtlCol="0">
            <a:spAutoFit/>
          </a:bodyPr>
          <a:lstStyle/>
          <a:p>
            <a:pPr algn="r"/>
            <a:r>
              <a:rPr lang="en-US" sz="800" i="1" dirty="0"/>
              <a:t>6.2% KSA</a:t>
            </a:r>
          </a:p>
        </p:txBody>
      </p:sp>
      <p:cxnSp>
        <p:nvCxnSpPr>
          <p:cNvPr id="682" name="Straight Connector 681">
            <a:extLst>
              <a:ext uri="{FF2B5EF4-FFF2-40B4-BE49-F238E27FC236}">
                <a16:creationId xmlns:a16="http://schemas.microsoft.com/office/drawing/2014/main" id="{9215C7D3-1482-CB77-D8E8-470CC111E27B}"/>
              </a:ext>
            </a:extLst>
          </p:cNvPr>
          <p:cNvCxnSpPr>
            <a:cxnSpLocks/>
          </p:cNvCxnSpPr>
          <p:nvPr/>
        </p:nvCxnSpPr>
        <p:spPr>
          <a:xfrm>
            <a:off x="10718621" y="6073853"/>
            <a:ext cx="793587"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683" name="Straight Connector 682">
            <a:extLst>
              <a:ext uri="{FF2B5EF4-FFF2-40B4-BE49-F238E27FC236}">
                <a16:creationId xmlns:a16="http://schemas.microsoft.com/office/drawing/2014/main" id="{71D1D047-44F3-D1F3-020A-070ED1F121D5}"/>
              </a:ext>
            </a:extLst>
          </p:cNvPr>
          <p:cNvCxnSpPr>
            <a:cxnSpLocks/>
          </p:cNvCxnSpPr>
          <p:nvPr/>
        </p:nvCxnSpPr>
        <p:spPr>
          <a:xfrm flipH="1">
            <a:off x="10718621" y="6043148"/>
            <a:ext cx="251094" cy="0"/>
          </a:xfrm>
          <a:prstGeom prst="line">
            <a:avLst/>
          </a:prstGeom>
          <a:ln w="28575">
            <a:solidFill>
              <a:schemeClr val="accent2"/>
            </a:solidFill>
          </a:ln>
        </p:spPr>
        <p:style>
          <a:lnRef idx="2">
            <a:schemeClr val="accent1"/>
          </a:lnRef>
          <a:fillRef idx="0">
            <a:schemeClr val="accent1"/>
          </a:fillRef>
          <a:effectRef idx="1">
            <a:schemeClr val="accent1"/>
          </a:effectRef>
          <a:fontRef idx="minor">
            <a:schemeClr val="tx1"/>
          </a:fontRef>
        </p:style>
      </p:cxnSp>
      <p:sp>
        <p:nvSpPr>
          <p:cNvPr id="685" name="TextBox 684">
            <a:extLst>
              <a:ext uri="{FF2B5EF4-FFF2-40B4-BE49-F238E27FC236}">
                <a16:creationId xmlns:a16="http://schemas.microsoft.com/office/drawing/2014/main" id="{D5B5E142-9273-2F55-058C-3F18D2938C79}"/>
              </a:ext>
            </a:extLst>
          </p:cNvPr>
          <p:cNvSpPr txBox="1"/>
          <p:nvPr/>
        </p:nvSpPr>
        <p:spPr>
          <a:xfrm>
            <a:off x="10820681" y="6071152"/>
            <a:ext cx="813471" cy="215444"/>
          </a:xfrm>
          <a:prstGeom prst="rect">
            <a:avLst/>
          </a:prstGeom>
          <a:noFill/>
        </p:spPr>
        <p:txBody>
          <a:bodyPr wrap="square" rtlCol="0">
            <a:spAutoFit/>
          </a:bodyPr>
          <a:lstStyle/>
          <a:p>
            <a:pPr algn="r"/>
            <a:r>
              <a:rPr lang="en-US" sz="800" i="1" dirty="0"/>
              <a:t>14.9% Qatar</a:t>
            </a:r>
          </a:p>
        </p:txBody>
      </p:sp>
      <p:sp>
        <p:nvSpPr>
          <p:cNvPr id="690" name="TextBox 689">
            <a:extLst>
              <a:ext uri="{FF2B5EF4-FFF2-40B4-BE49-F238E27FC236}">
                <a16:creationId xmlns:a16="http://schemas.microsoft.com/office/drawing/2014/main" id="{75EF421B-628F-2472-F6E9-45D363F502FF}"/>
              </a:ext>
            </a:extLst>
          </p:cNvPr>
          <p:cNvSpPr txBox="1"/>
          <p:nvPr/>
        </p:nvSpPr>
        <p:spPr>
          <a:xfrm>
            <a:off x="10480771" y="5871097"/>
            <a:ext cx="793587" cy="215444"/>
          </a:xfrm>
          <a:prstGeom prst="rect">
            <a:avLst/>
          </a:prstGeom>
          <a:noFill/>
        </p:spPr>
        <p:txBody>
          <a:bodyPr wrap="square" rtlCol="0">
            <a:spAutoFit/>
          </a:bodyPr>
          <a:lstStyle/>
          <a:p>
            <a:pPr algn="r"/>
            <a:r>
              <a:rPr lang="en-US" sz="800" i="1" dirty="0"/>
              <a:t>1.7% Oman</a:t>
            </a:r>
          </a:p>
        </p:txBody>
      </p:sp>
      <p:sp>
        <p:nvSpPr>
          <p:cNvPr id="5" name="Rectangle 4">
            <a:extLst>
              <a:ext uri="{FF2B5EF4-FFF2-40B4-BE49-F238E27FC236}">
                <a16:creationId xmlns:a16="http://schemas.microsoft.com/office/drawing/2014/main" id="{9AFAD3C4-926C-04E3-66E9-159DC36ADBE2}"/>
              </a:ext>
            </a:extLst>
          </p:cNvPr>
          <p:cNvSpPr/>
          <p:nvPr/>
        </p:nvSpPr>
        <p:spPr>
          <a:xfrm>
            <a:off x="9291452" y="1482983"/>
            <a:ext cx="2442690" cy="1125115"/>
          </a:xfrm>
          <a:prstGeom prst="rect">
            <a:avLst/>
          </a:prstGeom>
          <a:solidFill>
            <a:schemeClr val="accent4">
              <a:lumMod val="20000"/>
              <a:lumOff val="8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tIns="182880" rtlCol="0" anchor="t"/>
          <a:lstStyle/>
          <a:p>
            <a:pPr>
              <a:spcBef>
                <a:spcPts val="600"/>
              </a:spcBef>
            </a:pPr>
            <a:r>
              <a:rPr lang="en-US" sz="1400" b="1" dirty="0">
                <a:solidFill>
                  <a:schemeClr val="tx1"/>
                </a:solidFill>
              </a:rPr>
              <a:t>KSA INFLATION</a:t>
            </a:r>
          </a:p>
        </p:txBody>
      </p:sp>
      <p:sp>
        <p:nvSpPr>
          <p:cNvPr id="564" name="Oval 563">
            <a:extLst>
              <a:ext uri="{FF2B5EF4-FFF2-40B4-BE49-F238E27FC236}">
                <a16:creationId xmlns:a16="http://schemas.microsoft.com/office/drawing/2014/main" id="{398C528F-D752-F708-9A81-2C37529291E8}"/>
              </a:ext>
            </a:extLst>
          </p:cNvPr>
          <p:cNvSpPr/>
          <p:nvPr/>
        </p:nvSpPr>
        <p:spPr>
          <a:xfrm>
            <a:off x="9491763" y="2038806"/>
            <a:ext cx="382302" cy="382302"/>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0" name="Oval 569">
            <a:extLst>
              <a:ext uri="{FF2B5EF4-FFF2-40B4-BE49-F238E27FC236}">
                <a16:creationId xmlns:a16="http://schemas.microsoft.com/office/drawing/2014/main" id="{F42159EE-5CAB-23BC-43AD-CD52DE6D3CC0}"/>
              </a:ext>
            </a:extLst>
          </p:cNvPr>
          <p:cNvSpPr/>
          <p:nvPr/>
        </p:nvSpPr>
        <p:spPr>
          <a:xfrm>
            <a:off x="10644771" y="2031857"/>
            <a:ext cx="382302" cy="382302"/>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1" name="TextBox 570">
            <a:extLst>
              <a:ext uri="{FF2B5EF4-FFF2-40B4-BE49-F238E27FC236}">
                <a16:creationId xmlns:a16="http://schemas.microsoft.com/office/drawing/2014/main" id="{D7C57924-7920-E0A7-5631-31E2E2B0D669}"/>
              </a:ext>
            </a:extLst>
          </p:cNvPr>
          <p:cNvSpPr txBox="1"/>
          <p:nvPr/>
        </p:nvSpPr>
        <p:spPr>
          <a:xfrm>
            <a:off x="9363445" y="2091798"/>
            <a:ext cx="673767" cy="276999"/>
          </a:xfrm>
          <a:prstGeom prst="rect">
            <a:avLst/>
          </a:prstGeom>
          <a:noFill/>
        </p:spPr>
        <p:txBody>
          <a:bodyPr wrap="square" rtlCol="0" anchor="ctr">
            <a:spAutoFit/>
          </a:bodyPr>
          <a:lstStyle/>
          <a:p>
            <a:pPr algn="ctr"/>
            <a:r>
              <a:rPr lang="en-US" sz="1200" b="1" dirty="0">
                <a:solidFill>
                  <a:schemeClr val="bg1"/>
                </a:solidFill>
              </a:rPr>
              <a:t>2.7%</a:t>
            </a:r>
          </a:p>
        </p:txBody>
      </p:sp>
      <p:sp>
        <p:nvSpPr>
          <p:cNvPr id="572" name="TextBox 571">
            <a:extLst>
              <a:ext uri="{FF2B5EF4-FFF2-40B4-BE49-F238E27FC236}">
                <a16:creationId xmlns:a16="http://schemas.microsoft.com/office/drawing/2014/main" id="{F22C6059-2D68-6007-12E5-79FA21130EB3}"/>
              </a:ext>
            </a:extLst>
          </p:cNvPr>
          <p:cNvSpPr txBox="1"/>
          <p:nvPr/>
        </p:nvSpPr>
        <p:spPr>
          <a:xfrm>
            <a:off x="10515445" y="2075461"/>
            <a:ext cx="673767" cy="276999"/>
          </a:xfrm>
          <a:prstGeom prst="rect">
            <a:avLst/>
          </a:prstGeom>
          <a:noFill/>
        </p:spPr>
        <p:txBody>
          <a:bodyPr wrap="square" rtlCol="0" anchor="ctr">
            <a:spAutoFit/>
          </a:bodyPr>
          <a:lstStyle/>
          <a:p>
            <a:pPr algn="ctr"/>
            <a:r>
              <a:rPr lang="en-US" sz="1200" b="1" dirty="0">
                <a:solidFill>
                  <a:schemeClr val="bg1"/>
                </a:solidFill>
              </a:rPr>
              <a:t>1.6%</a:t>
            </a:r>
          </a:p>
        </p:txBody>
      </p:sp>
      <p:sp>
        <p:nvSpPr>
          <p:cNvPr id="573" name="TextBox 572">
            <a:extLst>
              <a:ext uri="{FF2B5EF4-FFF2-40B4-BE49-F238E27FC236}">
                <a16:creationId xmlns:a16="http://schemas.microsoft.com/office/drawing/2014/main" id="{06DAFB1B-EBCB-38E0-A46B-EB0F6F7ADEA1}"/>
              </a:ext>
            </a:extLst>
          </p:cNvPr>
          <p:cNvSpPr txBox="1"/>
          <p:nvPr/>
        </p:nvSpPr>
        <p:spPr>
          <a:xfrm>
            <a:off x="9827065" y="2022383"/>
            <a:ext cx="605927" cy="430887"/>
          </a:xfrm>
          <a:prstGeom prst="rect">
            <a:avLst/>
          </a:prstGeom>
          <a:noFill/>
        </p:spPr>
        <p:txBody>
          <a:bodyPr wrap="square" rtlCol="0" anchor="ctr">
            <a:spAutoFit/>
          </a:bodyPr>
          <a:lstStyle/>
          <a:p>
            <a:pPr algn="ctr"/>
            <a:r>
              <a:rPr lang="en-US" sz="1100" dirty="0"/>
              <a:t>March 2023</a:t>
            </a:r>
          </a:p>
        </p:txBody>
      </p:sp>
      <p:sp>
        <p:nvSpPr>
          <p:cNvPr id="600" name="TextBox 599">
            <a:extLst>
              <a:ext uri="{FF2B5EF4-FFF2-40B4-BE49-F238E27FC236}">
                <a16:creationId xmlns:a16="http://schemas.microsoft.com/office/drawing/2014/main" id="{42F609A4-64A9-7774-C125-903C4C1F214E}"/>
              </a:ext>
            </a:extLst>
          </p:cNvPr>
          <p:cNvSpPr txBox="1"/>
          <p:nvPr/>
        </p:nvSpPr>
        <p:spPr>
          <a:xfrm>
            <a:off x="10997036" y="2011500"/>
            <a:ext cx="605927" cy="430887"/>
          </a:xfrm>
          <a:prstGeom prst="rect">
            <a:avLst/>
          </a:prstGeom>
          <a:noFill/>
        </p:spPr>
        <p:txBody>
          <a:bodyPr wrap="square" rtlCol="0" anchor="ctr">
            <a:spAutoFit/>
          </a:bodyPr>
          <a:lstStyle/>
          <a:p>
            <a:pPr algn="ctr"/>
            <a:r>
              <a:rPr lang="en-US" sz="1100" dirty="0"/>
              <a:t>March 2024</a:t>
            </a:r>
          </a:p>
        </p:txBody>
      </p:sp>
      <p:sp>
        <p:nvSpPr>
          <p:cNvPr id="611" name="Arrow: Down 610">
            <a:extLst>
              <a:ext uri="{FF2B5EF4-FFF2-40B4-BE49-F238E27FC236}">
                <a16:creationId xmlns:a16="http://schemas.microsoft.com/office/drawing/2014/main" id="{1E9E02A9-642D-6CCB-0595-5A6614BF67B5}"/>
              </a:ext>
            </a:extLst>
          </p:cNvPr>
          <p:cNvSpPr/>
          <p:nvPr/>
        </p:nvSpPr>
        <p:spPr>
          <a:xfrm>
            <a:off x="10707421" y="1620953"/>
            <a:ext cx="242370" cy="334084"/>
          </a:xfrm>
          <a:prstGeom prst="downArrow">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5090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59" y="260416"/>
            <a:ext cx="8802229" cy="12105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SAUDI TOURISM FIGURES BEYOND PRE-COVID LEVELS</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47" name="Google Shape;2556;p24">
            <a:extLst>
              <a:ext uri="{FF2B5EF4-FFF2-40B4-BE49-F238E27FC236}">
                <a16:creationId xmlns:a16="http://schemas.microsoft.com/office/drawing/2014/main" id="{D956A0B4-583A-BAB3-40A7-9EF51A46177E}"/>
              </a:ext>
            </a:extLst>
          </p:cNvPr>
          <p:cNvSpPr/>
          <p:nvPr/>
        </p:nvSpPr>
        <p:spPr>
          <a:xfrm>
            <a:off x="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Inbound Tourism</a:t>
            </a:r>
            <a:endParaRPr b="0" i="1" u="none" strike="noStrike" cap="none" dirty="0">
              <a:solidFill>
                <a:schemeClr val="lt1"/>
              </a:solidFill>
              <a:latin typeface="Arial"/>
              <a:ea typeface="Arial"/>
              <a:cs typeface="Arial"/>
              <a:sym typeface="Arial"/>
            </a:endParaRPr>
          </a:p>
        </p:txBody>
      </p:sp>
      <p:sp>
        <p:nvSpPr>
          <p:cNvPr id="48" name="Google Shape;2556;p24">
            <a:extLst>
              <a:ext uri="{FF2B5EF4-FFF2-40B4-BE49-F238E27FC236}">
                <a16:creationId xmlns:a16="http://schemas.microsoft.com/office/drawing/2014/main" id="{8BE952CB-E2B3-A295-5250-3D7715787BE1}"/>
              </a:ext>
            </a:extLst>
          </p:cNvPr>
          <p:cNvSpPr/>
          <p:nvPr/>
        </p:nvSpPr>
        <p:spPr>
          <a:xfrm>
            <a:off x="1" y="4102422"/>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Domestic Tourism</a:t>
            </a:r>
            <a:endParaRPr b="0" i="1" u="none" strike="noStrike" cap="none" dirty="0">
              <a:solidFill>
                <a:schemeClr val="lt1"/>
              </a:solidFill>
              <a:latin typeface="Arial"/>
              <a:ea typeface="Arial"/>
              <a:cs typeface="Arial"/>
              <a:sym typeface="Arial"/>
            </a:endParaRPr>
          </a:p>
        </p:txBody>
      </p:sp>
      <p:sp>
        <p:nvSpPr>
          <p:cNvPr id="49" name="Google Shape;2626;g209c871e1c9_0_1743">
            <a:extLst>
              <a:ext uri="{FF2B5EF4-FFF2-40B4-BE49-F238E27FC236}">
                <a16:creationId xmlns:a16="http://schemas.microsoft.com/office/drawing/2014/main" id="{A286DCF0-A4EB-AA76-D5A8-D84DB0946F02}"/>
              </a:ext>
            </a:extLst>
          </p:cNvPr>
          <p:cNvSpPr txBox="1"/>
          <p:nvPr/>
        </p:nvSpPr>
        <p:spPr>
          <a:xfrm>
            <a:off x="1501438" y="2512830"/>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dirty="0">
                <a:latin typeface="Arial" panose="020B0604020202020204" pitchFamily="34" charset="0"/>
                <a:cs typeface="Arial" panose="020B0604020202020204" pitchFamily="34" charset="0"/>
              </a:rPr>
              <a:t>Number of Tourists</a:t>
            </a:r>
            <a:endParaRPr sz="1000" dirty="0">
              <a:latin typeface="Arial" panose="020B0604020202020204" pitchFamily="34" charset="0"/>
              <a:cs typeface="Arial" panose="020B0604020202020204" pitchFamily="34" charset="0"/>
            </a:endParaRPr>
          </a:p>
        </p:txBody>
      </p:sp>
      <p:sp>
        <p:nvSpPr>
          <p:cNvPr id="50" name="Google Shape;2627;g209c871e1c9_0_1743">
            <a:extLst>
              <a:ext uri="{FF2B5EF4-FFF2-40B4-BE49-F238E27FC236}">
                <a16:creationId xmlns:a16="http://schemas.microsoft.com/office/drawing/2014/main" id="{4DF6A832-128D-D9B2-8818-C1C9A8E57A24}"/>
              </a:ext>
            </a:extLst>
          </p:cNvPr>
          <p:cNvSpPr txBox="1"/>
          <p:nvPr/>
        </p:nvSpPr>
        <p:spPr>
          <a:xfrm>
            <a:off x="1501438" y="2908932"/>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latin typeface="Arial" panose="020B0604020202020204" pitchFamily="34" charset="0"/>
                <a:cs typeface="Arial" panose="020B0604020202020204" pitchFamily="34" charset="0"/>
              </a:rPr>
              <a:t>Overnight Stays</a:t>
            </a:r>
            <a:endParaRPr sz="1000">
              <a:latin typeface="Arial" panose="020B0604020202020204" pitchFamily="34" charset="0"/>
              <a:cs typeface="Arial" panose="020B0604020202020204" pitchFamily="34" charset="0"/>
            </a:endParaRPr>
          </a:p>
        </p:txBody>
      </p:sp>
      <p:sp>
        <p:nvSpPr>
          <p:cNvPr id="51" name="Google Shape;2628;g209c871e1c9_0_1743">
            <a:extLst>
              <a:ext uri="{FF2B5EF4-FFF2-40B4-BE49-F238E27FC236}">
                <a16:creationId xmlns:a16="http://schemas.microsoft.com/office/drawing/2014/main" id="{CF0D1622-DA97-7693-6383-B827D3C568CE}"/>
              </a:ext>
            </a:extLst>
          </p:cNvPr>
          <p:cNvSpPr txBox="1"/>
          <p:nvPr/>
        </p:nvSpPr>
        <p:spPr>
          <a:xfrm>
            <a:off x="1501438" y="3701137"/>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dirty="0">
                <a:latin typeface="Arial" panose="020B0604020202020204" pitchFamily="34" charset="0"/>
                <a:cs typeface="Arial" panose="020B0604020202020204" pitchFamily="34" charset="0"/>
              </a:rPr>
              <a:t>Average Length of Stay</a:t>
            </a:r>
            <a:endParaRPr sz="1000" dirty="0">
              <a:latin typeface="Arial" panose="020B0604020202020204" pitchFamily="34" charset="0"/>
              <a:cs typeface="Arial" panose="020B0604020202020204" pitchFamily="34" charset="0"/>
            </a:endParaRPr>
          </a:p>
        </p:txBody>
      </p:sp>
      <p:sp>
        <p:nvSpPr>
          <p:cNvPr id="52" name="Google Shape;2629;g209c871e1c9_0_1743">
            <a:extLst>
              <a:ext uri="{FF2B5EF4-FFF2-40B4-BE49-F238E27FC236}">
                <a16:creationId xmlns:a16="http://schemas.microsoft.com/office/drawing/2014/main" id="{A8A90351-F600-18F0-4AAE-8B8A503F4307}"/>
              </a:ext>
            </a:extLst>
          </p:cNvPr>
          <p:cNvSpPr txBox="1"/>
          <p:nvPr/>
        </p:nvSpPr>
        <p:spPr>
          <a:xfrm>
            <a:off x="1501438" y="3305034"/>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dirty="0">
                <a:latin typeface="Arial" panose="020B0604020202020204" pitchFamily="34" charset="0"/>
                <a:cs typeface="Arial" panose="020B0604020202020204" pitchFamily="34" charset="0"/>
              </a:rPr>
              <a:t>Tourist Spending in SAR</a:t>
            </a:r>
            <a:endParaRPr sz="1000" dirty="0">
              <a:latin typeface="Arial" panose="020B0604020202020204" pitchFamily="34" charset="0"/>
              <a:cs typeface="Arial" panose="020B0604020202020204" pitchFamily="34" charset="0"/>
            </a:endParaRPr>
          </a:p>
        </p:txBody>
      </p:sp>
      <p:sp>
        <p:nvSpPr>
          <p:cNvPr id="54" name="Google Shape;2626;g209c871e1c9_0_1743">
            <a:extLst>
              <a:ext uri="{FF2B5EF4-FFF2-40B4-BE49-F238E27FC236}">
                <a16:creationId xmlns:a16="http://schemas.microsoft.com/office/drawing/2014/main" id="{4640401E-9CEC-9E65-3585-648F9037EE1C}"/>
              </a:ext>
            </a:extLst>
          </p:cNvPr>
          <p:cNvSpPr txBox="1"/>
          <p:nvPr/>
        </p:nvSpPr>
        <p:spPr>
          <a:xfrm>
            <a:off x="1501438" y="4844558"/>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latin typeface="Arial" panose="020B0604020202020204" pitchFamily="34" charset="0"/>
                <a:cs typeface="Arial" panose="020B0604020202020204" pitchFamily="34" charset="0"/>
              </a:rPr>
              <a:t>Number of Tourists</a:t>
            </a:r>
            <a:endParaRPr sz="1000">
              <a:latin typeface="Arial" panose="020B0604020202020204" pitchFamily="34" charset="0"/>
              <a:cs typeface="Arial" panose="020B0604020202020204" pitchFamily="34" charset="0"/>
            </a:endParaRPr>
          </a:p>
        </p:txBody>
      </p:sp>
      <p:sp>
        <p:nvSpPr>
          <p:cNvPr id="55" name="Google Shape;2627;g209c871e1c9_0_1743">
            <a:extLst>
              <a:ext uri="{FF2B5EF4-FFF2-40B4-BE49-F238E27FC236}">
                <a16:creationId xmlns:a16="http://schemas.microsoft.com/office/drawing/2014/main" id="{7BD5CAD0-4286-FD0D-7CBA-4317D1FA1E08}"/>
              </a:ext>
            </a:extLst>
          </p:cNvPr>
          <p:cNvSpPr txBox="1"/>
          <p:nvPr/>
        </p:nvSpPr>
        <p:spPr>
          <a:xfrm>
            <a:off x="1501438" y="5240660"/>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dirty="0">
                <a:latin typeface="Arial" panose="020B0604020202020204" pitchFamily="34" charset="0"/>
                <a:cs typeface="Arial" panose="020B0604020202020204" pitchFamily="34" charset="0"/>
              </a:rPr>
              <a:t>Overnight Stays</a:t>
            </a:r>
            <a:endParaRPr sz="1000" dirty="0">
              <a:latin typeface="Arial" panose="020B0604020202020204" pitchFamily="34" charset="0"/>
              <a:cs typeface="Arial" panose="020B0604020202020204" pitchFamily="34" charset="0"/>
            </a:endParaRPr>
          </a:p>
        </p:txBody>
      </p:sp>
      <p:sp>
        <p:nvSpPr>
          <p:cNvPr id="56" name="Google Shape;2628;g209c871e1c9_0_1743">
            <a:extLst>
              <a:ext uri="{FF2B5EF4-FFF2-40B4-BE49-F238E27FC236}">
                <a16:creationId xmlns:a16="http://schemas.microsoft.com/office/drawing/2014/main" id="{ABB41C44-DCF7-1123-21FC-CB4000CA1171}"/>
              </a:ext>
            </a:extLst>
          </p:cNvPr>
          <p:cNvSpPr txBox="1"/>
          <p:nvPr/>
        </p:nvSpPr>
        <p:spPr>
          <a:xfrm>
            <a:off x="1501438" y="6032865"/>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a:latin typeface="Arial" panose="020B0604020202020204" pitchFamily="34" charset="0"/>
                <a:cs typeface="Arial" panose="020B0604020202020204" pitchFamily="34" charset="0"/>
              </a:rPr>
              <a:t>Average Length of Stay</a:t>
            </a:r>
            <a:endParaRPr sz="1000">
              <a:latin typeface="Arial" panose="020B0604020202020204" pitchFamily="34" charset="0"/>
              <a:cs typeface="Arial" panose="020B0604020202020204" pitchFamily="34" charset="0"/>
            </a:endParaRPr>
          </a:p>
        </p:txBody>
      </p:sp>
      <p:sp>
        <p:nvSpPr>
          <p:cNvPr id="57" name="Google Shape;2629;g209c871e1c9_0_1743">
            <a:extLst>
              <a:ext uri="{FF2B5EF4-FFF2-40B4-BE49-F238E27FC236}">
                <a16:creationId xmlns:a16="http://schemas.microsoft.com/office/drawing/2014/main" id="{E01D80F9-1CBF-D3B0-6D3F-D1419F039FB1}"/>
              </a:ext>
            </a:extLst>
          </p:cNvPr>
          <p:cNvSpPr txBox="1"/>
          <p:nvPr/>
        </p:nvSpPr>
        <p:spPr>
          <a:xfrm>
            <a:off x="1501438" y="5636762"/>
            <a:ext cx="1645800" cy="315739"/>
          </a:xfrm>
          <a:prstGeom prst="rect">
            <a:avLst/>
          </a:prstGeom>
          <a:solidFill>
            <a:schemeClr val="l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000" dirty="0">
                <a:latin typeface="Arial" panose="020B0604020202020204" pitchFamily="34" charset="0"/>
                <a:cs typeface="Arial" panose="020B0604020202020204" pitchFamily="34" charset="0"/>
              </a:rPr>
              <a:t>Tourist Spending in SAR</a:t>
            </a:r>
            <a:endParaRPr sz="1000" dirty="0">
              <a:latin typeface="Arial" panose="020B0604020202020204" pitchFamily="34" charset="0"/>
              <a:cs typeface="Arial" panose="020B0604020202020204" pitchFamily="34" charset="0"/>
            </a:endParaRPr>
          </a:p>
        </p:txBody>
      </p:sp>
      <p:sp>
        <p:nvSpPr>
          <p:cNvPr id="58" name="Google Shape;2630;g209c871e1c9_0_1743">
            <a:extLst>
              <a:ext uri="{FF2B5EF4-FFF2-40B4-BE49-F238E27FC236}">
                <a16:creationId xmlns:a16="http://schemas.microsoft.com/office/drawing/2014/main" id="{C54A102F-F1E2-3153-1241-65AA4B7E8287}"/>
              </a:ext>
            </a:extLst>
          </p:cNvPr>
          <p:cNvSpPr txBox="1"/>
          <p:nvPr/>
        </p:nvSpPr>
        <p:spPr>
          <a:xfrm>
            <a:off x="3603234" y="1770694"/>
            <a:ext cx="1641416" cy="656590"/>
          </a:xfrm>
          <a:prstGeom prst="rect">
            <a:avLst/>
          </a:prstGeom>
          <a:solidFill>
            <a:schemeClr val="accent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b="1" dirty="0">
                <a:solidFill>
                  <a:schemeClr val="lt1"/>
                </a:solidFill>
                <a:latin typeface="Arial" panose="020B0604020202020204" pitchFamily="34" charset="0"/>
                <a:cs typeface="Arial" panose="020B0604020202020204" pitchFamily="34" charset="0"/>
              </a:rPr>
              <a:t>2019</a:t>
            </a:r>
            <a:endParaRPr b="1" dirty="0">
              <a:solidFill>
                <a:schemeClr val="lt1"/>
              </a:solidFill>
              <a:latin typeface="Arial" panose="020B0604020202020204" pitchFamily="34" charset="0"/>
              <a:cs typeface="Arial" panose="020B0604020202020204" pitchFamily="34" charset="0"/>
            </a:endParaRPr>
          </a:p>
          <a:p>
            <a:pPr marL="0" lvl="0" indent="0" algn="ctr" rtl="0">
              <a:spcBef>
                <a:spcPts val="0"/>
              </a:spcBef>
              <a:spcAft>
                <a:spcPts val="0"/>
              </a:spcAft>
              <a:buNone/>
            </a:pPr>
            <a:r>
              <a:rPr lang="en-US" sz="800" i="1" dirty="0">
                <a:solidFill>
                  <a:schemeClr val="lt1"/>
                </a:solidFill>
                <a:latin typeface="Arial" panose="020B0604020202020204" pitchFamily="34" charset="0"/>
                <a:cs typeface="Arial" panose="020B0604020202020204" pitchFamily="34" charset="0"/>
              </a:rPr>
              <a:t>P</a:t>
            </a:r>
            <a:r>
              <a:rPr lang="en" sz="800" i="1" dirty="0">
                <a:solidFill>
                  <a:schemeClr val="lt1"/>
                </a:solidFill>
                <a:latin typeface="Arial" panose="020B0604020202020204" pitchFamily="34" charset="0"/>
                <a:cs typeface="Arial" panose="020B0604020202020204" pitchFamily="34" charset="0"/>
              </a:rPr>
              <a:t>re-COVID</a:t>
            </a:r>
            <a:endParaRPr sz="600" i="1" dirty="0">
              <a:solidFill>
                <a:schemeClr val="lt1"/>
              </a:solidFill>
              <a:latin typeface="Arial" panose="020B0604020202020204" pitchFamily="34" charset="0"/>
              <a:cs typeface="Arial" panose="020B0604020202020204" pitchFamily="34" charset="0"/>
            </a:endParaRPr>
          </a:p>
        </p:txBody>
      </p:sp>
      <p:sp>
        <p:nvSpPr>
          <p:cNvPr id="59" name="Google Shape;2631;g209c871e1c9_0_1743">
            <a:extLst>
              <a:ext uri="{FF2B5EF4-FFF2-40B4-BE49-F238E27FC236}">
                <a16:creationId xmlns:a16="http://schemas.microsoft.com/office/drawing/2014/main" id="{3349BA50-BD8A-C117-894C-F4529734A53F}"/>
              </a:ext>
            </a:extLst>
          </p:cNvPr>
          <p:cNvSpPr txBox="1"/>
          <p:nvPr/>
        </p:nvSpPr>
        <p:spPr>
          <a:xfrm>
            <a:off x="3598730" y="2505998"/>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7.5 mn</a:t>
            </a:r>
            <a:endParaRPr sz="1000" b="1" dirty="0">
              <a:solidFill>
                <a:srgbClr val="3F3F3F"/>
              </a:solidFill>
              <a:latin typeface="Arial" panose="020B0604020202020204" pitchFamily="34" charset="0"/>
              <a:cs typeface="Arial" panose="020B0604020202020204" pitchFamily="34" charset="0"/>
            </a:endParaRPr>
          </a:p>
        </p:txBody>
      </p:sp>
      <p:sp>
        <p:nvSpPr>
          <p:cNvPr id="60" name="Google Shape;2632;g209c871e1c9_0_1743">
            <a:extLst>
              <a:ext uri="{FF2B5EF4-FFF2-40B4-BE49-F238E27FC236}">
                <a16:creationId xmlns:a16="http://schemas.microsoft.com/office/drawing/2014/main" id="{31478772-4F45-03EC-23E4-B46E41DA0B2F}"/>
              </a:ext>
            </a:extLst>
          </p:cNvPr>
          <p:cNvSpPr txBox="1"/>
          <p:nvPr/>
        </p:nvSpPr>
        <p:spPr>
          <a:xfrm>
            <a:off x="3598730" y="2903661"/>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89.0 mn</a:t>
            </a:r>
            <a:endParaRPr sz="1000" b="1" dirty="0">
              <a:solidFill>
                <a:srgbClr val="3F3F3F"/>
              </a:solidFill>
              <a:latin typeface="Arial" panose="020B0604020202020204" pitchFamily="34" charset="0"/>
              <a:cs typeface="Arial" panose="020B0604020202020204" pitchFamily="34" charset="0"/>
            </a:endParaRPr>
          </a:p>
        </p:txBody>
      </p:sp>
      <p:sp>
        <p:nvSpPr>
          <p:cNvPr id="61" name="Google Shape;2633;g209c871e1c9_0_1743">
            <a:extLst>
              <a:ext uri="{FF2B5EF4-FFF2-40B4-BE49-F238E27FC236}">
                <a16:creationId xmlns:a16="http://schemas.microsoft.com/office/drawing/2014/main" id="{2D12277C-2DF7-BC36-723F-90FE78504DFD}"/>
              </a:ext>
            </a:extLst>
          </p:cNvPr>
          <p:cNvSpPr txBox="1"/>
          <p:nvPr/>
        </p:nvSpPr>
        <p:spPr>
          <a:xfrm>
            <a:off x="3598730" y="3698986"/>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0.7 nights</a:t>
            </a:r>
            <a:endParaRPr sz="1000" b="1" dirty="0">
              <a:solidFill>
                <a:srgbClr val="3F3F3F"/>
              </a:solidFill>
              <a:latin typeface="Arial" panose="020B0604020202020204" pitchFamily="34" charset="0"/>
              <a:cs typeface="Arial" panose="020B0604020202020204" pitchFamily="34" charset="0"/>
            </a:endParaRPr>
          </a:p>
        </p:txBody>
      </p:sp>
      <p:sp>
        <p:nvSpPr>
          <p:cNvPr id="62" name="Google Shape;2634;g209c871e1c9_0_1743">
            <a:extLst>
              <a:ext uri="{FF2B5EF4-FFF2-40B4-BE49-F238E27FC236}">
                <a16:creationId xmlns:a16="http://schemas.microsoft.com/office/drawing/2014/main" id="{D97DB308-40C0-B34B-0B20-71CEC9281133}"/>
              </a:ext>
            </a:extLst>
          </p:cNvPr>
          <p:cNvSpPr txBox="1"/>
          <p:nvPr/>
        </p:nvSpPr>
        <p:spPr>
          <a:xfrm>
            <a:off x="3598730" y="3301324"/>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a:solidFill>
                  <a:srgbClr val="3F3F3F"/>
                </a:solidFill>
                <a:latin typeface="Arial" panose="020B0604020202020204" pitchFamily="34" charset="0"/>
                <a:cs typeface="Arial" panose="020B0604020202020204" pitchFamily="34" charset="0"/>
              </a:rPr>
              <a:t>103.4 bn</a:t>
            </a:r>
            <a:endParaRPr sz="1000" b="1">
              <a:solidFill>
                <a:srgbClr val="3F3F3F"/>
              </a:solidFill>
              <a:latin typeface="Arial" panose="020B0604020202020204" pitchFamily="34" charset="0"/>
              <a:cs typeface="Arial" panose="020B0604020202020204" pitchFamily="34" charset="0"/>
            </a:endParaRPr>
          </a:p>
        </p:txBody>
      </p:sp>
      <p:sp>
        <p:nvSpPr>
          <p:cNvPr id="63" name="Google Shape;2635;g209c871e1c9_0_1743">
            <a:extLst>
              <a:ext uri="{FF2B5EF4-FFF2-40B4-BE49-F238E27FC236}">
                <a16:creationId xmlns:a16="http://schemas.microsoft.com/office/drawing/2014/main" id="{410D5877-44A4-7A7F-FBD9-A532680150BE}"/>
              </a:ext>
            </a:extLst>
          </p:cNvPr>
          <p:cNvSpPr txBox="1"/>
          <p:nvPr/>
        </p:nvSpPr>
        <p:spPr>
          <a:xfrm>
            <a:off x="3598730" y="4844558"/>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47.8 mn </a:t>
            </a:r>
            <a:endParaRPr sz="1000" b="1" dirty="0">
              <a:solidFill>
                <a:srgbClr val="3F3F3F"/>
              </a:solidFill>
              <a:latin typeface="Arial" panose="020B0604020202020204" pitchFamily="34" charset="0"/>
              <a:cs typeface="Arial" panose="020B0604020202020204" pitchFamily="34" charset="0"/>
            </a:endParaRPr>
          </a:p>
        </p:txBody>
      </p:sp>
      <p:sp>
        <p:nvSpPr>
          <p:cNvPr id="64" name="Google Shape;2636;g209c871e1c9_0_1743">
            <a:extLst>
              <a:ext uri="{FF2B5EF4-FFF2-40B4-BE49-F238E27FC236}">
                <a16:creationId xmlns:a16="http://schemas.microsoft.com/office/drawing/2014/main" id="{D25BE24A-40B2-8D32-FE07-0298D820AD01}"/>
              </a:ext>
            </a:extLst>
          </p:cNvPr>
          <p:cNvSpPr txBox="1"/>
          <p:nvPr/>
        </p:nvSpPr>
        <p:spPr>
          <a:xfrm>
            <a:off x="3598730" y="5239227"/>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268.8 mn nights</a:t>
            </a:r>
            <a:endParaRPr sz="1000" b="1" dirty="0">
              <a:solidFill>
                <a:srgbClr val="3F3F3F"/>
              </a:solidFill>
              <a:latin typeface="Arial" panose="020B0604020202020204" pitchFamily="34" charset="0"/>
              <a:cs typeface="Arial" panose="020B0604020202020204" pitchFamily="34" charset="0"/>
            </a:endParaRPr>
          </a:p>
        </p:txBody>
      </p:sp>
      <p:sp>
        <p:nvSpPr>
          <p:cNvPr id="65" name="Google Shape;2637;g209c871e1c9_0_1743">
            <a:extLst>
              <a:ext uri="{FF2B5EF4-FFF2-40B4-BE49-F238E27FC236}">
                <a16:creationId xmlns:a16="http://schemas.microsoft.com/office/drawing/2014/main" id="{9B52B673-85E5-9986-84ED-778350788828}"/>
              </a:ext>
            </a:extLst>
          </p:cNvPr>
          <p:cNvSpPr txBox="1"/>
          <p:nvPr/>
        </p:nvSpPr>
        <p:spPr>
          <a:xfrm>
            <a:off x="3598730" y="6028564"/>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5.6 nights</a:t>
            </a:r>
            <a:endParaRPr sz="1000" b="1" dirty="0">
              <a:solidFill>
                <a:srgbClr val="3F3F3F"/>
              </a:solidFill>
              <a:latin typeface="Arial" panose="020B0604020202020204" pitchFamily="34" charset="0"/>
              <a:cs typeface="Arial" panose="020B0604020202020204" pitchFamily="34" charset="0"/>
            </a:endParaRPr>
          </a:p>
        </p:txBody>
      </p:sp>
      <p:sp>
        <p:nvSpPr>
          <p:cNvPr id="66" name="Google Shape;2638;g209c871e1c9_0_1743">
            <a:extLst>
              <a:ext uri="{FF2B5EF4-FFF2-40B4-BE49-F238E27FC236}">
                <a16:creationId xmlns:a16="http://schemas.microsoft.com/office/drawing/2014/main" id="{7ECD6C6E-1C4A-9521-00A6-322FFCDB6EE2}"/>
              </a:ext>
            </a:extLst>
          </p:cNvPr>
          <p:cNvSpPr txBox="1"/>
          <p:nvPr/>
        </p:nvSpPr>
        <p:spPr>
          <a:xfrm>
            <a:off x="3598730" y="5633896"/>
            <a:ext cx="1645920" cy="320040"/>
          </a:xfrm>
          <a:prstGeom prst="rect">
            <a:avLst/>
          </a:prstGeom>
          <a:noFill/>
          <a:ln w="571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61.2 bn</a:t>
            </a:r>
            <a:endParaRPr sz="1000" b="1" dirty="0">
              <a:solidFill>
                <a:srgbClr val="3F3F3F"/>
              </a:solidFill>
              <a:latin typeface="Arial" panose="020B0604020202020204" pitchFamily="34" charset="0"/>
              <a:cs typeface="Arial" panose="020B0604020202020204" pitchFamily="34" charset="0"/>
            </a:endParaRPr>
          </a:p>
        </p:txBody>
      </p:sp>
      <p:sp>
        <p:nvSpPr>
          <p:cNvPr id="67" name="Google Shape;2630;g209c871e1c9_0_1743">
            <a:extLst>
              <a:ext uri="{FF2B5EF4-FFF2-40B4-BE49-F238E27FC236}">
                <a16:creationId xmlns:a16="http://schemas.microsoft.com/office/drawing/2014/main" id="{E9AF756D-75DB-7A40-A0B9-DA47D3B00BA8}"/>
              </a:ext>
            </a:extLst>
          </p:cNvPr>
          <p:cNvSpPr txBox="1"/>
          <p:nvPr/>
        </p:nvSpPr>
        <p:spPr>
          <a:xfrm>
            <a:off x="5652569" y="1770694"/>
            <a:ext cx="1641416" cy="65659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dirty="0">
                <a:solidFill>
                  <a:schemeClr val="lt1"/>
                </a:solidFill>
                <a:latin typeface="Arial" panose="020B0604020202020204" pitchFamily="34" charset="0"/>
                <a:cs typeface="Arial" panose="020B0604020202020204" pitchFamily="34" charset="0"/>
              </a:rPr>
              <a:t>2022</a:t>
            </a:r>
            <a:endParaRPr b="1" dirty="0">
              <a:solidFill>
                <a:schemeClr val="lt1"/>
              </a:solidFill>
              <a:latin typeface="Arial" panose="020B0604020202020204" pitchFamily="34" charset="0"/>
              <a:cs typeface="Arial" panose="020B0604020202020204" pitchFamily="34" charset="0"/>
            </a:endParaRPr>
          </a:p>
          <a:p>
            <a:pPr marL="0" lvl="0" indent="0" algn="ctr" rtl="0">
              <a:spcBef>
                <a:spcPts val="0"/>
              </a:spcBef>
              <a:spcAft>
                <a:spcPts val="0"/>
              </a:spcAft>
              <a:buNone/>
            </a:pPr>
            <a:r>
              <a:rPr lang="en-US" sz="800" i="1" dirty="0">
                <a:solidFill>
                  <a:schemeClr val="lt1"/>
                </a:solidFill>
                <a:latin typeface="Arial" panose="020B0604020202020204" pitchFamily="34" charset="0"/>
                <a:cs typeface="Arial" panose="020B0604020202020204" pitchFamily="34" charset="0"/>
              </a:rPr>
              <a:t>P</a:t>
            </a:r>
            <a:r>
              <a:rPr lang="en" sz="800" i="1" dirty="0">
                <a:solidFill>
                  <a:schemeClr val="lt1"/>
                </a:solidFill>
                <a:latin typeface="Arial" panose="020B0604020202020204" pitchFamily="34" charset="0"/>
                <a:cs typeface="Arial" panose="020B0604020202020204" pitchFamily="34" charset="0"/>
              </a:rPr>
              <a:t>ost-COVID</a:t>
            </a:r>
            <a:endParaRPr sz="600" i="1" dirty="0">
              <a:solidFill>
                <a:schemeClr val="lt1"/>
              </a:solidFill>
              <a:latin typeface="Arial" panose="020B0604020202020204" pitchFamily="34" charset="0"/>
              <a:cs typeface="Arial" panose="020B0604020202020204" pitchFamily="34" charset="0"/>
            </a:endParaRPr>
          </a:p>
        </p:txBody>
      </p:sp>
      <p:sp>
        <p:nvSpPr>
          <p:cNvPr id="76" name="Google Shape;2640;g209c871e1c9_0_1743">
            <a:extLst>
              <a:ext uri="{FF2B5EF4-FFF2-40B4-BE49-F238E27FC236}">
                <a16:creationId xmlns:a16="http://schemas.microsoft.com/office/drawing/2014/main" id="{6293AE28-AE5C-5E38-4C17-2D4856AA24F4}"/>
              </a:ext>
            </a:extLst>
          </p:cNvPr>
          <p:cNvSpPr txBox="1"/>
          <p:nvPr/>
        </p:nvSpPr>
        <p:spPr>
          <a:xfrm>
            <a:off x="5652569" y="2512830"/>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6.6 mn</a:t>
            </a:r>
            <a:endParaRPr sz="1000" b="1" dirty="0">
              <a:solidFill>
                <a:srgbClr val="3F3F3F"/>
              </a:solidFill>
              <a:latin typeface="Arial" panose="020B0604020202020204" pitchFamily="34" charset="0"/>
              <a:cs typeface="Arial" panose="020B0604020202020204" pitchFamily="34" charset="0"/>
            </a:endParaRPr>
          </a:p>
        </p:txBody>
      </p:sp>
      <p:sp>
        <p:nvSpPr>
          <p:cNvPr id="77" name="Google Shape;2641;g209c871e1c9_0_1743">
            <a:extLst>
              <a:ext uri="{FF2B5EF4-FFF2-40B4-BE49-F238E27FC236}">
                <a16:creationId xmlns:a16="http://schemas.microsoft.com/office/drawing/2014/main" id="{25517306-B7F6-0371-9547-5CE8DD49B612}"/>
              </a:ext>
            </a:extLst>
          </p:cNvPr>
          <p:cNvSpPr txBox="1"/>
          <p:nvPr/>
        </p:nvSpPr>
        <p:spPr>
          <a:xfrm>
            <a:off x="5652569" y="2907499"/>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270.7 mn</a:t>
            </a:r>
            <a:endParaRPr sz="1000" b="1" dirty="0">
              <a:solidFill>
                <a:srgbClr val="3F3F3F"/>
              </a:solidFill>
              <a:latin typeface="Arial" panose="020B0604020202020204" pitchFamily="34" charset="0"/>
              <a:cs typeface="Arial" panose="020B0604020202020204" pitchFamily="34" charset="0"/>
            </a:endParaRPr>
          </a:p>
        </p:txBody>
      </p:sp>
      <p:sp>
        <p:nvSpPr>
          <p:cNvPr id="78" name="Google Shape;2642;g209c871e1c9_0_1743">
            <a:extLst>
              <a:ext uri="{FF2B5EF4-FFF2-40B4-BE49-F238E27FC236}">
                <a16:creationId xmlns:a16="http://schemas.microsoft.com/office/drawing/2014/main" id="{683823C4-AD55-EB7D-A918-7EDE15943EEB}"/>
              </a:ext>
            </a:extLst>
          </p:cNvPr>
          <p:cNvSpPr txBox="1"/>
          <p:nvPr/>
        </p:nvSpPr>
        <p:spPr>
          <a:xfrm>
            <a:off x="5652569" y="3696836"/>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6.3 nights</a:t>
            </a:r>
            <a:endParaRPr sz="1000" b="1" dirty="0">
              <a:solidFill>
                <a:srgbClr val="3F3F3F"/>
              </a:solidFill>
              <a:latin typeface="Arial" panose="020B0604020202020204" pitchFamily="34" charset="0"/>
              <a:cs typeface="Arial" panose="020B0604020202020204" pitchFamily="34" charset="0"/>
            </a:endParaRPr>
          </a:p>
        </p:txBody>
      </p:sp>
      <p:sp>
        <p:nvSpPr>
          <p:cNvPr id="79" name="Google Shape;2643;g209c871e1c9_0_1743">
            <a:extLst>
              <a:ext uri="{FF2B5EF4-FFF2-40B4-BE49-F238E27FC236}">
                <a16:creationId xmlns:a16="http://schemas.microsoft.com/office/drawing/2014/main" id="{3FFABC58-60B1-2AF8-A34E-75E4ABB8AB04}"/>
              </a:ext>
            </a:extLst>
          </p:cNvPr>
          <p:cNvSpPr txBox="1"/>
          <p:nvPr/>
        </p:nvSpPr>
        <p:spPr>
          <a:xfrm>
            <a:off x="5652569" y="3302168"/>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98.3 bn</a:t>
            </a:r>
            <a:endParaRPr sz="1000" b="1" dirty="0">
              <a:solidFill>
                <a:srgbClr val="3F3F3F"/>
              </a:solidFill>
              <a:latin typeface="Arial" panose="020B0604020202020204" pitchFamily="34" charset="0"/>
              <a:cs typeface="Arial" panose="020B0604020202020204" pitchFamily="34" charset="0"/>
            </a:endParaRPr>
          </a:p>
        </p:txBody>
      </p:sp>
      <p:sp>
        <p:nvSpPr>
          <p:cNvPr id="80" name="Google Shape;2644;g209c871e1c9_0_1743">
            <a:extLst>
              <a:ext uri="{FF2B5EF4-FFF2-40B4-BE49-F238E27FC236}">
                <a16:creationId xmlns:a16="http://schemas.microsoft.com/office/drawing/2014/main" id="{767DD08E-C120-E5B5-2D24-EDC538827B54}"/>
              </a:ext>
            </a:extLst>
          </p:cNvPr>
          <p:cNvSpPr txBox="1"/>
          <p:nvPr/>
        </p:nvSpPr>
        <p:spPr>
          <a:xfrm>
            <a:off x="5652569" y="4844558"/>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77.8 mn</a:t>
            </a:r>
            <a:endParaRPr sz="1000" b="1" dirty="0">
              <a:solidFill>
                <a:srgbClr val="3F3F3F"/>
              </a:solidFill>
              <a:latin typeface="Arial" panose="020B0604020202020204" pitchFamily="34" charset="0"/>
              <a:cs typeface="Arial" panose="020B0604020202020204" pitchFamily="34" charset="0"/>
            </a:endParaRPr>
          </a:p>
        </p:txBody>
      </p:sp>
      <p:sp>
        <p:nvSpPr>
          <p:cNvPr id="81" name="Google Shape;2645;g209c871e1c9_0_1743">
            <a:extLst>
              <a:ext uri="{FF2B5EF4-FFF2-40B4-BE49-F238E27FC236}">
                <a16:creationId xmlns:a16="http://schemas.microsoft.com/office/drawing/2014/main" id="{3B4C1357-7EF5-B1B4-E0C6-7A07C8D32EC4}"/>
              </a:ext>
            </a:extLst>
          </p:cNvPr>
          <p:cNvSpPr txBox="1"/>
          <p:nvPr/>
        </p:nvSpPr>
        <p:spPr>
          <a:xfrm>
            <a:off x="5652569" y="5238707"/>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369.7 mn nights</a:t>
            </a:r>
            <a:endParaRPr sz="1000" b="1" dirty="0">
              <a:solidFill>
                <a:srgbClr val="3F3F3F"/>
              </a:solidFill>
              <a:latin typeface="Arial" panose="020B0604020202020204" pitchFamily="34" charset="0"/>
              <a:cs typeface="Arial" panose="020B0604020202020204" pitchFamily="34" charset="0"/>
            </a:endParaRPr>
          </a:p>
        </p:txBody>
      </p:sp>
      <p:sp>
        <p:nvSpPr>
          <p:cNvPr id="82" name="Google Shape;2646;g209c871e1c9_0_1743">
            <a:extLst>
              <a:ext uri="{FF2B5EF4-FFF2-40B4-BE49-F238E27FC236}">
                <a16:creationId xmlns:a16="http://schemas.microsoft.com/office/drawing/2014/main" id="{FD6A59E3-FE95-E912-CF86-42002E0D22C6}"/>
              </a:ext>
            </a:extLst>
          </p:cNvPr>
          <p:cNvSpPr txBox="1"/>
          <p:nvPr/>
        </p:nvSpPr>
        <p:spPr>
          <a:xfrm>
            <a:off x="5652569" y="6028564"/>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4.7 nights</a:t>
            </a:r>
            <a:endParaRPr sz="1000" b="1" dirty="0">
              <a:solidFill>
                <a:srgbClr val="3F3F3F"/>
              </a:solidFill>
              <a:latin typeface="Arial" panose="020B0604020202020204" pitchFamily="34" charset="0"/>
              <a:cs typeface="Arial" panose="020B0604020202020204" pitchFamily="34" charset="0"/>
            </a:endParaRPr>
          </a:p>
        </p:txBody>
      </p:sp>
      <p:sp>
        <p:nvSpPr>
          <p:cNvPr id="83" name="Google Shape;2647;g209c871e1c9_0_1743">
            <a:extLst>
              <a:ext uri="{FF2B5EF4-FFF2-40B4-BE49-F238E27FC236}">
                <a16:creationId xmlns:a16="http://schemas.microsoft.com/office/drawing/2014/main" id="{45CC5DD2-2E73-A309-EA15-BFBCA16BA4F1}"/>
              </a:ext>
            </a:extLst>
          </p:cNvPr>
          <p:cNvSpPr txBox="1"/>
          <p:nvPr/>
        </p:nvSpPr>
        <p:spPr>
          <a:xfrm>
            <a:off x="5652569" y="5624221"/>
            <a:ext cx="1645920" cy="32004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07.3 bn</a:t>
            </a:r>
            <a:endParaRPr sz="1000" b="1" dirty="0">
              <a:solidFill>
                <a:srgbClr val="3F3F3F"/>
              </a:solidFill>
              <a:latin typeface="Arial" panose="020B0604020202020204" pitchFamily="34" charset="0"/>
              <a:cs typeface="Arial" panose="020B0604020202020204" pitchFamily="34" charset="0"/>
            </a:endParaRPr>
          </a:p>
        </p:txBody>
      </p:sp>
      <p:sp>
        <p:nvSpPr>
          <p:cNvPr id="84" name="Google Shape;2630;g209c871e1c9_0_1743">
            <a:extLst>
              <a:ext uri="{FF2B5EF4-FFF2-40B4-BE49-F238E27FC236}">
                <a16:creationId xmlns:a16="http://schemas.microsoft.com/office/drawing/2014/main" id="{475433E9-EA4C-40A7-F4BE-F66550741AF0}"/>
              </a:ext>
            </a:extLst>
          </p:cNvPr>
          <p:cNvSpPr txBox="1"/>
          <p:nvPr/>
        </p:nvSpPr>
        <p:spPr>
          <a:xfrm>
            <a:off x="7706408" y="1770694"/>
            <a:ext cx="1641416" cy="656590"/>
          </a:xfrm>
          <a:prstGeom prst="rect">
            <a:avLst/>
          </a:prstGeom>
          <a:solidFill>
            <a:schemeClr val="bg2"/>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dirty="0">
                <a:latin typeface="Arial" panose="020B0604020202020204" pitchFamily="34" charset="0"/>
                <a:cs typeface="Arial" panose="020B0604020202020204" pitchFamily="34" charset="0"/>
              </a:rPr>
              <a:t>2023</a:t>
            </a:r>
          </a:p>
          <a:p>
            <a:pPr marL="0" lvl="0" indent="0" algn="ctr" rtl="0">
              <a:spcBef>
                <a:spcPts val="0"/>
              </a:spcBef>
              <a:spcAft>
                <a:spcPts val="0"/>
              </a:spcAft>
              <a:buNone/>
            </a:pPr>
            <a:r>
              <a:rPr lang="en-US" sz="800" b="1" i="1" dirty="0">
                <a:latin typeface="Arial" panose="020B0604020202020204" pitchFamily="34" charset="0"/>
                <a:cs typeface="Arial" panose="020B0604020202020204" pitchFamily="34" charset="0"/>
              </a:rPr>
              <a:t>H1</a:t>
            </a:r>
            <a:endParaRPr sz="800" b="1" i="1" dirty="0">
              <a:latin typeface="Arial" panose="020B0604020202020204" pitchFamily="34" charset="0"/>
              <a:cs typeface="Arial" panose="020B0604020202020204" pitchFamily="34" charset="0"/>
            </a:endParaRPr>
          </a:p>
        </p:txBody>
      </p:sp>
      <p:sp>
        <p:nvSpPr>
          <p:cNvPr id="85" name="Google Shape;2640;g209c871e1c9_0_1743">
            <a:extLst>
              <a:ext uri="{FF2B5EF4-FFF2-40B4-BE49-F238E27FC236}">
                <a16:creationId xmlns:a16="http://schemas.microsoft.com/office/drawing/2014/main" id="{59307477-085C-CAC7-F297-DC60DF47290B}"/>
              </a:ext>
            </a:extLst>
          </p:cNvPr>
          <p:cNvSpPr txBox="1"/>
          <p:nvPr/>
        </p:nvSpPr>
        <p:spPr>
          <a:xfrm>
            <a:off x="7706408" y="2512830"/>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4.6 mn</a:t>
            </a:r>
            <a:endParaRPr sz="1000" b="1" dirty="0">
              <a:solidFill>
                <a:srgbClr val="3F3F3F"/>
              </a:solidFill>
              <a:latin typeface="Arial" panose="020B0604020202020204" pitchFamily="34" charset="0"/>
              <a:cs typeface="Arial" panose="020B0604020202020204" pitchFamily="34" charset="0"/>
            </a:endParaRPr>
          </a:p>
        </p:txBody>
      </p:sp>
      <p:sp>
        <p:nvSpPr>
          <p:cNvPr id="86" name="Google Shape;2641;g209c871e1c9_0_1743">
            <a:extLst>
              <a:ext uri="{FF2B5EF4-FFF2-40B4-BE49-F238E27FC236}">
                <a16:creationId xmlns:a16="http://schemas.microsoft.com/office/drawing/2014/main" id="{49B66401-E82A-2CEC-23B8-FFB7C77B61BE}"/>
              </a:ext>
            </a:extLst>
          </p:cNvPr>
          <p:cNvSpPr txBox="1"/>
          <p:nvPr/>
        </p:nvSpPr>
        <p:spPr>
          <a:xfrm>
            <a:off x="7706408" y="2907499"/>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261.7 mn</a:t>
            </a:r>
            <a:endParaRPr sz="1000" b="1" dirty="0">
              <a:solidFill>
                <a:srgbClr val="3F3F3F"/>
              </a:solidFill>
              <a:latin typeface="Arial" panose="020B0604020202020204" pitchFamily="34" charset="0"/>
              <a:cs typeface="Arial" panose="020B0604020202020204" pitchFamily="34" charset="0"/>
            </a:endParaRPr>
          </a:p>
        </p:txBody>
      </p:sp>
      <p:sp>
        <p:nvSpPr>
          <p:cNvPr id="87" name="Google Shape;2642;g209c871e1c9_0_1743">
            <a:extLst>
              <a:ext uri="{FF2B5EF4-FFF2-40B4-BE49-F238E27FC236}">
                <a16:creationId xmlns:a16="http://schemas.microsoft.com/office/drawing/2014/main" id="{8DEDE7BF-22E2-8750-5EE3-2848B80712D4}"/>
              </a:ext>
            </a:extLst>
          </p:cNvPr>
          <p:cNvSpPr txBox="1"/>
          <p:nvPr/>
        </p:nvSpPr>
        <p:spPr>
          <a:xfrm>
            <a:off x="7706408" y="3696836"/>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7.9 nights</a:t>
            </a:r>
            <a:endParaRPr sz="1000" b="1" dirty="0">
              <a:solidFill>
                <a:srgbClr val="3F3F3F"/>
              </a:solidFill>
              <a:latin typeface="Arial" panose="020B0604020202020204" pitchFamily="34" charset="0"/>
              <a:cs typeface="Arial" panose="020B0604020202020204" pitchFamily="34" charset="0"/>
            </a:endParaRPr>
          </a:p>
        </p:txBody>
      </p:sp>
      <p:sp>
        <p:nvSpPr>
          <p:cNvPr id="88" name="Google Shape;2643;g209c871e1c9_0_1743">
            <a:extLst>
              <a:ext uri="{FF2B5EF4-FFF2-40B4-BE49-F238E27FC236}">
                <a16:creationId xmlns:a16="http://schemas.microsoft.com/office/drawing/2014/main" id="{B68D2616-C6A7-E60E-3191-4F051A45BFCE}"/>
              </a:ext>
            </a:extLst>
          </p:cNvPr>
          <p:cNvSpPr txBox="1"/>
          <p:nvPr/>
        </p:nvSpPr>
        <p:spPr>
          <a:xfrm>
            <a:off x="7706408" y="3302168"/>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76.9 bn</a:t>
            </a:r>
            <a:endParaRPr sz="1000" b="1" dirty="0">
              <a:solidFill>
                <a:srgbClr val="3F3F3F"/>
              </a:solidFill>
              <a:latin typeface="Arial" panose="020B0604020202020204" pitchFamily="34" charset="0"/>
              <a:cs typeface="Arial" panose="020B0604020202020204" pitchFamily="34" charset="0"/>
            </a:endParaRPr>
          </a:p>
        </p:txBody>
      </p:sp>
      <p:sp>
        <p:nvSpPr>
          <p:cNvPr id="89" name="Google Shape;2644;g209c871e1c9_0_1743">
            <a:extLst>
              <a:ext uri="{FF2B5EF4-FFF2-40B4-BE49-F238E27FC236}">
                <a16:creationId xmlns:a16="http://schemas.microsoft.com/office/drawing/2014/main" id="{922BB376-7959-6846-CAAF-0EA3A1AD675D}"/>
              </a:ext>
            </a:extLst>
          </p:cNvPr>
          <p:cNvSpPr txBox="1"/>
          <p:nvPr/>
        </p:nvSpPr>
        <p:spPr>
          <a:xfrm>
            <a:off x="7706408" y="4844558"/>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30.0 mn</a:t>
            </a:r>
            <a:endParaRPr sz="1000" b="1" dirty="0">
              <a:solidFill>
                <a:srgbClr val="3F3F3F"/>
              </a:solidFill>
              <a:latin typeface="Arial" panose="020B0604020202020204" pitchFamily="34" charset="0"/>
              <a:cs typeface="Arial" panose="020B0604020202020204" pitchFamily="34" charset="0"/>
            </a:endParaRPr>
          </a:p>
        </p:txBody>
      </p:sp>
      <p:sp>
        <p:nvSpPr>
          <p:cNvPr id="90" name="Google Shape;2645;g209c871e1c9_0_1743">
            <a:extLst>
              <a:ext uri="{FF2B5EF4-FFF2-40B4-BE49-F238E27FC236}">
                <a16:creationId xmlns:a16="http://schemas.microsoft.com/office/drawing/2014/main" id="{32FC1B58-A0AC-E14B-A437-C041D6A48CC9}"/>
              </a:ext>
            </a:extLst>
          </p:cNvPr>
          <p:cNvSpPr txBox="1"/>
          <p:nvPr/>
        </p:nvSpPr>
        <p:spPr>
          <a:xfrm>
            <a:off x="7706408" y="5238707"/>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246.5 mn nights</a:t>
            </a:r>
            <a:endParaRPr sz="1000" b="1" dirty="0">
              <a:solidFill>
                <a:srgbClr val="3F3F3F"/>
              </a:solidFill>
              <a:latin typeface="Arial" panose="020B0604020202020204" pitchFamily="34" charset="0"/>
              <a:cs typeface="Arial" panose="020B0604020202020204" pitchFamily="34" charset="0"/>
            </a:endParaRPr>
          </a:p>
        </p:txBody>
      </p:sp>
      <p:sp>
        <p:nvSpPr>
          <p:cNvPr id="91" name="Google Shape;2646;g209c871e1c9_0_1743">
            <a:extLst>
              <a:ext uri="{FF2B5EF4-FFF2-40B4-BE49-F238E27FC236}">
                <a16:creationId xmlns:a16="http://schemas.microsoft.com/office/drawing/2014/main" id="{AB93E52C-9BB0-7C26-F7A7-422B3724B390}"/>
              </a:ext>
            </a:extLst>
          </p:cNvPr>
          <p:cNvSpPr txBox="1"/>
          <p:nvPr/>
        </p:nvSpPr>
        <p:spPr>
          <a:xfrm>
            <a:off x="7706408" y="6028564"/>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6.3 nights</a:t>
            </a:r>
            <a:endParaRPr sz="1000" b="1" dirty="0">
              <a:solidFill>
                <a:srgbClr val="3F3F3F"/>
              </a:solidFill>
              <a:latin typeface="Arial" panose="020B0604020202020204" pitchFamily="34" charset="0"/>
              <a:cs typeface="Arial" panose="020B0604020202020204" pitchFamily="34" charset="0"/>
            </a:endParaRPr>
          </a:p>
        </p:txBody>
      </p:sp>
      <p:sp>
        <p:nvSpPr>
          <p:cNvPr id="92" name="Google Shape;2647;g209c871e1c9_0_1743">
            <a:extLst>
              <a:ext uri="{FF2B5EF4-FFF2-40B4-BE49-F238E27FC236}">
                <a16:creationId xmlns:a16="http://schemas.microsoft.com/office/drawing/2014/main" id="{B53E5A8B-90E8-8EED-3DBB-F897025D82DA}"/>
              </a:ext>
            </a:extLst>
          </p:cNvPr>
          <p:cNvSpPr txBox="1"/>
          <p:nvPr/>
        </p:nvSpPr>
        <p:spPr>
          <a:xfrm>
            <a:off x="7706408" y="5624221"/>
            <a:ext cx="1645920" cy="320040"/>
          </a:xfrm>
          <a:prstGeom prst="rect">
            <a:avLst/>
          </a:prstGeom>
          <a:noFill/>
          <a:ln w="9525" cap="flat" cmpd="sng">
            <a:solidFill>
              <a:schemeClr val="bg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63.1 bn</a:t>
            </a:r>
            <a:endParaRPr sz="1000" b="1" dirty="0">
              <a:solidFill>
                <a:srgbClr val="3F3F3F"/>
              </a:solidFill>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C9EF92E4-976C-099A-F65B-0CE720BDE1AA}"/>
              </a:ext>
            </a:extLst>
          </p:cNvPr>
          <p:cNvSpPr txBox="1"/>
          <p:nvPr/>
        </p:nvSpPr>
        <p:spPr>
          <a:xfrm>
            <a:off x="6797408" y="6429531"/>
            <a:ext cx="5023836" cy="400110"/>
          </a:xfrm>
          <a:prstGeom prst="rect">
            <a:avLst/>
          </a:prstGeom>
          <a:noFill/>
        </p:spPr>
        <p:txBody>
          <a:bodyPr wrap="square" rtlCol="0" anchor="ctr">
            <a:spAutoFit/>
          </a:bodyPr>
          <a:lstStyle/>
          <a:p>
            <a:pPr algn="r"/>
            <a:r>
              <a:rPr lang="en-US" sz="1000" i="1" dirty="0"/>
              <a:t>Source: MOT KSA, STA, Euromonitor</a:t>
            </a:r>
          </a:p>
          <a:p>
            <a:pPr algn="r"/>
            <a:r>
              <a:rPr lang="en-US" sz="1000" i="1" dirty="0"/>
              <a:t>1: 2023 H1 figures from MOT annualized (PwC analysis)</a:t>
            </a:r>
          </a:p>
        </p:txBody>
      </p:sp>
      <p:sp>
        <p:nvSpPr>
          <p:cNvPr id="95" name="Isosceles Triangle 94">
            <a:extLst>
              <a:ext uri="{FF2B5EF4-FFF2-40B4-BE49-F238E27FC236}">
                <a16:creationId xmlns:a16="http://schemas.microsoft.com/office/drawing/2014/main" id="{49222023-50EE-FC2B-CBC6-033AA6D38C85}"/>
              </a:ext>
            </a:extLst>
          </p:cNvPr>
          <p:cNvSpPr/>
          <p:nvPr/>
        </p:nvSpPr>
        <p:spPr>
          <a:xfrm rot="5400000">
            <a:off x="3916121" y="4335536"/>
            <a:ext cx="3147237" cy="325657"/>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Isosceles Triangle 95">
            <a:extLst>
              <a:ext uri="{FF2B5EF4-FFF2-40B4-BE49-F238E27FC236}">
                <a16:creationId xmlns:a16="http://schemas.microsoft.com/office/drawing/2014/main" id="{31779250-79D1-3251-185B-77D0456BB7E4}"/>
              </a:ext>
            </a:extLst>
          </p:cNvPr>
          <p:cNvSpPr/>
          <p:nvPr/>
        </p:nvSpPr>
        <p:spPr>
          <a:xfrm rot="5400000">
            <a:off x="5969961" y="4327963"/>
            <a:ext cx="3147237" cy="325657"/>
          </a:xfrm>
          <a:prstGeom prst="triangl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Google Shape;2630;g209c871e1c9_0_1743">
            <a:extLst>
              <a:ext uri="{FF2B5EF4-FFF2-40B4-BE49-F238E27FC236}">
                <a16:creationId xmlns:a16="http://schemas.microsoft.com/office/drawing/2014/main" id="{A788BA39-58B6-0D3B-B033-06C540607010}"/>
              </a:ext>
            </a:extLst>
          </p:cNvPr>
          <p:cNvSpPr txBox="1"/>
          <p:nvPr/>
        </p:nvSpPr>
        <p:spPr>
          <a:xfrm>
            <a:off x="9664700" y="1770694"/>
            <a:ext cx="1641416" cy="65659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US" b="1" dirty="0">
                <a:solidFill>
                  <a:schemeClr val="bg1"/>
                </a:solidFill>
                <a:latin typeface="Arial" panose="020B0604020202020204" pitchFamily="34" charset="0"/>
                <a:cs typeface="Arial" panose="020B0604020202020204" pitchFamily="34" charset="0"/>
              </a:rPr>
              <a:t>2023</a:t>
            </a:r>
          </a:p>
          <a:p>
            <a:pPr marL="0" lvl="0" indent="0" algn="ctr" rtl="0">
              <a:spcBef>
                <a:spcPts val="0"/>
              </a:spcBef>
              <a:spcAft>
                <a:spcPts val="0"/>
              </a:spcAft>
              <a:buNone/>
            </a:pPr>
            <a:r>
              <a:rPr lang="en-US" sz="800" b="1" i="1" dirty="0">
                <a:solidFill>
                  <a:schemeClr val="bg1"/>
                </a:solidFill>
                <a:latin typeface="Arial" panose="020B0604020202020204" pitchFamily="34" charset="0"/>
                <a:cs typeface="Arial" panose="020B0604020202020204" pitchFamily="34" charset="0"/>
              </a:rPr>
              <a:t>Annualized</a:t>
            </a:r>
            <a:r>
              <a:rPr lang="en-US" sz="800" b="1" i="1" baseline="30000" dirty="0">
                <a:solidFill>
                  <a:schemeClr val="bg1"/>
                </a:solidFill>
                <a:latin typeface="Arial" panose="020B0604020202020204" pitchFamily="34" charset="0"/>
                <a:cs typeface="Arial" panose="020B0604020202020204" pitchFamily="34" charset="0"/>
              </a:rPr>
              <a:t>1</a:t>
            </a:r>
            <a:endParaRPr sz="800" b="1" i="1" baseline="30000" dirty="0">
              <a:solidFill>
                <a:schemeClr val="bg1"/>
              </a:solidFill>
              <a:latin typeface="Arial" panose="020B0604020202020204" pitchFamily="34" charset="0"/>
              <a:cs typeface="Arial" panose="020B0604020202020204" pitchFamily="34" charset="0"/>
            </a:endParaRPr>
          </a:p>
        </p:txBody>
      </p:sp>
      <p:sp>
        <p:nvSpPr>
          <p:cNvPr id="3" name="Google Shape;2640;g209c871e1c9_0_1743">
            <a:extLst>
              <a:ext uri="{FF2B5EF4-FFF2-40B4-BE49-F238E27FC236}">
                <a16:creationId xmlns:a16="http://schemas.microsoft.com/office/drawing/2014/main" id="{6E4ECF3A-F51B-6598-87FD-F0D101FC6DBB}"/>
              </a:ext>
            </a:extLst>
          </p:cNvPr>
          <p:cNvSpPr txBox="1"/>
          <p:nvPr/>
        </p:nvSpPr>
        <p:spPr>
          <a:xfrm>
            <a:off x="9664700" y="2512830"/>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27.4 mn</a:t>
            </a:r>
            <a:endParaRPr sz="1000" b="1" dirty="0">
              <a:solidFill>
                <a:srgbClr val="3F3F3F"/>
              </a:solidFill>
              <a:latin typeface="Arial" panose="020B0604020202020204" pitchFamily="34" charset="0"/>
              <a:cs typeface="Arial" panose="020B0604020202020204" pitchFamily="34" charset="0"/>
            </a:endParaRPr>
          </a:p>
        </p:txBody>
      </p:sp>
      <p:sp>
        <p:nvSpPr>
          <p:cNvPr id="5" name="Google Shape;2641;g209c871e1c9_0_1743">
            <a:extLst>
              <a:ext uri="{FF2B5EF4-FFF2-40B4-BE49-F238E27FC236}">
                <a16:creationId xmlns:a16="http://schemas.microsoft.com/office/drawing/2014/main" id="{B2CA22C6-6782-B26D-F439-44298F9933F2}"/>
              </a:ext>
            </a:extLst>
          </p:cNvPr>
          <p:cNvSpPr txBox="1"/>
          <p:nvPr/>
        </p:nvSpPr>
        <p:spPr>
          <a:xfrm>
            <a:off x="9664700" y="2907499"/>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460.2 mn</a:t>
            </a:r>
            <a:endParaRPr sz="1000" b="1" dirty="0">
              <a:solidFill>
                <a:srgbClr val="3F3F3F"/>
              </a:solidFill>
              <a:latin typeface="Arial" panose="020B0604020202020204" pitchFamily="34" charset="0"/>
              <a:cs typeface="Arial" panose="020B0604020202020204" pitchFamily="34" charset="0"/>
            </a:endParaRPr>
          </a:p>
        </p:txBody>
      </p:sp>
      <p:sp>
        <p:nvSpPr>
          <p:cNvPr id="7" name="Google Shape;2642;g209c871e1c9_0_1743">
            <a:extLst>
              <a:ext uri="{FF2B5EF4-FFF2-40B4-BE49-F238E27FC236}">
                <a16:creationId xmlns:a16="http://schemas.microsoft.com/office/drawing/2014/main" id="{F473FB97-BBDB-1AC7-F224-C5A488E42819}"/>
              </a:ext>
            </a:extLst>
          </p:cNvPr>
          <p:cNvSpPr txBox="1"/>
          <p:nvPr/>
        </p:nvSpPr>
        <p:spPr>
          <a:xfrm>
            <a:off x="9664700" y="3696836"/>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6.7 nights</a:t>
            </a:r>
            <a:endParaRPr sz="1000" b="1" dirty="0">
              <a:solidFill>
                <a:srgbClr val="3F3F3F"/>
              </a:solidFill>
              <a:latin typeface="Arial" panose="020B0604020202020204" pitchFamily="34" charset="0"/>
              <a:cs typeface="Arial" panose="020B0604020202020204" pitchFamily="34" charset="0"/>
            </a:endParaRPr>
          </a:p>
        </p:txBody>
      </p:sp>
      <p:sp>
        <p:nvSpPr>
          <p:cNvPr id="8" name="Google Shape;2643;g209c871e1c9_0_1743">
            <a:extLst>
              <a:ext uri="{FF2B5EF4-FFF2-40B4-BE49-F238E27FC236}">
                <a16:creationId xmlns:a16="http://schemas.microsoft.com/office/drawing/2014/main" id="{4C74AA0D-B21F-4995-8631-D596D8C2DD48}"/>
              </a:ext>
            </a:extLst>
          </p:cNvPr>
          <p:cNvSpPr txBox="1"/>
          <p:nvPr/>
        </p:nvSpPr>
        <p:spPr>
          <a:xfrm>
            <a:off x="9664700" y="3302168"/>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35.0 bn</a:t>
            </a:r>
            <a:endParaRPr sz="1000" b="1" dirty="0">
              <a:solidFill>
                <a:srgbClr val="3F3F3F"/>
              </a:solidFill>
              <a:latin typeface="Arial" panose="020B0604020202020204" pitchFamily="34" charset="0"/>
              <a:cs typeface="Arial" panose="020B0604020202020204" pitchFamily="34" charset="0"/>
            </a:endParaRPr>
          </a:p>
        </p:txBody>
      </p:sp>
      <p:sp>
        <p:nvSpPr>
          <p:cNvPr id="9" name="Google Shape;2644;g209c871e1c9_0_1743">
            <a:extLst>
              <a:ext uri="{FF2B5EF4-FFF2-40B4-BE49-F238E27FC236}">
                <a16:creationId xmlns:a16="http://schemas.microsoft.com/office/drawing/2014/main" id="{7CC69111-AE75-93EF-A998-B5F34AE4D8B5}"/>
              </a:ext>
            </a:extLst>
          </p:cNvPr>
          <p:cNvSpPr txBox="1"/>
          <p:nvPr/>
        </p:nvSpPr>
        <p:spPr>
          <a:xfrm>
            <a:off x="9664700" y="4844558"/>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79.2 mn</a:t>
            </a:r>
            <a:endParaRPr sz="1000" b="1" dirty="0">
              <a:solidFill>
                <a:srgbClr val="3F3F3F"/>
              </a:solidFill>
              <a:latin typeface="Arial" panose="020B0604020202020204" pitchFamily="34" charset="0"/>
              <a:cs typeface="Arial" panose="020B0604020202020204" pitchFamily="34" charset="0"/>
            </a:endParaRPr>
          </a:p>
        </p:txBody>
      </p:sp>
      <p:sp>
        <p:nvSpPr>
          <p:cNvPr id="10" name="Google Shape;2645;g209c871e1c9_0_1743">
            <a:extLst>
              <a:ext uri="{FF2B5EF4-FFF2-40B4-BE49-F238E27FC236}">
                <a16:creationId xmlns:a16="http://schemas.microsoft.com/office/drawing/2014/main" id="{C3FF337A-CC77-BBFC-3CD1-A44435EA565A}"/>
              </a:ext>
            </a:extLst>
          </p:cNvPr>
          <p:cNvSpPr txBox="1"/>
          <p:nvPr/>
        </p:nvSpPr>
        <p:spPr>
          <a:xfrm>
            <a:off x="9664700" y="5238707"/>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547.2 mn nights</a:t>
            </a:r>
            <a:endParaRPr sz="1000" b="1" dirty="0">
              <a:solidFill>
                <a:srgbClr val="3F3F3F"/>
              </a:solidFill>
              <a:latin typeface="Arial" panose="020B0604020202020204" pitchFamily="34" charset="0"/>
              <a:cs typeface="Arial" panose="020B0604020202020204" pitchFamily="34" charset="0"/>
            </a:endParaRPr>
          </a:p>
        </p:txBody>
      </p:sp>
      <p:sp>
        <p:nvSpPr>
          <p:cNvPr id="11" name="Google Shape;2646;g209c871e1c9_0_1743">
            <a:extLst>
              <a:ext uri="{FF2B5EF4-FFF2-40B4-BE49-F238E27FC236}">
                <a16:creationId xmlns:a16="http://schemas.microsoft.com/office/drawing/2014/main" id="{A8364642-DEE4-1985-651D-D671B760ADD5}"/>
              </a:ext>
            </a:extLst>
          </p:cNvPr>
          <p:cNvSpPr txBox="1"/>
          <p:nvPr/>
        </p:nvSpPr>
        <p:spPr>
          <a:xfrm>
            <a:off x="9664700" y="6028564"/>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6.9 nights</a:t>
            </a:r>
            <a:endParaRPr sz="1000" b="1" dirty="0">
              <a:solidFill>
                <a:srgbClr val="3F3F3F"/>
              </a:solidFill>
              <a:latin typeface="Arial" panose="020B0604020202020204" pitchFamily="34" charset="0"/>
              <a:cs typeface="Arial" panose="020B0604020202020204" pitchFamily="34" charset="0"/>
            </a:endParaRPr>
          </a:p>
        </p:txBody>
      </p:sp>
      <p:sp>
        <p:nvSpPr>
          <p:cNvPr id="12" name="Google Shape;2647;g209c871e1c9_0_1743">
            <a:extLst>
              <a:ext uri="{FF2B5EF4-FFF2-40B4-BE49-F238E27FC236}">
                <a16:creationId xmlns:a16="http://schemas.microsoft.com/office/drawing/2014/main" id="{78129F02-1509-5967-414D-8C07E4299609}"/>
              </a:ext>
            </a:extLst>
          </p:cNvPr>
          <p:cNvSpPr txBox="1"/>
          <p:nvPr/>
        </p:nvSpPr>
        <p:spPr>
          <a:xfrm>
            <a:off x="9664700" y="5624221"/>
            <a:ext cx="1645920" cy="320040"/>
          </a:xfrm>
          <a:prstGeom prst="rect">
            <a:avLst/>
          </a:prstGeom>
          <a:noFill/>
          <a:ln w="57150" cap="flat" cmpd="sng">
            <a:solidFill>
              <a:schemeClr val="accent6"/>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 sz="1000" b="1" dirty="0">
                <a:solidFill>
                  <a:srgbClr val="3F3F3F"/>
                </a:solidFill>
                <a:latin typeface="Arial" panose="020B0604020202020204" pitchFamily="34" charset="0"/>
                <a:cs typeface="Arial" panose="020B0604020202020204" pitchFamily="34" charset="0"/>
              </a:rPr>
              <a:t>150.0 bn</a:t>
            </a:r>
            <a:endParaRPr sz="1000" b="1" dirty="0">
              <a:solidFill>
                <a:srgbClr val="3F3F3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4383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59" y="260416"/>
            <a:ext cx="8802229" cy="12105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STONG HOSPITALITY MARKET RESILIENCE IN KSA</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93" name="TextBox 92">
            <a:extLst>
              <a:ext uri="{FF2B5EF4-FFF2-40B4-BE49-F238E27FC236}">
                <a16:creationId xmlns:a16="http://schemas.microsoft.com/office/drawing/2014/main" id="{C9EF92E4-976C-099A-F65B-0CE720BDE1AA}"/>
              </a:ext>
            </a:extLst>
          </p:cNvPr>
          <p:cNvSpPr txBox="1"/>
          <p:nvPr/>
        </p:nvSpPr>
        <p:spPr>
          <a:xfrm>
            <a:off x="9664700" y="6506475"/>
            <a:ext cx="2156543" cy="246221"/>
          </a:xfrm>
          <a:prstGeom prst="rect">
            <a:avLst/>
          </a:prstGeom>
          <a:noFill/>
        </p:spPr>
        <p:txBody>
          <a:bodyPr wrap="square" rtlCol="0" anchor="ctr">
            <a:spAutoFit/>
          </a:bodyPr>
          <a:lstStyle/>
          <a:p>
            <a:pPr algn="r"/>
            <a:r>
              <a:rPr lang="en-US" sz="1000" i="1" dirty="0"/>
              <a:t>Source: WTTC, Euromonitor</a:t>
            </a:r>
          </a:p>
        </p:txBody>
      </p:sp>
      <p:sp>
        <p:nvSpPr>
          <p:cNvPr id="2" name="Google Shape;3743;p51">
            <a:extLst>
              <a:ext uri="{FF2B5EF4-FFF2-40B4-BE49-F238E27FC236}">
                <a16:creationId xmlns:a16="http://schemas.microsoft.com/office/drawing/2014/main" id="{E315969B-FF7C-0174-B110-6F6ECB339D31}"/>
              </a:ext>
            </a:extLst>
          </p:cNvPr>
          <p:cNvSpPr/>
          <p:nvPr/>
        </p:nvSpPr>
        <p:spPr>
          <a:xfrm>
            <a:off x="2613359" y="3429000"/>
            <a:ext cx="2596168" cy="1018514"/>
          </a:xfrm>
          <a:prstGeom prst="chevron">
            <a:avLst>
              <a:gd name="adj" fmla="val 31595"/>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3" name="Google Shape;3744;p51">
            <a:extLst>
              <a:ext uri="{FF2B5EF4-FFF2-40B4-BE49-F238E27FC236}">
                <a16:creationId xmlns:a16="http://schemas.microsoft.com/office/drawing/2014/main" id="{30DBA8C3-830D-F1C5-66CE-4AD6571049F2}"/>
              </a:ext>
            </a:extLst>
          </p:cNvPr>
          <p:cNvSpPr/>
          <p:nvPr/>
        </p:nvSpPr>
        <p:spPr>
          <a:xfrm>
            <a:off x="388890" y="3441014"/>
            <a:ext cx="2657771" cy="1011571"/>
          </a:xfrm>
          <a:prstGeom prst="homePlate">
            <a:avLst>
              <a:gd name="adj" fmla="val 31469"/>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5" name="Google Shape;3745;p51">
            <a:extLst>
              <a:ext uri="{FF2B5EF4-FFF2-40B4-BE49-F238E27FC236}">
                <a16:creationId xmlns:a16="http://schemas.microsoft.com/office/drawing/2014/main" id="{FB363F97-F3FC-ADB9-576F-07651DD86EFF}"/>
              </a:ext>
            </a:extLst>
          </p:cNvPr>
          <p:cNvSpPr/>
          <p:nvPr/>
        </p:nvSpPr>
        <p:spPr>
          <a:xfrm>
            <a:off x="4776224" y="3429000"/>
            <a:ext cx="2596168" cy="1018514"/>
          </a:xfrm>
          <a:prstGeom prst="chevron">
            <a:avLst>
              <a:gd name="adj" fmla="val 31595"/>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7" name="Google Shape;3746;p51">
            <a:extLst>
              <a:ext uri="{FF2B5EF4-FFF2-40B4-BE49-F238E27FC236}">
                <a16:creationId xmlns:a16="http://schemas.microsoft.com/office/drawing/2014/main" id="{A319D6B6-6070-E9CF-50D9-800061380097}"/>
              </a:ext>
            </a:extLst>
          </p:cNvPr>
          <p:cNvSpPr/>
          <p:nvPr/>
        </p:nvSpPr>
        <p:spPr>
          <a:xfrm>
            <a:off x="6953556" y="3429000"/>
            <a:ext cx="2596168" cy="1018514"/>
          </a:xfrm>
          <a:prstGeom prst="chevron">
            <a:avLst>
              <a:gd name="adj" fmla="val 31595"/>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8" name="Google Shape;3747;p51">
            <a:extLst>
              <a:ext uri="{FF2B5EF4-FFF2-40B4-BE49-F238E27FC236}">
                <a16:creationId xmlns:a16="http://schemas.microsoft.com/office/drawing/2014/main" id="{2596A010-C70B-10F6-1D3C-3A65E2978E6C}"/>
              </a:ext>
            </a:extLst>
          </p:cNvPr>
          <p:cNvSpPr/>
          <p:nvPr/>
        </p:nvSpPr>
        <p:spPr>
          <a:xfrm>
            <a:off x="9130887" y="3429000"/>
            <a:ext cx="2596168" cy="1018514"/>
          </a:xfrm>
          <a:prstGeom prst="chevron">
            <a:avLst>
              <a:gd name="adj" fmla="val 31595"/>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200">
              <a:solidFill>
                <a:schemeClr val="lt1"/>
              </a:solidFill>
              <a:latin typeface="Arial"/>
              <a:ea typeface="Arial"/>
              <a:cs typeface="Arial"/>
              <a:sym typeface="Arial"/>
            </a:endParaRPr>
          </a:p>
        </p:txBody>
      </p:sp>
      <p:sp>
        <p:nvSpPr>
          <p:cNvPr id="9" name="Google Shape;3748;p51">
            <a:extLst>
              <a:ext uri="{FF2B5EF4-FFF2-40B4-BE49-F238E27FC236}">
                <a16:creationId xmlns:a16="http://schemas.microsoft.com/office/drawing/2014/main" id="{2DBEE5B8-89DC-238B-2994-0E43AB50627C}"/>
              </a:ext>
            </a:extLst>
          </p:cNvPr>
          <p:cNvSpPr txBox="1"/>
          <p:nvPr/>
        </p:nvSpPr>
        <p:spPr>
          <a:xfrm>
            <a:off x="566836" y="3761708"/>
            <a:ext cx="1883223" cy="401624"/>
          </a:xfrm>
          <a:prstGeom prst="rect">
            <a:avLst/>
          </a:prstGeom>
          <a:noFill/>
          <a:ln>
            <a:noFill/>
          </a:ln>
        </p:spPr>
        <p:txBody>
          <a:bodyPr spcFirstLastPara="1" wrap="square" lIns="76950" tIns="76950" rIns="61550" bIns="76950" anchor="ctr" anchorCtr="0">
            <a:spAutoFit/>
          </a:bodyPr>
          <a:lstStyle/>
          <a:p>
            <a:pPr marL="0" marR="0" lvl="0" indent="0" algn="l" rtl="0">
              <a:spcBef>
                <a:spcPts val="0"/>
              </a:spcBef>
              <a:spcAft>
                <a:spcPts val="0"/>
              </a:spcAft>
              <a:buNone/>
            </a:pPr>
            <a:r>
              <a:rPr lang="en-GB" sz="1600" dirty="0">
                <a:solidFill>
                  <a:schemeClr val="lt1"/>
                </a:solidFill>
                <a:latin typeface="Arial"/>
                <a:ea typeface="Arial"/>
                <a:cs typeface="Arial"/>
                <a:sym typeface="Arial"/>
              </a:rPr>
              <a:t>2017</a:t>
            </a:r>
            <a:endParaRPr dirty="0"/>
          </a:p>
        </p:txBody>
      </p:sp>
      <p:sp>
        <p:nvSpPr>
          <p:cNvPr id="10" name="Google Shape;3749;p51">
            <a:extLst>
              <a:ext uri="{FF2B5EF4-FFF2-40B4-BE49-F238E27FC236}">
                <a16:creationId xmlns:a16="http://schemas.microsoft.com/office/drawing/2014/main" id="{BD4B31F4-6219-E792-23E6-5899A0BD3D5F}"/>
              </a:ext>
            </a:extLst>
          </p:cNvPr>
          <p:cNvSpPr txBox="1"/>
          <p:nvPr/>
        </p:nvSpPr>
        <p:spPr>
          <a:xfrm>
            <a:off x="3249028" y="3761708"/>
            <a:ext cx="1724902" cy="401624"/>
          </a:xfrm>
          <a:prstGeom prst="rect">
            <a:avLst/>
          </a:prstGeom>
          <a:noFill/>
          <a:ln>
            <a:noFill/>
          </a:ln>
        </p:spPr>
        <p:txBody>
          <a:bodyPr spcFirstLastPara="1" wrap="square" lIns="76950" tIns="76950" rIns="61550" bIns="76950" anchor="ctr" anchorCtr="0">
            <a:spAutoFit/>
          </a:bodyPr>
          <a:lstStyle/>
          <a:p>
            <a:pPr marL="0" marR="0" lvl="0" indent="0" algn="l" rtl="0">
              <a:spcBef>
                <a:spcPts val="0"/>
              </a:spcBef>
              <a:spcAft>
                <a:spcPts val="0"/>
              </a:spcAft>
              <a:buNone/>
            </a:pPr>
            <a:r>
              <a:rPr lang="en-GB" sz="1600" dirty="0">
                <a:solidFill>
                  <a:schemeClr val="lt1"/>
                </a:solidFill>
                <a:latin typeface="Arial"/>
                <a:ea typeface="Arial"/>
                <a:cs typeface="Arial"/>
                <a:sym typeface="Arial"/>
              </a:rPr>
              <a:t>2019</a:t>
            </a:r>
            <a:endParaRPr dirty="0"/>
          </a:p>
        </p:txBody>
      </p:sp>
      <p:cxnSp>
        <p:nvCxnSpPr>
          <p:cNvPr id="11" name="Google Shape;3750;p51">
            <a:extLst>
              <a:ext uri="{FF2B5EF4-FFF2-40B4-BE49-F238E27FC236}">
                <a16:creationId xmlns:a16="http://schemas.microsoft.com/office/drawing/2014/main" id="{3D70532D-8B44-287E-7610-DAE2904D06DB}"/>
              </a:ext>
            </a:extLst>
          </p:cNvPr>
          <p:cNvCxnSpPr/>
          <p:nvPr/>
        </p:nvCxnSpPr>
        <p:spPr>
          <a:xfrm rot="10800000">
            <a:off x="2576883" y="2086424"/>
            <a:ext cx="0" cy="1260000"/>
          </a:xfrm>
          <a:prstGeom prst="straightConnector1">
            <a:avLst/>
          </a:prstGeom>
          <a:noFill/>
          <a:ln w="9525" cap="flat" cmpd="sng">
            <a:solidFill>
              <a:schemeClr val="accent5"/>
            </a:solidFill>
            <a:prstDash val="solid"/>
            <a:round/>
            <a:headEnd type="none" w="med" len="med"/>
            <a:tailEnd type="none" w="med" len="med"/>
          </a:ln>
        </p:spPr>
      </p:cxnSp>
      <p:sp>
        <p:nvSpPr>
          <p:cNvPr id="12" name="Google Shape;3751;p51">
            <a:extLst>
              <a:ext uri="{FF2B5EF4-FFF2-40B4-BE49-F238E27FC236}">
                <a16:creationId xmlns:a16="http://schemas.microsoft.com/office/drawing/2014/main" id="{BD22E706-4BE5-336B-E265-7C342F6C151F}"/>
              </a:ext>
            </a:extLst>
          </p:cNvPr>
          <p:cNvSpPr txBox="1"/>
          <p:nvPr/>
        </p:nvSpPr>
        <p:spPr>
          <a:xfrm>
            <a:off x="2660311" y="2751480"/>
            <a:ext cx="2089247" cy="49973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Creating job opportunities in the hospitality &amp; tourism sector</a:t>
            </a:r>
          </a:p>
        </p:txBody>
      </p:sp>
      <p:sp>
        <p:nvSpPr>
          <p:cNvPr id="13" name="Google Shape;3752;p51">
            <a:extLst>
              <a:ext uri="{FF2B5EF4-FFF2-40B4-BE49-F238E27FC236}">
                <a16:creationId xmlns:a16="http://schemas.microsoft.com/office/drawing/2014/main" id="{2FB877F1-E176-18C6-F7AA-CBC3575A297C}"/>
              </a:ext>
            </a:extLst>
          </p:cNvPr>
          <p:cNvSpPr txBox="1"/>
          <p:nvPr/>
        </p:nvSpPr>
        <p:spPr>
          <a:xfrm>
            <a:off x="4776225" y="5033876"/>
            <a:ext cx="2177332" cy="677765"/>
          </a:xfrm>
          <a:prstGeom prst="rect">
            <a:avLst/>
          </a:prstGeom>
          <a:noFill/>
          <a:ln>
            <a:noFill/>
          </a:ln>
        </p:spPr>
        <p:txBody>
          <a:bodyPr spcFirstLastPara="1" wrap="square" lIns="61550" tIns="0" rIns="0" bIns="0" anchor="b" anchorCtr="0">
            <a:no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Relocating companies HQs in the capital Riyadh</a:t>
            </a:r>
          </a:p>
        </p:txBody>
      </p:sp>
      <p:cxnSp>
        <p:nvCxnSpPr>
          <p:cNvPr id="14" name="Google Shape;3753;p51">
            <a:extLst>
              <a:ext uri="{FF2B5EF4-FFF2-40B4-BE49-F238E27FC236}">
                <a16:creationId xmlns:a16="http://schemas.microsoft.com/office/drawing/2014/main" id="{DC32FFE6-D1CC-F8D0-BC79-70D9D1D76B06}"/>
              </a:ext>
            </a:extLst>
          </p:cNvPr>
          <p:cNvCxnSpPr/>
          <p:nvPr/>
        </p:nvCxnSpPr>
        <p:spPr>
          <a:xfrm rot="10800000">
            <a:off x="4765795" y="4451641"/>
            <a:ext cx="0" cy="1260000"/>
          </a:xfrm>
          <a:prstGeom prst="straightConnector1">
            <a:avLst/>
          </a:prstGeom>
          <a:noFill/>
          <a:ln w="9525" cap="flat" cmpd="sng">
            <a:solidFill>
              <a:schemeClr val="accent1"/>
            </a:solidFill>
            <a:prstDash val="solid"/>
            <a:round/>
            <a:headEnd type="none" w="med" len="med"/>
            <a:tailEnd type="none" w="med" len="med"/>
          </a:ln>
        </p:spPr>
      </p:cxnSp>
      <p:sp>
        <p:nvSpPr>
          <p:cNvPr id="15" name="Google Shape;3754;p51">
            <a:extLst>
              <a:ext uri="{FF2B5EF4-FFF2-40B4-BE49-F238E27FC236}">
                <a16:creationId xmlns:a16="http://schemas.microsoft.com/office/drawing/2014/main" id="{7565ED31-6E69-9148-9CFD-BE45342E40B6}"/>
              </a:ext>
            </a:extLst>
          </p:cNvPr>
          <p:cNvSpPr txBox="1"/>
          <p:nvPr/>
        </p:nvSpPr>
        <p:spPr>
          <a:xfrm>
            <a:off x="6940222" y="2086424"/>
            <a:ext cx="2190665" cy="720000"/>
          </a:xfrm>
          <a:prstGeom prst="rect">
            <a:avLst/>
          </a:prstGeom>
          <a:noFill/>
          <a:ln>
            <a:noFill/>
          </a:ln>
        </p:spPr>
        <p:txBody>
          <a:bodyPr spcFirstLastPara="1" wrap="square" lIns="61550" tIns="0" rIns="0" bIns="0" anchor="t" anchorCtr="0">
            <a:no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Introducing new laws to develop an internationally competitive tourism sector</a:t>
            </a:r>
          </a:p>
        </p:txBody>
      </p:sp>
      <p:cxnSp>
        <p:nvCxnSpPr>
          <p:cNvPr id="16" name="Google Shape;3755;p51">
            <a:extLst>
              <a:ext uri="{FF2B5EF4-FFF2-40B4-BE49-F238E27FC236}">
                <a16:creationId xmlns:a16="http://schemas.microsoft.com/office/drawing/2014/main" id="{E6B1E07B-383B-AA38-4709-17FBBBA883FB}"/>
              </a:ext>
            </a:extLst>
          </p:cNvPr>
          <p:cNvCxnSpPr/>
          <p:nvPr/>
        </p:nvCxnSpPr>
        <p:spPr>
          <a:xfrm rot="10800000">
            <a:off x="6940222" y="2086424"/>
            <a:ext cx="0" cy="1260000"/>
          </a:xfrm>
          <a:prstGeom prst="straightConnector1">
            <a:avLst/>
          </a:prstGeom>
          <a:noFill/>
          <a:ln w="9525" cap="flat" cmpd="sng">
            <a:solidFill>
              <a:schemeClr val="accent4"/>
            </a:solidFill>
            <a:prstDash val="solid"/>
            <a:round/>
            <a:headEnd type="none" w="med" len="med"/>
            <a:tailEnd type="none" w="med" len="med"/>
          </a:ln>
        </p:spPr>
      </p:cxnSp>
      <p:cxnSp>
        <p:nvCxnSpPr>
          <p:cNvPr id="17" name="Google Shape;3756;p51">
            <a:extLst>
              <a:ext uri="{FF2B5EF4-FFF2-40B4-BE49-F238E27FC236}">
                <a16:creationId xmlns:a16="http://schemas.microsoft.com/office/drawing/2014/main" id="{268461E2-6448-6163-F034-9F4FEBB49E0C}"/>
              </a:ext>
            </a:extLst>
          </p:cNvPr>
          <p:cNvCxnSpPr/>
          <p:nvPr/>
        </p:nvCxnSpPr>
        <p:spPr>
          <a:xfrm rot="10800000">
            <a:off x="402823" y="4451641"/>
            <a:ext cx="0" cy="1260000"/>
          </a:xfrm>
          <a:prstGeom prst="straightConnector1">
            <a:avLst/>
          </a:prstGeom>
          <a:noFill/>
          <a:ln w="9525" cap="flat" cmpd="sng">
            <a:solidFill>
              <a:schemeClr val="dk2"/>
            </a:solidFill>
            <a:prstDash val="solid"/>
            <a:round/>
            <a:headEnd type="none" w="med" len="med"/>
            <a:tailEnd type="none" w="med" len="med"/>
          </a:ln>
        </p:spPr>
      </p:cxnSp>
      <p:sp>
        <p:nvSpPr>
          <p:cNvPr id="18" name="Google Shape;3757;p51">
            <a:extLst>
              <a:ext uri="{FF2B5EF4-FFF2-40B4-BE49-F238E27FC236}">
                <a16:creationId xmlns:a16="http://schemas.microsoft.com/office/drawing/2014/main" id="{ED2855BE-0EF6-14E7-B2A8-3DF8E01A215A}"/>
              </a:ext>
            </a:extLst>
          </p:cNvPr>
          <p:cNvSpPr txBox="1"/>
          <p:nvPr/>
        </p:nvSpPr>
        <p:spPr>
          <a:xfrm>
            <a:off x="402823" y="5010931"/>
            <a:ext cx="2465336" cy="720000"/>
          </a:xfrm>
          <a:prstGeom prst="rect">
            <a:avLst/>
          </a:prstGeom>
          <a:noFill/>
          <a:ln>
            <a:noFill/>
          </a:ln>
        </p:spPr>
        <p:txBody>
          <a:bodyPr spcFirstLastPara="1" wrap="square" lIns="61550" tIns="0" rIns="0" bIns="0" anchor="b" anchorCtr="0">
            <a:no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Increased investment in the hospitality &amp; tourism sector</a:t>
            </a:r>
          </a:p>
        </p:txBody>
      </p:sp>
      <p:sp>
        <p:nvSpPr>
          <p:cNvPr id="19" name="Google Shape;3758;p51">
            <a:extLst>
              <a:ext uri="{FF2B5EF4-FFF2-40B4-BE49-F238E27FC236}">
                <a16:creationId xmlns:a16="http://schemas.microsoft.com/office/drawing/2014/main" id="{9B576F8C-9271-F17C-DE9C-38C96B6F81B1}"/>
              </a:ext>
            </a:extLst>
          </p:cNvPr>
          <p:cNvSpPr txBox="1"/>
          <p:nvPr/>
        </p:nvSpPr>
        <p:spPr>
          <a:xfrm>
            <a:off x="9145688" y="5033876"/>
            <a:ext cx="2471594" cy="720000"/>
          </a:xfrm>
          <a:prstGeom prst="rect">
            <a:avLst/>
          </a:prstGeom>
          <a:noFill/>
          <a:ln>
            <a:noFill/>
          </a:ln>
        </p:spPr>
        <p:txBody>
          <a:bodyPr spcFirstLastPara="1" wrap="square" lIns="61550" tIns="0" rIns="0" bIns="0" anchor="b" anchorCtr="0">
            <a:noAutofit/>
          </a:bodyPr>
          <a:lstStyle/>
          <a:p>
            <a:pPr marL="0" marR="0" lvl="0" indent="0" algn="l" rtl="0">
              <a:spcBef>
                <a:spcPts val="0"/>
              </a:spcBef>
              <a:spcAft>
                <a:spcPts val="0"/>
              </a:spcAft>
              <a:buNone/>
            </a:pPr>
            <a:r>
              <a:rPr lang="en-US" sz="1200" dirty="0">
                <a:solidFill>
                  <a:schemeClr val="dk1"/>
                </a:solidFill>
                <a:latin typeface="Arial"/>
                <a:ea typeface="Arial"/>
                <a:cs typeface="Arial"/>
                <a:sym typeface="Arial"/>
              </a:rPr>
              <a:t>Saudi FDI inflows rise 29% amid ongoing economic reforms</a:t>
            </a:r>
          </a:p>
          <a:p>
            <a:pPr marL="0" marR="0" lvl="0" indent="0" algn="l" rtl="0">
              <a:spcBef>
                <a:spcPts val="0"/>
              </a:spcBef>
              <a:spcAft>
                <a:spcPts val="0"/>
              </a:spcAft>
              <a:buNone/>
            </a:pPr>
            <a:endParaRPr lang="en-US" sz="1200" dirty="0">
              <a:solidFill>
                <a:schemeClr val="dk1"/>
              </a:solidFill>
              <a:latin typeface="Arial"/>
              <a:cs typeface="Arial"/>
              <a:sym typeface="Arial"/>
            </a:endParaRPr>
          </a:p>
          <a:p>
            <a:pPr marL="0" marR="0" lvl="0" indent="0" algn="l" rtl="0">
              <a:spcBef>
                <a:spcPts val="0"/>
              </a:spcBef>
              <a:spcAft>
                <a:spcPts val="0"/>
              </a:spcAft>
              <a:buNone/>
            </a:pPr>
            <a:r>
              <a:rPr lang="en-US" sz="1200" dirty="0">
                <a:solidFill>
                  <a:schemeClr val="dk1"/>
                </a:solidFill>
                <a:latin typeface="Arial"/>
                <a:cs typeface="Arial"/>
                <a:sym typeface="Arial"/>
              </a:rPr>
              <a:t>Oil production cuts slowed GDP yet non-oil activities grew by 4.6% in 2023</a:t>
            </a:r>
            <a:endParaRPr lang="en-US" dirty="0"/>
          </a:p>
        </p:txBody>
      </p:sp>
      <p:cxnSp>
        <p:nvCxnSpPr>
          <p:cNvPr id="20" name="Google Shape;3759;p51">
            <a:extLst>
              <a:ext uri="{FF2B5EF4-FFF2-40B4-BE49-F238E27FC236}">
                <a16:creationId xmlns:a16="http://schemas.microsoft.com/office/drawing/2014/main" id="{E7E059BD-340C-D168-BA36-393D47714610}"/>
              </a:ext>
            </a:extLst>
          </p:cNvPr>
          <p:cNvCxnSpPr/>
          <p:nvPr/>
        </p:nvCxnSpPr>
        <p:spPr>
          <a:xfrm rot="10800000">
            <a:off x="9145688" y="4451641"/>
            <a:ext cx="0" cy="1260000"/>
          </a:xfrm>
          <a:prstGeom prst="straightConnector1">
            <a:avLst/>
          </a:prstGeom>
          <a:noFill/>
          <a:ln w="9525" cap="flat" cmpd="sng">
            <a:solidFill>
              <a:schemeClr val="accent3"/>
            </a:solidFill>
            <a:prstDash val="solid"/>
            <a:round/>
            <a:headEnd type="none" w="med" len="med"/>
            <a:tailEnd type="none" w="med" len="med"/>
          </a:ln>
        </p:spPr>
      </p:cxnSp>
      <p:sp>
        <p:nvSpPr>
          <p:cNvPr id="21" name="Google Shape;3760;p51">
            <a:extLst>
              <a:ext uri="{FF2B5EF4-FFF2-40B4-BE49-F238E27FC236}">
                <a16:creationId xmlns:a16="http://schemas.microsoft.com/office/drawing/2014/main" id="{2265FBCA-A754-DD96-E5A5-27D64ECB1435}"/>
              </a:ext>
            </a:extLst>
          </p:cNvPr>
          <p:cNvSpPr txBox="1"/>
          <p:nvPr/>
        </p:nvSpPr>
        <p:spPr>
          <a:xfrm>
            <a:off x="5409704" y="3761708"/>
            <a:ext cx="1724902" cy="401624"/>
          </a:xfrm>
          <a:prstGeom prst="rect">
            <a:avLst/>
          </a:prstGeom>
          <a:noFill/>
          <a:ln>
            <a:noFill/>
          </a:ln>
        </p:spPr>
        <p:txBody>
          <a:bodyPr spcFirstLastPara="1" wrap="square" lIns="76950" tIns="76950" rIns="61550" bIns="76950" anchor="ctr" anchorCtr="0">
            <a:spAutoFit/>
          </a:bodyPr>
          <a:lstStyle/>
          <a:p>
            <a:pPr marL="0" marR="0" lvl="0" indent="0" algn="l" rtl="0">
              <a:spcBef>
                <a:spcPts val="0"/>
              </a:spcBef>
              <a:spcAft>
                <a:spcPts val="0"/>
              </a:spcAft>
              <a:buNone/>
            </a:pPr>
            <a:r>
              <a:rPr lang="en-GB" sz="1600" dirty="0">
                <a:solidFill>
                  <a:schemeClr val="lt1"/>
                </a:solidFill>
                <a:latin typeface="Arial"/>
                <a:ea typeface="Arial"/>
                <a:cs typeface="Arial"/>
                <a:sym typeface="Arial"/>
              </a:rPr>
              <a:t>2021</a:t>
            </a:r>
            <a:endParaRPr dirty="0"/>
          </a:p>
        </p:txBody>
      </p:sp>
      <p:sp>
        <p:nvSpPr>
          <p:cNvPr id="22" name="Google Shape;3761;p51">
            <a:extLst>
              <a:ext uri="{FF2B5EF4-FFF2-40B4-BE49-F238E27FC236}">
                <a16:creationId xmlns:a16="http://schemas.microsoft.com/office/drawing/2014/main" id="{AC673016-E905-615C-1910-C087DBD7D6A4}"/>
              </a:ext>
            </a:extLst>
          </p:cNvPr>
          <p:cNvSpPr txBox="1"/>
          <p:nvPr/>
        </p:nvSpPr>
        <p:spPr>
          <a:xfrm>
            <a:off x="7595479" y="3761708"/>
            <a:ext cx="1724902" cy="401624"/>
          </a:xfrm>
          <a:prstGeom prst="rect">
            <a:avLst/>
          </a:prstGeom>
          <a:noFill/>
          <a:ln>
            <a:noFill/>
          </a:ln>
        </p:spPr>
        <p:txBody>
          <a:bodyPr spcFirstLastPara="1" wrap="square" lIns="76950" tIns="76950" rIns="61550" bIns="76950" anchor="ctr" anchorCtr="0">
            <a:spAutoFit/>
          </a:bodyPr>
          <a:lstStyle/>
          <a:p>
            <a:pPr marL="0" marR="0" lvl="0" indent="0" algn="l" rtl="0">
              <a:spcBef>
                <a:spcPts val="0"/>
              </a:spcBef>
              <a:spcAft>
                <a:spcPts val="0"/>
              </a:spcAft>
              <a:buNone/>
            </a:pPr>
            <a:r>
              <a:rPr lang="en-GB" sz="1600" dirty="0">
                <a:solidFill>
                  <a:schemeClr val="lt1"/>
                </a:solidFill>
                <a:latin typeface="Arial"/>
                <a:ea typeface="Arial"/>
                <a:cs typeface="Arial"/>
                <a:sym typeface="Arial"/>
              </a:rPr>
              <a:t>2022</a:t>
            </a:r>
            <a:endParaRPr dirty="0"/>
          </a:p>
        </p:txBody>
      </p:sp>
      <p:sp>
        <p:nvSpPr>
          <p:cNvPr id="23" name="Google Shape;3762;p51">
            <a:extLst>
              <a:ext uri="{FF2B5EF4-FFF2-40B4-BE49-F238E27FC236}">
                <a16:creationId xmlns:a16="http://schemas.microsoft.com/office/drawing/2014/main" id="{F744707A-3822-1993-0527-EF8E47C7CF24}"/>
              </a:ext>
            </a:extLst>
          </p:cNvPr>
          <p:cNvSpPr txBox="1"/>
          <p:nvPr/>
        </p:nvSpPr>
        <p:spPr>
          <a:xfrm>
            <a:off x="9759990" y="3761708"/>
            <a:ext cx="1724902" cy="401624"/>
          </a:xfrm>
          <a:prstGeom prst="rect">
            <a:avLst/>
          </a:prstGeom>
          <a:noFill/>
          <a:ln>
            <a:noFill/>
          </a:ln>
        </p:spPr>
        <p:txBody>
          <a:bodyPr spcFirstLastPara="1" wrap="square" lIns="76950" tIns="76950" rIns="61550" bIns="76950" anchor="ctr" anchorCtr="0">
            <a:spAutoFit/>
          </a:bodyPr>
          <a:lstStyle/>
          <a:p>
            <a:pPr marL="0" marR="0" lvl="0" indent="0" algn="l" rtl="0">
              <a:spcBef>
                <a:spcPts val="0"/>
              </a:spcBef>
              <a:spcAft>
                <a:spcPts val="0"/>
              </a:spcAft>
              <a:buNone/>
            </a:pPr>
            <a:r>
              <a:rPr lang="en-GB" sz="1600" dirty="0">
                <a:solidFill>
                  <a:schemeClr val="lt1"/>
                </a:solidFill>
                <a:latin typeface="Arial"/>
                <a:ea typeface="Arial"/>
                <a:cs typeface="Arial"/>
                <a:sym typeface="Arial"/>
              </a:rPr>
              <a:t>2023</a:t>
            </a:r>
            <a:endParaRPr dirty="0"/>
          </a:p>
        </p:txBody>
      </p:sp>
      <p:sp>
        <p:nvSpPr>
          <p:cNvPr id="24" name="Google Shape;2706;g230b48e84cf_0_1875">
            <a:extLst>
              <a:ext uri="{FF2B5EF4-FFF2-40B4-BE49-F238E27FC236}">
                <a16:creationId xmlns:a16="http://schemas.microsoft.com/office/drawing/2014/main" id="{FA21B62A-FAB0-99B6-35DC-FD9E4152F516}"/>
              </a:ext>
            </a:extLst>
          </p:cNvPr>
          <p:cNvSpPr txBox="1"/>
          <p:nvPr/>
        </p:nvSpPr>
        <p:spPr>
          <a:xfrm>
            <a:off x="2754045" y="2221112"/>
            <a:ext cx="1817187" cy="340230"/>
          </a:xfrm>
          <a:prstGeom prst="rect">
            <a:avLst/>
          </a:prstGeom>
          <a:noFill/>
          <a:ln>
            <a:noFill/>
          </a:ln>
        </p:spPr>
        <p:txBody>
          <a:bodyPr spcFirstLastPara="1" wrap="square" lIns="54875" tIns="0" rIns="0" bIns="0" anchor="t" anchorCtr="0">
            <a:spAutoFit/>
          </a:bodyPr>
          <a:lstStyle/>
          <a:p>
            <a:pPr marL="0" marR="0" lvl="0" indent="0" algn="l" rtl="0">
              <a:lnSpc>
                <a:spcPct val="100000"/>
              </a:lnSpc>
              <a:spcBef>
                <a:spcPts val="0"/>
              </a:spcBef>
              <a:spcAft>
                <a:spcPts val="0"/>
              </a:spcAft>
              <a:buNone/>
            </a:pPr>
            <a:r>
              <a:rPr lang="en" sz="1100" dirty="0">
                <a:solidFill>
                  <a:schemeClr val="dk1"/>
                </a:solidFill>
                <a:latin typeface="Arial" panose="020B0604020202020204" pitchFamily="34" charset="0"/>
                <a:cs typeface="Arial" panose="020B0604020202020204" pitchFamily="34" charset="0"/>
              </a:rPr>
              <a:t>Expanding Visa offerings to attract tourists &amp; investors</a:t>
            </a:r>
            <a:endParaRPr sz="1100" b="0" i="0" u="none" strike="noStrike" cap="none" dirty="0">
              <a:solidFill>
                <a:schemeClr val="dk1"/>
              </a:solidFill>
              <a:latin typeface="Arial" panose="020B0604020202020204" pitchFamily="34" charset="0"/>
              <a:ea typeface="Arial"/>
              <a:cs typeface="Arial" panose="020B0604020202020204" pitchFamily="34" charset="0"/>
              <a:sym typeface="Arial"/>
            </a:endParaRPr>
          </a:p>
        </p:txBody>
      </p:sp>
      <p:sp>
        <p:nvSpPr>
          <p:cNvPr id="25" name="Google Shape;2728;g230b48e84cf_0_1875">
            <a:extLst>
              <a:ext uri="{FF2B5EF4-FFF2-40B4-BE49-F238E27FC236}">
                <a16:creationId xmlns:a16="http://schemas.microsoft.com/office/drawing/2014/main" id="{F97458E2-A721-6912-271F-129774E3E8B9}"/>
              </a:ext>
            </a:extLst>
          </p:cNvPr>
          <p:cNvSpPr/>
          <p:nvPr/>
        </p:nvSpPr>
        <p:spPr>
          <a:xfrm>
            <a:off x="2660311" y="2104839"/>
            <a:ext cx="2011546" cy="554100"/>
          </a:xfrm>
          <a:prstGeom prst="rect">
            <a:avLst/>
          </a:prstGeom>
          <a:noFill/>
          <a:ln w="9525" cap="flat" cmpd="sng">
            <a:solidFill>
              <a:srgbClr val="7D7D7D"/>
            </a:solidFill>
            <a:prstDash val="dash"/>
            <a:round/>
            <a:headEnd type="none" w="sm" len="sm"/>
            <a:tailEnd type="none" w="sm" len="sm"/>
          </a:ln>
        </p:spPr>
        <p:txBody>
          <a:bodyPr spcFirstLastPara="1" wrap="square" lIns="46175" tIns="30775" rIns="30775" bIns="30775" anchor="t" anchorCtr="0">
            <a:noAutofit/>
          </a:bodyPr>
          <a:lstStyle/>
          <a:p>
            <a:pPr marL="70581" marR="0" lvl="0" indent="-70581" algn="l" rtl="0">
              <a:spcBef>
                <a:spcPts val="0"/>
              </a:spcBef>
              <a:spcAft>
                <a:spcPts val="0"/>
              </a:spcAft>
              <a:buNone/>
            </a:pPr>
            <a:endParaRPr sz="800">
              <a:solidFill>
                <a:srgbClr val="000000"/>
              </a:solidFill>
              <a:latin typeface="Arial"/>
              <a:ea typeface="Arial"/>
              <a:cs typeface="Arial"/>
              <a:sym typeface="Arial"/>
            </a:endParaRPr>
          </a:p>
        </p:txBody>
      </p:sp>
      <p:cxnSp>
        <p:nvCxnSpPr>
          <p:cNvPr id="27" name="Google Shape;3755;p51">
            <a:extLst>
              <a:ext uri="{FF2B5EF4-FFF2-40B4-BE49-F238E27FC236}">
                <a16:creationId xmlns:a16="http://schemas.microsoft.com/office/drawing/2014/main" id="{BCAC8899-8B36-F27C-693F-A1FAEA201F52}"/>
              </a:ext>
            </a:extLst>
          </p:cNvPr>
          <p:cNvCxnSpPr/>
          <p:nvPr/>
        </p:nvCxnSpPr>
        <p:spPr>
          <a:xfrm rot="10800000">
            <a:off x="11399252" y="2176424"/>
            <a:ext cx="0" cy="1260000"/>
          </a:xfrm>
          <a:prstGeom prst="straightConnector1">
            <a:avLst/>
          </a:prstGeom>
          <a:noFill/>
          <a:ln w="9525" cap="flat" cmpd="sng">
            <a:solidFill>
              <a:schemeClr val="accent3"/>
            </a:solidFill>
            <a:prstDash val="solid"/>
            <a:round/>
            <a:headEnd type="none" w="med" len="med"/>
            <a:tailEnd type="none" w="med" len="med"/>
          </a:ln>
        </p:spPr>
      </p:cxnSp>
      <p:sp>
        <p:nvSpPr>
          <p:cNvPr id="28" name="Google Shape;2706;g230b48e84cf_0_1875">
            <a:extLst>
              <a:ext uri="{FF2B5EF4-FFF2-40B4-BE49-F238E27FC236}">
                <a16:creationId xmlns:a16="http://schemas.microsoft.com/office/drawing/2014/main" id="{1F3633CA-3A09-87A0-5714-48827252122E}"/>
              </a:ext>
            </a:extLst>
          </p:cNvPr>
          <p:cNvSpPr txBox="1"/>
          <p:nvPr/>
        </p:nvSpPr>
        <p:spPr>
          <a:xfrm>
            <a:off x="9418216" y="2535463"/>
            <a:ext cx="1817187" cy="677108"/>
          </a:xfrm>
          <a:prstGeom prst="rect">
            <a:avLst/>
          </a:prstGeom>
          <a:noFill/>
          <a:ln>
            <a:noFill/>
          </a:ln>
        </p:spPr>
        <p:txBody>
          <a:bodyPr spcFirstLastPara="1" wrap="square" lIns="54875" tIns="0" rIns="0" bIns="0" anchor="t" anchorCtr="0">
            <a:spAutoFit/>
          </a:bodyPr>
          <a:lstStyle/>
          <a:p>
            <a:pPr lvl="0" algn="ctr"/>
            <a:r>
              <a:rPr lang="en" sz="1100" dirty="0">
                <a:solidFill>
                  <a:schemeClr val="dk1"/>
                </a:solidFill>
                <a:latin typeface="Arial" panose="020B0604020202020204" pitchFamily="34" charset="0"/>
                <a:cs typeface="Arial" panose="020B0604020202020204" pitchFamily="34" charset="0"/>
              </a:rPr>
              <a:t>Kingdom achieves ~100 million tourist visitors as of 2023 – 80% of which are domestic tourists</a:t>
            </a:r>
            <a:endParaRPr sz="1100" b="0" i="0" u="none" strike="noStrike" cap="none" dirty="0">
              <a:solidFill>
                <a:schemeClr val="dk1"/>
              </a:solidFill>
              <a:latin typeface="Arial" panose="020B0604020202020204" pitchFamily="34" charset="0"/>
              <a:ea typeface="Arial"/>
              <a:cs typeface="Arial" panose="020B0604020202020204" pitchFamily="34" charset="0"/>
              <a:sym typeface="Arial"/>
            </a:endParaRPr>
          </a:p>
        </p:txBody>
      </p:sp>
      <p:sp>
        <p:nvSpPr>
          <p:cNvPr id="29" name="Google Shape;2728;g230b48e84cf_0_1875">
            <a:extLst>
              <a:ext uri="{FF2B5EF4-FFF2-40B4-BE49-F238E27FC236}">
                <a16:creationId xmlns:a16="http://schemas.microsoft.com/office/drawing/2014/main" id="{CB8C4C8D-AEDF-C0A7-EF21-53326AE6257C}"/>
              </a:ext>
            </a:extLst>
          </p:cNvPr>
          <p:cNvSpPr/>
          <p:nvPr/>
        </p:nvSpPr>
        <p:spPr>
          <a:xfrm>
            <a:off x="9321037" y="2413409"/>
            <a:ext cx="2011546" cy="839899"/>
          </a:xfrm>
          <a:prstGeom prst="rect">
            <a:avLst/>
          </a:prstGeom>
          <a:noFill/>
          <a:ln w="9525" cap="flat" cmpd="sng">
            <a:solidFill>
              <a:srgbClr val="7D7D7D"/>
            </a:solidFill>
            <a:prstDash val="dash"/>
            <a:round/>
            <a:headEnd type="none" w="sm" len="sm"/>
            <a:tailEnd type="none" w="sm" len="sm"/>
          </a:ln>
        </p:spPr>
        <p:txBody>
          <a:bodyPr spcFirstLastPara="1" wrap="square" lIns="46175" tIns="30775" rIns="30775" bIns="30775" anchor="t" anchorCtr="0">
            <a:noAutofit/>
          </a:bodyPr>
          <a:lstStyle/>
          <a:p>
            <a:pPr marL="70581" marR="0" lvl="0" indent="-70581" algn="l" rtl="0">
              <a:spcBef>
                <a:spcPts val="0"/>
              </a:spcBef>
              <a:spcAft>
                <a:spcPts val="0"/>
              </a:spcAft>
              <a:buNone/>
            </a:pPr>
            <a:endParaRPr sz="800">
              <a:solidFill>
                <a:srgbClr val="000000"/>
              </a:solidFill>
              <a:latin typeface="Arial"/>
              <a:ea typeface="Arial"/>
              <a:cs typeface="Arial"/>
              <a:sym typeface="Arial"/>
            </a:endParaRPr>
          </a:p>
        </p:txBody>
      </p:sp>
    </p:spTree>
    <p:extLst>
      <p:ext uri="{BB962C8B-B14F-4D97-AF65-F5344CB8AC3E}">
        <p14:creationId xmlns:p14="http://schemas.microsoft.com/office/powerpoint/2010/main" val="3765265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117FA3-93D4-E13F-B6AC-CB5C319F0B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E1117FA3-93D4-E13F-B6AC-CB5C319F0B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7" name="Google Shape;2503;g228be8677e8_2_11">
            <a:extLst>
              <a:ext uri="{FF2B5EF4-FFF2-40B4-BE49-F238E27FC236}">
                <a16:creationId xmlns:a16="http://schemas.microsoft.com/office/drawing/2014/main" id="{D8418693-A555-2280-8BFD-5756D7C9D4FA}"/>
              </a:ext>
            </a:extLst>
          </p:cNvPr>
          <p:cNvSpPr txBox="1"/>
          <p:nvPr/>
        </p:nvSpPr>
        <p:spPr>
          <a:xfrm>
            <a:off x="691310" y="4299944"/>
            <a:ext cx="9187184" cy="707856"/>
          </a:xfrm>
          <a:prstGeom prst="rect">
            <a:avLst/>
          </a:prstGeom>
          <a:noFill/>
          <a:ln>
            <a:noFill/>
          </a:ln>
        </p:spPr>
        <p:txBody>
          <a:bodyPr spcFirstLastPara="1" wrap="square" lIns="91425" tIns="91425" rIns="91425" bIns="91425" anchor="t" anchorCtr="0">
            <a:spAutoFit/>
          </a:bodyPr>
          <a:lstStyle/>
          <a:p>
            <a:pPr marL="12700" marR="5080" lvl="0" indent="0" algn="l" rtl="0">
              <a:lnSpc>
                <a:spcPct val="100000"/>
              </a:lnSpc>
              <a:spcBef>
                <a:spcPts val="0"/>
              </a:spcBef>
              <a:spcAft>
                <a:spcPts val="0"/>
              </a:spcAft>
              <a:buClr>
                <a:srgbClr val="000000"/>
              </a:buClr>
              <a:buSzPts val="3600"/>
              <a:buFont typeface="Arial"/>
              <a:buNone/>
            </a:pPr>
            <a:r>
              <a:rPr lang="en-US" sz="3400" b="1" dirty="0">
                <a:latin typeface="+mj-lt"/>
                <a:ea typeface="Georgia"/>
                <a:cs typeface="Georgia"/>
                <a:sym typeface="Georgia"/>
              </a:rPr>
              <a:t>Hospitality &amp; Tourism Market</a:t>
            </a:r>
          </a:p>
        </p:txBody>
      </p:sp>
      <p:sp>
        <p:nvSpPr>
          <p:cNvPr id="8" name="Google Shape;2735;p8">
            <a:extLst>
              <a:ext uri="{FF2B5EF4-FFF2-40B4-BE49-F238E27FC236}">
                <a16:creationId xmlns:a16="http://schemas.microsoft.com/office/drawing/2014/main" id="{EC426728-1BE2-3F5D-D309-CA7DCBFFEC81}"/>
              </a:ext>
            </a:extLst>
          </p:cNvPr>
          <p:cNvSpPr txBox="1"/>
          <p:nvPr/>
        </p:nvSpPr>
        <p:spPr>
          <a:xfrm>
            <a:off x="338770" y="1564947"/>
            <a:ext cx="3208713" cy="3262401"/>
          </a:xfrm>
          <a:prstGeom prst="rect">
            <a:avLst/>
          </a:prstGeom>
          <a:noFill/>
          <a:ln>
            <a:noFill/>
          </a:ln>
        </p:spPr>
        <p:txBody>
          <a:bodyPr spcFirstLastPara="1" wrap="square" lIns="91425" tIns="91425" rIns="91425" bIns="91425" anchor="ctr" anchorCtr="0">
            <a:spAutoFit/>
          </a:bodyPr>
          <a:lstStyle/>
          <a:p>
            <a:pPr marL="0" marR="0" lvl="0" indent="0" algn="ctr" rtl="0">
              <a:lnSpc>
                <a:spcPct val="100000"/>
              </a:lnSpc>
              <a:spcBef>
                <a:spcPts val="0"/>
              </a:spcBef>
              <a:spcAft>
                <a:spcPts val="0"/>
              </a:spcAft>
              <a:buClr>
                <a:srgbClr val="000000"/>
              </a:buClr>
              <a:buSzPts val="20000"/>
              <a:buFont typeface="Arial"/>
              <a:buNone/>
            </a:pPr>
            <a:r>
              <a:rPr lang="en" sz="20000" b="0" i="0" u="none" strike="noStrike" cap="none" dirty="0">
                <a:solidFill>
                  <a:schemeClr val="accent1"/>
                </a:solidFill>
                <a:latin typeface="+mj-lt"/>
                <a:ea typeface="Georgia"/>
                <a:cs typeface="Georgia"/>
                <a:sym typeface="Georgia"/>
              </a:rPr>
              <a:t>02</a:t>
            </a:r>
            <a:endParaRPr sz="20000" b="0" i="0" u="none" strike="noStrike" cap="none" dirty="0">
              <a:solidFill>
                <a:schemeClr val="accent1"/>
              </a:solidFill>
              <a:latin typeface="+mj-lt"/>
              <a:ea typeface="Georgia"/>
              <a:cs typeface="Georgia"/>
              <a:sym typeface="Georgia"/>
            </a:endParaRPr>
          </a:p>
        </p:txBody>
      </p:sp>
    </p:spTree>
    <p:extLst>
      <p:ext uri="{BB962C8B-B14F-4D97-AF65-F5344CB8AC3E}">
        <p14:creationId xmlns:p14="http://schemas.microsoft.com/office/powerpoint/2010/main" val="2721392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OREM IPSUM">
            <a:extLst>
              <a:ext uri="{FF2B5EF4-FFF2-40B4-BE49-F238E27FC236}">
                <a16:creationId xmlns:a16="http://schemas.microsoft.com/office/drawing/2014/main" id="{7B805B00-7C01-55CE-8964-95CDF0B8BA2F}"/>
              </a:ext>
            </a:extLst>
          </p:cNvPr>
          <p:cNvSpPr txBox="1"/>
          <p:nvPr/>
        </p:nvSpPr>
        <p:spPr>
          <a:xfrm>
            <a:off x="958460" y="537415"/>
            <a:ext cx="8389364" cy="6565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lvl1pPr algn="l">
              <a:defRPr sz="5500">
                <a:solidFill>
                  <a:srgbClr val="524842"/>
                </a:solidFill>
                <a:latin typeface="Montserrat Medium"/>
                <a:ea typeface="Montserrat Medium"/>
                <a:cs typeface="Montserrat Medium"/>
                <a:sym typeface="Montserrat Medium"/>
              </a:defRPr>
            </a:lvl1pPr>
          </a:lstStyle>
          <a:p>
            <a:r>
              <a:rPr lang="en-US" sz="3600" b="1" dirty="0">
                <a:solidFill>
                  <a:schemeClr val="tx1">
                    <a:lumMod val="50000"/>
                  </a:schemeClr>
                </a:solidFill>
                <a:latin typeface="Arial" panose="020B0604020202020204" pitchFamily="34" charset="0"/>
                <a:cs typeface="Arial" panose="020B0604020202020204" pitchFamily="34" charset="0"/>
              </a:rPr>
              <a:t>MARKET OVERVIEW &amp; OUTLOOK</a:t>
            </a:r>
          </a:p>
        </p:txBody>
      </p:sp>
      <p:pic>
        <p:nvPicPr>
          <p:cNvPr id="6" name="Picture 5" descr="A black background with green lines&#10;&#10;Description automatically generated">
            <a:extLst>
              <a:ext uri="{FF2B5EF4-FFF2-40B4-BE49-F238E27FC236}">
                <a16:creationId xmlns:a16="http://schemas.microsoft.com/office/drawing/2014/main" id="{8ED05706-BB0F-9B3A-A415-C81E455743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71275" y="133662"/>
            <a:ext cx="1706471" cy="1297899"/>
          </a:xfrm>
          <a:prstGeom prst="rect">
            <a:avLst/>
          </a:prstGeom>
        </p:spPr>
      </p:pic>
      <p:sp>
        <p:nvSpPr>
          <p:cNvPr id="2" name="Google Shape;2556;p24">
            <a:extLst>
              <a:ext uri="{FF2B5EF4-FFF2-40B4-BE49-F238E27FC236}">
                <a16:creationId xmlns:a16="http://schemas.microsoft.com/office/drawing/2014/main" id="{5F3FAF35-59BE-CFA8-26B7-45BBCD2BF53B}"/>
              </a:ext>
            </a:extLst>
          </p:cNvPr>
          <p:cNvSpPr/>
          <p:nvPr/>
        </p:nvSpPr>
        <p:spPr>
          <a:xfrm>
            <a:off x="0"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Inbound Tourism</a:t>
            </a:r>
            <a:endParaRPr b="0" i="1" u="none" strike="noStrike" cap="none" dirty="0">
              <a:solidFill>
                <a:schemeClr val="lt1"/>
              </a:solidFill>
              <a:latin typeface="Arial"/>
              <a:ea typeface="Arial"/>
              <a:cs typeface="Arial"/>
              <a:sym typeface="Arial"/>
            </a:endParaRPr>
          </a:p>
        </p:txBody>
      </p:sp>
      <p:sp>
        <p:nvSpPr>
          <p:cNvPr id="5" name="Google Shape;2556;p24">
            <a:extLst>
              <a:ext uri="{FF2B5EF4-FFF2-40B4-BE49-F238E27FC236}">
                <a16:creationId xmlns:a16="http://schemas.microsoft.com/office/drawing/2014/main" id="{9D8B04FE-257A-74ED-7CED-CAF5465A84A9}"/>
              </a:ext>
            </a:extLst>
          </p:cNvPr>
          <p:cNvSpPr/>
          <p:nvPr/>
        </p:nvSpPr>
        <p:spPr>
          <a:xfrm>
            <a:off x="1" y="4102422"/>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Hospitality</a:t>
            </a:r>
            <a:endParaRPr b="0" i="1" u="none" strike="noStrike" cap="none" dirty="0">
              <a:solidFill>
                <a:schemeClr val="lt1"/>
              </a:solidFill>
              <a:latin typeface="Arial"/>
              <a:ea typeface="Arial"/>
              <a:cs typeface="Arial"/>
              <a:sym typeface="Arial"/>
            </a:endParaRPr>
          </a:p>
        </p:txBody>
      </p:sp>
      <p:sp>
        <p:nvSpPr>
          <p:cNvPr id="8" name="Google Shape;2556;p24">
            <a:extLst>
              <a:ext uri="{FF2B5EF4-FFF2-40B4-BE49-F238E27FC236}">
                <a16:creationId xmlns:a16="http://schemas.microsoft.com/office/drawing/2014/main" id="{EF0DE0A8-1767-64F1-675E-BE0265458680}"/>
              </a:ext>
            </a:extLst>
          </p:cNvPr>
          <p:cNvSpPr/>
          <p:nvPr/>
        </p:nvSpPr>
        <p:spPr>
          <a:xfrm>
            <a:off x="8573386" y="1770694"/>
            <a:ext cx="3147238" cy="656590"/>
          </a:xfrm>
          <a:prstGeom prst="rect">
            <a:avLst/>
          </a:prstGeom>
          <a:solidFill>
            <a:schemeClr val="tx2"/>
          </a:solidFill>
          <a:ln w="9525" cap="flat" cmpd="sng">
            <a:noFill/>
            <a:prstDash val="solid"/>
            <a:round/>
            <a:headEnd type="none" w="sm" len="sm"/>
            <a:tailEnd type="none" w="sm" len="sm"/>
          </a:ln>
        </p:spPr>
        <p:txBody>
          <a:bodyPr spcFirstLastPara="1" wrap="square" lIns="34275" tIns="46175" rIns="34275" bIns="46175" anchor="ctr" anchorCtr="0">
            <a:noAutofit/>
          </a:bodyPr>
          <a:lstStyle/>
          <a:p>
            <a:pPr marL="0" marR="0" lvl="0" indent="0" algn="ctr" rtl="0">
              <a:lnSpc>
                <a:spcPct val="100000"/>
              </a:lnSpc>
              <a:spcBef>
                <a:spcPts val="0"/>
              </a:spcBef>
              <a:spcAft>
                <a:spcPts val="0"/>
              </a:spcAft>
              <a:buClr>
                <a:srgbClr val="000000"/>
              </a:buClr>
              <a:buSzPts val="800"/>
              <a:buFont typeface="Arial"/>
              <a:buNone/>
            </a:pPr>
            <a:r>
              <a:rPr lang="en" b="1" i="0" u="none" strike="noStrike" cap="none" dirty="0">
                <a:solidFill>
                  <a:schemeClr val="lt1"/>
                </a:solidFill>
                <a:latin typeface="Arial"/>
                <a:ea typeface="Arial"/>
                <a:cs typeface="Arial"/>
                <a:sym typeface="Arial"/>
              </a:rPr>
              <a:t>OUTLOOK</a:t>
            </a:r>
            <a:endParaRPr b="0" i="1" u="none" strike="noStrike" cap="none" dirty="0">
              <a:solidFill>
                <a:schemeClr val="lt1"/>
              </a:solidFill>
              <a:latin typeface="Arial"/>
              <a:ea typeface="Arial"/>
              <a:cs typeface="Arial"/>
              <a:sym typeface="Arial"/>
            </a:endParaRPr>
          </a:p>
        </p:txBody>
      </p:sp>
      <p:sp>
        <p:nvSpPr>
          <p:cNvPr id="9" name="Google Shape;2752;g2310d616b83_2_60">
            <a:extLst>
              <a:ext uri="{FF2B5EF4-FFF2-40B4-BE49-F238E27FC236}">
                <a16:creationId xmlns:a16="http://schemas.microsoft.com/office/drawing/2014/main" id="{2038A79B-A009-9176-9ACA-1E6812FC458F}"/>
              </a:ext>
            </a:extLst>
          </p:cNvPr>
          <p:cNvSpPr/>
          <p:nvPr/>
        </p:nvSpPr>
        <p:spPr>
          <a:xfrm>
            <a:off x="958460" y="2736058"/>
            <a:ext cx="7303038" cy="1043038"/>
          </a:xfrm>
          <a:prstGeom prst="rect">
            <a:avLst/>
          </a:prstGeom>
          <a:noFill/>
          <a:ln>
            <a:noFill/>
          </a:ln>
        </p:spPr>
        <p:txBody>
          <a:bodyPr spcFirstLastPara="1" wrap="square" lIns="0" tIns="0" rIns="0" bIns="0" anchor="ctr" anchorCtr="0">
            <a:noAutofit/>
          </a:bodyPr>
          <a:lstStyle/>
          <a:p>
            <a:pPr marL="123825" marR="0" lvl="0" indent="-100012" algn="l" rtl="0">
              <a:lnSpc>
                <a:spcPct val="100000"/>
              </a:lnSpc>
              <a:spcBef>
                <a:spcPts val="0"/>
              </a:spcBef>
              <a:spcAft>
                <a:spcPts val="600"/>
              </a:spcAft>
              <a:buSzPts val="1000"/>
              <a:buChar char="•"/>
            </a:pPr>
            <a:r>
              <a:rPr lang="en" sz="1400" dirty="0">
                <a:latin typeface="Arial" panose="020B0604020202020204" pitchFamily="34" charset="0"/>
                <a:cs typeface="Arial" panose="020B0604020202020204" pitchFamily="34" charset="0"/>
              </a:rPr>
              <a:t>KSA is </a:t>
            </a:r>
            <a:r>
              <a:rPr lang="en" sz="1400" b="1" dirty="0">
                <a:latin typeface="Arial" panose="020B0604020202020204" pitchFamily="34" charset="0"/>
                <a:cs typeface="Arial" panose="020B0604020202020204" pitchFamily="34" charset="0"/>
              </a:rPr>
              <a:t>aims to attract 150 million visitors by 2030</a:t>
            </a:r>
            <a:r>
              <a:rPr lang="en" sz="1400" dirty="0">
                <a:latin typeface="Arial" panose="020B0604020202020204" pitchFamily="34" charset="0"/>
                <a:cs typeface="Arial" panose="020B0604020202020204" pitchFamily="34" charset="0"/>
              </a:rPr>
              <a:t>, by increasing visa facilitation</a:t>
            </a:r>
            <a:endParaRPr sz="1400" dirty="0">
              <a:latin typeface="Arial" panose="020B0604020202020204" pitchFamily="34" charset="0"/>
              <a:cs typeface="Arial" panose="020B0604020202020204" pitchFamily="34" charset="0"/>
            </a:endParaRPr>
          </a:p>
          <a:p>
            <a:pPr marL="123825" marR="0" lvl="0" indent="-100012" algn="l" rtl="0">
              <a:lnSpc>
                <a:spcPct val="100000"/>
              </a:lnSpc>
              <a:spcBef>
                <a:spcPts val="400"/>
              </a:spcBef>
              <a:spcAft>
                <a:spcPts val="600"/>
              </a:spcAft>
              <a:buSzPts val="1000"/>
              <a:buChar char="•"/>
            </a:pPr>
            <a:r>
              <a:rPr lang="en" sz="1400" dirty="0">
                <a:latin typeface="Arial" panose="020B0604020202020204" pitchFamily="34" charset="0"/>
                <a:cs typeface="Arial" panose="020B0604020202020204" pitchFamily="34" charset="0"/>
              </a:rPr>
              <a:t>Increasing</a:t>
            </a:r>
            <a:r>
              <a:rPr lang="en" sz="1400" b="1" dirty="0">
                <a:latin typeface="Arial" panose="020B0604020202020204" pitchFamily="34" charset="0"/>
                <a:cs typeface="Arial" panose="020B0604020202020204" pitchFamily="34" charset="0"/>
              </a:rPr>
              <a:t> capital investment towards enhancing its travel and tourism industry</a:t>
            </a:r>
            <a:endParaRPr sz="1400" dirty="0">
              <a:latin typeface="Arial" panose="020B0604020202020204" pitchFamily="34" charset="0"/>
              <a:cs typeface="Arial" panose="020B0604020202020204" pitchFamily="34" charset="0"/>
            </a:endParaRPr>
          </a:p>
          <a:p>
            <a:pPr marL="123825" marR="0" lvl="0" indent="-100012" algn="l" rtl="0">
              <a:lnSpc>
                <a:spcPct val="100000"/>
              </a:lnSpc>
              <a:spcBef>
                <a:spcPts val="400"/>
              </a:spcBef>
              <a:spcAft>
                <a:spcPts val="400"/>
              </a:spcAft>
              <a:buSzPts val="1000"/>
              <a:buChar char="•"/>
            </a:pPr>
            <a:r>
              <a:rPr lang="en" sz="1400" dirty="0">
                <a:latin typeface="Arial" panose="020B0604020202020204" pitchFamily="34" charset="0"/>
                <a:cs typeface="Arial" panose="020B0604020202020204" pitchFamily="34" charset="0"/>
              </a:rPr>
              <a:t>Growth in tourism is expected to have</a:t>
            </a:r>
            <a:r>
              <a:rPr lang="en" sz="1400" b="1" dirty="0">
                <a:latin typeface="Arial" panose="020B0604020202020204" pitchFamily="34" charset="0"/>
                <a:cs typeface="Arial" panose="020B0604020202020204" pitchFamily="34" charset="0"/>
              </a:rPr>
              <a:t> positive spillover effect </a:t>
            </a:r>
            <a:r>
              <a:rPr lang="en" sz="1400" dirty="0">
                <a:latin typeface="Arial" panose="020B0604020202020204" pitchFamily="34" charset="0"/>
                <a:cs typeface="Arial" panose="020B0604020202020204" pitchFamily="34" charset="0"/>
              </a:rPr>
              <a:t>on complementary sectors such as </a:t>
            </a:r>
            <a:r>
              <a:rPr lang="en" sz="1400" b="1" dirty="0">
                <a:latin typeface="Arial" panose="020B0604020202020204" pitchFamily="34" charset="0"/>
                <a:cs typeface="Arial" panose="020B0604020202020204" pitchFamily="34" charset="0"/>
              </a:rPr>
              <a:t>entertainment, hospitality and retail</a:t>
            </a:r>
            <a:endParaRPr sz="1400" b="1" dirty="0">
              <a:latin typeface="Arial" panose="020B0604020202020204" pitchFamily="34" charset="0"/>
              <a:cs typeface="Arial" panose="020B0604020202020204" pitchFamily="34" charset="0"/>
            </a:endParaRPr>
          </a:p>
        </p:txBody>
      </p:sp>
      <p:sp>
        <p:nvSpPr>
          <p:cNvPr id="10" name="Google Shape;2752;g2310d616b83_2_60">
            <a:extLst>
              <a:ext uri="{FF2B5EF4-FFF2-40B4-BE49-F238E27FC236}">
                <a16:creationId xmlns:a16="http://schemas.microsoft.com/office/drawing/2014/main" id="{1B8657FF-A33F-7530-162D-1152FE4C040A}"/>
              </a:ext>
            </a:extLst>
          </p:cNvPr>
          <p:cNvSpPr/>
          <p:nvPr/>
        </p:nvSpPr>
        <p:spPr>
          <a:xfrm>
            <a:off x="958460" y="5277547"/>
            <a:ext cx="7303038" cy="1043038"/>
          </a:xfrm>
          <a:prstGeom prst="rect">
            <a:avLst/>
          </a:prstGeom>
          <a:noFill/>
          <a:ln>
            <a:noFill/>
          </a:ln>
        </p:spPr>
        <p:txBody>
          <a:bodyPr spcFirstLastPara="1" wrap="square" lIns="0" tIns="0" rIns="0" bIns="0" anchor="ctr" anchorCtr="0">
            <a:noAutofit/>
          </a:bodyPr>
          <a:lstStyle/>
          <a:p>
            <a:pPr marL="123825" marR="0" lvl="0" indent="-100012" algn="l" rtl="0">
              <a:lnSpc>
                <a:spcPct val="100000"/>
              </a:lnSpc>
              <a:spcBef>
                <a:spcPts val="0"/>
              </a:spcBef>
              <a:spcAft>
                <a:spcPts val="600"/>
              </a:spcAft>
              <a:buSzPts val="1000"/>
              <a:buChar char="•"/>
            </a:pPr>
            <a:r>
              <a:rPr lang="en-US" sz="1400" dirty="0">
                <a:latin typeface="Arial" panose="020B0604020202020204" pitchFamily="34" charset="0"/>
                <a:cs typeface="Arial" panose="020B0604020202020204" pitchFamily="34" charset="0"/>
              </a:rPr>
              <a:t>5-star and 4-star hotels will dominate forthcoming supply:</a:t>
            </a:r>
          </a:p>
          <a:p>
            <a:pPr marL="581025" marR="0" lvl="0" indent="-100012" algn="l" rtl="0">
              <a:lnSpc>
                <a:spcPct val="100000"/>
              </a:lnSpc>
              <a:spcBef>
                <a:spcPts val="400"/>
              </a:spcBef>
              <a:spcAft>
                <a:spcPts val="0"/>
              </a:spcAft>
              <a:buSzPts val="1000"/>
              <a:buChar char="•"/>
            </a:pPr>
            <a:r>
              <a:rPr lang="en-US" sz="1400" dirty="0">
                <a:latin typeface="Arial" panose="020B0604020202020204" pitchFamily="34" charset="0"/>
                <a:cs typeface="Arial" panose="020B0604020202020204" pitchFamily="34" charset="0"/>
              </a:rPr>
              <a:t>5-star and 4-star keys supply:</a:t>
            </a:r>
            <a:r>
              <a:rPr lang="en-US" sz="1400" b="1" dirty="0">
                <a:latin typeface="Arial" panose="020B0604020202020204" pitchFamily="34" charset="0"/>
                <a:cs typeface="Arial" panose="020B0604020202020204" pitchFamily="34" charset="0"/>
              </a:rPr>
              <a:t> +9.4% and +8.8% respectively by 2027</a:t>
            </a:r>
            <a:endParaRPr lang="en-US" sz="1400" dirty="0">
              <a:latin typeface="Arial" panose="020B0604020202020204" pitchFamily="34" charset="0"/>
              <a:cs typeface="Arial" panose="020B0604020202020204" pitchFamily="34" charset="0"/>
            </a:endParaRPr>
          </a:p>
          <a:p>
            <a:pPr marL="581025" marR="0" lvl="0" indent="-100012" algn="l" rtl="0">
              <a:lnSpc>
                <a:spcPct val="100000"/>
              </a:lnSpc>
              <a:spcBef>
                <a:spcPts val="400"/>
              </a:spcBef>
              <a:spcAft>
                <a:spcPts val="0"/>
              </a:spcAft>
              <a:buSzPts val="1000"/>
              <a:buChar char="•"/>
            </a:pPr>
            <a:r>
              <a:rPr lang="en-US" sz="1400" dirty="0">
                <a:latin typeface="Arial" panose="020B0604020202020204" pitchFamily="34" charset="0"/>
                <a:cs typeface="Arial" panose="020B0604020202020204" pitchFamily="34" charset="0"/>
              </a:rPr>
              <a:t>3-star keys supply: </a:t>
            </a:r>
            <a:r>
              <a:rPr lang="en-US" sz="1400" b="1" dirty="0">
                <a:latin typeface="Arial" panose="020B0604020202020204" pitchFamily="34" charset="0"/>
                <a:cs typeface="Arial" panose="020B0604020202020204" pitchFamily="34" charset="0"/>
              </a:rPr>
              <a:t>+10% by 2027</a:t>
            </a:r>
          </a:p>
          <a:p>
            <a:pPr marL="481013" marR="0" lvl="0" algn="l" rtl="0">
              <a:lnSpc>
                <a:spcPct val="100000"/>
              </a:lnSpc>
              <a:spcBef>
                <a:spcPts val="400"/>
              </a:spcBef>
              <a:spcAft>
                <a:spcPts val="0"/>
              </a:spcAft>
              <a:buSzPts val="1000"/>
            </a:pPr>
            <a:endParaRPr lang="en-US" sz="1400" b="1" dirty="0">
              <a:latin typeface="Arial" panose="020B0604020202020204" pitchFamily="34" charset="0"/>
              <a:cs typeface="Arial" panose="020B0604020202020204" pitchFamily="34" charset="0"/>
            </a:endParaRPr>
          </a:p>
          <a:p>
            <a:pPr marL="123825" marR="0" lvl="0" indent="-100012" algn="l" rtl="0">
              <a:lnSpc>
                <a:spcPct val="100000"/>
              </a:lnSpc>
              <a:spcBef>
                <a:spcPts val="0"/>
              </a:spcBef>
              <a:spcAft>
                <a:spcPts val="600"/>
              </a:spcAft>
              <a:buSzPts val="1000"/>
              <a:buChar char="•"/>
            </a:pPr>
            <a:r>
              <a:rPr lang="en-US" sz="1400" dirty="0">
                <a:latin typeface="Arial" panose="020B0604020202020204" pitchFamily="34" charset="0"/>
                <a:cs typeface="Arial" panose="020B0604020202020204" pitchFamily="34" charset="0"/>
              </a:rPr>
              <a:t>The hotel sector in Makkah is the strongest in the Middle East.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The city is also </a:t>
            </a:r>
            <a:r>
              <a:rPr lang="en-US" sz="1400" b="1" dirty="0">
                <a:latin typeface="Arial" panose="020B0604020202020204" pitchFamily="34" charset="0"/>
                <a:cs typeface="Arial" panose="020B0604020202020204" pitchFamily="34" charset="0"/>
              </a:rPr>
              <a:t>expected to receive 30mn pilgrims by 2030</a:t>
            </a:r>
          </a:p>
        </p:txBody>
      </p:sp>
      <p:sp>
        <p:nvSpPr>
          <p:cNvPr id="11" name="Plus Sign 10">
            <a:extLst>
              <a:ext uri="{FF2B5EF4-FFF2-40B4-BE49-F238E27FC236}">
                <a16:creationId xmlns:a16="http://schemas.microsoft.com/office/drawing/2014/main" id="{2B1F9222-857E-E3A1-A0EA-522B30E608C7}"/>
              </a:ext>
            </a:extLst>
          </p:cNvPr>
          <p:cNvSpPr/>
          <p:nvPr/>
        </p:nvSpPr>
        <p:spPr>
          <a:xfrm>
            <a:off x="9679172" y="2736058"/>
            <a:ext cx="935665" cy="935665"/>
          </a:xfrm>
          <a:prstGeom prst="mathPlus">
            <a:avLst/>
          </a:prstGeom>
          <a:solidFill>
            <a:schemeClr val="accent6"/>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385B741-1C1C-90C4-86C2-8682D009319D}"/>
              </a:ext>
            </a:extLst>
          </p:cNvPr>
          <p:cNvSpPr txBox="1"/>
          <p:nvPr/>
        </p:nvSpPr>
        <p:spPr>
          <a:xfrm>
            <a:off x="9441711" y="3052996"/>
            <a:ext cx="1414354" cy="276999"/>
          </a:xfrm>
          <a:prstGeom prst="rect">
            <a:avLst/>
          </a:prstGeom>
          <a:noFill/>
        </p:spPr>
        <p:txBody>
          <a:bodyPr wrap="square" rtlCol="0" anchor="ctr">
            <a:spAutoFit/>
          </a:bodyPr>
          <a:lstStyle/>
          <a:p>
            <a:pPr algn="ctr"/>
            <a:r>
              <a:rPr lang="en-US" sz="1200" i="1" dirty="0">
                <a:solidFill>
                  <a:schemeClr val="bg1"/>
                </a:solidFill>
              </a:rPr>
              <a:t>POSITIVE</a:t>
            </a:r>
          </a:p>
        </p:txBody>
      </p:sp>
      <p:sp>
        <p:nvSpPr>
          <p:cNvPr id="14" name="Plus Sign 13">
            <a:extLst>
              <a:ext uri="{FF2B5EF4-FFF2-40B4-BE49-F238E27FC236}">
                <a16:creationId xmlns:a16="http://schemas.microsoft.com/office/drawing/2014/main" id="{A42A8D2E-6EF3-2008-3E1D-CFC7818A43F2}"/>
              </a:ext>
            </a:extLst>
          </p:cNvPr>
          <p:cNvSpPr/>
          <p:nvPr/>
        </p:nvSpPr>
        <p:spPr>
          <a:xfrm>
            <a:off x="9679172" y="5272231"/>
            <a:ext cx="935665" cy="935665"/>
          </a:xfrm>
          <a:prstGeom prst="mathPlus">
            <a:avLst/>
          </a:prstGeom>
          <a:solidFill>
            <a:schemeClr val="accent6"/>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CAB85E8-8573-B7A4-7910-CB20508A9244}"/>
              </a:ext>
            </a:extLst>
          </p:cNvPr>
          <p:cNvSpPr txBox="1"/>
          <p:nvPr/>
        </p:nvSpPr>
        <p:spPr>
          <a:xfrm>
            <a:off x="9441711" y="5589169"/>
            <a:ext cx="1414354" cy="276999"/>
          </a:xfrm>
          <a:prstGeom prst="rect">
            <a:avLst/>
          </a:prstGeom>
          <a:noFill/>
        </p:spPr>
        <p:txBody>
          <a:bodyPr wrap="square" rtlCol="0" anchor="ctr">
            <a:spAutoFit/>
          </a:bodyPr>
          <a:lstStyle/>
          <a:p>
            <a:pPr algn="ctr"/>
            <a:r>
              <a:rPr lang="en-US" sz="1200" i="1" dirty="0">
                <a:solidFill>
                  <a:schemeClr val="bg1"/>
                </a:solidFill>
              </a:rPr>
              <a:t>POSITIVE</a:t>
            </a:r>
          </a:p>
        </p:txBody>
      </p:sp>
    </p:spTree>
    <p:extLst>
      <p:ext uri="{BB962C8B-B14F-4D97-AF65-F5344CB8AC3E}">
        <p14:creationId xmlns:p14="http://schemas.microsoft.com/office/powerpoint/2010/main" val="936961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LASTSLIDEVIEWED" val="277,18,Slide2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VCTyYBTQeWFh1rCd6d7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Qbqi7oeIGgiKNrhbuKE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2cib.wZiOzXKWwm38UJ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jbo.jMnUw4duUgM.tf5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gJZBJP7MRqOKFABivRb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w6PK.HBQRMXmiwGB37X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KY5ZfmvNsErCiz_z9sG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JuDOLB6W55kyrmwBoHu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MgO.SoOKSt7VYygK9hFJ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8Kw1QrgQrykDVEzcq_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lpZVgC4kEBMcRkuckQE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OxwrM9Zxq6OMjNooPn6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bMn0F1Nv1yv57_Fj93J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KFXrnV6i0Y.9AIIrGM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Bl5Jg8QWg61FJsRNfS7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TAZRZinCCYy6JLyCufg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khlukX2XDpkvEtRCl67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hzqPLu3assDXcZi3jF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L3n3xtzW_f7EbQbz6V7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zgkl_zyuW4gWfUGHdae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58B8zDfM7hurkmOhHN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Uf0r8o2hZ_uDEDgyqn3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Y8OHxk.FipTJoZ8mVHi_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J1TtL94FY0M8kRxU.ko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mt6OHFMkyR4MD0yj4bV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u.sSd_eRvCD_yiMJbUA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LGmcsyYIYazXebTZ7R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z8HhHXfHv5hb7V4gptG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_YuyPZn5uA6KO5JHPX_2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N0ZnZoVQCNN3t7SbHZE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rgBCW1KkmOJc9ZW.Yt2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2DMtyOKCkEsQrUps7rg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uIVoM1dwG6piETydp9U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hhqsVjfRjm3WTcsbxmTl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HIOVjKq8P4TqeB5hBPDB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mT2UhqWQXao.qoRcbxF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ErMkvNsDqmzKrgz0YC4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Ezb64e4sHfPDV7Gnqp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7BI6Re_YQb.KobTon6w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G3Ij_.CiaNrsReX57XM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UyD6.S5.OCwRqM9Pr3o_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bAVcZl2u7MiYSrdY2xH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KhzqPLu3assDXcZi3jF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DLA.Ii30umhNY6jsdYF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_YuyPZn5uA6KO5JHPX_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hBYedwkRac1ya4VCHFl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9DYAlAZQzpQCOYHXaxa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6xtyCC8J8m5DHiG2Fe6UO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sEzb64e4sHfPDV7Gnqp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GbKdbZog_AHp1E.efFY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tQrM2zITa5NdD_bFaDA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G3Ij_.CiaNrsReX57XM8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UyD6.S5.OCwRqM9Pr3o_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bAVcZl2u7MiYSrdY2xH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7IP9nhkwcz4duffaTUi0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7C2943C7D2244A8607AFC91198AFD5" ma:contentTypeVersion="20" ma:contentTypeDescription="Create a new document." ma:contentTypeScope="" ma:versionID="9d8189d3e935cbe8f69af3d6fadffef1">
  <xsd:schema xmlns:xsd="http://www.w3.org/2001/XMLSchema" xmlns:xs="http://www.w3.org/2001/XMLSchema" xmlns:p="http://schemas.microsoft.com/office/2006/metadata/properties" xmlns:ns2="5c6ec8d1-19b4-4003-be7f-cf484a07d8ea" xmlns:ns3="6e02474e-a0c5-4eea-bb37-6541261fb517" targetNamespace="http://schemas.microsoft.com/office/2006/metadata/properties" ma:root="true" ma:fieldsID="471180dfc48c16d6b3c5e47643ac8097" ns2:_="" ns3:_="">
    <xsd:import namespace="5c6ec8d1-19b4-4003-be7f-cf484a07d8ea"/>
    <xsd:import namespace="6e02474e-a0c5-4eea-bb37-6541261fb51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2:MediaLengthInSeconds" minOccurs="0"/>
                <xsd:element ref="ns2:MediaServiceOCR" minOccurs="0"/>
                <xsd:element ref="ns2:MediaServiceDateTaken" minOccurs="0"/>
                <xsd:element ref="ns2:lcf76f155ced4ddcb4097134ff3c332f" minOccurs="0"/>
                <xsd:element ref="ns3:SharedWithUsers" minOccurs="0"/>
                <xsd:element ref="ns3:SharedWithDetails" minOccurs="0"/>
                <xsd:element ref="ns2:MediaServiceLocatio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6ec8d1-19b4-4003-be7f-cf484a07d8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4f3aee1-b7c6-4d19-91f4-088532463223"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02474e-a0c5-4eea-bb37-6541261fb517"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c6ec8d1-19b4-4003-be7f-cf484a07d8e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6FFC05B-5F5D-47E1-A9BB-7E9B13852D71}">
  <ds:schemaRefs>
    <ds:schemaRef ds:uri="http://schemas.microsoft.com/sharepoint/v3/contenttype/forms"/>
  </ds:schemaRefs>
</ds:datastoreItem>
</file>

<file path=customXml/itemProps2.xml><?xml version="1.0" encoding="utf-8"?>
<ds:datastoreItem xmlns:ds="http://schemas.openxmlformats.org/officeDocument/2006/customXml" ds:itemID="{998CD621-1394-4357-8E44-E04A2D51E7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6ec8d1-19b4-4003-be7f-cf484a07d8ea"/>
    <ds:schemaRef ds:uri="6e02474e-a0c5-4eea-bb37-6541261fb5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61B308E-38A6-4AD9-90BD-D14668301778}">
  <ds:schemaRefs>
    <ds:schemaRef ds:uri="http://schemas.microsoft.com/office/2006/metadata/properties"/>
    <ds:schemaRef ds:uri="http://schemas.microsoft.com/office/infopath/2007/PartnerControls"/>
    <ds:schemaRef ds:uri="5c6ec8d1-19b4-4003-be7f-cf484a07d8ea"/>
  </ds:schemaRefs>
</ds:datastoreItem>
</file>

<file path=docProps/app.xml><?xml version="1.0" encoding="utf-8"?>
<Properties xmlns="http://schemas.openxmlformats.org/officeDocument/2006/extended-properties" xmlns:vt="http://schemas.openxmlformats.org/officeDocument/2006/docPropsVTypes">
  <TotalTime>645</TotalTime>
  <Words>1561</Words>
  <Application>Microsoft Office PowerPoint</Application>
  <PresentationFormat>Widescreen</PresentationFormat>
  <Paragraphs>400</Paragraphs>
  <Slides>19</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0" baseType="lpstr">
      <vt:lpstr>Aptos</vt:lpstr>
      <vt:lpstr>Aptos Display</vt:lpstr>
      <vt:lpstr>Arial</vt:lpstr>
      <vt:lpstr>Arial,BoldItalic</vt:lpstr>
      <vt:lpstr>Calibri</vt:lpstr>
      <vt:lpstr>Georgia</vt:lpstr>
      <vt:lpstr>Helvetica Neue</vt:lpstr>
      <vt:lpstr>SUISSEINTL-BOLD</vt:lpstr>
      <vt:lpstr>Tahoma</vt:lpstr>
      <vt:lpstr>Office Theme</vt:lpstr>
      <vt:lpstr>think-cell Slide</vt:lpstr>
      <vt:lpstr>PowerPoint Presentation</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hammad Ahmed</dc:creator>
  <cp:lastModifiedBy>Martin Berlin (MiddleEast)</cp:lastModifiedBy>
  <cp:revision>9</cp:revision>
  <dcterms:created xsi:type="dcterms:W3CDTF">2024-04-08T12:40:18Z</dcterms:created>
  <dcterms:modified xsi:type="dcterms:W3CDTF">2024-04-22T06:5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7C2943C7D2244A8607AFC91198AFD5</vt:lpwstr>
  </property>
  <property fmtid="{D5CDD505-2E9C-101B-9397-08002B2CF9AE}" pid="3" name="MediaServiceImageTags">
    <vt:lpwstr/>
  </property>
</Properties>
</file>